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docx" ContentType="application/vnd.openxmlformats-officedocument.wordprocessingml.document"/>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embeddings/oleObject1.bin" ContentType="application/vnd.openxmlformats-officedocument.oleObject"/>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embeddings/oleObject2.bin" ContentType="application/vnd.openxmlformats-officedocument.oleObject"/>
  <Override PartName="/ppt/embeddings/oleObject3.bin" ContentType="application/vnd.openxmlformats-officedocument.oleObject"/>
  <Override PartName="/ppt/notesSlides/notesSlide6.xml" ContentType="application/vnd.openxmlformats-officedocument.presentationml.notesSlide+xml"/>
  <Override PartName="/ppt/embeddings/oleObject4.bin" ContentType="application/vnd.openxmlformats-officedocument.oleObject"/>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embeddings/oleObject5.bin" ContentType="application/vnd.openxmlformats-officedocument.oleObject"/>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7"/>
  </p:notesMasterIdLst>
  <p:sldIdLst>
    <p:sldId id="256" r:id="rId2"/>
    <p:sldId id="342" r:id="rId3"/>
    <p:sldId id="265" r:id="rId4"/>
    <p:sldId id="386" r:id="rId5"/>
    <p:sldId id="372" r:id="rId6"/>
    <p:sldId id="373" r:id="rId7"/>
    <p:sldId id="341" r:id="rId8"/>
    <p:sldId id="364" r:id="rId9"/>
    <p:sldId id="375" r:id="rId10"/>
    <p:sldId id="374" r:id="rId11"/>
    <p:sldId id="352" r:id="rId12"/>
    <p:sldId id="361" r:id="rId13"/>
    <p:sldId id="362" r:id="rId14"/>
    <p:sldId id="363" r:id="rId15"/>
    <p:sldId id="355" r:id="rId16"/>
    <p:sldId id="359" r:id="rId17"/>
    <p:sldId id="360" r:id="rId18"/>
    <p:sldId id="365" r:id="rId19"/>
    <p:sldId id="338" r:id="rId20"/>
    <p:sldId id="339" r:id="rId21"/>
    <p:sldId id="340" r:id="rId22"/>
    <p:sldId id="366" r:id="rId23"/>
    <p:sldId id="367" r:id="rId24"/>
    <p:sldId id="378" r:id="rId25"/>
    <p:sldId id="368" r:id="rId26"/>
    <p:sldId id="376" r:id="rId27"/>
    <p:sldId id="371" r:id="rId28"/>
    <p:sldId id="370" r:id="rId29"/>
    <p:sldId id="388" r:id="rId30"/>
    <p:sldId id="383" r:id="rId31"/>
    <p:sldId id="384" r:id="rId32"/>
    <p:sldId id="385" r:id="rId33"/>
    <p:sldId id="353" r:id="rId34"/>
    <p:sldId id="336" r:id="rId35"/>
    <p:sldId id="343" r:id="rId36"/>
  </p:sldIdLst>
  <p:sldSz cx="9144000" cy="6858000" type="screen4x3"/>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onymous" initials="GR" lastIdx="8" clrIdx="0"/>
  <p:cmAuthor id="1" name="Kaushal Gupta" initial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B3D7"/>
    <a:srgbClr val="17375E"/>
    <a:srgbClr val="122A8C"/>
    <a:srgbClr val="376092"/>
    <a:srgbClr val="27A489"/>
    <a:srgbClr val="009FA1"/>
    <a:srgbClr val="008687"/>
    <a:srgbClr val="AC0101"/>
    <a:srgbClr val="009294"/>
    <a:srgbClr val="A7FF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305" autoAdjust="0"/>
    <p:restoredTop sz="99263" autoAdjust="0"/>
  </p:normalViewPr>
  <p:slideViewPr>
    <p:cSldViewPr snapToGrid="0" snapToObjects="1">
      <p:cViewPr>
        <p:scale>
          <a:sx n="75" d="100"/>
          <a:sy n="75" d="100"/>
        </p:scale>
        <p:origin x="-1376" y="-88"/>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5632"/>
    </p:cViewPr>
  </p:sorterViewPr>
  <p:notesViewPr>
    <p:cSldViewPr snapToGrid="0" snapToObjects="1">
      <p:cViewPr varScale="1">
        <p:scale>
          <a:sx n="56" d="100"/>
          <a:sy n="56" d="100"/>
        </p:scale>
        <p:origin x="-2808"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notesMaster" Target="notesMasters/notesMaster1.xml"/><Relationship Id="rId38" Type="http://schemas.openxmlformats.org/officeDocument/2006/relationships/printerSettings" Target="printerSettings/printerSettings1.bin"/><Relationship Id="rId39" Type="http://schemas.openxmlformats.org/officeDocument/2006/relationships/commentAuthors" Target="commentAuthors.xml"/><Relationship Id="rId40" Type="http://schemas.openxmlformats.org/officeDocument/2006/relationships/presProps" Target="presProps.xml"/><Relationship Id="rId41" Type="http://schemas.openxmlformats.org/officeDocument/2006/relationships/viewProps" Target="viewProps.xml"/><Relationship Id="rId42" Type="http://schemas.openxmlformats.org/officeDocument/2006/relationships/theme" Target="theme/theme1.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Macintosh%20HD:Users:Neha:Downloads:Data%20for%202015.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scatterChart>
        <c:scatterStyle val="lineMarker"/>
        <c:varyColors val="0"/>
        <c:ser>
          <c:idx val="0"/>
          <c:order val="0"/>
          <c:spPr>
            <a:ln w="47625">
              <a:noFill/>
            </a:ln>
          </c:spPr>
          <c:marker>
            <c:symbol val="circle"/>
            <c:size val="12"/>
            <c:spPr>
              <a:solidFill>
                <a:schemeClr val="tx2"/>
              </a:solidFill>
              <a:ln>
                <a:solidFill>
                  <a:srgbClr val="000090"/>
                </a:solidFill>
              </a:ln>
            </c:spPr>
          </c:marker>
          <c:trendline>
            <c:trendlineType val="linear"/>
            <c:dispRSqr val="1"/>
            <c:dispEq val="1"/>
            <c:trendlineLbl>
              <c:layout>
                <c:manualLayout>
                  <c:x val="0.0558549747239349"/>
                  <c:y val="0.102626191286947"/>
                </c:manualLayout>
              </c:layout>
              <c:tx>
                <c:rich>
                  <a:bodyPr/>
                  <a:lstStyle/>
                  <a:p>
                    <a:pPr>
                      <a:defRPr/>
                    </a:pPr>
                    <a:r>
                      <a:rPr lang="en-US" baseline="0" dirty="0"/>
                      <a:t>y = 7E-06x + 0.3451
R² = </a:t>
                    </a:r>
                    <a:r>
                      <a:rPr lang="en-US" baseline="0" dirty="0" smtClean="0"/>
                      <a:t>0.10</a:t>
                    </a:r>
                    <a:endParaRPr lang="en-US" dirty="0"/>
                  </a:p>
                </c:rich>
              </c:tx>
              <c:numFmt formatCode="General" sourceLinked="0"/>
            </c:trendlineLbl>
          </c:trendline>
          <c:xVal>
            <c:numRef>
              <c:f>Coverage!$B$2:$B$105</c:f>
              <c:numCache>
                <c:formatCode>_(* #,##0_);_(* \(#,##0\);_(* "-"??_);_(@_)</c:formatCode>
                <c:ptCount val="104"/>
                <c:pt idx="0">
                  <c:v>1934.193634328693</c:v>
                </c:pt>
                <c:pt idx="1">
                  <c:v>14687.39020786</c:v>
                </c:pt>
                <c:pt idx="2">
                  <c:v>7371.027656244657</c:v>
                </c:pt>
                <c:pt idx="4">
                  <c:v>8393.511785806836</c:v>
                </c:pt>
                <c:pt idx="5">
                  <c:v>45514.17582976742</c:v>
                </c:pt>
                <c:pt idx="6">
                  <c:v>17739.95473606185</c:v>
                </c:pt>
                <c:pt idx="7">
                  <c:v>23795.43829538713</c:v>
                </c:pt>
                <c:pt idx="8">
                  <c:v>3332.803445169925</c:v>
                </c:pt>
                <c:pt idx="9">
                  <c:v>16390.86492286048</c:v>
                </c:pt>
                <c:pt idx="10">
                  <c:v>17660.94658571825</c:v>
                </c:pt>
                <c:pt idx="11">
                  <c:v>8526.927510977563</c:v>
                </c:pt>
                <c:pt idx="12">
                  <c:v>2109.845957372653</c:v>
                </c:pt>
                <c:pt idx="13">
                  <c:v>6880.903358619079</c:v>
                </c:pt>
                <c:pt idx="14">
                  <c:v>15807.08571982779</c:v>
                </c:pt>
                <c:pt idx="15">
                  <c:v>15359.32629667517</c:v>
                </c:pt>
                <c:pt idx="16">
                  <c:v>1659.220242502732</c:v>
                </c:pt>
                <c:pt idx="17">
                  <c:v>736.0118338822623</c:v>
                </c:pt>
                <c:pt idx="18">
                  <c:v>3483.3267131986</c:v>
                </c:pt>
                <c:pt idx="19">
                  <c:v>3122.643964697984</c:v>
                </c:pt>
                <c:pt idx="20">
                  <c:v>6689.81139039537</c:v>
                </c:pt>
                <c:pt idx="21">
                  <c:v>597.3671902617074</c:v>
                </c:pt>
                <c:pt idx="22">
                  <c:v>2171.40081234953</c:v>
                </c:pt>
                <c:pt idx="23">
                  <c:v>22316.20769651498</c:v>
                </c:pt>
                <c:pt idx="24">
                  <c:v>15377.22956889618</c:v>
                </c:pt>
                <c:pt idx="26">
                  <c:v>3495.829746467115</c:v>
                </c:pt>
                <c:pt idx="27">
                  <c:v>782.771450778664</c:v>
                </c:pt>
                <c:pt idx="29">
                  <c:v>14211.72455183753</c:v>
                </c:pt>
                <c:pt idx="30">
                  <c:v>11388.15690354692</c:v>
                </c:pt>
                <c:pt idx="31">
                  <c:v>10891.25774985983</c:v>
                </c:pt>
                <c:pt idx="32">
                  <c:v>8602.066493094608</c:v>
                </c:pt>
                <c:pt idx="33">
                  <c:v>30040.65106858351</c:v>
                </c:pt>
                <c:pt idx="35">
                  <c:v>20010.13975496951</c:v>
                </c:pt>
                <c:pt idx="37">
                  <c:v>9679.187610524003</c:v>
                </c:pt>
                <c:pt idx="38">
                  <c:v>4200.547102315239</c:v>
                </c:pt>
                <c:pt idx="39">
                  <c:v>7706.738719486551</c:v>
                </c:pt>
                <c:pt idx="40">
                  <c:v>1206.529508755792</c:v>
                </c:pt>
                <c:pt idx="41">
                  <c:v>7506.445071987951</c:v>
                </c:pt>
                <c:pt idx="42">
                  <c:v>1762.173640106577</c:v>
                </c:pt>
                <c:pt idx="43">
                  <c:v>5084.470463250359</c:v>
                </c:pt>
                <c:pt idx="44">
                  <c:v>6088.64982999116</c:v>
                </c:pt>
                <c:pt idx="45">
                  <c:v>11035.09244408655</c:v>
                </c:pt>
                <c:pt idx="47">
                  <c:v>9062.516067708359</c:v>
                </c:pt>
                <c:pt idx="48">
                  <c:v>25876.50867841755</c:v>
                </c:pt>
                <c:pt idx="49">
                  <c:v>3082.517991362493</c:v>
                </c:pt>
                <c:pt idx="50">
                  <c:v>3426.645611184922</c:v>
                </c:pt>
                <c:pt idx="51">
                  <c:v>24286.14896404704</c:v>
                </c:pt>
                <c:pt idx="52">
                  <c:v>13937.94586554606</c:v>
                </c:pt>
                <c:pt idx="54">
                  <c:v>836.1510014475511</c:v>
                </c:pt>
                <c:pt idx="55">
                  <c:v>1459.268794768803</c:v>
                </c:pt>
                <c:pt idx="56">
                  <c:v>1182.622570668951</c:v>
                </c:pt>
                <c:pt idx="57">
                  <c:v>26891.44323420562</c:v>
                </c:pt>
                <c:pt idx="58">
                  <c:v>2428.289963943694</c:v>
                </c:pt>
                <c:pt idx="60">
                  <c:v>19480.47070571691</c:v>
                </c:pt>
                <c:pt idx="61">
                  <c:v>17276.64362785811</c:v>
                </c:pt>
                <c:pt idx="62">
                  <c:v>12188.594575581</c:v>
                </c:pt>
                <c:pt idx="63">
                  <c:v>7821.39649811504</c:v>
                </c:pt>
                <c:pt idx="64">
                  <c:v>1185.816012196761</c:v>
                </c:pt>
                <c:pt idx="66">
                  <c:v>10413.97647168167</c:v>
                </c:pt>
                <c:pt idx="67">
                  <c:v>2458.132729343134</c:v>
                </c:pt>
                <c:pt idx="68">
                  <c:v>5189.732999154076</c:v>
                </c:pt>
                <c:pt idx="69">
                  <c:v>953.5418410213588</c:v>
                </c:pt>
                <c:pt idx="70">
                  <c:v>5991.690539901655</c:v>
                </c:pt>
                <c:pt idx="71">
                  <c:v>5041.71526395586</c:v>
                </c:pt>
                <c:pt idx="72">
                  <c:v>22192.05357037989</c:v>
                </c:pt>
                <c:pt idx="74">
                  <c:v>9184.489410682367</c:v>
                </c:pt>
                <c:pt idx="75">
                  <c:v>12402.42270698316</c:v>
                </c:pt>
                <c:pt idx="76">
                  <c:v>7358.82414567617</c:v>
                </c:pt>
                <c:pt idx="77">
                  <c:v>5038.50204910148</c:v>
                </c:pt>
                <c:pt idx="78">
                  <c:v>1758.733213288035</c:v>
                </c:pt>
                <c:pt idx="79">
                  <c:v>2430.798928769303</c:v>
                </c:pt>
                <c:pt idx="80">
                  <c:v>1590.602118618772</c:v>
                </c:pt>
                <c:pt idx="82">
                  <c:v>13165.14802429177</c:v>
                </c:pt>
                <c:pt idx="83">
                  <c:v>1850.031823077812</c:v>
                </c:pt>
                <c:pt idx="84">
                  <c:v>34526.50189985628</c:v>
                </c:pt>
                <c:pt idx="85">
                  <c:v>11738.87634899694</c:v>
                </c:pt>
                <c:pt idx="86">
                  <c:v>4173.21589780977</c:v>
                </c:pt>
                <c:pt idx="87">
                  <c:v>16969.54529101011</c:v>
                </c:pt>
                <c:pt idx="88">
                  <c:v>8426.529662884868</c:v>
                </c:pt>
                <c:pt idx="89">
                  <c:v>2779.876142608933</c:v>
                </c:pt>
                <c:pt idx="90">
                  <c:v>16305.45456398873</c:v>
                </c:pt>
                <c:pt idx="91">
                  <c:v>1459.796727388263</c:v>
                </c:pt>
                <c:pt idx="92">
                  <c:v>32596.51488869908</c:v>
                </c:pt>
                <c:pt idx="93">
                  <c:v>11397.23514956525</c:v>
                </c:pt>
                <c:pt idx="94">
                  <c:v>1825.307070763811</c:v>
                </c:pt>
                <c:pt idx="95">
                  <c:v>7915.87087372541</c:v>
                </c:pt>
                <c:pt idx="96">
                  <c:v>2667.290661454599</c:v>
                </c:pt>
                <c:pt idx="97">
                  <c:v>21200.58781088415</c:v>
                </c:pt>
                <c:pt idx="98">
                  <c:v>5995.873011435723</c:v>
                </c:pt>
                <c:pt idx="100">
                  <c:v>6022.62255356528</c:v>
                </c:pt>
                <c:pt idx="102">
                  <c:v>3852.658973708027</c:v>
                </c:pt>
                <c:pt idx="103">
                  <c:v>1793.58609226363</c:v>
                </c:pt>
              </c:numCache>
            </c:numRef>
          </c:xVal>
          <c:yVal>
            <c:numRef>
              <c:f>Coverage!$C$2:$C$105</c:f>
              <c:numCache>
                <c:formatCode>0%</c:formatCode>
                <c:ptCount val="104"/>
                <c:pt idx="0">
                  <c:v>0.05</c:v>
                </c:pt>
                <c:pt idx="1">
                  <c:v>0.9</c:v>
                </c:pt>
                <c:pt idx="2">
                  <c:v>0.29</c:v>
                </c:pt>
                <c:pt idx="3">
                  <c:v>0.64</c:v>
                </c:pt>
                <c:pt idx="4">
                  <c:v>0.26</c:v>
                </c:pt>
                <c:pt idx="5">
                  <c:v>0.9</c:v>
                </c:pt>
                <c:pt idx="6">
                  <c:v>0.28</c:v>
                </c:pt>
                <c:pt idx="7">
                  <c:v>0.37</c:v>
                </c:pt>
                <c:pt idx="8">
                  <c:v>0.15</c:v>
                </c:pt>
                <c:pt idx="9">
                  <c:v>0.43</c:v>
                </c:pt>
                <c:pt idx="10">
                  <c:v>0.2</c:v>
                </c:pt>
                <c:pt idx="11">
                  <c:v>0.46</c:v>
                </c:pt>
                <c:pt idx="12">
                  <c:v>0.49</c:v>
                </c:pt>
                <c:pt idx="13">
                  <c:v>0.29</c:v>
                </c:pt>
                <c:pt idx="14">
                  <c:v>0.78</c:v>
                </c:pt>
                <c:pt idx="15">
                  <c:v>0.55</c:v>
                </c:pt>
                <c:pt idx="16">
                  <c:v>0.55</c:v>
                </c:pt>
                <c:pt idx="17">
                  <c:v>0.54</c:v>
                </c:pt>
                <c:pt idx="18">
                  <c:v>0.74</c:v>
                </c:pt>
                <c:pt idx="19">
                  <c:v>0.27</c:v>
                </c:pt>
                <c:pt idx="20">
                  <c:v>0.42</c:v>
                </c:pt>
                <c:pt idx="21">
                  <c:v>0.24</c:v>
                </c:pt>
                <c:pt idx="22">
                  <c:v>0.36</c:v>
                </c:pt>
                <c:pt idx="23">
                  <c:v>0.87</c:v>
                </c:pt>
                <c:pt idx="24">
                  <c:v>0.56</c:v>
                </c:pt>
                <c:pt idx="25">
                  <c:v>0.69</c:v>
                </c:pt>
                <c:pt idx="26">
                  <c:v>0.35</c:v>
                </c:pt>
                <c:pt idx="27">
                  <c:v>0.33</c:v>
                </c:pt>
                <c:pt idx="28">
                  <c:v>0.21</c:v>
                </c:pt>
                <c:pt idx="29">
                  <c:v>0.46</c:v>
                </c:pt>
                <c:pt idx="30">
                  <c:v>0.54</c:v>
                </c:pt>
                <c:pt idx="31">
                  <c:v>0.19</c:v>
                </c:pt>
                <c:pt idx="32">
                  <c:v>0.54</c:v>
                </c:pt>
                <c:pt idx="33">
                  <c:v>0.31</c:v>
                </c:pt>
                <c:pt idx="34">
                  <c:v>0.6</c:v>
                </c:pt>
                <c:pt idx="35">
                  <c:v>0.58</c:v>
                </c:pt>
                <c:pt idx="36">
                  <c:v>0.24</c:v>
                </c:pt>
                <c:pt idx="37">
                  <c:v>0.32</c:v>
                </c:pt>
                <c:pt idx="38">
                  <c:v>0.34</c:v>
                </c:pt>
                <c:pt idx="39">
                  <c:v>0.3</c:v>
                </c:pt>
                <c:pt idx="40">
                  <c:v>0.29</c:v>
                </c:pt>
                <c:pt idx="41">
                  <c:v>0.59</c:v>
                </c:pt>
                <c:pt idx="42">
                  <c:v>0.52</c:v>
                </c:pt>
                <c:pt idx="43">
                  <c:v>0.52</c:v>
                </c:pt>
                <c:pt idx="44">
                  <c:v>0.43</c:v>
                </c:pt>
                <c:pt idx="45">
                  <c:v>0.09</c:v>
                </c:pt>
                <c:pt idx="46">
                  <c:v>0.09</c:v>
                </c:pt>
                <c:pt idx="47">
                  <c:v>0.34</c:v>
                </c:pt>
                <c:pt idx="48">
                  <c:v>0.27</c:v>
                </c:pt>
                <c:pt idx="49">
                  <c:v>0.59</c:v>
                </c:pt>
                <c:pt idx="50">
                  <c:v>0.26</c:v>
                </c:pt>
                <c:pt idx="51">
                  <c:v>0.2</c:v>
                </c:pt>
                <c:pt idx="52">
                  <c:v>0.37</c:v>
                </c:pt>
                <c:pt idx="53">
                  <c:v>0.42</c:v>
                </c:pt>
                <c:pt idx="54">
                  <c:v>0.24</c:v>
                </c:pt>
                <c:pt idx="55">
                  <c:v>0.03</c:v>
                </c:pt>
                <c:pt idx="56">
                  <c:v>0.61</c:v>
                </c:pt>
                <c:pt idx="57">
                  <c:v>0.28</c:v>
                </c:pt>
                <c:pt idx="58">
                  <c:v>0.28</c:v>
                </c:pt>
                <c:pt idx="59">
                  <c:v>0.18</c:v>
                </c:pt>
                <c:pt idx="60">
                  <c:v>0.31</c:v>
                </c:pt>
                <c:pt idx="61">
                  <c:v>0.59</c:v>
                </c:pt>
                <c:pt idx="62">
                  <c:v>0.36</c:v>
                </c:pt>
                <c:pt idx="63">
                  <c:v>0.37</c:v>
                </c:pt>
                <c:pt idx="64">
                  <c:v>0.53</c:v>
                </c:pt>
                <c:pt idx="65">
                  <c:v>0.47</c:v>
                </c:pt>
                <c:pt idx="66">
                  <c:v>0.69</c:v>
                </c:pt>
                <c:pt idx="67">
                  <c:v>0.31</c:v>
                </c:pt>
                <c:pt idx="68">
                  <c:v>0.34</c:v>
                </c:pt>
                <c:pt idx="69">
                  <c:v>0.26</c:v>
                </c:pt>
                <c:pt idx="70">
                  <c:v>0.24</c:v>
                </c:pt>
                <c:pt idx="71">
                  <c:v>0.06</c:v>
                </c:pt>
                <c:pt idx="72">
                  <c:v>0.6</c:v>
                </c:pt>
                <c:pt idx="73">
                  <c:v>0.53</c:v>
                </c:pt>
                <c:pt idx="74">
                  <c:v>0.31</c:v>
                </c:pt>
                <c:pt idx="75">
                  <c:v>0.56</c:v>
                </c:pt>
                <c:pt idx="76">
                  <c:v>0.27</c:v>
                </c:pt>
                <c:pt idx="77">
                  <c:v>0.21</c:v>
                </c:pt>
                <c:pt idx="78">
                  <c:v>0.79</c:v>
                </c:pt>
                <c:pt idx="79">
                  <c:v>0.4</c:v>
                </c:pt>
                <c:pt idx="80">
                  <c:v>0.27</c:v>
                </c:pt>
                <c:pt idx="81">
                  <c:v>0.08</c:v>
                </c:pt>
                <c:pt idx="82">
                  <c:v>0.48</c:v>
                </c:pt>
                <c:pt idx="83">
                  <c:v>0.11</c:v>
                </c:pt>
                <c:pt idx="84">
                  <c:v>0.74</c:v>
                </c:pt>
                <c:pt idx="85">
                  <c:v>0.19</c:v>
                </c:pt>
                <c:pt idx="86">
                  <c:v>0.08</c:v>
                </c:pt>
                <c:pt idx="87">
                  <c:v>0.55</c:v>
                </c:pt>
                <c:pt idx="88">
                  <c:v>0.67</c:v>
                </c:pt>
                <c:pt idx="89">
                  <c:v>0.19</c:v>
                </c:pt>
                <c:pt idx="90">
                  <c:v>0.65</c:v>
                </c:pt>
                <c:pt idx="91">
                  <c:v>0.41</c:v>
                </c:pt>
                <c:pt idx="92">
                  <c:v>0.62</c:v>
                </c:pt>
                <c:pt idx="93">
                  <c:v>0.28</c:v>
                </c:pt>
                <c:pt idx="94">
                  <c:v>0.57</c:v>
                </c:pt>
                <c:pt idx="95">
                  <c:v>0.28</c:v>
                </c:pt>
                <c:pt idx="96">
                  <c:v>0.53</c:v>
                </c:pt>
                <c:pt idx="97">
                  <c:v>0.6</c:v>
                </c:pt>
                <c:pt idx="98">
                  <c:v>0.4</c:v>
                </c:pt>
                <c:pt idx="99">
                  <c:v>0.59</c:v>
                </c:pt>
                <c:pt idx="100">
                  <c:v>0.42</c:v>
                </c:pt>
                <c:pt idx="101">
                  <c:v>0.15</c:v>
                </c:pt>
                <c:pt idx="102">
                  <c:v>0.63</c:v>
                </c:pt>
                <c:pt idx="103">
                  <c:v>0.62</c:v>
                </c:pt>
              </c:numCache>
            </c:numRef>
          </c:yVal>
          <c:smooth val="0"/>
        </c:ser>
        <c:dLbls>
          <c:showLegendKey val="0"/>
          <c:showVal val="0"/>
          <c:showCatName val="0"/>
          <c:showSerName val="0"/>
          <c:showPercent val="0"/>
          <c:showBubbleSize val="0"/>
        </c:dLbls>
        <c:axId val="702773368"/>
        <c:axId val="702780216"/>
      </c:scatterChart>
      <c:valAx>
        <c:axId val="702773368"/>
        <c:scaling>
          <c:orientation val="minMax"/>
        </c:scaling>
        <c:delete val="0"/>
        <c:axPos val="b"/>
        <c:title>
          <c:tx>
            <c:rich>
              <a:bodyPr/>
              <a:lstStyle/>
              <a:p>
                <a:pPr>
                  <a:defRPr sz="1600"/>
                </a:pPr>
                <a:r>
                  <a:rPr lang="en-US" sz="1600"/>
                  <a:t>Per capita income in US$ (PPP), 2015</a:t>
                </a:r>
              </a:p>
            </c:rich>
          </c:tx>
          <c:layout/>
          <c:overlay val="0"/>
        </c:title>
        <c:numFmt formatCode="#,##0" sourceLinked="0"/>
        <c:majorTickMark val="out"/>
        <c:minorTickMark val="none"/>
        <c:tickLblPos val="nextTo"/>
        <c:crossAx val="702780216"/>
        <c:crosses val="autoZero"/>
        <c:crossBetween val="midCat"/>
      </c:valAx>
      <c:valAx>
        <c:axId val="702780216"/>
        <c:scaling>
          <c:orientation val="minMax"/>
        </c:scaling>
        <c:delete val="0"/>
        <c:axPos val="l"/>
        <c:title>
          <c:tx>
            <c:rich>
              <a:bodyPr/>
              <a:lstStyle/>
              <a:p>
                <a:pPr>
                  <a:defRPr sz="1600"/>
                </a:pPr>
                <a:r>
                  <a:rPr lang="en-US" sz="1600"/>
                  <a:t>ART coverage (%), 2015</a:t>
                </a:r>
              </a:p>
            </c:rich>
          </c:tx>
          <c:layout/>
          <c:overlay val="0"/>
        </c:title>
        <c:numFmt formatCode="0%" sourceLinked="0"/>
        <c:majorTickMark val="out"/>
        <c:minorTickMark val="none"/>
        <c:tickLblPos val="nextTo"/>
        <c:crossAx val="702773368"/>
        <c:crosses val="autoZero"/>
        <c:crossBetween val="midCat"/>
      </c:valAx>
    </c:plotArea>
    <c:plotVisOnly val="1"/>
    <c:dispBlanksAs val="gap"/>
    <c:showDLblsOverMax val="0"/>
  </c:chart>
  <c:spPr>
    <a:solidFill>
      <a:schemeClr val="bg1"/>
    </a:solidFill>
  </c:spPr>
  <c:txPr>
    <a:bodyPr/>
    <a:lstStyle/>
    <a:p>
      <a:pPr>
        <a:defRPr sz="1400">
          <a:latin typeface="Arial"/>
          <a:cs typeface="Arial"/>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8562F61-9F3C-3942-8B4E-FD0F26A0E4B7}" type="doc">
      <dgm:prSet loTypeId="urn:microsoft.com/office/officeart/2005/8/layout/radial4" loCatId="relationship" qsTypeId="urn:microsoft.com/office/officeart/2005/8/quickstyle/simple4" qsCatId="simple" csTypeId="urn:microsoft.com/office/officeart/2005/8/colors/accent0_2" csCatId="mainScheme" phldr="1"/>
      <dgm:spPr/>
      <dgm:t>
        <a:bodyPr/>
        <a:lstStyle/>
        <a:p>
          <a:endParaRPr lang="en-US"/>
        </a:p>
      </dgm:t>
    </dgm:pt>
    <dgm:pt modelId="{23C375CD-0163-624C-88A3-7A5A8B205421}">
      <dgm:prSet phldrT="[Text]"/>
      <dgm:spPr/>
      <dgm:t>
        <a:bodyPr/>
        <a:lstStyle/>
        <a:p>
          <a:r>
            <a:rPr lang="en-US" dirty="0" smtClean="0">
              <a:solidFill>
                <a:srgbClr val="000000"/>
              </a:solidFill>
            </a:rPr>
            <a:t>AIDSTAR-One database</a:t>
          </a:r>
          <a:endParaRPr lang="en-US" dirty="0">
            <a:solidFill>
              <a:srgbClr val="000000"/>
            </a:solidFill>
          </a:endParaRPr>
        </a:p>
      </dgm:t>
    </dgm:pt>
    <dgm:pt modelId="{68625371-DAA0-5446-BA6F-2451D0BA5E74}" type="parTrans" cxnId="{430FA9B5-DE1A-7D45-84F7-53F3A0F56425}">
      <dgm:prSet/>
      <dgm:spPr/>
      <dgm:t>
        <a:bodyPr/>
        <a:lstStyle/>
        <a:p>
          <a:endParaRPr lang="en-US">
            <a:solidFill>
              <a:srgbClr val="000061"/>
            </a:solidFill>
          </a:endParaRPr>
        </a:p>
      </dgm:t>
    </dgm:pt>
    <dgm:pt modelId="{35BDD671-E747-2344-8CB8-F92D703E13ED}" type="sibTrans" cxnId="{430FA9B5-DE1A-7D45-84F7-53F3A0F56425}">
      <dgm:prSet/>
      <dgm:spPr/>
      <dgm:t>
        <a:bodyPr/>
        <a:lstStyle/>
        <a:p>
          <a:endParaRPr lang="en-US">
            <a:solidFill>
              <a:srgbClr val="000061"/>
            </a:solidFill>
          </a:endParaRPr>
        </a:p>
      </dgm:t>
    </dgm:pt>
    <dgm:pt modelId="{D177234F-B417-BC4A-828E-EDD200488CA7}">
      <dgm:prSet phldrT="[Text]"/>
      <dgm:spPr/>
      <dgm:t>
        <a:bodyPr/>
        <a:lstStyle/>
        <a:p>
          <a:r>
            <a:rPr lang="en-US" dirty="0" smtClean="0">
              <a:solidFill>
                <a:schemeClr val="tx1"/>
              </a:solidFill>
            </a:rPr>
            <a:t>UNAIDS regional support team </a:t>
          </a:r>
          <a:endParaRPr lang="en-US" dirty="0">
            <a:solidFill>
              <a:schemeClr val="tx1"/>
            </a:solidFill>
          </a:endParaRPr>
        </a:p>
      </dgm:t>
    </dgm:pt>
    <dgm:pt modelId="{F4B86427-43F1-8140-9709-E56E22BBE3E5}" type="parTrans" cxnId="{091FD4FA-BB35-0946-B328-F30C13D8E13C}">
      <dgm:prSet/>
      <dgm:spPr/>
      <dgm:t>
        <a:bodyPr/>
        <a:lstStyle/>
        <a:p>
          <a:endParaRPr lang="en-US">
            <a:solidFill>
              <a:srgbClr val="000061"/>
            </a:solidFill>
          </a:endParaRPr>
        </a:p>
      </dgm:t>
    </dgm:pt>
    <dgm:pt modelId="{E6D2D4E2-4936-9440-8C72-9116B62DA462}" type="sibTrans" cxnId="{091FD4FA-BB35-0946-B328-F30C13D8E13C}">
      <dgm:prSet/>
      <dgm:spPr/>
      <dgm:t>
        <a:bodyPr/>
        <a:lstStyle/>
        <a:p>
          <a:endParaRPr lang="en-US">
            <a:solidFill>
              <a:srgbClr val="000061"/>
            </a:solidFill>
          </a:endParaRPr>
        </a:p>
      </dgm:t>
    </dgm:pt>
    <dgm:pt modelId="{C928E666-977C-744F-B362-494B7BF6028A}">
      <dgm:prSet phldrT="[Text]"/>
      <dgm:spPr/>
      <dgm:t>
        <a:bodyPr/>
        <a:lstStyle/>
        <a:p>
          <a:r>
            <a:rPr lang="en-US" dirty="0" smtClean="0">
              <a:solidFill>
                <a:schemeClr val="tx1"/>
              </a:solidFill>
            </a:rPr>
            <a:t>Web search</a:t>
          </a:r>
          <a:endParaRPr lang="en-US" dirty="0">
            <a:solidFill>
              <a:schemeClr val="tx1"/>
            </a:solidFill>
          </a:endParaRPr>
        </a:p>
      </dgm:t>
    </dgm:pt>
    <dgm:pt modelId="{647E9888-A212-AF4A-AEB9-D799408D0060}" type="parTrans" cxnId="{4522CFE4-E550-7D49-B57A-1C78CF7375CD}">
      <dgm:prSet/>
      <dgm:spPr/>
      <dgm:t>
        <a:bodyPr/>
        <a:lstStyle/>
        <a:p>
          <a:endParaRPr lang="en-US">
            <a:solidFill>
              <a:srgbClr val="000061"/>
            </a:solidFill>
          </a:endParaRPr>
        </a:p>
      </dgm:t>
    </dgm:pt>
    <dgm:pt modelId="{FEF982EB-F350-5445-8ECA-44823A3513CB}" type="sibTrans" cxnId="{4522CFE4-E550-7D49-B57A-1C78CF7375CD}">
      <dgm:prSet/>
      <dgm:spPr/>
      <dgm:t>
        <a:bodyPr/>
        <a:lstStyle/>
        <a:p>
          <a:endParaRPr lang="en-US">
            <a:solidFill>
              <a:srgbClr val="000061"/>
            </a:solidFill>
          </a:endParaRPr>
        </a:p>
      </dgm:t>
    </dgm:pt>
    <dgm:pt modelId="{102FCA27-D966-394B-970F-05714B6BF4CC}">
      <dgm:prSet phldrT="[Text]"/>
      <dgm:spPr/>
      <dgm:t>
        <a:bodyPr/>
        <a:lstStyle/>
        <a:p>
          <a:r>
            <a:rPr lang="en-US" dirty="0" smtClean="0">
              <a:solidFill>
                <a:srgbClr val="000000"/>
              </a:solidFill>
            </a:rPr>
            <a:t>Ministry of Health officials</a:t>
          </a:r>
          <a:endParaRPr lang="en-US" dirty="0">
            <a:solidFill>
              <a:srgbClr val="000000"/>
            </a:solidFill>
          </a:endParaRPr>
        </a:p>
      </dgm:t>
    </dgm:pt>
    <dgm:pt modelId="{629EE7CA-C7B3-7F41-9295-75CD633C3A1D}" type="parTrans" cxnId="{C07FB66F-CDF2-E848-BE7A-2FB045D90AE5}">
      <dgm:prSet/>
      <dgm:spPr/>
      <dgm:t>
        <a:bodyPr/>
        <a:lstStyle/>
        <a:p>
          <a:endParaRPr lang="en-US">
            <a:solidFill>
              <a:srgbClr val="000061"/>
            </a:solidFill>
          </a:endParaRPr>
        </a:p>
      </dgm:t>
    </dgm:pt>
    <dgm:pt modelId="{9B3A61CE-A16D-F044-9E7B-9BAB1D24AB87}" type="sibTrans" cxnId="{C07FB66F-CDF2-E848-BE7A-2FB045D90AE5}">
      <dgm:prSet/>
      <dgm:spPr/>
      <dgm:t>
        <a:bodyPr/>
        <a:lstStyle/>
        <a:p>
          <a:endParaRPr lang="en-US">
            <a:solidFill>
              <a:srgbClr val="000061"/>
            </a:solidFill>
          </a:endParaRPr>
        </a:p>
      </dgm:t>
    </dgm:pt>
    <dgm:pt modelId="{3D5AA945-5E7C-7246-A7C1-2F71E3214CDE}">
      <dgm:prSet phldrT="[Text]" custT="1"/>
      <dgm:spPr/>
      <dgm:t>
        <a:bodyPr/>
        <a:lstStyle/>
        <a:p>
          <a:r>
            <a:rPr lang="en-US" sz="1800" dirty="0" smtClean="0">
              <a:solidFill>
                <a:srgbClr val="000061"/>
              </a:solidFill>
            </a:rPr>
            <a:t>Published guidelines from 123 countries* and recommendations from 49 countries</a:t>
          </a:r>
          <a:endParaRPr lang="en-US" sz="1800" dirty="0">
            <a:solidFill>
              <a:srgbClr val="000061"/>
            </a:solidFill>
          </a:endParaRPr>
        </a:p>
      </dgm:t>
    </dgm:pt>
    <dgm:pt modelId="{73063D0F-0C77-214C-B553-09683EDB6AE9}" type="parTrans" cxnId="{B7388999-0C00-A74F-89D8-3FEB4A3AC61A}">
      <dgm:prSet/>
      <dgm:spPr/>
      <dgm:t>
        <a:bodyPr/>
        <a:lstStyle/>
        <a:p>
          <a:endParaRPr lang="en-US">
            <a:solidFill>
              <a:srgbClr val="000061"/>
            </a:solidFill>
          </a:endParaRPr>
        </a:p>
      </dgm:t>
    </dgm:pt>
    <dgm:pt modelId="{7F3E19F3-8C3D-7B49-8620-A893F60A0D89}" type="sibTrans" cxnId="{B7388999-0C00-A74F-89D8-3FEB4A3AC61A}">
      <dgm:prSet/>
      <dgm:spPr/>
      <dgm:t>
        <a:bodyPr/>
        <a:lstStyle/>
        <a:p>
          <a:endParaRPr lang="en-US">
            <a:solidFill>
              <a:srgbClr val="000061"/>
            </a:solidFill>
          </a:endParaRPr>
        </a:p>
      </dgm:t>
    </dgm:pt>
    <dgm:pt modelId="{BD74296E-4989-F443-8A20-EDE9A1AAE02F}" type="pres">
      <dgm:prSet presAssocID="{B8562F61-9F3C-3942-8B4E-FD0F26A0E4B7}" presName="cycle" presStyleCnt="0">
        <dgm:presLayoutVars>
          <dgm:chMax val="1"/>
          <dgm:dir/>
          <dgm:animLvl val="ctr"/>
          <dgm:resizeHandles val="exact"/>
        </dgm:presLayoutVars>
      </dgm:prSet>
      <dgm:spPr/>
      <dgm:t>
        <a:bodyPr/>
        <a:lstStyle/>
        <a:p>
          <a:endParaRPr lang="en-US"/>
        </a:p>
      </dgm:t>
    </dgm:pt>
    <dgm:pt modelId="{4D204F58-3A6C-8C4E-A594-73F9BC9AC568}" type="pres">
      <dgm:prSet presAssocID="{3D5AA945-5E7C-7246-A7C1-2F71E3214CDE}" presName="centerShape" presStyleLbl="node0" presStyleIdx="0" presStyleCnt="1" custScaleX="142571" custScaleY="81912" custLinFactNeighborX="-182" custLinFactNeighborY="-14812"/>
      <dgm:spPr/>
      <dgm:t>
        <a:bodyPr/>
        <a:lstStyle/>
        <a:p>
          <a:endParaRPr lang="en-US"/>
        </a:p>
      </dgm:t>
    </dgm:pt>
    <dgm:pt modelId="{CAF7A6BB-93E1-3241-B589-597CE2D84D8F}" type="pres">
      <dgm:prSet presAssocID="{68625371-DAA0-5446-BA6F-2451D0BA5E74}" presName="parTrans" presStyleLbl="bgSibTrans2D1" presStyleIdx="0" presStyleCnt="4"/>
      <dgm:spPr/>
      <dgm:t>
        <a:bodyPr/>
        <a:lstStyle/>
        <a:p>
          <a:endParaRPr lang="en-US"/>
        </a:p>
      </dgm:t>
    </dgm:pt>
    <dgm:pt modelId="{B6055C23-4DA6-2543-AF99-14580816AB73}" type="pres">
      <dgm:prSet presAssocID="{23C375CD-0163-624C-88A3-7A5A8B205421}" presName="node" presStyleLbl="node1" presStyleIdx="0" presStyleCnt="4" custScaleY="47851" custRadScaleRad="115836" custRadScaleInc="2670">
        <dgm:presLayoutVars>
          <dgm:bulletEnabled val="1"/>
        </dgm:presLayoutVars>
      </dgm:prSet>
      <dgm:spPr/>
      <dgm:t>
        <a:bodyPr/>
        <a:lstStyle/>
        <a:p>
          <a:endParaRPr lang="en-US"/>
        </a:p>
      </dgm:t>
    </dgm:pt>
    <dgm:pt modelId="{3E18655B-00F1-CA4D-9E32-04F2AC96F6BC}" type="pres">
      <dgm:prSet presAssocID="{F4B86427-43F1-8140-9709-E56E22BBE3E5}" presName="parTrans" presStyleLbl="bgSibTrans2D1" presStyleIdx="1" presStyleCnt="4"/>
      <dgm:spPr/>
      <dgm:t>
        <a:bodyPr/>
        <a:lstStyle/>
        <a:p>
          <a:endParaRPr lang="en-US"/>
        </a:p>
      </dgm:t>
    </dgm:pt>
    <dgm:pt modelId="{E71D5E0E-2E3B-294F-813C-F811B751B206}" type="pres">
      <dgm:prSet presAssocID="{D177234F-B417-BC4A-828E-EDD200488CA7}" presName="node" presStyleLbl="node1" presStyleIdx="1" presStyleCnt="4" custScaleY="35222">
        <dgm:presLayoutVars>
          <dgm:bulletEnabled val="1"/>
        </dgm:presLayoutVars>
      </dgm:prSet>
      <dgm:spPr/>
      <dgm:t>
        <a:bodyPr/>
        <a:lstStyle/>
        <a:p>
          <a:endParaRPr lang="en-US"/>
        </a:p>
      </dgm:t>
    </dgm:pt>
    <dgm:pt modelId="{6B9909EE-3C87-1145-A43B-31397737CAC0}" type="pres">
      <dgm:prSet presAssocID="{647E9888-A212-AF4A-AEB9-D799408D0060}" presName="parTrans" presStyleLbl="bgSibTrans2D1" presStyleIdx="2" presStyleCnt="4"/>
      <dgm:spPr/>
      <dgm:t>
        <a:bodyPr/>
        <a:lstStyle/>
        <a:p>
          <a:endParaRPr lang="en-US"/>
        </a:p>
      </dgm:t>
    </dgm:pt>
    <dgm:pt modelId="{F3CCB144-68B2-D343-BDAF-13BF43476B05}" type="pres">
      <dgm:prSet presAssocID="{C928E666-977C-744F-B362-494B7BF6028A}" presName="node" presStyleLbl="node1" presStyleIdx="2" presStyleCnt="4" custScaleY="36850">
        <dgm:presLayoutVars>
          <dgm:bulletEnabled val="1"/>
        </dgm:presLayoutVars>
      </dgm:prSet>
      <dgm:spPr/>
      <dgm:t>
        <a:bodyPr/>
        <a:lstStyle/>
        <a:p>
          <a:endParaRPr lang="en-US"/>
        </a:p>
      </dgm:t>
    </dgm:pt>
    <dgm:pt modelId="{858F7BAE-3A8A-BD4D-995F-9F268C817DE8}" type="pres">
      <dgm:prSet presAssocID="{629EE7CA-C7B3-7F41-9295-75CD633C3A1D}" presName="parTrans" presStyleLbl="bgSibTrans2D1" presStyleIdx="3" presStyleCnt="4" custScaleX="62051" custLinFactNeighborX="-13041"/>
      <dgm:spPr/>
      <dgm:t>
        <a:bodyPr/>
        <a:lstStyle/>
        <a:p>
          <a:endParaRPr lang="en-US"/>
        </a:p>
      </dgm:t>
    </dgm:pt>
    <dgm:pt modelId="{B9802CF8-F899-0C4C-8577-5CC85EEBA58A}" type="pres">
      <dgm:prSet presAssocID="{102FCA27-D966-394B-970F-05714B6BF4CC}" presName="node" presStyleLbl="node1" presStyleIdx="3" presStyleCnt="4" custScaleY="44877" custRadScaleRad="118878" custRadScaleInc="-2770">
        <dgm:presLayoutVars>
          <dgm:bulletEnabled val="1"/>
        </dgm:presLayoutVars>
      </dgm:prSet>
      <dgm:spPr/>
      <dgm:t>
        <a:bodyPr/>
        <a:lstStyle/>
        <a:p>
          <a:endParaRPr lang="en-US"/>
        </a:p>
      </dgm:t>
    </dgm:pt>
  </dgm:ptLst>
  <dgm:cxnLst>
    <dgm:cxn modelId="{4522CFE4-E550-7D49-B57A-1C78CF7375CD}" srcId="{3D5AA945-5E7C-7246-A7C1-2F71E3214CDE}" destId="{C928E666-977C-744F-B362-494B7BF6028A}" srcOrd="2" destOrd="0" parTransId="{647E9888-A212-AF4A-AEB9-D799408D0060}" sibTransId="{FEF982EB-F350-5445-8ECA-44823A3513CB}"/>
    <dgm:cxn modelId="{5D49FE3E-3002-4BC6-836D-D7AE05BA9E92}" type="presOf" srcId="{D177234F-B417-BC4A-828E-EDD200488CA7}" destId="{E71D5E0E-2E3B-294F-813C-F811B751B206}" srcOrd="0" destOrd="0" presId="urn:microsoft.com/office/officeart/2005/8/layout/radial4"/>
    <dgm:cxn modelId="{091FD4FA-BB35-0946-B328-F30C13D8E13C}" srcId="{3D5AA945-5E7C-7246-A7C1-2F71E3214CDE}" destId="{D177234F-B417-BC4A-828E-EDD200488CA7}" srcOrd="1" destOrd="0" parTransId="{F4B86427-43F1-8140-9709-E56E22BBE3E5}" sibTransId="{E6D2D4E2-4936-9440-8C72-9116B62DA462}"/>
    <dgm:cxn modelId="{7E0745B3-7736-49BC-ABCA-ED9D70B2E0C6}" type="presOf" srcId="{3D5AA945-5E7C-7246-A7C1-2F71E3214CDE}" destId="{4D204F58-3A6C-8C4E-A594-73F9BC9AC568}" srcOrd="0" destOrd="0" presId="urn:microsoft.com/office/officeart/2005/8/layout/radial4"/>
    <dgm:cxn modelId="{C07FB66F-CDF2-E848-BE7A-2FB045D90AE5}" srcId="{3D5AA945-5E7C-7246-A7C1-2F71E3214CDE}" destId="{102FCA27-D966-394B-970F-05714B6BF4CC}" srcOrd="3" destOrd="0" parTransId="{629EE7CA-C7B3-7F41-9295-75CD633C3A1D}" sibTransId="{9B3A61CE-A16D-F044-9E7B-9BAB1D24AB87}"/>
    <dgm:cxn modelId="{430FA9B5-DE1A-7D45-84F7-53F3A0F56425}" srcId="{3D5AA945-5E7C-7246-A7C1-2F71E3214CDE}" destId="{23C375CD-0163-624C-88A3-7A5A8B205421}" srcOrd="0" destOrd="0" parTransId="{68625371-DAA0-5446-BA6F-2451D0BA5E74}" sibTransId="{35BDD671-E747-2344-8CB8-F92D703E13ED}"/>
    <dgm:cxn modelId="{2E19EAE8-94FA-4016-B006-30EB2C6CFB50}" type="presOf" srcId="{629EE7CA-C7B3-7F41-9295-75CD633C3A1D}" destId="{858F7BAE-3A8A-BD4D-995F-9F268C817DE8}" srcOrd="0" destOrd="0" presId="urn:microsoft.com/office/officeart/2005/8/layout/radial4"/>
    <dgm:cxn modelId="{66D327EB-882C-43D1-B29B-E65746528436}" type="presOf" srcId="{68625371-DAA0-5446-BA6F-2451D0BA5E74}" destId="{CAF7A6BB-93E1-3241-B589-597CE2D84D8F}" srcOrd="0" destOrd="0" presId="urn:microsoft.com/office/officeart/2005/8/layout/radial4"/>
    <dgm:cxn modelId="{B7388999-0C00-A74F-89D8-3FEB4A3AC61A}" srcId="{B8562F61-9F3C-3942-8B4E-FD0F26A0E4B7}" destId="{3D5AA945-5E7C-7246-A7C1-2F71E3214CDE}" srcOrd="0" destOrd="0" parTransId="{73063D0F-0C77-214C-B553-09683EDB6AE9}" sibTransId="{7F3E19F3-8C3D-7B49-8620-A893F60A0D89}"/>
    <dgm:cxn modelId="{0E7B6BF0-25DA-464C-9DF1-8828FFA3B3C2}" type="presOf" srcId="{B8562F61-9F3C-3942-8B4E-FD0F26A0E4B7}" destId="{BD74296E-4989-F443-8A20-EDE9A1AAE02F}" srcOrd="0" destOrd="0" presId="urn:microsoft.com/office/officeart/2005/8/layout/radial4"/>
    <dgm:cxn modelId="{E6202E68-1443-46A4-99F8-6F87F569955E}" type="presOf" srcId="{102FCA27-D966-394B-970F-05714B6BF4CC}" destId="{B9802CF8-F899-0C4C-8577-5CC85EEBA58A}" srcOrd="0" destOrd="0" presId="urn:microsoft.com/office/officeart/2005/8/layout/radial4"/>
    <dgm:cxn modelId="{48112E6A-F5B2-44D4-B299-678A93B7FDC2}" type="presOf" srcId="{C928E666-977C-744F-B362-494B7BF6028A}" destId="{F3CCB144-68B2-D343-BDAF-13BF43476B05}" srcOrd="0" destOrd="0" presId="urn:microsoft.com/office/officeart/2005/8/layout/radial4"/>
    <dgm:cxn modelId="{2AB1E41D-32B2-4D24-972D-A697F174A74A}" type="presOf" srcId="{23C375CD-0163-624C-88A3-7A5A8B205421}" destId="{B6055C23-4DA6-2543-AF99-14580816AB73}" srcOrd="0" destOrd="0" presId="urn:microsoft.com/office/officeart/2005/8/layout/radial4"/>
    <dgm:cxn modelId="{570C0A93-3564-446A-9DAD-CE860382C403}" type="presOf" srcId="{F4B86427-43F1-8140-9709-E56E22BBE3E5}" destId="{3E18655B-00F1-CA4D-9E32-04F2AC96F6BC}" srcOrd="0" destOrd="0" presId="urn:microsoft.com/office/officeart/2005/8/layout/radial4"/>
    <dgm:cxn modelId="{8230B7B4-DD5F-4FAC-B7BC-8578FF0F9E92}" type="presOf" srcId="{647E9888-A212-AF4A-AEB9-D799408D0060}" destId="{6B9909EE-3C87-1145-A43B-31397737CAC0}" srcOrd="0" destOrd="0" presId="urn:microsoft.com/office/officeart/2005/8/layout/radial4"/>
    <dgm:cxn modelId="{52FF323F-ADF5-45B2-B2B4-E57528A0DF52}" type="presParOf" srcId="{BD74296E-4989-F443-8A20-EDE9A1AAE02F}" destId="{4D204F58-3A6C-8C4E-A594-73F9BC9AC568}" srcOrd="0" destOrd="0" presId="urn:microsoft.com/office/officeart/2005/8/layout/radial4"/>
    <dgm:cxn modelId="{5773C1E1-9F16-4901-8A97-3E6C5F38F1B8}" type="presParOf" srcId="{BD74296E-4989-F443-8A20-EDE9A1AAE02F}" destId="{CAF7A6BB-93E1-3241-B589-597CE2D84D8F}" srcOrd="1" destOrd="0" presId="urn:microsoft.com/office/officeart/2005/8/layout/radial4"/>
    <dgm:cxn modelId="{6C5D7F02-898C-46B8-86F9-EA2EC449B8D2}" type="presParOf" srcId="{BD74296E-4989-F443-8A20-EDE9A1AAE02F}" destId="{B6055C23-4DA6-2543-AF99-14580816AB73}" srcOrd="2" destOrd="0" presId="urn:microsoft.com/office/officeart/2005/8/layout/radial4"/>
    <dgm:cxn modelId="{DBF97C52-BF1E-4ED7-A061-9C39DE2910F7}" type="presParOf" srcId="{BD74296E-4989-F443-8A20-EDE9A1AAE02F}" destId="{3E18655B-00F1-CA4D-9E32-04F2AC96F6BC}" srcOrd="3" destOrd="0" presId="urn:microsoft.com/office/officeart/2005/8/layout/radial4"/>
    <dgm:cxn modelId="{D8683A47-BF79-4B3B-8E28-17781D250B42}" type="presParOf" srcId="{BD74296E-4989-F443-8A20-EDE9A1AAE02F}" destId="{E71D5E0E-2E3B-294F-813C-F811B751B206}" srcOrd="4" destOrd="0" presId="urn:microsoft.com/office/officeart/2005/8/layout/radial4"/>
    <dgm:cxn modelId="{1569828B-49F2-4FBB-BE93-C7BAEA6919D5}" type="presParOf" srcId="{BD74296E-4989-F443-8A20-EDE9A1AAE02F}" destId="{6B9909EE-3C87-1145-A43B-31397737CAC0}" srcOrd="5" destOrd="0" presId="urn:microsoft.com/office/officeart/2005/8/layout/radial4"/>
    <dgm:cxn modelId="{FD0D50AC-DC61-46D7-A71E-71ACC62B8038}" type="presParOf" srcId="{BD74296E-4989-F443-8A20-EDE9A1AAE02F}" destId="{F3CCB144-68B2-D343-BDAF-13BF43476B05}" srcOrd="6" destOrd="0" presId="urn:microsoft.com/office/officeart/2005/8/layout/radial4"/>
    <dgm:cxn modelId="{882CB33B-307F-42AF-90A1-55346507C8E8}" type="presParOf" srcId="{BD74296E-4989-F443-8A20-EDE9A1AAE02F}" destId="{858F7BAE-3A8A-BD4D-995F-9F268C817DE8}" srcOrd="7" destOrd="0" presId="urn:microsoft.com/office/officeart/2005/8/layout/radial4"/>
    <dgm:cxn modelId="{8A49C6D3-0AEF-443A-8D00-2E869A049020}" type="presParOf" srcId="{BD74296E-4989-F443-8A20-EDE9A1AAE02F}" destId="{B9802CF8-F899-0C4C-8577-5CC85EEBA58A}" srcOrd="8"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1E65515-E9DA-7E4A-9C09-083FF9CA73BE}" type="doc">
      <dgm:prSet loTypeId="urn:microsoft.com/office/officeart/2005/8/layout/process1" loCatId="" qsTypeId="urn:microsoft.com/office/officeart/2005/8/quickstyle/simple3" qsCatId="simple" csTypeId="urn:microsoft.com/office/officeart/2005/8/colors/accent6_2" csCatId="accent6" phldr="1"/>
      <dgm:spPr/>
    </dgm:pt>
    <dgm:pt modelId="{BF7EB570-A9F9-0149-8411-5E121545391A}">
      <dgm:prSet phldrT="[Text]" custT="1"/>
      <dgm:spPr/>
      <dgm:t>
        <a:bodyPr/>
        <a:lstStyle/>
        <a:p>
          <a:r>
            <a:rPr lang="en-US" sz="1200" b="1" dirty="0" smtClean="0"/>
            <a:t>2017</a:t>
          </a:r>
          <a:endParaRPr lang="en-US" sz="1200" b="1" dirty="0"/>
        </a:p>
      </dgm:t>
    </dgm:pt>
    <dgm:pt modelId="{EDEE7229-7EDC-4440-9CCD-1974E9093EDC}" type="parTrans" cxnId="{B9435CC9-16EA-E74A-BEB1-AFE5ECC374C6}">
      <dgm:prSet/>
      <dgm:spPr/>
      <dgm:t>
        <a:bodyPr/>
        <a:lstStyle/>
        <a:p>
          <a:endParaRPr lang="en-US" sz="1600" b="1"/>
        </a:p>
      </dgm:t>
    </dgm:pt>
    <dgm:pt modelId="{FA9CD82E-088B-EF4B-8AAC-B86055DA4C81}" type="sibTrans" cxnId="{B9435CC9-16EA-E74A-BEB1-AFE5ECC374C6}">
      <dgm:prSet/>
      <dgm:spPr/>
      <dgm:t>
        <a:bodyPr/>
        <a:lstStyle/>
        <a:p>
          <a:endParaRPr lang="en-US" sz="1600" b="1"/>
        </a:p>
      </dgm:t>
    </dgm:pt>
    <dgm:pt modelId="{4A8B4FE5-070D-A64E-8317-A7B201BB275F}" type="pres">
      <dgm:prSet presAssocID="{01E65515-E9DA-7E4A-9C09-083FF9CA73BE}" presName="Name0" presStyleCnt="0">
        <dgm:presLayoutVars>
          <dgm:dir/>
          <dgm:resizeHandles val="exact"/>
        </dgm:presLayoutVars>
      </dgm:prSet>
      <dgm:spPr/>
    </dgm:pt>
    <dgm:pt modelId="{29925138-305F-AE40-A776-12638446ABB6}" type="pres">
      <dgm:prSet presAssocID="{BF7EB570-A9F9-0149-8411-5E121545391A}" presName="node" presStyleLbl="node1" presStyleIdx="0" presStyleCnt="1" custLinFactNeighborX="-1914">
        <dgm:presLayoutVars>
          <dgm:bulletEnabled val="1"/>
        </dgm:presLayoutVars>
      </dgm:prSet>
      <dgm:spPr/>
      <dgm:t>
        <a:bodyPr/>
        <a:lstStyle/>
        <a:p>
          <a:endParaRPr lang="en-US"/>
        </a:p>
      </dgm:t>
    </dgm:pt>
  </dgm:ptLst>
  <dgm:cxnLst>
    <dgm:cxn modelId="{0563AA68-E452-0C4A-BD0A-EF56BB039430}" type="presOf" srcId="{01E65515-E9DA-7E4A-9C09-083FF9CA73BE}" destId="{4A8B4FE5-070D-A64E-8317-A7B201BB275F}" srcOrd="0" destOrd="0" presId="urn:microsoft.com/office/officeart/2005/8/layout/process1"/>
    <dgm:cxn modelId="{B9435CC9-16EA-E74A-BEB1-AFE5ECC374C6}" srcId="{01E65515-E9DA-7E4A-9C09-083FF9CA73BE}" destId="{BF7EB570-A9F9-0149-8411-5E121545391A}" srcOrd="0" destOrd="0" parTransId="{EDEE7229-7EDC-4440-9CCD-1974E9093EDC}" sibTransId="{FA9CD82E-088B-EF4B-8AAC-B86055DA4C81}"/>
    <dgm:cxn modelId="{687349FF-94A9-E740-8E5D-B01F033E66F8}" type="presOf" srcId="{BF7EB570-A9F9-0149-8411-5E121545391A}" destId="{29925138-305F-AE40-A776-12638446ABB6}" srcOrd="0" destOrd="0" presId="urn:microsoft.com/office/officeart/2005/8/layout/process1"/>
    <dgm:cxn modelId="{B100CD4F-FB82-1340-90A9-BE898CEB4509}" type="presParOf" srcId="{4A8B4FE5-070D-A64E-8317-A7B201BB275F}" destId="{29925138-305F-AE40-A776-12638446ABB6}" srcOrd="0" destOrd="0" presId="urn:microsoft.com/office/officeart/2005/8/layout/process1"/>
  </dgm:cxnLst>
  <dgm:bg>
    <a:solidFill>
      <a:srgbClr val="FFFFFF"/>
    </a:solidFill>
  </dgm:bg>
  <dgm:whole>
    <a:ln>
      <a:noFill/>
    </a:ln>
  </dgm:whole>
  <dgm:extLst>
    <a:ext uri="http://schemas.microsoft.com/office/drawing/2008/diagram">
      <dsp:dataModelExt xmlns:dsp="http://schemas.microsoft.com/office/drawing/2008/diagram" relId="rId4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E65515-E9DA-7E4A-9C09-083FF9CA73BE}" type="doc">
      <dgm:prSet loTypeId="urn:microsoft.com/office/officeart/2005/8/layout/process1" loCatId="" qsTypeId="urn:microsoft.com/office/officeart/2005/8/quickstyle/simple3" qsCatId="simple" csTypeId="urn:microsoft.com/office/officeart/2005/8/colors/accent6_2" csCatId="accent6" phldr="1"/>
      <dgm:spPr/>
    </dgm:pt>
    <dgm:pt modelId="{BF7EB570-A9F9-0149-8411-5E121545391A}">
      <dgm:prSet phldrT="[Text]" custT="1"/>
      <dgm:spPr/>
      <dgm:t>
        <a:bodyPr/>
        <a:lstStyle/>
        <a:p>
          <a:r>
            <a:rPr lang="en-US" sz="1200" b="1" dirty="0" smtClean="0"/>
            <a:t>2004-2009</a:t>
          </a:r>
          <a:endParaRPr lang="en-US" sz="1200" b="1" dirty="0"/>
        </a:p>
      </dgm:t>
    </dgm:pt>
    <dgm:pt modelId="{EDEE7229-7EDC-4440-9CCD-1974E9093EDC}" type="parTrans" cxnId="{B9435CC9-16EA-E74A-BEB1-AFE5ECC374C6}">
      <dgm:prSet/>
      <dgm:spPr/>
      <dgm:t>
        <a:bodyPr/>
        <a:lstStyle/>
        <a:p>
          <a:endParaRPr lang="en-US" sz="1600" b="1"/>
        </a:p>
      </dgm:t>
    </dgm:pt>
    <dgm:pt modelId="{FA9CD82E-088B-EF4B-8AAC-B86055DA4C81}" type="sibTrans" cxnId="{B9435CC9-16EA-E74A-BEB1-AFE5ECC374C6}">
      <dgm:prSet/>
      <dgm:spPr/>
      <dgm:t>
        <a:bodyPr/>
        <a:lstStyle/>
        <a:p>
          <a:endParaRPr lang="en-US" sz="1600" b="1"/>
        </a:p>
      </dgm:t>
    </dgm:pt>
    <dgm:pt modelId="{4A8B4FE5-070D-A64E-8317-A7B201BB275F}" type="pres">
      <dgm:prSet presAssocID="{01E65515-E9DA-7E4A-9C09-083FF9CA73BE}" presName="Name0" presStyleCnt="0">
        <dgm:presLayoutVars>
          <dgm:dir/>
          <dgm:resizeHandles val="exact"/>
        </dgm:presLayoutVars>
      </dgm:prSet>
      <dgm:spPr/>
    </dgm:pt>
    <dgm:pt modelId="{29925138-305F-AE40-A776-12638446ABB6}" type="pres">
      <dgm:prSet presAssocID="{BF7EB570-A9F9-0149-8411-5E121545391A}" presName="node" presStyleLbl="node1" presStyleIdx="0" presStyleCnt="1" custScaleX="97866" custLinFactNeighborX="-9630">
        <dgm:presLayoutVars>
          <dgm:bulletEnabled val="1"/>
        </dgm:presLayoutVars>
      </dgm:prSet>
      <dgm:spPr/>
      <dgm:t>
        <a:bodyPr/>
        <a:lstStyle/>
        <a:p>
          <a:endParaRPr lang="en-US"/>
        </a:p>
      </dgm:t>
    </dgm:pt>
  </dgm:ptLst>
  <dgm:cxnLst>
    <dgm:cxn modelId="{B9314A25-F7D3-C34A-ADE7-156944A9CA48}" type="presOf" srcId="{01E65515-E9DA-7E4A-9C09-083FF9CA73BE}" destId="{4A8B4FE5-070D-A64E-8317-A7B201BB275F}" srcOrd="0" destOrd="0" presId="urn:microsoft.com/office/officeart/2005/8/layout/process1"/>
    <dgm:cxn modelId="{2D1A134B-F39D-564F-880B-4A8966391CD9}" type="presOf" srcId="{BF7EB570-A9F9-0149-8411-5E121545391A}" destId="{29925138-305F-AE40-A776-12638446ABB6}" srcOrd="0" destOrd="0" presId="urn:microsoft.com/office/officeart/2005/8/layout/process1"/>
    <dgm:cxn modelId="{B9435CC9-16EA-E74A-BEB1-AFE5ECC374C6}" srcId="{01E65515-E9DA-7E4A-9C09-083FF9CA73BE}" destId="{BF7EB570-A9F9-0149-8411-5E121545391A}" srcOrd="0" destOrd="0" parTransId="{EDEE7229-7EDC-4440-9CCD-1974E9093EDC}" sibTransId="{FA9CD82E-088B-EF4B-8AAC-B86055DA4C81}"/>
    <dgm:cxn modelId="{0C4D7A30-7423-914C-B87F-41FFC77A49D6}" type="presParOf" srcId="{4A8B4FE5-070D-A64E-8317-A7B201BB275F}" destId="{29925138-305F-AE40-A776-12638446ABB6}" srcOrd="0"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E65515-E9DA-7E4A-9C09-083FF9CA73BE}" type="doc">
      <dgm:prSet loTypeId="urn:microsoft.com/office/officeart/2005/8/layout/process1" loCatId="" qsTypeId="urn:microsoft.com/office/officeart/2005/8/quickstyle/simple3" qsCatId="simple" csTypeId="urn:microsoft.com/office/officeart/2005/8/colors/accent6_2" csCatId="accent6" phldr="1"/>
      <dgm:spPr/>
    </dgm:pt>
    <dgm:pt modelId="{BF7EB570-A9F9-0149-8411-5E121545391A}">
      <dgm:prSet phldrT="[Text]" custT="1"/>
      <dgm:spPr/>
      <dgm:t>
        <a:bodyPr/>
        <a:lstStyle/>
        <a:p>
          <a:r>
            <a:rPr lang="en-US" sz="1200" b="1" dirty="0" smtClean="0"/>
            <a:t>2010</a:t>
          </a:r>
          <a:endParaRPr lang="en-US" sz="1200" b="1" dirty="0"/>
        </a:p>
      </dgm:t>
    </dgm:pt>
    <dgm:pt modelId="{EDEE7229-7EDC-4440-9CCD-1974E9093EDC}" type="parTrans" cxnId="{B9435CC9-16EA-E74A-BEB1-AFE5ECC374C6}">
      <dgm:prSet/>
      <dgm:spPr/>
      <dgm:t>
        <a:bodyPr/>
        <a:lstStyle/>
        <a:p>
          <a:endParaRPr lang="en-US" sz="1600" b="1"/>
        </a:p>
      </dgm:t>
    </dgm:pt>
    <dgm:pt modelId="{FA9CD82E-088B-EF4B-8AAC-B86055DA4C81}" type="sibTrans" cxnId="{B9435CC9-16EA-E74A-BEB1-AFE5ECC374C6}">
      <dgm:prSet/>
      <dgm:spPr/>
      <dgm:t>
        <a:bodyPr/>
        <a:lstStyle/>
        <a:p>
          <a:endParaRPr lang="en-US" sz="1600" b="1"/>
        </a:p>
      </dgm:t>
    </dgm:pt>
    <dgm:pt modelId="{4A8B4FE5-070D-A64E-8317-A7B201BB275F}" type="pres">
      <dgm:prSet presAssocID="{01E65515-E9DA-7E4A-9C09-083FF9CA73BE}" presName="Name0" presStyleCnt="0">
        <dgm:presLayoutVars>
          <dgm:dir/>
          <dgm:resizeHandles val="exact"/>
        </dgm:presLayoutVars>
      </dgm:prSet>
      <dgm:spPr/>
    </dgm:pt>
    <dgm:pt modelId="{29925138-305F-AE40-A776-12638446ABB6}" type="pres">
      <dgm:prSet presAssocID="{BF7EB570-A9F9-0149-8411-5E121545391A}" presName="node" presStyleLbl="node1" presStyleIdx="0" presStyleCnt="1" custLinFactNeighborX="-52330" custLinFactNeighborY="253">
        <dgm:presLayoutVars>
          <dgm:bulletEnabled val="1"/>
        </dgm:presLayoutVars>
      </dgm:prSet>
      <dgm:spPr/>
      <dgm:t>
        <a:bodyPr/>
        <a:lstStyle/>
        <a:p>
          <a:endParaRPr lang="en-US"/>
        </a:p>
      </dgm:t>
    </dgm:pt>
  </dgm:ptLst>
  <dgm:cxnLst>
    <dgm:cxn modelId="{8C26A7FA-C22A-F14F-A0CF-CAC05C109873}" type="presOf" srcId="{BF7EB570-A9F9-0149-8411-5E121545391A}" destId="{29925138-305F-AE40-A776-12638446ABB6}" srcOrd="0" destOrd="0" presId="urn:microsoft.com/office/officeart/2005/8/layout/process1"/>
    <dgm:cxn modelId="{3F6AA1B5-FB4E-A846-A165-98497FEDFDAB}" type="presOf" srcId="{01E65515-E9DA-7E4A-9C09-083FF9CA73BE}" destId="{4A8B4FE5-070D-A64E-8317-A7B201BB275F}" srcOrd="0" destOrd="0" presId="urn:microsoft.com/office/officeart/2005/8/layout/process1"/>
    <dgm:cxn modelId="{B9435CC9-16EA-E74A-BEB1-AFE5ECC374C6}" srcId="{01E65515-E9DA-7E4A-9C09-083FF9CA73BE}" destId="{BF7EB570-A9F9-0149-8411-5E121545391A}" srcOrd="0" destOrd="0" parTransId="{EDEE7229-7EDC-4440-9CCD-1974E9093EDC}" sibTransId="{FA9CD82E-088B-EF4B-8AAC-B86055DA4C81}"/>
    <dgm:cxn modelId="{4965CFCB-6C52-1D45-9986-5BE187DB68FE}" type="presParOf" srcId="{4A8B4FE5-070D-A64E-8317-A7B201BB275F}" destId="{29925138-305F-AE40-A776-12638446ABB6}" srcOrd="0"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E65515-E9DA-7E4A-9C09-083FF9CA73BE}" type="doc">
      <dgm:prSet loTypeId="urn:microsoft.com/office/officeart/2005/8/layout/process1" loCatId="" qsTypeId="urn:microsoft.com/office/officeart/2005/8/quickstyle/simple3" qsCatId="simple" csTypeId="urn:microsoft.com/office/officeart/2005/8/colors/accent6_2" csCatId="accent6" phldr="1"/>
      <dgm:spPr/>
    </dgm:pt>
    <dgm:pt modelId="{BF7EB570-A9F9-0149-8411-5E121545391A}">
      <dgm:prSet phldrT="[Text]" custT="1"/>
      <dgm:spPr/>
      <dgm:t>
        <a:bodyPr/>
        <a:lstStyle/>
        <a:p>
          <a:r>
            <a:rPr lang="en-US" sz="1200" b="1" dirty="0" smtClean="0"/>
            <a:t>2011</a:t>
          </a:r>
          <a:endParaRPr lang="en-US" sz="1200" b="1" dirty="0"/>
        </a:p>
      </dgm:t>
    </dgm:pt>
    <dgm:pt modelId="{EDEE7229-7EDC-4440-9CCD-1974E9093EDC}" type="parTrans" cxnId="{B9435CC9-16EA-E74A-BEB1-AFE5ECC374C6}">
      <dgm:prSet/>
      <dgm:spPr/>
      <dgm:t>
        <a:bodyPr/>
        <a:lstStyle/>
        <a:p>
          <a:endParaRPr lang="en-US" sz="1600" b="1"/>
        </a:p>
      </dgm:t>
    </dgm:pt>
    <dgm:pt modelId="{FA9CD82E-088B-EF4B-8AAC-B86055DA4C81}" type="sibTrans" cxnId="{B9435CC9-16EA-E74A-BEB1-AFE5ECC374C6}">
      <dgm:prSet/>
      <dgm:spPr/>
      <dgm:t>
        <a:bodyPr/>
        <a:lstStyle/>
        <a:p>
          <a:endParaRPr lang="en-US" sz="1600" b="1"/>
        </a:p>
      </dgm:t>
    </dgm:pt>
    <dgm:pt modelId="{4A8B4FE5-070D-A64E-8317-A7B201BB275F}" type="pres">
      <dgm:prSet presAssocID="{01E65515-E9DA-7E4A-9C09-083FF9CA73BE}" presName="Name0" presStyleCnt="0">
        <dgm:presLayoutVars>
          <dgm:dir/>
          <dgm:resizeHandles val="exact"/>
        </dgm:presLayoutVars>
      </dgm:prSet>
      <dgm:spPr/>
    </dgm:pt>
    <dgm:pt modelId="{29925138-305F-AE40-A776-12638446ABB6}" type="pres">
      <dgm:prSet presAssocID="{BF7EB570-A9F9-0149-8411-5E121545391A}" presName="node" presStyleLbl="node1" presStyleIdx="0" presStyleCnt="1" custScaleX="97771" custLinFactNeighborX="-9630">
        <dgm:presLayoutVars>
          <dgm:bulletEnabled val="1"/>
        </dgm:presLayoutVars>
      </dgm:prSet>
      <dgm:spPr/>
      <dgm:t>
        <a:bodyPr/>
        <a:lstStyle/>
        <a:p>
          <a:endParaRPr lang="en-US"/>
        </a:p>
      </dgm:t>
    </dgm:pt>
  </dgm:ptLst>
  <dgm:cxnLst>
    <dgm:cxn modelId="{0D22E766-C519-DC4D-A143-1CE7998DC6E5}" type="presOf" srcId="{BF7EB570-A9F9-0149-8411-5E121545391A}" destId="{29925138-305F-AE40-A776-12638446ABB6}" srcOrd="0" destOrd="0" presId="urn:microsoft.com/office/officeart/2005/8/layout/process1"/>
    <dgm:cxn modelId="{9E6EAE8C-AEFB-9945-B1D2-95AC3C2BA200}" type="presOf" srcId="{01E65515-E9DA-7E4A-9C09-083FF9CA73BE}" destId="{4A8B4FE5-070D-A64E-8317-A7B201BB275F}" srcOrd="0" destOrd="0" presId="urn:microsoft.com/office/officeart/2005/8/layout/process1"/>
    <dgm:cxn modelId="{B9435CC9-16EA-E74A-BEB1-AFE5ECC374C6}" srcId="{01E65515-E9DA-7E4A-9C09-083FF9CA73BE}" destId="{BF7EB570-A9F9-0149-8411-5E121545391A}" srcOrd="0" destOrd="0" parTransId="{EDEE7229-7EDC-4440-9CCD-1974E9093EDC}" sibTransId="{FA9CD82E-088B-EF4B-8AAC-B86055DA4C81}"/>
    <dgm:cxn modelId="{088B9872-A9D1-DF47-B678-A1B901ED3A06}" type="presParOf" srcId="{4A8B4FE5-070D-A64E-8317-A7B201BB275F}" destId="{29925138-305F-AE40-A776-12638446ABB6}" srcOrd="0" destOrd="0" presId="urn:microsoft.com/office/officeart/2005/8/layout/process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E65515-E9DA-7E4A-9C09-083FF9CA73BE}" type="doc">
      <dgm:prSet loTypeId="urn:microsoft.com/office/officeart/2005/8/layout/process1" loCatId="" qsTypeId="urn:microsoft.com/office/officeart/2005/8/quickstyle/simple3" qsCatId="simple" csTypeId="urn:microsoft.com/office/officeart/2005/8/colors/accent6_2" csCatId="accent6" phldr="1"/>
      <dgm:spPr/>
    </dgm:pt>
    <dgm:pt modelId="{BF7EB570-A9F9-0149-8411-5E121545391A}">
      <dgm:prSet phldrT="[Text]" custT="1"/>
      <dgm:spPr/>
      <dgm:t>
        <a:bodyPr/>
        <a:lstStyle/>
        <a:p>
          <a:r>
            <a:rPr lang="en-US" sz="1200" b="1" dirty="0" smtClean="0"/>
            <a:t>2012</a:t>
          </a:r>
          <a:endParaRPr lang="en-US" sz="1200" b="1" dirty="0"/>
        </a:p>
      </dgm:t>
    </dgm:pt>
    <dgm:pt modelId="{EDEE7229-7EDC-4440-9CCD-1974E9093EDC}" type="parTrans" cxnId="{B9435CC9-16EA-E74A-BEB1-AFE5ECC374C6}">
      <dgm:prSet/>
      <dgm:spPr/>
      <dgm:t>
        <a:bodyPr/>
        <a:lstStyle/>
        <a:p>
          <a:endParaRPr lang="en-US" sz="1600" b="1"/>
        </a:p>
      </dgm:t>
    </dgm:pt>
    <dgm:pt modelId="{FA9CD82E-088B-EF4B-8AAC-B86055DA4C81}" type="sibTrans" cxnId="{B9435CC9-16EA-E74A-BEB1-AFE5ECC374C6}">
      <dgm:prSet/>
      <dgm:spPr/>
      <dgm:t>
        <a:bodyPr/>
        <a:lstStyle/>
        <a:p>
          <a:endParaRPr lang="en-US" sz="1600" b="1"/>
        </a:p>
      </dgm:t>
    </dgm:pt>
    <dgm:pt modelId="{4A8B4FE5-070D-A64E-8317-A7B201BB275F}" type="pres">
      <dgm:prSet presAssocID="{01E65515-E9DA-7E4A-9C09-083FF9CA73BE}" presName="Name0" presStyleCnt="0">
        <dgm:presLayoutVars>
          <dgm:dir/>
          <dgm:resizeHandles val="exact"/>
        </dgm:presLayoutVars>
      </dgm:prSet>
      <dgm:spPr/>
    </dgm:pt>
    <dgm:pt modelId="{29925138-305F-AE40-A776-12638446ABB6}" type="pres">
      <dgm:prSet presAssocID="{BF7EB570-A9F9-0149-8411-5E121545391A}" presName="node" presStyleLbl="node1" presStyleIdx="0" presStyleCnt="1" custScaleX="97771" custLinFactNeighborX="-1163" custLinFactNeighborY="1178">
        <dgm:presLayoutVars>
          <dgm:bulletEnabled val="1"/>
        </dgm:presLayoutVars>
      </dgm:prSet>
      <dgm:spPr/>
      <dgm:t>
        <a:bodyPr/>
        <a:lstStyle/>
        <a:p>
          <a:endParaRPr lang="en-US"/>
        </a:p>
      </dgm:t>
    </dgm:pt>
  </dgm:ptLst>
  <dgm:cxnLst>
    <dgm:cxn modelId="{7952BB0A-A828-2847-B939-C11721300B24}" type="presOf" srcId="{BF7EB570-A9F9-0149-8411-5E121545391A}" destId="{29925138-305F-AE40-A776-12638446ABB6}" srcOrd="0" destOrd="0" presId="urn:microsoft.com/office/officeart/2005/8/layout/process1"/>
    <dgm:cxn modelId="{45699C11-13A2-5942-BC53-01A23D7BEA3E}" type="presOf" srcId="{01E65515-E9DA-7E4A-9C09-083FF9CA73BE}" destId="{4A8B4FE5-070D-A64E-8317-A7B201BB275F}" srcOrd="0" destOrd="0" presId="urn:microsoft.com/office/officeart/2005/8/layout/process1"/>
    <dgm:cxn modelId="{B9435CC9-16EA-E74A-BEB1-AFE5ECC374C6}" srcId="{01E65515-E9DA-7E4A-9C09-083FF9CA73BE}" destId="{BF7EB570-A9F9-0149-8411-5E121545391A}" srcOrd="0" destOrd="0" parTransId="{EDEE7229-7EDC-4440-9CCD-1974E9093EDC}" sibTransId="{FA9CD82E-088B-EF4B-8AAC-B86055DA4C81}"/>
    <dgm:cxn modelId="{C80F230D-E943-6046-A477-EC8056FDEFAD}" type="presParOf" srcId="{4A8B4FE5-070D-A64E-8317-A7B201BB275F}" destId="{29925138-305F-AE40-A776-12638446ABB6}" srcOrd="0" destOrd="0" presId="urn:microsoft.com/office/officeart/2005/8/layout/process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E65515-E9DA-7E4A-9C09-083FF9CA73BE}" type="doc">
      <dgm:prSet loTypeId="urn:microsoft.com/office/officeart/2005/8/layout/process1" loCatId="" qsTypeId="urn:microsoft.com/office/officeart/2005/8/quickstyle/simple3" qsCatId="simple" csTypeId="urn:microsoft.com/office/officeart/2005/8/colors/accent6_2" csCatId="accent6" phldr="1"/>
      <dgm:spPr/>
    </dgm:pt>
    <dgm:pt modelId="{BF7EB570-A9F9-0149-8411-5E121545391A}">
      <dgm:prSet phldrT="[Text]" custT="1"/>
      <dgm:spPr/>
      <dgm:t>
        <a:bodyPr/>
        <a:lstStyle/>
        <a:p>
          <a:r>
            <a:rPr lang="en-US" sz="1200" b="1" dirty="0" smtClean="0"/>
            <a:t>2013</a:t>
          </a:r>
          <a:endParaRPr lang="en-US" sz="1200" b="1" dirty="0"/>
        </a:p>
      </dgm:t>
    </dgm:pt>
    <dgm:pt modelId="{EDEE7229-7EDC-4440-9CCD-1974E9093EDC}" type="parTrans" cxnId="{B9435CC9-16EA-E74A-BEB1-AFE5ECC374C6}">
      <dgm:prSet/>
      <dgm:spPr/>
      <dgm:t>
        <a:bodyPr/>
        <a:lstStyle/>
        <a:p>
          <a:endParaRPr lang="en-US" sz="1600" b="1"/>
        </a:p>
      </dgm:t>
    </dgm:pt>
    <dgm:pt modelId="{FA9CD82E-088B-EF4B-8AAC-B86055DA4C81}" type="sibTrans" cxnId="{B9435CC9-16EA-E74A-BEB1-AFE5ECC374C6}">
      <dgm:prSet/>
      <dgm:spPr/>
      <dgm:t>
        <a:bodyPr/>
        <a:lstStyle/>
        <a:p>
          <a:endParaRPr lang="en-US" sz="1600" b="1"/>
        </a:p>
      </dgm:t>
    </dgm:pt>
    <dgm:pt modelId="{4A8B4FE5-070D-A64E-8317-A7B201BB275F}" type="pres">
      <dgm:prSet presAssocID="{01E65515-E9DA-7E4A-9C09-083FF9CA73BE}" presName="Name0" presStyleCnt="0">
        <dgm:presLayoutVars>
          <dgm:dir/>
          <dgm:resizeHandles val="exact"/>
        </dgm:presLayoutVars>
      </dgm:prSet>
      <dgm:spPr/>
    </dgm:pt>
    <dgm:pt modelId="{29925138-305F-AE40-A776-12638446ABB6}" type="pres">
      <dgm:prSet presAssocID="{BF7EB570-A9F9-0149-8411-5E121545391A}" presName="node" presStyleLbl="node1" presStyleIdx="0" presStyleCnt="1" custScaleX="97866" custLinFactNeighborX="-26229">
        <dgm:presLayoutVars>
          <dgm:bulletEnabled val="1"/>
        </dgm:presLayoutVars>
      </dgm:prSet>
      <dgm:spPr/>
      <dgm:t>
        <a:bodyPr/>
        <a:lstStyle/>
        <a:p>
          <a:endParaRPr lang="en-US"/>
        </a:p>
      </dgm:t>
    </dgm:pt>
  </dgm:ptLst>
  <dgm:cxnLst>
    <dgm:cxn modelId="{15F68D50-A21D-FF45-BA47-303181E40897}" type="presOf" srcId="{01E65515-E9DA-7E4A-9C09-083FF9CA73BE}" destId="{4A8B4FE5-070D-A64E-8317-A7B201BB275F}" srcOrd="0" destOrd="0" presId="urn:microsoft.com/office/officeart/2005/8/layout/process1"/>
    <dgm:cxn modelId="{753C66AC-1201-2E4B-9783-D5DA0D8BF69E}" type="presOf" srcId="{BF7EB570-A9F9-0149-8411-5E121545391A}" destId="{29925138-305F-AE40-A776-12638446ABB6}" srcOrd="0" destOrd="0" presId="urn:microsoft.com/office/officeart/2005/8/layout/process1"/>
    <dgm:cxn modelId="{B9435CC9-16EA-E74A-BEB1-AFE5ECC374C6}" srcId="{01E65515-E9DA-7E4A-9C09-083FF9CA73BE}" destId="{BF7EB570-A9F9-0149-8411-5E121545391A}" srcOrd="0" destOrd="0" parTransId="{EDEE7229-7EDC-4440-9CCD-1974E9093EDC}" sibTransId="{FA9CD82E-088B-EF4B-8AAC-B86055DA4C81}"/>
    <dgm:cxn modelId="{CD72C3D6-1EBA-F34F-8973-0B2DBE068FB9}" type="presParOf" srcId="{4A8B4FE5-070D-A64E-8317-A7B201BB275F}" destId="{29925138-305F-AE40-A776-12638446ABB6}" srcOrd="0" destOrd="0" presId="urn:microsoft.com/office/officeart/2005/8/layout/process1"/>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1E65515-E9DA-7E4A-9C09-083FF9CA73BE}" type="doc">
      <dgm:prSet loTypeId="urn:microsoft.com/office/officeart/2005/8/layout/process1" loCatId="" qsTypeId="urn:microsoft.com/office/officeart/2005/8/quickstyle/simple3" qsCatId="simple" csTypeId="urn:microsoft.com/office/officeart/2005/8/colors/accent6_2" csCatId="accent6" phldr="1"/>
      <dgm:spPr/>
    </dgm:pt>
    <dgm:pt modelId="{BF7EB570-A9F9-0149-8411-5E121545391A}">
      <dgm:prSet phldrT="[Text]" custT="1"/>
      <dgm:spPr/>
      <dgm:t>
        <a:bodyPr/>
        <a:lstStyle/>
        <a:p>
          <a:r>
            <a:rPr lang="en-US" sz="1200" b="1" dirty="0" smtClean="0"/>
            <a:t>2014</a:t>
          </a:r>
          <a:endParaRPr lang="en-US" sz="1200" b="1" dirty="0"/>
        </a:p>
      </dgm:t>
    </dgm:pt>
    <dgm:pt modelId="{EDEE7229-7EDC-4440-9CCD-1974E9093EDC}" type="parTrans" cxnId="{B9435CC9-16EA-E74A-BEB1-AFE5ECC374C6}">
      <dgm:prSet/>
      <dgm:spPr/>
      <dgm:t>
        <a:bodyPr/>
        <a:lstStyle/>
        <a:p>
          <a:endParaRPr lang="en-US" sz="1600" b="1"/>
        </a:p>
      </dgm:t>
    </dgm:pt>
    <dgm:pt modelId="{FA9CD82E-088B-EF4B-8AAC-B86055DA4C81}" type="sibTrans" cxnId="{B9435CC9-16EA-E74A-BEB1-AFE5ECC374C6}">
      <dgm:prSet/>
      <dgm:spPr/>
      <dgm:t>
        <a:bodyPr/>
        <a:lstStyle/>
        <a:p>
          <a:endParaRPr lang="en-US" sz="1600" b="1"/>
        </a:p>
      </dgm:t>
    </dgm:pt>
    <dgm:pt modelId="{4A8B4FE5-070D-A64E-8317-A7B201BB275F}" type="pres">
      <dgm:prSet presAssocID="{01E65515-E9DA-7E4A-9C09-083FF9CA73BE}" presName="Name0" presStyleCnt="0">
        <dgm:presLayoutVars>
          <dgm:dir/>
          <dgm:resizeHandles val="exact"/>
        </dgm:presLayoutVars>
      </dgm:prSet>
      <dgm:spPr/>
    </dgm:pt>
    <dgm:pt modelId="{29925138-305F-AE40-A776-12638446ABB6}" type="pres">
      <dgm:prSet presAssocID="{BF7EB570-A9F9-0149-8411-5E121545391A}" presName="node" presStyleLbl="node1" presStyleIdx="0" presStyleCnt="1" custScaleX="100098" custLinFactNeighborX="-1402">
        <dgm:presLayoutVars>
          <dgm:bulletEnabled val="1"/>
        </dgm:presLayoutVars>
      </dgm:prSet>
      <dgm:spPr/>
      <dgm:t>
        <a:bodyPr/>
        <a:lstStyle/>
        <a:p>
          <a:endParaRPr lang="en-US"/>
        </a:p>
      </dgm:t>
    </dgm:pt>
  </dgm:ptLst>
  <dgm:cxnLst>
    <dgm:cxn modelId="{226A55E2-C1B7-D747-8709-8E61C80BBC7C}" type="presOf" srcId="{BF7EB570-A9F9-0149-8411-5E121545391A}" destId="{29925138-305F-AE40-A776-12638446ABB6}" srcOrd="0" destOrd="0" presId="urn:microsoft.com/office/officeart/2005/8/layout/process1"/>
    <dgm:cxn modelId="{96887D38-B84B-A54A-AA57-3B9F4E192000}" type="presOf" srcId="{01E65515-E9DA-7E4A-9C09-083FF9CA73BE}" destId="{4A8B4FE5-070D-A64E-8317-A7B201BB275F}" srcOrd="0" destOrd="0" presId="urn:microsoft.com/office/officeart/2005/8/layout/process1"/>
    <dgm:cxn modelId="{B9435CC9-16EA-E74A-BEB1-AFE5ECC374C6}" srcId="{01E65515-E9DA-7E4A-9C09-083FF9CA73BE}" destId="{BF7EB570-A9F9-0149-8411-5E121545391A}" srcOrd="0" destOrd="0" parTransId="{EDEE7229-7EDC-4440-9CCD-1974E9093EDC}" sibTransId="{FA9CD82E-088B-EF4B-8AAC-B86055DA4C81}"/>
    <dgm:cxn modelId="{DBCCFC36-7653-DB4E-9DB3-A8AEB145966C}" type="presParOf" srcId="{4A8B4FE5-070D-A64E-8317-A7B201BB275F}" destId="{29925138-305F-AE40-A776-12638446ABB6}" srcOrd="0" destOrd="0" presId="urn:microsoft.com/office/officeart/2005/8/layout/process1"/>
  </dgm:cxnLst>
  <dgm:bg/>
  <dgm:whole/>
  <dgm:extLst>
    <a:ext uri="http://schemas.microsoft.com/office/drawing/2008/diagram">
      <dsp:dataModelExt xmlns:dsp="http://schemas.microsoft.com/office/drawing/2008/diagram" relId="rId3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1E65515-E9DA-7E4A-9C09-083FF9CA73BE}" type="doc">
      <dgm:prSet loTypeId="urn:microsoft.com/office/officeart/2005/8/layout/process1" loCatId="" qsTypeId="urn:microsoft.com/office/officeart/2005/8/quickstyle/simple3" qsCatId="simple" csTypeId="urn:microsoft.com/office/officeart/2005/8/colors/accent6_2" csCatId="accent6" phldr="1"/>
      <dgm:spPr/>
    </dgm:pt>
    <dgm:pt modelId="{BF7EB570-A9F9-0149-8411-5E121545391A}">
      <dgm:prSet phldrT="[Text]" custT="1"/>
      <dgm:spPr/>
      <dgm:t>
        <a:bodyPr/>
        <a:lstStyle/>
        <a:p>
          <a:r>
            <a:rPr lang="en-US" sz="1200" b="1" dirty="0" smtClean="0"/>
            <a:t>2015</a:t>
          </a:r>
          <a:endParaRPr lang="en-US" sz="1200" b="1" dirty="0"/>
        </a:p>
      </dgm:t>
    </dgm:pt>
    <dgm:pt modelId="{EDEE7229-7EDC-4440-9CCD-1974E9093EDC}" type="parTrans" cxnId="{B9435CC9-16EA-E74A-BEB1-AFE5ECC374C6}">
      <dgm:prSet/>
      <dgm:spPr/>
      <dgm:t>
        <a:bodyPr/>
        <a:lstStyle/>
        <a:p>
          <a:endParaRPr lang="en-US" sz="1600" b="1"/>
        </a:p>
      </dgm:t>
    </dgm:pt>
    <dgm:pt modelId="{FA9CD82E-088B-EF4B-8AAC-B86055DA4C81}" type="sibTrans" cxnId="{B9435CC9-16EA-E74A-BEB1-AFE5ECC374C6}">
      <dgm:prSet/>
      <dgm:spPr/>
      <dgm:t>
        <a:bodyPr/>
        <a:lstStyle/>
        <a:p>
          <a:endParaRPr lang="en-US" sz="1600" b="1"/>
        </a:p>
      </dgm:t>
    </dgm:pt>
    <dgm:pt modelId="{4A8B4FE5-070D-A64E-8317-A7B201BB275F}" type="pres">
      <dgm:prSet presAssocID="{01E65515-E9DA-7E4A-9C09-083FF9CA73BE}" presName="Name0" presStyleCnt="0">
        <dgm:presLayoutVars>
          <dgm:dir/>
          <dgm:resizeHandles val="exact"/>
        </dgm:presLayoutVars>
      </dgm:prSet>
      <dgm:spPr/>
    </dgm:pt>
    <dgm:pt modelId="{29925138-305F-AE40-A776-12638446ABB6}" type="pres">
      <dgm:prSet presAssocID="{BF7EB570-A9F9-0149-8411-5E121545391A}" presName="node" presStyleLbl="node1" presStyleIdx="0" presStyleCnt="1" custScaleX="97771" custLinFactY="37879" custLinFactNeighborX="-41909" custLinFactNeighborY="100000">
        <dgm:presLayoutVars>
          <dgm:bulletEnabled val="1"/>
        </dgm:presLayoutVars>
      </dgm:prSet>
      <dgm:spPr/>
      <dgm:t>
        <a:bodyPr/>
        <a:lstStyle/>
        <a:p>
          <a:endParaRPr lang="en-US"/>
        </a:p>
      </dgm:t>
    </dgm:pt>
  </dgm:ptLst>
  <dgm:cxnLst>
    <dgm:cxn modelId="{03B86209-2386-9747-A1DE-6E248F2E4840}" type="presOf" srcId="{BF7EB570-A9F9-0149-8411-5E121545391A}" destId="{29925138-305F-AE40-A776-12638446ABB6}" srcOrd="0" destOrd="0" presId="urn:microsoft.com/office/officeart/2005/8/layout/process1"/>
    <dgm:cxn modelId="{E80A6332-196D-4045-9E4F-55EA7AA8C937}" type="presOf" srcId="{01E65515-E9DA-7E4A-9C09-083FF9CA73BE}" destId="{4A8B4FE5-070D-A64E-8317-A7B201BB275F}" srcOrd="0" destOrd="0" presId="urn:microsoft.com/office/officeart/2005/8/layout/process1"/>
    <dgm:cxn modelId="{B9435CC9-16EA-E74A-BEB1-AFE5ECC374C6}" srcId="{01E65515-E9DA-7E4A-9C09-083FF9CA73BE}" destId="{BF7EB570-A9F9-0149-8411-5E121545391A}" srcOrd="0" destOrd="0" parTransId="{EDEE7229-7EDC-4440-9CCD-1974E9093EDC}" sibTransId="{FA9CD82E-088B-EF4B-8AAC-B86055DA4C81}"/>
    <dgm:cxn modelId="{1A982039-CDD6-6141-95E1-DAB23C5C7828}" type="presParOf" srcId="{4A8B4FE5-070D-A64E-8317-A7B201BB275F}" destId="{29925138-305F-AE40-A776-12638446ABB6}" srcOrd="0" destOrd="0" presId="urn:microsoft.com/office/officeart/2005/8/layout/process1"/>
  </dgm:cxnLst>
  <dgm:bg/>
  <dgm:whole/>
  <dgm:extLst>
    <a:ext uri="http://schemas.microsoft.com/office/drawing/2008/diagram">
      <dsp:dataModelExt xmlns:dsp="http://schemas.microsoft.com/office/drawing/2008/diagram" relId="rId3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1E65515-E9DA-7E4A-9C09-083FF9CA73BE}" type="doc">
      <dgm:prSet loTypeId="urn:microsoft.com/office/officeart/2005/8/layout/process1" loCatId="" qsTypeId="urn:microsoft.com/office/officeart/2005/8/quickstyle/simple3" qsCatId="simple" csTypeId="urn:microsoft.com/office/officeart/2005/8/colors/accent6_2" csCatId="accent6" phldr="1"/>
      <dgm:spPr/>
    </dgm:pt>
    <dgm:pt modelId="{BF7EB570-A9F9-0149-8411-5E121545391A}">
      <dgm:prSet phldrT="[Text]" custT="1"/>
      <dgm:spPr/>
      <dgm:t>
        <a:bodyPr/>
        <a:lstStyle/>
        <a:p>
          <a:r>
            <a:rPr lang="en-US" sz="1200" b="1" dirty="0" smtClean="0"/>
            <a:t>2016</a:t>
          </a:r>
          <a:endParaRPr lang="en-US" sz="1200" b="1" dirty="0"/>
        </a:p>
      </dgm:t>
    </dgm:pt>
    <dgm:pt modelId="{EDEE7229-7EDC-4440-9CCD-1974E9093EDC}" type="parTrans" cxnId="{B9435CC9-16EA-E74A-BEB1-AFE5ECC374C6}">
      <dgm:prSet/>
      <dgm:spPr/>
      <dgm:t>
        <a:bodyPr/>
        <a:lstStyle/>
        <a:p>
          <a:endParaRPr lang="en-US" sz="1600" b="1"/>
        </a:p>
      </dgm:t>
    </dgm:pt>
    <dgm:pt modelId="{FA9CD82E-088B-EF4B-8AAC-B86055DA4C81}" type="sibTrans" cxnId="{B9435CC9-16EA-E74A-BEB1-AFE5ECC374C6}">
      <dgm:prSet/>
      <dgm:spPr/>
      <dgm:t>
        <a:bodyPr/>
        <a:lstStyle/>
        <a:p>
          <a:endParaRPr lang="en-US" sz="1600" b="1"/>
        </a:p>
      </dgm:t>
    </dgm:pt>
    <dgm:pt modelId="{4A8B4FE5-070D-A64E-8317-A7B201BB275F}" type="pres">
      <dgm:prSet presAssocID="{01E65515-E9DA-7E4A-9C09-083FF9CA73BE}" presName="Name0" presStyleCnt="0">
        <dgm:presLayoutVars>
          <dgm:dir/>
          <dgm:resizeHandles val="exact"/>
        </dgm:presLayoutVars>
      </dgm:prSet>
      <dgm:spPr/>
    </dgm:pt>
    <dgm:pt modelId="{29925138-305F-AE40-A776-12638446ABB6}" type="pres">
      <dgm:prSet presAssocID="{BF7EB570-A9F9-0149-8411-5E121545391A}" presName="node" presStyleLbl="node1" presStyleIdx="0" presStyleCnt="1" custLinFactNeighborX="1593">
        <dgm:presLayoutVars>
          <dgm:bulletEnabled val="1"/>
        </dgm:presLayoutVars>
      </dgm:prSet>
      <dgm:spPr/>
      <dgm:t>
        <a:bodyPr/>
        <a:lstStyle/>
        <a:p>
          <a:endParaRPr lang="en-US"/>
        </a:p>
      </dgm:t>
    </dgm:pt>
  </dgm:ptLst>
  <dgm:cxnLst>
    <dgm:cxn modelId="{DCB20157-FF0A-954A-9E3A-9DA7D84F3D6F}" type="presOf" srcId="{BF7EB570-A9F9-0149-8411-5E121545391A}" destId="{29925138-305F-AE40-A776-12638446ABB6}" srcOrd="0" destOrd="0" presId="urn:microsoft.com/office/officeart/2005/8/layout/process1"/>
    <dgm:cxn modelId="{E2383F79-499A-3540-8A9A-8C4009E0F563}" type="presOf" srcId="{01E65515-E9DA-7E4A-9C09-083FF9CA73BE}" destId="{4A8B4FE5-070D-A64E-8317-A7B201BB275F}" srcOrd="0" destOrd="0" presId="urn:microsoft.com/office/officeart/2005/8/layout/process1"/>
    <dgm:cxn modelId="{B9435CC9-16EA-E74A-BEB1-AFE5ECC374C6}" srcId="{01E65515-E9DA-7E4A-9C09-083FF9CA73BE}" destId="{BF7EB570-A9F9-0149-8411-5E121545391A}" srcOrd="0" destOrd="0" parTransId="{EDEE7229-7EDC-4440-9CCD-1974E9093EDC}" sibTransId="{FA9CD82E-088B-EF4B-8AAC-B86055DA4C81}"/>
    <dgm:cxn modelId="{B5D68847-D915-D745-8C34-0E8B39C1A360}" type="presParOf" srcId="{4A8B4FE5-070D-A64E-8317-A7B201BB275F}" destId="{29925138-305F-AE40-A776-12638446ABB6}" srcOrd="0" destOrd="0" presId="urn:microsoft.com/office/officeart/2005/8/layout/process1"/>
  </dgm:cxnLst>
  <dgm:bg>
    <a:solidFill>
      <a:srgbClr val="FFFFFF"/>
    </a:solidFill>
  </dgm:bg>
  <dgm:whole>
    <a:ln>
      <a:noFill/>
    </a:ln>
  </dgm:whole>
  <dgm:extLst>
    <a:ext uri="http://schemas.microsoft.com/office/drawing/2008/diagram">
      <dsp:dataModelExt xmlns:dsp="http://schemas.microsoft.com/office/drawing/2008/diagram" relId="rId4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204F58-3A6C-8C4E-A594-73F9BC9AC568}">
      <dsp:nvSpPr>
        <dsp:cNvPr id="0" name=""/>
        <dsp:cNvSpPr/>
      </dsp:nvSpPr>
      <dsp:spPr>
        <a:xfrm>
          <a:off x="2395910" y="1319632"/>
          <a:ext cx="2760518" cy="1586013"/>
        </a:xfrm>
        <a:prstGeom prst="ellipse">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solidFill>
                <a:srgbClr val="000061"/>
              </a:solidFill>
            </a:rPr>
            <a:t>Published guidelines from 123 countries* and recommendations from 49 countries</a:t>
          </a:r>
          <a:endParaRPr lang="en-US" sz="1800" kern="1200" dirty="0">
            <a:solidFill>
              <a:srgbClr val="000061"/>
            </a:solidFill>
          </a:endParaRPr>
        </a:p>
      </dsp:txBody>
      <dsp:txXfrm>
        <a:off x="2800179" y="1551898"/>
        <a:ext cx="1951980" cy="1121481"/>
      </dsp:txXfrm>
    </dsp:sp>
    <dsp:sp modelId="{CAF7A6BB-93E1-3241-B589-597CE2D84D8F}">
      <dsp:nvSpPr>
        <dsp:cNvPr id="0" name=""/>
        <dsp:cNvSpPr/>
      </dsp:nvSpPr>
      <dsp:spPr>
        <a:xfrm rot="10883581">
          <a:off x="1011786" y="1785422"/>
          <a:ext cx="1309367" cy="551828"/>
        </a:xfrm>
        <a:prstGeom prst="leftArrow">
          <a:avLst>
            <a:gd name="adj1" fmla="val 60000"/>
            <a:gd name="adj2" fmla="val 50000"/>
          </a:avLst>
        </a:prstGeom>
        <a:gradFill rotWithShape="0">
          <a:gsLst>
            <a:gs pos="0">
              <a:schemeClr val="dk2">
                <a:tint val="60000"/>
                <a:hueOff val="0"/>
                <a:satOff val="0"/>
                <a:lumOff val="0"/>
                <a:alphaOff val="0"/>
                <a:tint val="100000"/>
                <a:shade val="100000"/>
                <a:satMod val="130000"/>
              </a:schemeClr>
            </a:gs>
            <a:gs pos="100000">
              <a:schemeClr val="dk2">
                <a:tint val="6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B6055C23-4DA6-2543-AF99-14580816AB73}">
      <dsp:nvSpPr>
        <dsp:cNvPr id="0" name=""/>
        <dsp:cNvSpPr/>
      </dsp:nvSpPr>
      <dsp:spPr>
        <a:xfrm>
          <a:off x="92265" y="1693347"/>
          <a:ext cx="1839429" cy="704148"/>
        </a:xfrm>
        <a:prstGeom prst="roundRect">
          <a:avLst>
            <a:gd name="adj" fmla="val 10000"/>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8575" tIns="28575" rIns="28575" bIns="28575" numCol="1" spcCol="1270" anchor="ctr" anchorCtr="0">
          <a:noAutofit/>
        </a:bodyPr>
        <a:lstStyle/>
        <a:p>
          <a:pPr lvl="0" algn="ctr" defTabSz="666750">
            <a:lnSpc>
              <a:spcPct val="90000"/>
            </a:lnSpc>
            <a:spcBef>
              <a:spcPct val="0"/>
            </a:spcBef>
            <a:spcAft>
              <a:spcPct val="35000"/>
            </a:spcAft>
          </a:pPr>
          <a:r>
            <a:rPr lang="en-US" sz="1500" kern="1200" dirty="0" smtClean="0">
              <a:solidFill>
                <a:srgbClr val="000000"/>
              </a:solidFill>
            </a:rPr>
            <a:t>AIDSTAR-One database</a:t>
          </a:r>
          <a:endParaRPr lang="en-US" sz="1500" kern="1200" dirty="0">
            <a:solidFill>
              <a:srgbClr val="000000"/>
            </a:solidFill>
          </a:endParaRPr>
        </a:p>
      </dsp:txBody>
      <dsp:txXfrm>
        <a:off x="112889" y="1713971"/>
        <a:ext cx="1798181" cy="662900"/>
      </dsp:txXfrm>
    </dsp:sp>
    <dsp:sp modelId="{3E18655B-00F1-CA4D-9E32-04F2AC96F6BC}">
      <dsp:nvSpPr>
        <dsp:cNvPr id="0" name=""/>
        <dsp:cNvSpPr/>
      </dsp:nvSpPr>
      <dsp:spPr>
        <a:xfrm rot="14131186">
          <a:off x="2536785" y="685860"/>
          <a:ext cx="898001" cy="551828"/>
        </a:xfrm>
        <a:prstGeom prst="leftArrow">
          <a:avLst>
            <a:gd name="adj1" fmla="val 60000"/>
            <a:gd name="adj2" fmla="val 50000"/>
          </a:avLst>
        </a:prstGeom>
        <a:gradFill rotWithShape="0">
          <a:gsLst>
            <a:gs pos="0">
              <a:schemeClr val="dk2">
                <a:tint val="60000"/>
                <a:hueOff val="0"/>
                <a:satOff val="0"/>
                <a:lumOff val="0"/>
                <a:alphaOff val="0"/>
                <a:tint val="100000"/>
                <a:shade val="100000"/>
                <a:satMod val="130000"/>
              </a:schemeClr>
            </a:gs>
            <a:gs pos="100000">
              <a:schemeClr val="dk2">
                <a:tint val="6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E71D5E0E-2E3B-294F-813C-F811B751B206}">
      <dsp:nvSpPr>
        <dsp:cNvPr id="0" name=""/>
        <dsp:cNvSpPr/>
      </dsp:nvSpPr>
      <dsp:spPr>
        <a:xfrm>
          <a:off x="1811882" y="332500"/>
          <a:ext cx="1839429" cy="518307"/>
        </a:xfrm>
        <a:prstGeom prst="roundRect">
          <a:avLst>
            <a:gd name="adj" fmla="val 10000"/>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8575" tIns="28575" rIns="28575" bIns="28575"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UNAIDS regional support team </a:t>
          </a:r>
          <a:endParaRPr lang="en-US" sz="1500" kern="1200" dirty="0">
            <a:solidFill>
              <a:schemeClr val="tx1"/>
            </a:solidFill>
          </a:endParaRPr>
        </a:p>
      </dsp:txBody>
      <dsp:txXfrm>
        <a:off x="1827063" y="347681"/>
        <a:ext cx="1809067" cy="487945"/>
      </dsp:txXfrm>
    </dsp:sp>
    <dsp:sp modelId="{6B9909EE-3C87-1145-A43B-31397737CAC0}">
      <dsp:nvSpPr>
        <dsp:cNvPr id="0" name=""/>
        <dsp:cNvSpPr/>
      </dsp:nvSpPr>
      <dsp:spPr>
        <a:xfrm rot="18296535">
          <a:off x="4127196" y="686680"/>
          <a:ext cx="905032" cy="551828"/>
        </a:xfrm>
        <a:prstGeom prst="leftArrow">
          <a:avLst>
            <a:gd name="adj1" fmla="val 60000"/>
            <a:gd name="adj2" fmla="val 50000"/>
          </a:avLst>
        </a:prstGeom>
        <a:gradFill rotWithShape="0">
          <a:gsLst>
            <a:gs pos="0">
              <a:schemeClr val="dk2">
                <a:tint val="60000"/>
                <a:hueOff val="0"/>
                <a:satOff val="0"/>
                <a:lumOff val="0"/>
                <a:alphaOff val="0"/>
                <a:tint val="100000"/>
                <a:shade val="100000"/>
                <a:satMod val="130000"/>
              </a:schemeClr>
            </a:gs>
            <a:gs pos="100000">
              <a:schemeClr val="dk2">
                <a:tint val="6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F3CCB144-68B2-D343-BDAF-13BF43476B05}">
      <dsp:nvSpPr>
        <dsp:cNvPr id="0" name=""/>
        <dsp:cNvSpPr/>
      </dsp:nvSpPr>
      <dsp:spPr>
        <a:xfrm>
          <a:off x="3919176" y="320522"/>
          <a:ext cx="1839429" cy="542263"/>
        </a:xfrm>
        <a:prstGeom prst="roundRect">
          <a:avLst>
            <a:gd name="adj" fmla="val 10000"/>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8575" tIns="28575" rIns="28575" bIns="28575" numCol="1" spcCol="1270" anchor="ctr" anchorCtr="0">
          <a:noAutofit/>
        </a:bodyPr>
        <a:lstStyle/>
        <a:p>
          <a:pPr lvl="0" algn="ctr" defTabSz="666750">
            <a:lnSpc>
              <a:spcPct val="90000"/>
            </a:lnSpc>
            <a:spcBef>
              <a:spcPct val="0"/>
            </a:spcBef>
            <a:spcAft>
              <a:spcPct val="35000"/>
            </a:spcAft>
          </a:pPr>
          <a:r>
            <a:rPr lang="en-US" sz="1500" kern="1200" dirty="0" smtClean="0">
              <a:solidFill>
                <a:schemeClr val="tx1"/>
              </a:solidFill>
            </a:rPr>
            <a:t>Web search</a:t>
          </a:r>
          <a:endParaRPr lang="en-US" sz="1500" kern="1200" dirty="0">
            <a:solidFill>
              <a:schemeClr val="tx1"/>
            </a:solidFill>
          </a:endParaRPr>
        </a:p>
      </dsp:txBody>
      <dsp:txXfrm>
        <a:off x="3935058" y="336404"/>
        <a:ext cx="1807665" cy="510499"/>
      </dsp:txXfrm>
    </dsp:sp>
    <dsp:sp modelId="{858F7BAE-3A8A-BD4D-995F-9F268C817DE8}">
      <dsp:nvSpPr>
        <dsp:cNvPr id="0" name=""/>
        <dsp:cNvSpPr/>
      </dsp:nvSpPr>
      <dsp:spPr>
        <a:xfrm rot="21490908">
          <a:off x="5317998" y="1768254"/>
          <a:ext cx="866147" cy="551828"/>
        </a:xfrm>
        <a:prstGeom prst="leftArrow">
          <a:avLst>
            <a:gd name="adj1" fmla="val 60000"/>
            <a:gd name="adj2" fmla="val 50000"/>
          </a:avLst>
        </a:prstGeom>
        <a:gradFill rotWithShape="0">
          <a:gsLst>
            <a:gs pos="0">
              <a:schemeClr val="dk2">
                <a:tint val="60000"/>
                <a:hueOff val="0"/>
                <a:satOff val="0"/>
                <a:lumOff val="0"/>
                <a:alphaOff val="0"/>
                <a:tint val="100000"/>
                <a:shade val="100000"/>
                <a:satMod val="130000"/>
              </a:schemeClr>
            </a:gs>
            <a:gs pos="100000">
              <a:schemeClr val="dk2">
                <a:tint val="6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B9802CF8-F899-0C4C-8577-5CC85EEBA58A}">
      <dsp:nvSpPr>
        <dsp:cNvPr id="0" name=""/>
        <dsp:cNvSpPr/>
      </dsp:nvSpPr>
      <dsp:spPr>
        <a:xfrm>
          <a:off x="5710972" y="1691832"/>
          <a:ext cx="1839429" cy="660384"/>
        </a:xfrm>
        <a:prstGeom prst="roundRect">
          <a:avLst>
            <a:gd name="adj" fmla="val 10000"/>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8575" tIns="28575" rIns="28575" bIns="28575" numCol="1" spcCol="1270" anchor="ctr" anchorCtr="0">
          <a:noAutofit/>
        </a:bodyPr>
        <a:lstStyle/>
        <a:p>
          <a:pPr lvl="0" algn="ctr" defTabSz="666750">
            <a:lnSpc>
              <a:spcPct val="90000"/>
            </a:lnSpc>
            <a:spcBef>
              <a:spcPct val="0"/>
            </a:spcBef>
            <a:spcAft>
              <a:spcPct val="35000"/>
            </a:spcAft>
          </a:pPr>
          <a:r>
            <a:rPr lang="en-US" sz="1500" kern="1200" dirty="0" smtClean="0">
              <a:solidFill>
                <a:srgbClr val="000000"/>
              </a:solidFill>
            </a:rPr>
            <a:t>Ministry of Health officials</a:t>
          </a:r>
          <a:endParaRPr lang="en-US" sz="1500" kern="1200" dirty="0">
            <a:solidFill>
              <a:srgbClr val="000000"/>
            </a:solidFill>
          </a:endParaRPr>
        </a:p>
      </dsp:txBody>
      <dsp:txXfrm>
        <a:off x="5730314" y="1711174"/>
        <a:ext cx="1800745" cy="6217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925138-305F-AE40-A776-12638446ABB6}">
      <dsp:nvSpPr>
        <dsp:cNvPr id="0" name=""/>
        <dsp:cNvSpPr/>
      </dsp:nvSpPr>
      <dsp:spPr>
        <a:xfrm>
          <a:off x="0" y="0"/>
          <a:ext cx="862515" cy="360137"/>
        </a:xfrm>
        <a:prstGeom prst="roundRect">
          <a:avLst>
            <a:gd name="adj" fmla="val 10000"/>
          </a:avLst>
        </a:prstGeom>
        <a:gradFill rotWithShape="0">
          <a:gsLst>
            <a:gs pos="0">
              <a:schemeClr val="accent6">
                <a:hueOff val="0"/>
                <a:satOff val="0"/>
                <a:lumOff val="0"/>
                <a:alphaOff val="0"/>
                <a:tint val="50000"/>
                <a:satMod val="300000"/>
              </a:schemeClr>
            </a:gs>
            <a:gs pos="35000">
              <a:schemeClr val="accent6">
                <a:hueOff val="0"/>
                <a:satOff val="0"/>
                <a:lumOff val="0"/>
                <a:alphaOff val="0"/>
                <a:tint val="37000"/>
                <a:satMod val="300000"/>
              </a:schemeClr>
            </a:gs>
            <a:gs pos="100000">
              <a:schemeClr val="accent6">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t>2017</a:t>
          </a:r>
          <a:endParaRPr lang="en-US" sz="1200" b="1" kern="1200" dirty="0"/>
        </a:p>
      </dsp:txBody>
      <dsp:txXfrm>
        <a:off x="10548" y="10548"/>
        <a:ext cx="841419" cy="3390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925138-305F-AE40-A776-12638446ABB6}">
      <dsp:nvSpPr>
        <dsp:cNvPr id="0" name=""/>
        <dsp:cNvSpPr/>
      </dsp:nvSpPr>
      <dsp:spPr>
        <a:xfrm>
          <a:off x="0" y="0"/>
          <a:ext cx="1042719" cy="362858"/>
        </a:xfrm>
        <a:prstGeom prst="roundRect">
          <a:avLst>
            <a:gd name="adj" fmla="val 10000"/>
          </a:avLst>
        </a:prstGeom>
        <a:gradFill rotWithShape="0">
          <a:gsLst>
            <a:gs pos="0">
              <a:schemeClr val="accent6">
                <a:hueOff val="0"/>
                <a:satOff val="0"/>
                <a:lumOff val="0"/>
                <a:alphaOff val="0"/>
                <a:tint val="50000"/>
                <a:satMod val="300000"/>
              </a:schemeClr>
            </a:gs>
            <a:gs pos="35000">
              <a:schemeClr val="accent6">
                <a:hueOff val="0"/>
                <a:satOff val="0"/>
                <a:lumOff val="0"/>
                <a:alphaOff val="0"/>
                <a:tint val="37000"/>
                <a:satMod val="300000"/>
              </a:schemeClr>
            </a:gs>
            <a:gs pos="100000">
              <a:schemeClr val="accent6">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t>2004-2009</a:t>
          </a:r>
          <a:endParaRPr lang="en-US" sz="1200" b="1" kern="1200" dirty="0"/>
        </a:p>
      </dsp:txBody>
      <dsp:txXfrm>
        <a:off x="10628" y="10628"/>
        <a:ext cx="1021463" cy="34160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925138-305F-AE40-A776-12638446ABB6}">
      <dsp:nvSpPr>
        <dsp:cNvPr id="0" name=""/>
        <dsp:cNvSpPr/>
      </dsp:nvSpPr>
      <dsp:spPr>
        <a:xfrm>
          <a:off x="0" y="0"/>
          <a:ext cx="937084" cy="360136"/>
        </a:xfrm>
        <a:prstGeom prst="roundRect">
          <a:avLst>
            <a:gd name="adj" fmla="val 10000"/>
          </a:avLst>
        </a:prstGeom>
        <a:gradFill rotWithShape="0">
          <a:gsLst>
            <a:gs pos="0">
              <a:schemeClr val="accent6">
                <a:hueOff val="0"/>
                <a:satOff val="0"/>
                <a:lumOff val="0"/>
                <a:alphaOff val="0"/>
                <a:tint val="50000"/>
                <a:satMod val="300000"/>
              </a:schemeClr>
            </a:gs>
            <a:gs pos="35000">
              <a:schemeClr val="accent6">
                <a:hueOff val="0"/>
                <a:satOff val="0"/>
                <a:lumOff val="0"/>
                <a:alphaOff val="0"/>
                <a:tint val="37000"/>
                <a:satMod val="300000"/>
              </a:schemeClr>
            </a:gs>
            <a:gs pos="100000">
              <a:schemeClr val="accent6">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t>2010</a:t>
          </a:r>
          <a:endParaRPr lang="en-US" sz="1200" b="1" kern="1200" dirty="0"/>
        </a:p>
      </dsp:txBody>
      <dsp:txXfrm>
        <a:off x="10548" y="10548"/>
        <a:ext cx="915988" cy="33904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925138-305F-AE40-A776-12638446ABB6}">
      <dsp:nvSpPr>
        <dsp:cNvPr id="0" name=""/>
        <dsp:cNvSpPr/>
      </dsp:nvSpPr>
      <dsp:spPr>
        <a:xfrm>
          <a:off x="0" y="0"/>
          <a:ext cx="926520" cy="362858"/>
        </a:xfrm>
        <a:prstGeom prst="roundRect">
          <a:avLst>
            <a:gd name="adj" fmla="val 10000"/>
          </a:avLst>
        </a:prstGeom>
        <a:gradFill rotWithShape="0">
          <a:gsLst>
            <a:gs pos="0">
              <a:schemeClr val="accent6">
                <a:hueOff val="0"/>
                <a:satOff val="0"/>
                <a:lumOff val="0"/>
                <a:alphaOff val="0"/>
                <a:tint val="50000"/>
                <a:satMod val="300000"/>
              </a:schemeClr>
            </a:gs>
            <a:gs pos="35000">
              <a:schemeClr val="accent6">
                <a:hueOff val="0"/>
                <a:satOff val="0"/>
                <a:lumOff val="0"/>
                <a:alphaOff val="0"/>
                <a:tint val="37000"/>
                <a:satMod val="300000"/>
              </a:schemeClr>
            </a:gs>
            <a:gs pos="100000">
              <a:schemeClr val="accent6">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t>2011</a:t>
          </a:r>
          <a:endParaRPr lang="en-US" sz="1200" b="1" kern="1200" dirty="0"/>
        </a:p>
      </dsp:txBody>
      <dsp:txXfrm>
        <a:off x="10628" y="10628"/>
        <a:ext cx="905264" cy="34160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925138-305F-AE40-A776-12638446ABB6}">
      <dsp:nvSpPr>
        <dsp:cNvPr id="0" name=""/>
        <dsp:cNvSpPr/>
      </dsp:nvSpPr>
      <dsp:spPr>
        <a:xfrm>
          <a:off x="3" y="0"/>
          <a:ext cx="972004" cy="359229"/>
        </a:xfrm>
        <a:prstGeom prst="roundRect">
          <a:avLst>
            <a:gd name="adj" fmla="val 10000"/>
          </a:avLst>
        </a:prstGeom>
        <a:gradFill rotWithShape="0">
          <a:gsLst>
            <a:gs pos="0">
              <a:schemeClr val="accent6">
                <a:hueOff val="0"/>
                <a:satOff val="0"/>
                <a:lumOff val="0"/>
                <a:alphaOff val="0"/>
                <a:tint val="50000"/>
                <a:satMod val="300000"/>
              </a:schemeClr>
            </a:gs>
            <a:gs pos="35000">
              <a:schemeClr val="accent6">
                <a:hueOff val="0"/>
                <a:satOff val="0"/>
                <a:lumOff val="0"/>
                <a:alphaOff val="0"/>
                <a:tint val="37000"/>
                <a:satMod val="300000"/>
              </a:schemeClr>
            </a:gs>
            <a:gs pos="100000">
              <a:schemeClr val="accent6">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t>2012</a:t>
          </a:r>
          <a:endParaRPr lang="en-US" sz="1200" b="1" kern="1200" dirty="0"/>
        </a:p>
      </dsp:txBody>
      <dsp:txXfrm>
        <a:off x="10524" y="10521"/>
        <a:ext cx="950962" cy="33818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925138-305F-AE40-A776-12638446ABB6}">
      <dsp:nvSpPr>
        <dsp:cNvPr id="0" name=""/>
        <dsp:cNvSpPr/>
      </dsp:nvSpPr>
      <dsp:spPr>
        <a:xfrm>
          <a:off x="0" y="0"/>
          <a:ext cx="1028647" cy="362858"/>
        </a:xfrm>
        <a:prstGeom prst="roundRect">
          <a:avLst>
            <a:gd name="adj" fmla="val 10000"/>
          </a:avLst>
        </a:prstGeom>
        <a:gradFill rotWithShape="0">
          <a:gsLst>
            <a:gs pos="0">
              <a:schemeClr val="accent6">
                <a:hueOff val="0"/>
                <a:satOff val="0"/>
                <a:lumOff val="0"/>
                <a:alphaOff val="0"/>
                <a:tint val="50000"/>
                <a:satMod val="300000"/>
              </a:schemeClr>
            </a:gs>
            <a:gs pos="35000">
              <a:schemeClr val="accent6">
                <a:hueOff val="0"/>
                <a:satOff val="0"/>
                <a:lumOff val="0"/>
                <a:alphaOff val="0"/>
                <a:tint val="37000"/>
                <a:satMod val="300000"/>
              </a:schemeClr>
            </a:gs>
            <a:gs pos="100000">
              <a:schemeClr val="accent6">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t>2013</a:t>
          </a:r>
          <a:endParaRPr lang="en-US" sz="1200" b="1" kern="1200" dirty="0"/>
        </a:p>
      </dsp:txBody>
      <dsp:txXfrm>
        <a:off x="10628" y="10628"/>
        <a:ext cx="1007391" cy="3416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925138-305F-AE40-A776-12638446ABB6}">
      <dsp:nvSpPr>
        <dsp:cNvPr id="0" name=""/>
        <dsp:cNvSpPr/>
      </dsp:nvSpPr>
      <dsp:spPr>
        <a:xfrm>
          <a:off x="0" y="0"/>
          <a:ext cx="1280275" cy="362858"/>
        </a:xfrm>
        <a:prstGeom prst="roundRect">
          <a:avLst>
            <a:gd name="adj" fmla="val 10000"/>
          </a:avLst>
        </a:prstGeom>
        <a:gradFill rotWithShape="0">
          <a:gsLst>
            <a:gs pos="0">
              <a:schemeClr val="accent6">
                <a:hueOff val="0"/>
                <a:satOff val="0"/>
                <a:lumOff val="0"/>
                <a:alphaOff val="0"/>
                <a:tint val="50000"/>
                <a:satMod val="300000"/>
              </a:schemeClr>
            </a:gs>
            <a:gs pos="35000">
              <a:schemeClr val="accent6">
                <a:hueOff val="0"/>
                <a:satOff val="0"/>
                <a:lumOff val="0"/>
                <a:alphaOff val="0"/>
                <a:tint val="37000"/>
                <a:satMod val="300000"/>
              </a:schemeClr>
            </a:gs>
            <a:gs pos="100000">
              <a:schemeClr val="accent6">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t>2014</a:t>
          </a:r>
          <a:endParaRPr lang="en-US" sz="1200" b="1" kern="1200" dirty="0"/>
        </a:p>
      </dsp:txBody>
      <dsp:txXfrm>
        <a:off x="10628" y="10628"/>
        <a:ext cx="1259019" cy="34160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925138-305F-AE40-A776-12638446ABB6}">
      <dsp:nvSpPr>
        <dsp:cNvPr id="0" name=""/>
        <dsp:cNvSpPr/>
      </dsp:nvSpPr>
      <dsp:spPr>
        <a:xfrm>
          <a:off x="0" y="0"/>
          <a:ext cx="905403" cy="359229"/>
        </a:xfrm>
        <a:prstGeom prst="roundRect">
          <a:avLst>
            <a:gd name="adj" fmla="val 10000"/>
          </a:avLst>
        </a:prstGeom>
        <a:gradFill rotWithShape="0">
          <a:gsLst>
            <a:gs pos="0">
              <a:schemeClr val="accent6">
                <a:hueOff val="0"/>
                <a:satOff val="0"/>
                <a:lumOff val="0"/>
                <a:alphaOff val="0"/>
                <a:tint val="50000"/>
                <a:satMod val="300000"/>
              </a:schemeClr>
            </a:gs>
            <a:gs pos="35000">
              <a:schemeClr val="accent6">
                <a:hueOff val="0"/>
                <a:satOff val="0"/>
                <a:lumOff val="0"/>
                <a:alphaOff val="0"/>
                <a:tint val="37000"/>
                <a:satMod val="300000"/>
              </a:schemeClr>
            </a:gs>
            <a:gs pos="100000">
              <a:schemeClr val="accent6">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t>2015</a:t>
          </a:r>
          <a:endParaRPr lang="en-US" sz="1200" b="1" kern="1200" dirty="0"/>
        </a:p>
      </dsp:txBody>
      <dsp:txXfrm>
        <a:off x="10521" y="10521"/>
        <a:ext cx="884361" cy="33818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925138-305F-AE40-A776-12638446ABB6}">
      <dsp:nvSpPr>
        <dsp:cNvPr id="0" name=""/>
        <dsp:cNvSpPr/>
      </dsp:nvSpPr>
      <dsp:spPr>
        <a:xfrm>
          <a:off x="843" y="0"/>
          <a:ext cx="862515" cy="360137"/>
        </a:xfrm>
        <a:prstGeom prst="roundRect">
          <a:avLst>
            <a:gd name="adj" fmla="val 10000"/>
          </a:avLst>
        </a:prstGeom>
        <a:gradFill rotWithShape="0">
          <a:gsLst>
            <a:gs pos="0">
              <a:schemeClr val="accent6">
                <a:hueOff val="0"/>
                <a:satOff val="0"/>
                <a:lumOff val="0"/>
                <a:alphaOff val="0"/>
                <a:tint val="50000"/>
                <a:satMod val="300000"/>
              </a:schemeClr>
            </a:gs>
            <a:gs pos="35000">
              <a:schemeClr val="accent6">
                <a:hueOff val="0"/>
                <a:satOff val="0"/>
                <a:lumOff val="0"/>
                <a:alphaOff val="0"/>
                <a:tint val="37000"/>
                <a:satMod val="300000"/>
              </a:schemeClr>
            </a:gs>
            <a:gs pos="100000">
              <a:schemeClr val="accent6">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t>2016</a:t>
          </a:r>
          <a:endParaRPr lang="en-US" sz="1200" b="1" kern="1200" dirty="0"/>
        </a:p>
      </dsp:txBody>
      <dsp:txXfrm>
        <a:off x="11391" y="10548"/>
        <a:ext cx="841419" cy="339041"/>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cs typeface="+mn-cs"/>
              </a:defRPr>
            </a:lvl1pPr>
          </a:lstStyle>
          <a:p>
            <a:pPr>
              <a:defRPr/>
            </a:pPr>
            <a:fld id="{2C227F31-3D2E-400C-86D3-BA39849D6C88}" type="datetimeFigureOut">
              <a:rPr lang="en-US"/>
              <a:pPr>
                <a:defRPr/>
              </a:pPr>
              <a:t>17-06-19</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cs typeface="+mn-cs"/>
              </a:defRPr>
            </a:lvl1pPr>
          </a:lstStyle>
          <a:p>
            <a:pPr>
              <a:defRPr/>
            </a:pPr>
            <a:fld id="{7C37AE9A-0913-4C2B-B01B-81FF0A13571D}" type="slidenum">
              <a:rPr lang="en-US"/>
              <a:pPr>
                <a:defRPr/>
              </a:pPr>
              <a:t>‹#›</a:t>
            </a:fld>
            <a:endParaRPr lang="en-US" dirty="0"/>
          </a:p>
        </p:txBody>
      </p:sp>
    </p:spTree>
    <p:extLst>
      <p:ext uri="{BB962C8B-B14F-4D97-AF65-F5344CB8AC3E}">
        <p14:creationId xmlns:p14="http://schemas.microsoft.com/office/powerpoint/2010/main" val="847876364"/>
      </p:ext>
    </p:extLst>
  </p:cSld>
  <p:clrMap bg1="lt1" tx1="dk1" bg2="lt2" tx2="dk2" accent1="accent1" accent2="accent2" accent3="accent3" accent4="accent4" accent5="accent5" accent6="accent6" hlink="hlink" folHlink="folHlink"/>
  <p:notesStyle>
    <a:lvl1pPr algn="l" defTabSz="457200" rtl="0" fontAlgn="base">
      <a:spcBef>
        <a:spcPct val="30000"/>
      </a:spcBef>
      <a:spcAft>
        <a:spcPct val="0"/>
      </a:spcAft>
      <a:defRPr sz="1200" kern="1200">
        <a:solidFill>
          <a:schemeClr val="tx1"/>
        </a:solidFill>
        <a:latin typeface="+mn-lt"/>
        <a:ea typeface="+mn-ea"/>
        <a:cs typeface="+mn-cs"/>
      </a:defRPr>
    </a:lvl1pPr>
    <a:lvl2pPr marL="457200" algn="l" defTabSz="457200" rtl="0" fontAlgn="base">
      <a:spcBef>
        <a:spcPct val="30000"/>
      </a:spcBef>
      <a:spcAft>
        <a:spcPct val="0"/>
      </a:spcAft>
      <a:defRPr sz="1200" kern="1200">
        <a:solidFill>
          <a:schemeClr val="tx1"/>
        </a:solidFill>
        <a:latin typeface="+mn-lt"/>
        <a:ea typeface="+mn-ea"/>
        <a:cs typeface="+mn-cs"/>
      </a:defRPr>
    </a:lvl2pPr>
    <a:lvl3pPr marL="914400" algn="l" defTabSz="457200" rtl="0" fontAlgn="base">
      <a:spcBef>
        <a:spcPct val="30000"/>
      </a:spcBef>
      <a:spcAft>
        <a:spcPct val="0"/>
      </a:spcAft>
      <a:defRPr sz="1200" kern="1200">
        <a:solidFill>
          <a:schemeClr val="tx1"/>
        </a:solidFill>
        <a:latin typeface="+mn-lt"/>
        <a:ea typeface="+mn-ea"/>
        <a:cs typeface="+mn-cs"/>
      </a:defRPr>
    </a:lvl3pPr>
    <a:lvl4pPr marL="1371600" algn="l" defTabSz="457200" rtl="0" fontAlgn="base">
      <a:spcBef>
        <a:spcPct val="30000"/>
      </a:spcBef>
      <a:spcAft>
        <a:spcPct val="0"/>
      </a:spcAft>
      <a:defRPr sz="1200" kern="1200">
        <a:solidFill>
          <a:schemeClr val="tx1"/>
        </a:solidFill>
        <a:latin typeface="+mn-lt"/>
        <a:ea typeface="+mn-ea"/>
        <a:cs typeface="+mn-cs"/>
      </a:defRPr>
    </a:lvl4pPr>
    <a:lvl5pPr marL="1828800" algn="l" defTabSz="457200" rtl="0" fontAlgn="base">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pPr>
              <a:defRPr/>
            </a:pPr>
            <a:fld id="{7C37AE9A-0913-4C2B-B01B-81FF0A13571D}" type="slidenum">
              <a:rPr lang="en-US" smtClean="0"/>
              <a:pPr>
                <a:defRPr/>
              </a:pPr>
              <a:t>1</a:t>
            </a:fld>
            <a:endParaRPr lang="en-US" dirty="0"/>
          </a:p>
        </p:txBody>
      </p:sp>
    </p:spTree>
    <p:extLst>
      <p:ext uri="{BB962C8B-B14F-4D97-AF65-F5344CB8AC3E}">
        <p14:creationId xmlns:p14="http://schemas.microsoft.com/office/powerpoint/2010/main" val="16181340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22 countries in yellow have reported new recommendations.</a:t>
            </a:r>
          </a:p>
          <a:p>
            <a:r>
              <a:rPr lang="en-US" baseline="0" dirty="0" smtClean="0"/>
              <a:t>Percentage represents proportion of 36.7 million people living with HIV (98% burden)</a:t>
            </a:r>
            <a:endParaRPr lang="en-US" dirty="0" smtClean="0"/>
          </a:p>
        </p:txBody>
      </p:sp>
      <p:sp>
        <p:nvSpPr>
          <p:cNvPr id="4" name="Slide Number Placeholder 3"/>
          <p:cNvSpPr>
            <a:spLocks noGrp="1"/>
          </p:cNvSpPr>
          <p:nvPr>
            <p:ph type="sldNum" sz="quarter" idx="10"/>
          </p:nvPr>
        </p:nvSpPr>
        <p:spPr/>
        <p:txBody>
          <a:bodyPr/>
          <a:lstStyle/>
          <a:p>
            <a:pPr>
              <a:defRPr/>
            </a:pPr>
            <a:fld id="{7C37AE9A-0913-4C2B-B01B-81FF0A13571D}" type="slidenum">
              <a:rPr lang="en-US" smtClean="0"/>
              <a:pPr>
                <a:defRPr/>
              </a:pPr>
              <a:t>3</a:t>
            </a:fld>
            <a:endParaRPr lang="en-US" dirty="0"/>
          </a:p>
        </p:txBody>
      </p:sp>
    </p:spTree>
    <p:extLst>
      <p:ext uri="{BB962C8B-B14F-4D97-AF65-F5344CB8AC3E}">
        <p14:creationId xmlns:p14="http://schemas.microsoft.com/office/powerpoint/2010/main" val="33149127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C37AE9A-0913-4C2B-B01B-81FF0A13571D}" type="slidenum">
              <a:rPr lang="en-US" smtClean="0"/>
              <a:pPr>
                <a:defRPr/>
              </a:pPr>
              <a:t>7</a:t>
            </a:fld>
            <a:endParaRPr lang="en-US" dirty="0"/>
          </a:p>
        </p:txBody>
      </p:sp>
    </p:spTree>
    <p:extLst>
      <p:ext uri="{BB962C8B-B14F-4D97-AF65-F5344CB8AC3E}">
        <p14:creationId xmlns:p14="http://schemas.microsoft.com/office/powerpoint/2010/main" val="961885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untries in yellow</a:t>
            </a:r>
            <a:r>
              <a:rPr lang="en-US" baseline="0" dirty="0" smtClean="0"/>
              <a:t> are reported</a:t>
            </a:r>
            <a:endParaRPr lang="en-US" dirty="0"/>
          </a:p>
        </p:txBody>
      </p:sp>
      <p:sp>
        <p:nvSpPr>
          <p:cNvPr id="4" name="Slide Number Placeholder 3"/>
          <p:cNvSpPr>
            <a:spLocks noGrp="1"/>
          </p:cNvSpPr>
          <p:nvPr>
            <p:ph type="sldNum" sz="quarter" idx="10"/>
          </p:nvPr>
        </p:nvSpPr>
        <p:spPr/>
        <p:txBody>
          <a:bodyPr/>
          <a:lstStyle/>
          <a:p>
            <a:pPr>
              <a:defRPr/>
            </a:pPr>
            <a:fld id="{7C37AE9A-0913-4C2B-B01B-81FF0A13571D}" type="slidenum">
              <a:rPr lang="en-US" smtClean="0"/>
              <a:pPr>
                <a:defRPr/>
              </a:pPr>
              <a:t>8</a:t>
            </a:fld>
            <a:endParaRPr lang="en-US" dirty="0"/>
          </a:p>
        </p:txBody>
      </p:sp>
    </p:spTree>
    <p:extLst>
      <p:ext uri="{BB962C8B-B14F-4D97-AF65-F5344CB8AC3E}">
        <p14:creationId xmlns:p14="http://schemas.microsoft.com/office/powerpoint/2010/main" val="22845151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30000"/>
              </a:spcBef>
              <a:spcAft>
                <a:spcPct val="0"/>
              </a:spcAft>
              <a:buClrTx/>
              <a:buSzTx/>
              <a:buFontTx/>
              <a:buNone/>
              <a:tabLst/>
              <a:defRPr/>
            </a:pPr>
            <a:r>
              <a:rPr lang="en-GB" dirty="0" smtClean="0">
                <a:solidFill>
                  <a:srgbClr val="FFFFFF"/>
                </a:solidFill>
                <a:ea typeface="ヒラギノ角ゴ Pro W3"/>
                <a:cs typeface="ヒラギノ角ゴ Pro W3"/>
              </a:rPr>
              <a:t>Positive but low correlation between GDP per capita and ART coverage</a:t>
            </a:r>
          </a:p>
        </p:txBody>
      </p:sp>
      <p:sp>
        <p:nvSpPr>
          <p:cNvPr id="4" name="Slide Number Placeholder 3"/>
          <p:cNvSpPr>
            <a:spLocks noGrp="1"/>
          </p:cNvSpPr>
          <p:nvPr>
            <p:ph type="sldNum" sz="quarter" idx="10"/>
          </p:nvPr>
        </p:nvSpPr>
        <p:spPr/>
        <p:txBody>
          <a:bodyPr/>
          <a:lstStyle/>
          <a:p>
            <a:pPr>
              <a:defRPr/>
            </a:pPr>
            <a:fld id="{7C37AE9A-0913-4C2B-B01B-81FF0A13571D}" type="slidenum">
              <a:rPr lang="en-US" smtClean="0"/>
              <a:pPr>
                <a:defRPr/>
              </a:pPr>
              <a:t>11</a:t>
            </a:fld>
            <a:endParaRPr lang="en-US" dirty="0"/>
          </a:p>
        </p:txBody>
      </p:sp>
    </p:spTree>
    <p:extLst>
      <p:ext uri="{BB962C8B-B14F-4D97-AF65-F5344CB8AC3E}">
        <p14:creationId xmlns:p14="http://schemas.microsoft.com/office/powerpoint/2010/main" val="25100192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C37AE9A-0913-4C2B-B01B-81FF0A13571D}" type="slidenum">
              <a:rPr lang="en-US" smtClean="0"/>
              <a:pPr>
                <a:defRPr/>
              </a:pPr>
              <a:t>16</a:t>
            </a:fld>
            <a:endParaRPr lang="en-US" dirty="0"/>
          </a:p>
        </p:txBody>
      </p:sp>
    </p:spTree>
    <p:extLst>
      <p:ext uri="{BB962C8B-B14F-4D97-AF65-F5344CB8AC3E}">
        <p14:creationId xmlns:p14="http://schemas.microsoft.com/office/powerpoint/2010/main" val="36506965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L – viral</a:t>
            </a:r>
            <a:r>
              <a:rPr lang="en-US" baseline="0" dirty="0" smtClean="0"/>
              <a:t> load</a:t>
            </a:r>
          </a:p>
          <a:p>
            <a:r>
              <a:rPr lang="en-US" baseline="0" dirty="0" smtClean="0"/>
              <a:t>Mal</a:t>
            </a:r>
          </a:p>
          <a:p>
            <a:r>
              <a:rPr lang="en-US" baseline="0" dirty="0" smtClean="0"/>
              <a:t> excluded</a:t>
            </a:r>
            <a:endParaRPr lang="en-US" dirty="0"/>
          </a:p>
        </p:txBody>
      </p:sp>
      <p:sp>
        <p:nvSpPr>
          <p:cNvPr id="4" name="Slide Number Placeholder 3"/>
          <p:cNvSpPr>
            <a:spLocks noGrp="1"/>
          </p:cNvSpPr>
          <p:nvPr>
            <p:ph type="sldNum" sz="quarter" idx="10"/>
          </p:nvPr>
        </p:nvSpPr>
        <p:spPr/>
        <p:txBody>
          <a:bodyPr/>
          <a:lstStyle/>
          <a:p>
            <a:pPr>
              <a:defRPr/>
            </a:pPr>
            <a:fld id="{7C37AE9A-0913-4C2B-B01B-81FF0A13571D}" type="slidenum">
              <a:rPr lang="en-US" smtClean="0"/>
              <a:pPr>
                <a:defRPr/>
              </a:pPr>
              <a:t>27</a:t>
            </a:fld>
            <a:endParaRPr lang="en-US" dirty="0"/>
          </a:p>
        </p:txBody>
      </p:sp>
    </p:spTree>
    <p:extLst>
      <p:ext uri="{BB962C8B-B14F-4D97-AF65-F5344CB8AC3E}">
        <p14:creationId xmlns:p14="http://schemas.microsoft.com/office/powerpoint/2010/main" val="9293434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6FE6BC23-18B8-4293-80A4-06911B9E065F}" type="datetimeFigureOut">
              <a:rPr lang="en-US"/>
              <a:pPr>
                <a:defRPr/>
              </a:pPr>
              <a:t>17-06-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41CF6110-A49F-4491-B594-9194F9BF28A5}"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E59D00CC-23A2-4C17-8E09-98590CA37537}" type="datetimeFigureOut">
              <a:rPr lang="en-US"/>
              <a:pPr>
                <a:defRPr/>
              </a:pPr>
              <a:t>17-06-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6808B879-FBA1-4384-BF14-FDE2F5621A9D}"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1AB2A998-AFEE-43FD-9585-8A03E39AF963}" type="datetimeFigureOut">
              <a:rPr lang="en-US"/>
              <a:pPr>
                <a:defRPr/>
              </a:pPr>
              <a:t>17-06-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1E5720AF-EC1D-4B8A-B4DC-870FF5A8D9B5}"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64C8F4E7-DD02-4BF4-B6BA-4852809D1ADE}" type="datetimeFigureOut">
              <a:rPr lang="en-US"/>
              <a:pPr>
                <a:defRPr/>
              </a:pPr>
              <a:t>17-06-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4A92A28D-1E98-4D79-952F-4CA508C39650}"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F482D786-E609-438B-B607-C7E785962767}" type="datetimeFigureOut">
              <a:rPr lang="en-US"/>
              <a:pPr>
                <a:defRPr/>
              </a:pPr>
              <a:t>17-06-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9BB34394-2094-4EFD-8344-D045F7708AE7}"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D8DCF551-EA6A-4E19-9F1A-7DBB2BA807BB}" type="datetimeFigureOut">
              <a:rPr lang="en-US"/>
              <a:pPr>
                <a:defRPr/>
              </a:pPr>
              <a:t>17-06-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3B23C925-981E-4711-8BEB-8F8E6614158D}"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311EF448-EE53-4411-99E9-D46AF17A91FC}" type="datetimeFigureOut">
              <a:rPr lang="en-US"/>
              <a:pPr>
                <a:defRPr/>
              </a:pPr>
              <a:t>17-06-19</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A7EC17EF-F2E5-4537-A75B-632241354A88}"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DDA0D36C-B307-4439-8039-0A815E644407}" type="datetimeFigureOut">
              <a:rPr lang="en-US"/>
              <a:pPr>
                <a:defRPr/>
              </a:pPr>
              <a:t>17-06-19</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75ADBBBC-722C-4653-A115-455CB5750D3C}"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6E8CC223-3D25-42B1-835F-4C28EC401409}" type="datetimeFigureOut">
              <a:rPr lang="en-US"/>
              <a:pPr>
                <a:defRPr/>
              </a:pPr>
              <a:t>17-06-19</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5440DA30-C59F-49BE-9BBB-AC8FEFBC0322}"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85E454DB-E267-416E-B1D3-3B9C77066B60}" type="datetimeFigureOut">
              <a:rPr lang="en-US"/>
              <a:pPr>
                <a:defRPr/>
              </a:pPr>
              <a:t>17-06-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0EAB0F8A-C18B-4321-97DA-076EF5E38516}"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EF3449C8-9A40-466E-85C9-2A34CD0CC1B6}" type="datetimeFigureOut">
              <a:rPr lang="en-US"/>
              <a:pPr>
                <a:defRPr/>
              </a:pPr>
              <a:t>17-06-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5E995115-C6DB-43CA-BA27-CA25F3BD6091}"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058"/>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fld id="{AAA5B6FD-21CE-44EE-A4ED-AB636388498A}" type="datetimeFigureOut">
              <a:rPr lang="en-US"/>
              <a:pPr>
                <a:defRPr/>
              </a:pPr>
              <a:t>17-06-19</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a:defRPr/>
            </a:pPr>
            <a:fld id="{D7C67A81-F45E-4ADC-9573-7C95BFD7E29D}"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1.png"/></Relationships>
</file>

<file path=ppt/slides/_rels/slide10.xml.rels><?xml version="1.0" encoding="UTF-8" standalone="yes"?>
<Relationships xmlns="http://schemas.openxmlformats.org/package/2006/relationships"><Relationship Id="rId9" Type="http://schemas.openxmlformats.org/officeDocument/2006/relationships/image" Target="../media/image10.emf"/><Relationship Id="rId20" Type="http://schemas.openxmlformats.org/officeDocument/2006/relationships/image" Target="../media/image21.emf"/><Relationship Id="rId10" Type="http://schemas.openxmlformats.org/officeDocument/2006/relationships/image" Target="../media/image11.emf"/><Relationship Id="rId11" Type="http://schemas.openxmlformats.org/officeDocument/2006/relationships/image" Target="../media/image12.emf"/><Relationship Id="rId12" Type="http://schemas.openxmlformats.org/officeDocument/2006/relationships/image" Target="../media/image13.emf"/><Relationship Id="rId13" Type="http://schemas.openxmlformats.org/officeDocument/2006/relationships/image" Target="../media/image14.emf"/><Relationship Id="rId14" Type="http://schemas.openxmlformats.org/officeDocument/2006/relationships/image" Target="../media/image15.emf"/><Relationship Id="rId15" Type="http://schemas.openxmlformats.org/officeDocument/2006/relationships/image" Target="../media/image16.emf"/><Relationship Id="rId16" Type="http://schemas.openxmlformats.org/officeDocument/2006/relationships/image" Target="../media/image17.emf"/><Relationship Id="rId17" Type="http://schemas.openxmlformats.org/officeDocument/2006/relationships/image" Target="../media/image18.emf"/><Relationship Id="rId18" Type="http://schemas.openxmlformats.org/officeDocument/2006/relationships/image" Target="../media/image19.emf"/><Relationship Id="rId19" Type="http://schemas.openxmlformats.org/officeDocument/2006/relationships/image" Target="../media/image20.emf"/><Relationship Id="rId1" Type="http://schemas.openxmlformats.org/officeDocument/2006/relationships/slideLayout" Target="../slideLayouts/slideLayout7.xml"/><Relationship Id="rId2" Type="http://schemas.openxmlformats.org/officeDocument/2006/relationships/image" Target="../media/image2.png"/><Relationship Id="rId3" Type="http://schemas.openxmlformats.org/officeDocument/2006/relationships/image" Target="../media/image4.emf"/><Relationship Id="rId4" Type="http://schemas.openxmlformats.org/officeDocument/2006/relationships/image" Target="../media/image5.emf"/><Relationship Id="rId5" Type="http://schemas.openxmlformats.org/officeDocument/2006/relationships/image" Target="../media/image6.emf"/><Relationship Id="rId6" Type="http://schemas.openxmlformats.org/officeDocument/2006/relationships/image" Target="../media/image7.emf"/><Relationship Id="rId7" Type="http://schemas.openxmlformats.org/officeDocument/2006/relationships/image" Target="../media/image8.emf"/><Relationship Id="rId8" Type="http://schemas.openxmlformats.org/officeDocument/2006/relationships/image" Target="../media/image9.emf"/></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chart" Target="../charts/chart1.xml"/><Relationship Id="rId1" Type="http://schemas.openxmlformats.org/officeDocument/2006/relationships/slideLayout" Target="../slideLayouts/slideLayout7.xml"/><Relationship Id="rId2"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bin"/><Relationship Id="rId4" Type="http://schemas.openxmlformats.org/officeDocument/2006/relationships/package" Target="../embeddings/Microsoft_Word_Document3.docx"/><Relationship Id="rId5" Type="http://schemas.openxmlformats.org/officeDocument/2006/relationships/image" Target="../media/image23.emf"/><Relationship Id="rId6" Type="http://schemas.openxmlformats.org/officeDocument/2006/relationships/image" Target="../media/image2.png"/><Relationship Id="rId1" Type="http://schemas.openxmlformats.org/officeDocument/2006/relationships/vmlDrawing" Target="../drawings/vmlDrawing3.vml"/><Relationship Id="rId2"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bin"/><Relationship Id="rId4" Type="http://schemas.openxmlformats.org/officeDocument/2006/relationships/package" Target="../embeddings/Microsoft_Word_Document4.docx"/><Relationship Id="rId5" Type="http://schemas.openxmlformats.org/officeDocument/2006/relationships/image" Target="../media/image24.png"/><Relationship Id="rId6" Type="http://schemas.openxmlformats.org/officeDocument/2006/relationships/image" Target="../media/image2.png"/><Relationship Id="rId1" Type="http://schemas.openxmlformats.org/officeDocument/2006/relationships/vmlDrawing" Target="../drawings/vmlDrawing4.vml"/><Relationship Id="rId2"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xml"/><Relationship Id="rId3" Type="http://schemas.openxmlformats.org/officeDocument/2006/relationships/image" Target="../media/image2.pn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oleObject" Target="../embeddings/oleObject4.bin"/><Relationship Id="rId5" Type="http://schemas.openxmlformats.org/officeDocument/2006/relationships/package" Target="../embeddings/Microsoft_Word_Document5.docx"/><Relationship Id="rId6" Type="http://schemas.openxmlformats.org/officeDocument/2006/relationships/image" Target="../media/image25.emf"/><Relationship Id="rId1" Type="http://schemas.openxmlformats.org/officeDocument/2006/relationships/vmlDrawing" Target="../drawings/vmlDrawing5.vml"/><Relationship Id="rId2"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46" Type="http://schemas.openxmlformats.org/officeDocument/2006/relationships/diagramColors" Target="../diagrams/colors10.xml"/><Relationship Id="rId47" Type="http://schemas.microsoft.com/office/2007/relationships/diagramDrawing" Target="../diagrams/drawing10.xml"/><Relationship Id="rId20" Type="http://schemas.openxmlformats.org/officeDocument/2006/relationships/diagramColors" Target="../diagrams/colors5.xml"/><Relationship Id="rId21" Type="http://schemas.microsoft.com/office/2007/relationships/diagramDrawing" Target="../diagrams/drawing5.xml"/><Relationship Id="rId22" Type="http://schemas.openxmlformats.org/officeDocument/2006/relationships/diagramData" Target="../diagrams/data6.xml"/><Relationship Id="rId23" Type="http://schemas.openxmlformats.org/officeDocument/2006/relationships/diagramLayout" Target="../diagrams/layout6.xml"/><Relationship Id="rId24" Type="http://schemas.openxmlformats.org/officeDocument/2006/relationships/diagramQuickStyle" Target="../diagrams/quickStyle6.xml"/><Relationship Id="rId25" Type="http://schemas.openxmlformats.org/officeDocument/2006/relationships/diagramColors" Target="../diagrams/colors6.xml"/><Relationship Id="rId26" Type="http://schemas.microsoft.com/office/2007/relationships/diagramDrawing" Target="../diagrams/drawing6.xml"/><Relationship Id="rId27" Type="http://schemas.openxmlformats.org/officeDocument/2006/relationships/diagramData" Target="../diagrams/data7.xml"/><Relationship Id="rId28" Type="http://schemas.openxmlformats.org/officeDocument/2006/relationships/diagramLayout" Target="../diagrams/layout7.xml"/><Relationship Id="rId29" Type="http://schemas.openxmlformats.org/officeDocument/2006/relationships/diagramQuickStyle" Target="../diagrams/quickStyle7.xml"/><Relationship Id="rId1" Type="http://schemas.openxmlformats.org/officeDocument/2006/relationships/slideLayout" Target="../slideLayouts/slideLayout7.xml"/><Relationship Id="rId2" Type="http://schemas.openxmlformats.org/officeDocument/2006/relationships/diagramData" Target="../diagrams/data2.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30" Type="http://schemas.openxmlformats.org/officeDocument/2006/relationships/diagramColors" Target="../diagrams/colors7.xml"/><Relationship Id="rId31" Type="http://schemas.microsoft.com/office/2007/relationships/diagramDrawing" Target="../diagrams/drawing7.xml"/><Relationship Id="rId32" Type="http://schemas.openxmlformats.org/officeDocument/2006/relationships/diagramData" Target="../diagrams/data8.xml"/><Relationship Id="rId9" Type="http://schemas.openxmlformats.org/officeDocument/2006/relationships/diagramQuickStyle" Target="../diagrams/quickStyle3.xml"/><Relationship Id="rId6" Type="http://schemas.microsoft.com/office/2007/relationships/diagramDrawing" Target="../diagrams/drawing2.xml"/><Relationship Id="rId7" Type="http://schemas.openxmlformats.org/officeDocument/2006/relationships/diagramData" Target="../diagrams/data3.xml"/><Relationship Id="rId8" Type="http://schemas.openxmlformats.org/officeDocument/2006/relationships/diagramLayout" Target="../diagrams/layout3.xml"/><Relationship Id="rId33" Type="http://schemas.openxmlformats.org/officeDocument/2006/relationships/diagramLayout" Target="../diagrams/layout8.xml"/><Relationship Id="rId34" Type="http://schemas.openxmlformats.org/officeDocument/2006/relationships/diagramQuickStyle" Target="../diagrams/quickStyle8.xml"/><Relationship Id="rId35" Type="http://schemas.openxmlformats.org/officeDocument/2006/relationships/diagramColors" Target="../diagrams/colors8.xml"/><Relationship Id="rId36" Type="http://schemas.microsoft.com/office/2007/relationships/diagramDrawing" Target="../diagrams/drawing8.xml"/><Relationship Id="rId10" Type="http://schemas.openxmlformats.org/officeDocument/2006/relationships/diagramColors" Target="../diagrams/colors3.xml"/><Relationship Id="rId11" Type="http://schemas.microsoft.com/office/2007/relationships/diagramDrawing" Target="../diagrams/drawing3.xml"/><Relationship Id="rId12" Type="http://schemas.openxmlformats.org/officeDocument/2006/relationships/diagramData" Target="../diagrams/data4.xml"/><Relationship Id="rId13" Type="http://schemas.openxmlformats.org/officeDocument/2006/relationships/diagramLayout" Target="../diagrams/layout4.xml"/><Relationship Id="rId14" Type="http://schemas.openxmlformats.org/officeDocument/2006/relationships/diagramQuickStyle" Target="../diagrams/quickStyle4.xml"/><Relationship Id="rId15" Type="http://schemas.openxmlformats.org/officeDocument/2006/relationships/diagramColors" Target="../diagrams/colors4.xml"/><Relationship Id="rId16" Type="http://schemas.microsoft.com/office/2007/relationships/diagramDrawing" Target="../diagrams/drawing4.xml"/><Relationship Id="rId17" Type="http://schemas.openxmlformats.org/officeDocument/2006/relationships/diagramData" Target="../diagrams/data5.xml"/><Relationship Id="rId18" Type="http://schemas.openxmlformats.org/officeDocument/2006/relationships/diagramLayout" Target="../diagrams/layout5.xml"/><Relationship Id="rId19" Type="http://schemas.openxmlformats.org/officeDocument/2006/relationships/diagramQuickStyle" Target="../diagrams/quickStyle5.xml"/><Relationship Id="rId37" Type="http://schemas.openxmlformats.org/officeDocument/2006/relationships/diagramData" Target="../diagrams/data9.xml"/><Relationship Id="rId38" Type="http://schemas.openxmlformats.org/officeDocument/2006/relationships/diagramLayout" Target="../diagrams/layout9.xml"/><Relationship Id="rId39" Type="http://schemas.openxmlformats.org/officeDocument/2006/relationships/diagramQuickStyle" Target="../diagrams/quickStyle9.xml"/><Relationship Id="rId40" Type="http://schemas.openxmlformats.org/officeDocument/2006/relationships/diagramColors" Target="../diagrams/colors9.xml"/><Relationship Id="rId41" Type="http://schemas.microsoft.com/office/2007/relationships/diagramDrawing" Target="../diagrams/drawing9.xml"/><Relationship Id="rId42" Type="http://schemas.openxmlformats.org/officeDocument/2006/relationships/image" Target="../media/image2.png"/><Relationship Id="rId43" Type="http://schemas.openxmlformats.org/officeDocument/2006/relationships/diagramData" Target="../diagrams/data10.xml"/><Relationship Id="rId44" Type="http://schemas.openxmlformats.org/officeDocument/2006/relationships/diagramLayout" Target="../diagrams/layout10.xml"/><Relationship Id="rId45" Type="http://schemas.openxmlformats.org/officeDocument/2006/relationships/diagramQuickStyle" Target="../diagrams/quickStyle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7" Type="http://schemas.openxmlformats.org/officeDocument/2006/relationships/image" Target="../media/image2.png"/><Relationship Id="rId1" Type="http://schemas.openxmlformats.org/officeDocument/2006/relationships/slideLayout" Target="../slideLayouts/slideLayout7.xml"/><Relationship Id="rId2" Type="http://schemas.openxmlformats.org/officeDocument/2006/relationships/diagramData" Target="../diagrams/data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png"/></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5.bin"/><Relationship Id="rId4" Type="http://schemas.openxmlformats.org/officeDocument/2006/relationships/package" Target="../embeddings/Microsoft_Word_Document6.docx"/><Relationship Id="rId5" Type="http://schemas.openxmlformats.org/officeDocument/2006/relationships/image" Target="../media/image26.emf"/><Relationship Id="rId6" Type="http://schemas.openxmlformats.org/officeDocument/2006/relationships/image" Target="../media/image2.png"/><Relationship Id="rId1" Type="http://schemas.openxmlformats.org/officeDocument/2006/relationships/vmlDrawing" Target="../drawings/vmlDrawing6.vml"/><Relationship Id="rId2"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xml"/><Relationship Id="rId3" Type="http://schemas.openxmlformats.org/officeDocument/2006/relationships/image" Target="../media/image2.png"/></Relationships>
</file>

<file path=ppt/slides/_rels/slide28.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slideLayout" Target="../slideLayouts/slideLayout7.xml"/><Relationship Id="rId3" Type="http://schemas.openxmlformats.org/officeDocument/2006/relationships/image" Target="../media/image2.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2.png"/></Relationships>
</file>

<file path=ppt/slides/_rels/slide30.xml.rels><?xml version="1.0" encoding="UTF-8" standalone="yes"?>
<Relationships xmlns="http://schemas.openxmlformats.org/package/2006/relationships"><Relationship Id="rId106" Type="http://schemas.openxmlformats.org/officeDocument/2006/relationships/tags" Target="../tags/tag107.xml"/><Relationship Id="rId107" Type="http://schemas.openxmlformats.org/officeDocument/2006/relationships/tags" Target="../tags/tag108.xml"/><Relationship Id="rId108" Type="http://schemas.openxmlformats.org/officeDocument/2006/relationships/tags" Target="../tags/tag109.xml"/><Relationship Id="rId109" Type="http://schemas.openxmlformats.org/officeDocument/2006/relationships/tags" Target="../tags/tag110.xml"/><Relationship Id="rId345" Type="http://schemas.openxmlformats.org/officeDocument/2006/relationships/tags" Target="../tags/tag346.xml"/><Relationship Id="rId346" Type="http://schemas.openxmlformats.org/officeDocument/2006/relationships/tags" Target="../tags/tag347.xml"/><Relationship Id="rId347" Type="http://schemas.openxmlformats.org/officeDocument/2006/relationships/tags" Target="../tags/tag348.xml"/><Relationship Id="rId348" Type="http://schemas.openxmlformats.org/officeDocument/2006/relationships/tags" Target="../tags/tag349.xml"/><Relationship Id="rId349" Type="http://schemas.openxmlformats.org/officeDocument/2006/relationships/tags" Target="../tags/tag350.xml"/><Relationship Id="rId70" Type="http://schemas.openxmlformats.org/officeDocument/2006/relationships/tags" Target="../tags/tag71.xml"/><Relationship Id="rId71" Type="http://schemas.openxmlformats.org/officeDocument/2006/relationships/tags" Target="../tags/tag72.xml"/><Relationship Id="rId72" Type="http://schemas.openxmlformats.org/officeDocument/2006/relationships/tags" Target="../tags/tag73.xml"/><Relationship Id="rId73" Type="http://schemas.openxmlformats.org/officeDocument/2006/relationships/tags" Target="../tags/tag74.xml"/><Relationship Id="rId74" Type="http://schemas.openxmlformats.org/officeDocument/2006/relationships/tags" Target="../tags/tag75.xml"/><Relationship Id="rId75" Type="http://schemas.openxmlformats.org/officeDocument/2006/relationships/tags" Target="../tags/tag76.xml"/><Relationship Id="rId76" Type="http://schemas.openxmlformats.org/officeDocument/2006/relationships/tags" Target="../tags/tag77.xml"/><Relationship Id="rId77" Type="http://schemas.openxmlformats.org/officeDocument/2006/relationships/tags" Target="../tags/tag78.xml"/><Relationship Id="rId78" Type="http://schemas.openxmlformats.org/officeDocument/2006/relationships/tags" Target="../tags/tag79.xml"/><Relationship Id="rId79" Type="http://schemas.openxmlformats.org/officeDocument/2006/relationships/tags" Target="../tags/tag80.xml"/><Relationship Id="rId170" Type="http://schemas.openxmlformats.org/officeDocument/2006/relationships/tags" Target="../tags/tag171.xml"/><Relationship Id="rId171" Type="http://schemas.openxmlformats.org/officeDocument/2006/relationships/tags" Target="../tags/tag172.xml"/><Relationship Id="rId172" Type="http://schemas.openxmlformats.org/officeDocument/2006/relationships/tags" Target="../tags/tag173.xml"/><Relationship Id="rId173" Type="http://schemas.openxmlformats.org/officeDocument/2006/relationships/tags" Target="../tags/tag174.xml"/><Relationship Id="rId174" Type="http://schemas.openxmlformats.org/officeDocument/2006/relationships/tags" Target="../tags/tag175.xml"/><Relationship Id="rId175" Type="http://schemas.openxmlformats.org/officeDocument/2006/relationships/tags" Target="../tags/tag176.xml"/><Relationship Id="rId176" Type="http://schemas.openxmlformats.org/officeDocument/2006/relationships/tags" Target="../tags/tag177.xml"/><Relationship Id="rId177" Type="http://schemas.openxmlformats.org/officeDocument/2006/relationships/tags" Target="../tags/tag178.xml"/><Relationship Id="rId178" Type="http://schemas.openxmlformats.org/officeDocument/2006/relationships/tags" Target="../tags/tag179.xml"/><Relationship Id="rId179" Type="http://schemas.openxmlformats.org/officeDocument/2006/relationships/tags" Target="../tags/tag180.xml"/><Relationship Id="rId260" Type="http://schemas.openxmlformats.org/officeDocument/2006/relationships/tags" Target="../tags/tag261.xml"/><Relationship Id="rId10" Type="http://schemas.openxmlformats.org/officeDocument/2006/relationships/tags" Target="../tags/tag11.xml"/><Relationship Id="rId11" Type="http://schemas.openxmlformats.org/officeDocument/2006/relationships/tags" Target="../tags/tag12.xml"/><Relationship Id="rId12" Type="http://schemas.openxmlformats.org/officeDocument/2006/relationships/tags" Target="../tags/tag13.xml"/><Relationship Id="rId13" Type="http://schemas.openxmlformats.org/officeDocument/2006/relationships/tags" Target="../tags/tag14.xml"/><Relationship Id="rId14" Type="http://schemas.openxmlformats.org/officeDocument/2006/relationships/tags" Target="../tags/tag15.xml"/><Relationship Id="rId15" Type="http://schemas.openxmlformats.org/officeDocument/2006/relationships/tags" Target="../tags/tag16.xml"/><Relationship Id="rId16" Type="http://schemas.openxmlformats.org/officeDocument/2006/relationships/tags" Target="../tags/tag17.xml"/><Relationship Id="rId17" Type="http://schemas.openxmlformats.org/officeDocument/2006/relationships/tags" Target="../tags/tag18.xml"/><Relationship Id="rId18" Type="http://schemas.openxmlformats.org/officeDocument/2006/relationships/tags" Target="../tags/tag19.xml"/><Relationship Id="rId19" Type="http://schemas.openxmlformats.org/officeDocument/2006/relationships/tags" Target="../tags/tag20.xml"/><Relationship Id="rId261" Type="http://schemas.openxmlformats.org/officeDocument/2006/relationships/tags" Target="../tags/tag262.xml"/><Relationship Id="rId262" Type="http://schemas.openxmlformats.org/officeDocument/2006/relationships/tags" Target="../tags/tag263.xml"/><Relationship Id="rId263" Type="http://schemas.openxmlformats.org/officeDocument/2006/relationships/tags" Target="../tags/tag264.xml"/><Relationship Id="rId264" Type="http://schemas.openxmlformats.org/officeDocument/2006/relationships/tags" Target="../tags/tag265.xml"/><Relationship Id="rId110" Type="http://schemas.openxmlformats.org/officeDocument/2006/relationships/tags" Target="../tags/tag111.xml"/><Relationship Id="rId111" Type="http://schemas.openxmlformats.org/officeDocument/2006/relationships/tags" Target="../tags/tag112.xml"/><Relationship Id="rId112" Type="http://schemas.openxmlformats.org/officeDocument/2006/relationships/tags" Target="../tags/tag113.xml"/><Relationship Id="rId113" Type="http://schemas.openxmlformats.org/officeDocument/2006/relationships/tags" Target="../tags/tag114.xml"/><Relationship Id="rId114" Type="http://schemas.openxmlformats.org/officeDocument/2006/relationships/tags" Target="../tags/tag115.xml"/><Relationship Id="rId115" Type="http://schemas.openxmlformats.org/officeDocument/2006/relationships/tags" Target="../tags/tag116.xml"/><Relationship Id="rId116" Type="http://schemas.openxmlformats.org/officeDocument/2006/relationships/tags" Target="../tags/tag117.xml"/><Relationship Id="rId117" Type="http://schemas.openxmlformats.org/officeDocument/2006/relationships/tags" Target="../tags/tag118.xml"/><Relationship Id="rId118" Type="http://schemas.openxmlformats.org/officeDocument/2006/relationships/tags" Target="../tags/tag119.xml"/><Relationship Id="rId119" Type="http://schemas.openxmlformats.org/officeDocument/2006/relationships/tags" Target="../tags/tag120.xml"/><Relationship Id="rId200" Type="http://schemas.openxmlformats.org/officeDocument/2006/relationships/tags" Target="../tags/tag201.xml"/><Relationship Id="rId201" Type="http://schemas.openxmlformats.org/officeDocument/2006/relationships/tags" Target="../tags/tag202.xml"/><Relationship Id="rId202" Type="http://schemas.openxmlformats.org/officeDocument/2006/relationships/tags" Target="../tags/tag203.xml"/><Relationship Id="rId203" Type="http://schemas.openxmlformats.org/officeDocument/2006/relationships/tags" Target="../tags/tag204.xml"/><Relationship Id="rId204" Type="http://schemas.openxmlformats.org/officeDocument/2006/relationships/tags" Target="../tags/tag205.xml"/><Relationship Id="rId205" Type="http://schemas.openxmlformats.org/officeDocument/2006/relationships/tags" Target="../tags/tag206.xml"/><Relationship Id="rId206" Type="http://schemas.openxmlformats.org/officeDocument/2006/relationships/tags" Target="../tags/tag207.xml"/><Relationship Id="rId207" Type="http://schemas.openxmlformats.org/officeDocument/2006/relationships/tags" Target="../tags/tag208.xml"/><Relationship Id="rId208" Type="http://schemas.openxmlformats.org/officeDocument/2006/relationships/tags" Target="../tags/tag209.xml"/><Relationship Id="rId209" Type="http://schemas.openxmlformats.org/officeDocument/2006/relationships/tags" Target="../tags/tag210.xml"/><Relationship Id="rId265" Type="http://schemas.openxmlformats.org/officeDocument/2006/relationships/tags" Target="../tags/tag266.xml"/><Relationship Id="rId266" Type="http://schemas.openxmlformats.org/officeDocument/2006/relationships/tags" Target="../tags/tag267.xml"/><Relationship Id="rId267" Type="http://schemas.openxmlformats.org/officeDocument/2006/relationships/tags" Target="../tags/tag268.xml"/><Relationship Id="rId268" Type="http://schemas.openxmlformats.org/officeDocument/2006/relationships/tags" Target="../tags/tag269.xml"/><Relationship Id="rId269" Type="http://schemas.openxmlformats.org/officeDocument/2006/relationships/tags" Target="../tags/tag270.xml"/><Relationship Id="rId350" Type="http://schemas.openxmlformats.org/officeDocument/2006/relationships/tags" Target="../tags/tag351.xml"/><Relationship Id="rId351" Type="http://schemas.openxmlformats.org/officeDocument/2006/relationships/tags" Target="../tags/tag352.xml"/><Relationship Id="rId352" Type="http://schemas.openxmlformats.org/officeDocument/2006/relationships/tags" Target="../tags/tag353.xml"/><Relationship Id="rId353" Type="http://schemas.openxmlformats.org/officeDocument/2006/relationships/tags" Target="../tags/tag354.xml"/><Relationship Id="rId354" Type="http://schemas.openxmlformats.org/officeDocument/2006/relationships/tags" Target="../tags/tag355.xml"/><Relationship Id="rId355" Type="http://schemas.openxmlformats.org/officeDocument/2006/relationships/tags" Target="../tags/tag356.xml"/><Relationship Id="rId356" Type="http://schemas.openxmlformats.org/officeDocument/2006/relationships/tags" Target="../tags/tag357.xml"/><Relationship Id="rId357" Type="http://schemas.openxmlformats.org/officeDocument/2006/relationships/tags" Target="../tags/tag358.xml"/><Relationship Id="rId358" Type="http://schemas.openxmlformats.org/officeDocument/2006/relationships/tags" Target="../tags/tag359.xml"/><Relationship Id="rId1" Type="http://schemas.openxmlformats.org/officeDocument/2006/relationships/tags" Target="../tags/tag2.xml"/><Relationship Id="rId2" Type="http://schemas.openxmlformats.org/officeDocument/2006/relationships/tags" Target="../tags/tag3.xml"/><Relationship Id="rId3" Type="http://schemas.openxmlformats.org/officeDocument/2006/relationships/tags" Target="../tags/tag4.xml"/><Relationship Id="rId4" Type="http://schemas.openxmlformats.org/officeDocument/2006/relationships/tags" Target="../tags/tag5.xml"/><Relationship Id="rId5" Type="http://schemas.openxmlformats.org/officeDocument/2006/relationships/tags" Target="../tags/tag6.xml"/><Relationship Id="rId6" Type="http://schemas.openxmlformats.org/officeDocument/2006/relationships/tags" Target="../tags/tag7.xml"/><Relationship Id="rId7" Type="http://schemas.openxmlformats.org/officeDocument/2006/relationships/tags" Target="../tags/tag8.xml"/><Relationship Id="rId8" Type="http://schemas.openxmlformats.org/officeDocument/2006/relationships/tags" Target="../tags/tag9.xml"/><Relationship Id="rId9" Type="http://schemas.openxmlformats.org/officeDocument/2006/relationships/tags" Target="../tags/tag10.xml"/><Relationship Id="rId359" Type="http://schemas.openxmlformats.org/officeDocument/2006/relationships/tags" Target="../tags/tag360.xml"/><Relationship Id="rId80" Type="http://schemas.openxmlformats.org/officeDocument/2006/relationships/tags" Target="../tags/tag81.xml"/><Relationship Id="rId81" Type="http://schemas.openxmlformats.org/officeDocument/2006/relationships/tags" Target="../tags/tag82.xml"/><Relationship Id="rId82" Type="http://schemas.openxmlformats.org/officeDocument/2006/relationships/tags" Target="../tags/tag83.xml"/><Relationship Id="rId83" Type="http://schemas.openxmlformats.org/officeDocument/2006/relationships/tags" Target="../tags/tag84.xml"/><Relationship Id="rId84" Type="http://schemas.openxmlformats.org/officeDocument/2006/relationships/tags" Target="../tags/tag85.xml"/><Relationship Id="rId85" Type="http://schemas.openxmlformats.org/officeDocument/2006/relationships/tags" Target="../tags/tag86.xml"/><Relationship Id="rId86" Type="http://schemas.openxmlformats.org/officeDocument/2006/relationships/tags" Target="../tags/tag87.xml"/><Relationship Id="rId87" Type="http://schemas.openxmlformats.org/officeDocument/2006/relationships/tags" Target="../tags/tag88.xml"/><Relationship Id="rId88" Type="http://schemas.openxmlformats.org/officeDocument/2006/relationships/tags" Target="../tags/tag89.xml"/><Relationship Id="rId89" Type="http://schemas.openxmlformats.org/officeDocument/2006/relationships/tags" Target="../tags/tag90.xml"/><Relationship Id="rId180" Type="http://schemas.openxmlformats.org/officeDocument/2006/relationships/tags" Target="../tags/tag181.xml"/><Relationship Id="rId181" Type="http://schemas.openxmlformats.org/officeDocument/2006/relationships/tags" Target="../tags/tag182.xml"/><Relationship Id="rId182" Type="http://schemas.openxmlformats.org/officeDocument/2006/relationships/tags" Target="../tags/tag183.xml"/><Relationship Id="rId183" Type="http://schemas.openxmlformats.org/officeDocument/2006/relationships/tags" Target="../tags/tag184.xml"/><Relationship Id="rId184" Type="http://schemas.openxmlformats.org/officeDocument/2006/relationships/tags" Target="../tags/tag185.xml"/><Relationship Id="rId185" Type="http://schemas.openxmlformats.org/officeDocument/2006/relationships/tags" Target="../tags/tag186.xml"/><Relationship Id="rId186" Type="http://schemas.openxmlformats.org/officeDocument/2006/relationships/tags" Target="../tags/tag187.xml"/><Relationship Id="rId187" Type="http://schemas.openxmlformats.org/officeDocument/2006/relationships/tags" Target="../tags/tag188.xml"/><Relationship Id="rId188" Type="http://schemas.openxmlformats.org/officeDocument/2006/relationships/tags" Target="../tags/tag189.xml"/><Relationship Id="rId189" Type="http://schemas.openxmlformats.org/officeDocument/2006/relationships/tags" Target="../tags/tag190.xml"/><Relationship Id="rId270" Type="http://schemas.openxmlformats.org/officeDocument/2006/relationships/tags" Target="../tags/tag271.xml"/><Relationship Id="rId20" Type="http://schemas.openxmlformats.org/officeDocument/2006/relationships/tags" Target="../tags/tag21.xml"/><Relationship Id="rId21" Type="http://schemas.openxmlformats.org/officeDocument/2006/relationships/tags" Target="../tags/tag22.xml"/><Relationship Id="rId22" Type="http://schemas.openxmlformats.org/officeDocument/2006/relationships/tags" Target="../tags/tag23.xml"/><Relationship Id="rId23" Type="http://schemas.openxmlformats.org/officeDocument/2006/relationships/tags" Target="../tags/tag24.xml"/><Relationship Id="rId24" Type="http://schemas.openxmlformats.org/officeDocument/2006/relationships/tags" Target="../tags/tag25.xml"/><Relationship Id="rId25" Type="http://schemas.openxmlformats.org/officeDocument/2006/relationships/tags" Target="../tags/tag26.xml"/><Relationship Id="rId26" Type="http://schemas.openxmlformats.org/officeDocument/2006/relationships/tags" Target="../tags/tag27.xml"/><Relationship Id="rId27" Type="http://schemas.openxmlformats.org/officeDocument/2006/relationships/tags" Target="../tags/tag28.xml"/><Relationship Id="rId28" Type="http://schemas.openxmlformats.org/officeDocument/2006/relationships/tags" Target="../tags/tag29.xml"/><Relationship Id="rId29" Type="http://schemas.openxmlformats.org/officeDocument/2006/relationships/tags" Target="../tags/tag30.xml"/><Relationship Id="rId271" Type="http://schemas.openxmlformats.org/officeDocument/2006/relationships/tags" Target="../tags/tag272.xml"/><Relationship Id="rId272" Type="http://schemas.openxmlformats.org/officeDocument/2006/relationships/tags" Target="../tags/tag273.xml"/><Relationship Id="rId273" Type="http://schemas.openxmlformats.org/officeDocument/2006/relationships/tags" Target="../tags/tag274.xml"/><Relationship Id="rId274" Type="http://schemas.openxmlformats.org/officeDocument/2006/relationships/tags" Target="../tags/tag275.xml"/><Relationship Id="rId120" Type="http://schemas.openxmlformats.org/officeDocument/2006/relationships/tags" Target="../tags/tag121.xml"/><Relationship Id="rId121" Type="http://schemas.openxmlformats.org/officeDocument/2006/relationships/tags" Target="../tags/tag122.xml"/><Relationship Id="rId122" Type="http://schemas.openxmlformats.org/officeDocument/2006/relationships/tags" Target="../tags/tag123.xml"/><Relationship Id="rId123" Type="http://schemas.openxmlformats.org/officeDocument/2006/relationships/tags" Target="../tags/tag124.xml"/><Relationship Id="rId124" Type="http://schemas.openxmlformats.org/officeDocument/2006/relationships/tags" Target="../tags/tag125.xml"/><Relationship Id="rId125" Type="http://schemas.openxmlformats.org/officeDocument/2006/relationships/tags" Target="../tags/tag126.xml"/><Relationship Id="rId126" Type="http://schemas.openxmlformats.org/officeDocument/2006/relationships/tags" Target="../tags/tag127.xml"/><Relationship Id="rId127" Type="http://schemas.openxmlformats.org/officeDocument/2006/relationships/tags" Target="../tags/tag128.xml"/><Relationship Id="rId128" Type="http://schemas.openxmlformats.org/officeDocument/2006/relationships/tags" Target="../tags/tag129.xml"/><Relationship Id="rId129" Type="http://schemas.openxmlformats.org/officeDocument/2006/relationships/tags" Target="../tags/tag130.xml"/><Relationship Id="rId210" Type="http://schemas.openxmlformats.org/officeDocument/2006/relationships/tags" Target="../tags/tag211.xml"/><Relationship Id="rId211" Type="http://schemas.openxmlformats.org/officeDocument/2006/relationships/tags" Target="../tags/tag212.xml"/><Relationship Id="rId212" Type="http://schemas.openxmlformats.org/officeDocument/2006/relationships/tags" Target="../tags/tag213.xml"/><Relationship Id="rId213" Type="http://schemas.openxmlformats.org/officeDocument/2006/relationships/tags" Target="../tags/tag214.xml"/><Relationship Id="rId214" Type="http://schemas.openxmlformats.org/officeDocument/2006/relationships/tags" Target="../tags/tag215.xml"/><Relationship Id="rId215" Type="http://schemas.openxmlformats.org/officeDocument/2006/relationships/tags" Target="../tags/tag216.xml"/><Relationship Id="rId216" Type="http://schemas.openxmlformats.org/officeDocument/2006/relationships/tags" Target="../tags/tag217.xml"/><Relationship Id="rId217" Type="http://schemas.openxmlformats.org/officeDocument/2006/relationships/tags" Target="../tags/tag218.xml"/><Relationship Id="rId218" Type="http://schemas.openxmlformats.org/officeDocument/2006/relationships/tags" Target="../tags/tag219.xml"/><Relationship Id="rId219" Type="http://schemas.openxmlformats.org/officeDocument/2006/relationships/tags" Target="../tags/tag220.xml"/><Relationship Id="rId275" Type="http://schemas.openxmlformats.org/officeDocument/2006/relationships/tags" Target="../tags/tag276.xml"/><Relationship Id="rId276" Type="http://schemas.openxmlformats.org/officeDocument/2006/relationships/tags" Target="../tags/tag277.xml"/><Relationship Id="rId277" Type="http://schemas.openxmlformats.org/officeDocument/2006/relationships/tags" Target="../tags/tag278.xml"/><Relationship Id="rId278" Type="http://schemas.openxmlformats.org/officeDocument/2006/relationships/tags" Target="../tags/tag279.xml"/><Relationship Id="rId279" Type="http://schemas.openxmlformats.org/officeDocument/2006/relationships/tags" Target="../tags/tag280.xml"/><Relationship Id="rId300" Type="http://schemas.openxmlformats.org/officeDocument/2006/relationships/tags" Target="../tags/tag301.xml"/><Relationship Id="rId301" Type="http://schemas.openxmlformats.org/officeDocument/2006/relationships/tags" Target="../tags/tag302.xml"/><Relationship Id="rId302" Type="http://schemas.openxmlformats.org/officeDocument/2006/relationships/tags" Target="../tags/tag303.xml"/><Relationship Id="rId303" Type="http://schemas.openxmlformats.org/officeDocument/2006/relationships/tags" Target="../tags/tag304.xml"/><Relationship Id="rId304" Type="http://schemas.openxmlformats.org/officeDocument/2006/relationships/tags" Target="../tags/tag305.xml"/><Relationship Id="rId305" Type="http://schemas.openxmlformats.org/officeDocument/2006/relationships/tags" Target="../tags/tag306.xml"/><Relationship Id="rId306" Type="http://schemas.openxmlformats.org/officeDocument/2006/relationships/tags" Target="../tags/tag307.xml"/><Relationship Id="rId307" Type="http://schemas.openxmlformats.org/officeDocument/2006/relationships/tags" Target="../tags/tag308.xml"/><Relationship Id="rId308" Type="http://schemas.openxmlformats.org/officeDocument/2006/relationships/tags" Target="../tags/tag309.xml"/><Relationship Id="rId309" Type="http://schemas.openxmlformats.org/officeDocument/2006/relationships/tags" Target="../tags/tag310.xml"/><Relationship Id="rId360" Type="http://schemas.openxmlformats.org/officeDocument/2006/relationships/tags" Target="../tags/tag361.xml"/><Relationship Id="rId361" Type="http://schemas.openxmlformats.org/officeDocument/2006/relationships/tags" Target="../tags/tag362.xml"/><Relationship Id="rId362" Type="http://schemas.openxmlformats.org/officeDocument/2006/relationships/tags" Target="../tags/tag363.xml"/><Relationship Id="rId363" Type="http://schemas.openxmlformats.org/officeDocument/2006/relationships/tags" Target="../tags/tag364.xml"/><Relationship Id="rId364" Type="http://schemas.openxmlformats.org/officeDocument/2006/relationships/tags" Target="../tags/tag365.xml"/><Relationship Id="rId365" Type="http://schemas.openxmlformats.org/officeDocument/2006/relationships/tags" Target="../tags/tag366.xml"/><Relationship Id="rId366" Type="http://schemas.openxmlformats.org/officeDocument/2006/relationships/tags" Target="../tags/tag367.xml"/><Relationship Id="rId367" Type="http://schemas.openxmlformats.org/officeDocument/2006/relationships/tags" Target="../tags/tag368.xml"/><Relationship Id="rId368" Type="http://schemas.openxmlformats.org/officeDocument/2006/relationships/tags" Target="../tags/tag369.xml"/><Relationship Id="rId369" Type="http://schemas.openxmlformats.org/officeDocument/2006/relationships/tags" Target="../tags/tag370.xml"/><Relationship Id="rId90" Type="http://schemas.openxmlformats.org/officeDocument/2006/relationships/tags" Target="../tags/tag91.xml"/><Relationship Id="rId91" Type="http://schemas.openxmlformats.org/officeDocument/2006/relationships/tags" Target="../tags/tag92.xml"/><Relationship Id="rId92" Type="http://schemas.openxmlformats.org/officeDocument/2006/relationships/tags" Target="../tags/tag93.xml"/><Relationship Id="rId93" Type="http://schemas.openxmlformats.org/officeDocument/2006/relationships/tags" Target="../tags/tag94.xml"/><Relationship Id="rId94" Type="http://schemas.openxmlformats.org/officeDocument/2006/relationships/tags" Target="../tags/tag95.xml"/><Relationship Id="rId95" Type="http://schemas.openxmlformats.org/officeDocument/2006/relationships/tags" Target="../tags/tag96.xml"/><Relationship Id="rId96" Type="http://schemas.openxmlformats.org/officeDocument/2006/relationships/tags" Target="../tags/tag97.xml"/><Relationship Id="rId97" Type="http://schemas.openxmlformats.org/officeDocument/2006/relationships/tags" Target="../tags/tag98.xml"/><Relationship Id="rId98" Type="http://schemas.openxmlformats.org/officeDocument/2006/relationships/tags" Target="../tags/tag99.xml"/><Relationship Id="rId99" Type="http://schemas.openxmlformats.org/officeDocument/2006/relationships/tags" Target="../tags/tag100.xml"/><Relationship Id="rId190" Type="http://schemas.openxmlformats.org/officeDocument/2006/relationships/tags" Target="../tags/tag191.xml"/><Relationship Id="rId191" Type="http://schemas.openxmlformats.org/officeDocument/2006/relationships/tags" Target="../tags/tag192.xml"/><Relationship Id="rId192" Type="http://schemas.openxmlformats.org/officeDocument/2006/relationships/tags" Target="../tags/tag193.xml"/><Relationship Id="rId193" Type="http://schemas.openxmlformats.org/officeDocument/2006/relationships/tags" Target="../tags/tag194.xml"/><Relationship Id="rId194" Type="http://schemas.openxmlformats.org/officeDocument/2006/relationships/tags" Target="../tags/tag195.xml"/><Relationship Id="rId195" Type="http://schemas.openxmlformats.org/officeDocument/2006/relationships/tags" Target="../tags/tag196.xml"/><Relationship Id="rId196" Type="http://schemas.openxmlformats.org/officeDocument/2006/relationships/tags" Target="../tags/tag197.xml"/><Relationship Id="rId197" Type="http://schemas.openxmlformats.org/officeDocument/2006/relationships/tags" Target="../tags/tag198.xml"/><Relationship Id="rId198" Type="http://schemas.openxmlformats.org/officeDocument/2006/relationships/tags" Target="../tags/tag199.xml"/><Relationship Id="rId199" Type="http://schemas.openxmlformats.org/officeDocument/2006/relationships/tags" Target="../tags/tag200.xml"/><Relationship Id="rId280" Type="http://schemas.openxmlformats.org/officeDocument/2006/relationships/tags" Target="../tags/tag281.xml"/><Relationship Id="rId30" Type="http://schemas.openxmlformats.org/officeDocument/2006/relationships/tags" Target="../tags/tag31.xml"/><Relationship Id="rId31" Type="http://schemas.openxmlformats.org/officeDocument/2006/relationships/tags" Target="../tags/tag32.xml"/><Relationship Id="rId32" Type="http://schemas.openxmlformats.org/officeDocument/2006/relationships/tags" Target="../tags/tag33.xml"/><Relationship Id="rId33" Type="http://schemas.openxmlformats.org/officeDocument/2006/relationships/tags" Target="../tags/tag34.xml"/><Relationship Id="rId34" Type="http://schemas.openxmlformats.org/officeDocument/2006/relationships/tags" Target="../tags/tag35.xml"/><Relationship Id="rId35" Type="http://schemas.openxmlformats.org/officeDocument/2006/relationships/tags" Target="../tags/tag36.xml"/><Relationship Id="rId36" Type="http://schemas.openxmlformats.org/officeDocument/2006/relationships/tags" Target="../tags/tag37.xml"/><Relationship Id="rId37" Type="http://schemas.openxmlformats.org/officeDocument/2006/relationships/tags" Target="../tags/tag38.xml"/><Relationship Id="rId38" Type="http://schemas.openxmlformats.org/officeDocument/2006/relationships/tags" Target="../tags/tag39.xml"/><Relationship Id="rId39" Type="http://schemas.openxmlformats.org/officeDocument/2006/relationships/tags" Target="../tags/tag40.xml"/><Relationship Id="rId281" Type="http://schemas.openxmlformats.org/officeDocument/2006/relationships/tags" Target="../tags/tag282.xml"/><Relationship Id="rId282" Type="http://schemas.openxmlformats.org/officeDocument/2006/relationships/tags" Target="../tags/tag283.xml"/><Relationship Id="rId283" Type="http://schemas.openxmlformats.org/officeDocument/2006/relationships/tags" Target="../tags/tag284.xml"/><Relationship Id="rId284" Type="http://schemas.openxmlformats.org/officeDocument/2006/relationships/tags" Target="../tags/tag285.xml"/><Relationship Id="rId130" Type="http://schemas.openxmlformats.org/officeDocument/2006/relationships/tags" Target="../tags/tag131.xml"/><Relationship Id="rId131" Type="http://schemas.openxmlformats.org/officeDocument/2006/relationships/tags" Target="../tags/tag132.xml"/><Relationship Id="rId132" Type="http://schemas.openxmlformats.org/officeDocument/2006/relationships/tags" Target="../tags/tag133.xml"/><Relationship Id="rId133" Type="http://schemas.openxmlformats.org/officeDocument/2006/relationships/tags" Target="../tags/tag134.xml"/><Relationship Id="rId220" Type="http://schemas.openxmlformats.org/officeDocument/2006/relationships/tags" Target="../tags/tag221.xml"/><Relationship Id="rId221" Type="http://schemas.openxmlformats.org/officeDocument/2006/relationships/tags" Target="../tags/tag222.xml"/><Relationship Id="rId222" Type="http://schemas.openxmlformats.org/officeDocument/2006/relationships/tags" Target="../tags/tag223.xml"/><Relationship Id="rId223" Type="http://schemas.openxmlformats.org/officeDocument/2006/relationships/tags" Target="../tags/tag224.xml"/><Relationship Id="rId224" Type="http://schemas.openxmlformats.org/officeDocument/2006/relationships/tags" Target="../tags/tag225.xml"/><Relationship Id="rId225" Type="http://schemas.openxmlformats.org/officeDocument/2006/relationships/tags" Target="../tags/tag226.xml"/><Relationship Id="rId226" Type="http://schemas.openxmlformats.org/officeDocument/2006/relationships/tags" Target="../tags/tag227.xml"/><Relationship Id="rId227" Type="http://schemas.openxmlformats.org/officeDocument/2006/relationships/tags" Target="../tags/tag228.xml"/><Relationship Id="rId228" Type="http://schemas.openxmlformats.org/officeDocument/2006/relationships/tags" Target="../tags/tag229.xml"/><Relationship Id="rId229" Type="http://schemas.openxmlformats.org/officeDocument/2006/relationships/tags" Target="../tags/tag230.xml"/><Relationship Id="rId134" Type="http://schemas.openxmlformats.org/officeDocument/2006/relationships/tags" Target="../tags/tag135.xml"/><Relationship Id="rId135" Type="http://schemas.openxmlformats.org/officeDocument/2006/relationships/tags" Target="../tags/tag136.xml"/><Relationship Id="rId136" Type="http://schemas.openxmlformats.org/officeDocument/2006/relationships/tags" Target="../tags/tag137.xml"/><Relationship Id="rId137" Type="http://schemas.openxmlformats.org/officeDocument/2006/relationships/tags" Target="../tags/tag138.xml"/><Relationship Id="rId138" Type="http://schemas.openxmlformats.org/officeDocument/2006/relationships/tags" Target="../tags/tag139.xml"/><Relationship Id="rId139" Type="http://schemas.openxmlformats.org/officeDocument/2006/relationships/tags" Target="../tags/tag140.xml"/><Relationship Id="rId285" Type="http://schemas.openxmlformats.org/officeDocument/2006/relationships/tags" Target="../tags/tag286.xml"/><Relationship Id="rId286" Type="http://schemas.openxmlformats.org/officeDocument/2006/relationships/tags" Target="../tags/tag287.xml"/><Relationship Id="rId287" Type="http://schemas.openxmlformats.org/officeDocument/2006/relationships/tags" Target="../tags/tag288.xml"/><Relationship Id="rId288" Type="http://schemas.openxmlformats.org/officeDocument/2006/relationships/tags" Target="../tags/tag289.xml"/><Relationship Id="rId289" Type="http://schemas.openxmlformats.org/officeDocument/2006/relationships/tags" Target="../tags/tag290.xml"/><Relationship Id="rId310" Type="http://schemas.openxmlformats.org/officeDocument/2006/relationships/tags" Target="../tags/tag311.xml"/><Relationship Id="rId311" Type="http://schemas.openxmlformats.org/officeDocument/2006/relationships/tags" Target="../tags/tag312.xml"/><Relationship Id="rId312" Type="http://schemas.openxmlformats.org/officeDocument/2006/relationships/tags" Target="../tags/tag313.xml"/><Relationship Id="rId313" Type="http://schemas.openxmlformats.org/officeDocument/2006/relationships/tags" Target="../tags/tag314.xml"/><Relationship Id="rId314" Type="http://schemas.openxmlformats.org/officeDocument/2006/relationships/tags" Target="../tags/tag315.xml"/><Relationship Id="rId315" Type="http://schemas.openxmlformats.org/officeDocument/2006/relationships/tags" Target="../tags/tag316.xml"/><Relationship Id="rId316" Type="http://schemas.openxmlformats.org/officeDocument/2006/relationships/tags" Target="../tags/tag317.xml"/><Relationship Id="rId317" Type="http://schemas.openxmlformats.org/officeDocument/2006/relationships/tags" Target="../tags/tag318.xml"/><Relationship Id="rId318" Type="http://schemas.openxmlformats.org/officeDocument/2006/relationships/tags" Target="../tags/tag319.xml"/><Relationship Id="rId319" Type="http://schemas.openxmlformats.org/officeDocument/2006/relationships/tags" Target="../tags/tag320.xml"/><Relationship Id="rId370" Type="http://schemas.openxmlformats.org/officeDocument/2006/relationships/tags" Target="../tags/tag371.xml"/><Relationship Id="rId371" Type="http://schemas.openxmlformats.org/officeDocument/2006/relationships/tags" Target="../tags/tag372.xml"/><Relationship Id="rId372" Type="http://schemas.openxmlformats.org/officeDocument/2006/relationships/tags" Target="../tags/tag373.xml"/><Relationship Id="rId373" Type="http://schemas.openxmlformats.org/officeDocument/2006/relationships/tags" Target="../tags/tag374.xml"/><Relationship Id="rId374" Type="http://schemas.openxmlformats.org/officeDocument/2006/relationships/tags" Target="../tags/tag375.xml"/><Relationship Id="rId375" Type="http://schemas.openxmlformats.org/officeDocument/2006/relationships/tags" Target="../tags/tag376.xml"/><Relationship Id="rId376" Type="http://schemas.openxmlformats.org/officeDocument/2006/relationships/tags" Target="../tags/tag377.xml"/><Relationship Id="rId377" Type="http://schemas.openxmlformats.org/officeDocument/2006/relationships/tags" Target="../tags/tag378.xml"/><Relationship Id="rId378" Type="http://schemas.openxmlformats.org/officeDocument/2006/relationships/tags" Target="../tags/tag379.xml"/><Relationship Id="rId379" Type="http://schemas.openxmlformats.org/officeDocument/2006/relationships/tags" Target="../tags/tag380.xml"/><Relationship Id="rId290" Type="http://schemas.openxmlformats.org/officeDocument/2006/relationships/tags" Target="../tags/tag291.xml"/><Relationship Id="rId291" Type="http://schemas.openxmlformats.org/officeDocument/2006/relationships/tags" Target="../tags/tag292.xml"/><Relationship Id="rId292" Type="http://schemas.openxmlformats.org/officeDocument/2006/relationships/tags" Target="../tags/tag293.xml"/><Relationship Id="rId293" Type="http://schemas.openxmlformats.org/officeDocument/2006/relationships/tags" Target="../tags/tag294.xml"/><Relationship Id="rId294" Type="http://schemas.openxmlformats.org/officeDocument/2006/relationships/tags" Target="../tags/tag295.xml"/><Relationship Id="rId295" Type="http://schemas.openxmlformats.org/officeDocument/2006/relationships/tags" Target="../tags/tag296.xml"/><Relationship Id="rId296" Type="http://schemas.openxmlformats.org/officeDocument/2006/relationships/tags" Target="../tags/tag297.xml"/><Relationship Id="rId40" Type="http://schemas.openxmlformats.org/officeDocument/2006/relationships/tags" Target="../tags/tag41.xml"/><Relationship Id="rId41" Type="http://schemas.openxmlformats.org/officeDocument/2006/relationships/tags" Target="../tags/tag42.xml"/><Relationship Id="rId42" Type="http://schemas.openxmlformats.org/officeDocument/2006/relationships/tags" Target="../tags/tag43.xml"/><Relationship Id="rId43" Type="http://schemas.openxmlformats.org/officeDocument/2006/relationships/tags" Target="../tags/tag44.xml"/><Relationship Id="rId44" Type="http://schemas.openxmlformats.org/officeDocument/2006/relationships/tags" Target="../tags/tag45.xml"/><Relationship Id="rId45" Type="http://schemas.openxmlformats.org/officeDocument/2006/relationships/tags" Target="../tags/tag46.xml"/><Relationship Id="rId46" Type="http://schemas.openxmlformats.org/officeDocument/2006/relationships/tags" Target="../tags/tag47.xml"/><Relationship Id="rId47" Type="http://schemas.openxmlformats.org/officeDocument/2006/relationships/tags" Target="../tags/tag48.xml"/><Relationship Id="rId48" Type="http://schemas.openxmlformats.org/officeDocument/2006/relationships/tags" Target="../tags/tag49.xml"/><Relationship Id="rId49" Type="http://schemas.openxmlformats.org/officeDocument/2006/relationships/tags" Target="../tags/tag50.xml"/><Relationship Id="rId297" Type="http://schemas.openxmlformats.org/officeDocument/2006/relationships/tags" Target="../tags/tag298.xml"/><Relationship Id="rId298" Type="http://schemas.openxmlformats.org/officeDocument/2006/relationships/tags" Target="../tags/tag299.xml"/><Relationship Id="rId299" Type="http://schemas.openxmlformats.org/officeDocument/2006/relationships/tags" Target="../tags/tag300.xml"/><Relationship Id="rId380" Type="http://schemas.openxmlformats.org/officeDocument/2006/relationships/tags" Target="../tags/tag381.xml"/><Relationship Id="rId140" Type="http://schemas.openxmlformats.org/officeDocument/2006/relationships/tags" Target="../tags/tag141.xml"/><Relationship Id="rId141" Type="http://schemas.openxmlformats.org/officeDocument/2006/relationships/tags" Target="../tags/tag142.xml"/><Relationship Id="rId142" Type="http://schemas.openxmlformats.org/officeDocument/2006/relationships/tags" Target="../tags/tag143.xml"/><Relationship Id="rId143" Type="http://schemas.openxmlformats.org/officeDocument/2006/relationships/tags" Target="../tags/tag144.xml"/><Relationship Id="rId144" Type="http://schemas.openxmlformats.org/officeDocument/2006/relationships/tags" Target="../tags/tag145.xml"/><Relationship Id="rId145" Type="http://schemas.openxmlformats.org/officeDocument/2006/relationships/tags" Target="../tags/tag146.xml"/><Relationship Id="rId146" Type="http://schemas.openxmlformats.org/officeDocument/2006/relationships/tags" Target="../tags/tag147.xml"/><Relationship Id="rId147" Type="http://schemas.openxmlformats.org/officeDocument/2006/relationships/tags" Target="../tags/tag148.xml"/><Relationship Id="rId148" Type="http://schemas.openxmlformats.org/officeDocument/2006/relationships/tags" Target="../tags/tag149.xml"/><Relationship Id="rId149" Type="http://schemas.openxmlformats.org/officeDocument/2006/relationships/tags" Target="../tags/tag150.xml"/><Relationship Id="rId230" Type="http://schemas.openxmlformats.org/officeDocument/2006/relationships/tags" Target="../tags/tag231.xml"/><Relationship Id="rId231" Type="http://schemas.openxmlformats.org/officeDocument/2006/relationships/tags" Target="../tags/tag232.xml"/><Relationship Id="rId232" Type="http://schemas.openxmlformats.org/officeDocument/2006/relationships/tags" Target="../tags/tag233.xml"/><Relationship Id="rId233" Type="http://schemas.openxmlformats.org/officeDocument/2006/relationships/tags" Target="../tags/tag234.xml"/><Relationship Id="rId234" Type="http://schemas.openxmlformats.org/officeDocument/2006/relationships/tags" Target="../tags/tag235.xml"/><Relationship Id="rId235" Type="http://schemas.openxmlformats.org/officeDocument/2006/relationships/tags" Target="../tags/tag236.xml"/><Relationship Id="rId236" Type="http://schemas.openxmlformats.org/officeDocument/2006/relationships/tags" Target="../tags/tag237.xml"/><Relationship Id="rId237" Type="http://schemas.openxmlformats.org/officeDocument/2006/relationships/tags" Target="../tags/tag238.xml"/><Relationship Id="rId238" Type="http://schemas.openxmlformats.org/officeDocument/2006/relationships/tags" Target="../tags/tag239.xml"/><Relationship Id="rId239" Type="http://schemas.openxmlformats.org/officeDocument/2006/relationships/tags" Target="../tags/tag240.xml"/><Relationship Id="rId320" Type="http://schemas.openxmlformats.org/officeDocument/2006/relationships/tags" Target="../tags/tag321.xml"/><Relationship Id="rId321" Type="http://schemas.openxmlformats.org/officeDocument/2006/relationships/tags" Target="../tags/tag322.xml"/><Relationship Id="rId322" Type="http://schemas.openxmlformats.org/officeDocument/2006/relationships/tags" Target="../tags/tag323.xml"/><Relationship Id="rId323" Type="http://schemas.openxmlformats.org/officeDocument/2006/relationships/tags" Target="../tags/tag324.xml"/><Relationship Id="rId324" Type="http://schemas.openxmlformats.org/officeDocument/2006/relationships/tags" Target="../tags/tag325.xml"/><Relationship Id="rId325" Type="http://schemas.openxmlformats.org/officeDocument/2006/relationships/tags" Target="../tags/tag326.xml"/><Relationship Id="rId326" Type="http://schemas.openxmlformats.org/officeDocument/2006/relationships/tags" Target="../tags/tag327.xml"/><Relationship Id="rId327" Type="http://schemas.openxmlformats.org/officeDocument/2006/relationships/tags" Target="../tags/tag328.xml"/><Relationship Id="rId328" Type="http://schemas.openxmlformats.org/officeDocument/2006/relationships/tags" Target="../tags/tag329.xml"/><Relationship Id="rId329" Type="http://schemas.openxmlformats.org/officeDocument/2006/relationships/tags" Target="../tags/tag330.xml"/><Relationship Id="rId381" Type="http://schemas.openxmlformats.org/officeDocument/2006/relationships/tags" Target="../tags/tag382.xml"/><Relationship Id="rId382" Type="http://schemas.openxmlformats.org/officeDocument/2006/relationships/slideLayout" Target="../slideLayouts/slideLayout7.xml"/><Relationship Id="rId383" Type="http://schemas.openxmlformats.org/officeDocument/2006/relationships/image" Target="../media/image2.png"/><Relationship Id="rId50" Type="http://schemas.openxmlformats.org/officeDocument/2006/relationships/tags" Target="../tags/tag51.xml"/><Relationship Id="rId51" Type="http://schemas.openxmlformats.org/officeDocument/2006/relationships/tags" Target="../tags/tag52.xml"/><Relationship Id="rId52" Type="http://schemas.openxmlformats.org/officeDocument/2006/relationships/tags" Target="../tags/tag53.xml"/><Relationship Id="rId53" Type="http://schemas.openxmlformats.org/officeDocument/2006/relationships/tags" Target="../tags/tag54.xml"/><Relationship Id="rId54" Type="http://schemas.openxmlformats.org/officeDocument/2006/relationships/tags" Target="../tags/tag55.xml"/><Relationship Id="rId55" Type="http://schemas.openxmlformats.org/officeDocument/2006/relationships/tags" Target="../tags/tag56.xml"/><Relationship Id="rId56" Type="http://schemas.openxmlformats.org/officeDocument/2006/relationships/tags" Target="../tags/tag57.xml"/><Relationship Id="rId57" Type="http://schemas.openxmlformats.org/officeDocument/2006/relationships/tags" Target="../tags/tag58.xml"/><Relationship Id="rId58" Type="http://schemas.openxmlformats.org/officeDocument/2006/relationships/tags" Target="../tags/tag59.xml"/><Relationship Id="rId59" Type="http://schemas.openxmlformats.org/officeDocument/2006/relationships/tags" Target="../tags/tag60.xml"/><Relationship Id="rId150" Type="http://schemas.openxmlformats.org/officeDocument/2006/relationships/tags" Target="../tags/tag151.xml"/><Relationship Id="rId151" Type="http://schemas.openxmlformats.org/officeDocument/2006/relationships/tags" Target="../tags/tag152.xml"/><Relationship Id="rId152" Type="http://schemas.openxmlformats.org/officeDocument/2006/relationships/tags" Target="../tags/tag153.xml"/><Relationship Id="rId153" Type="http://schemas.openxmlformats.org/officeDocument/2006/relationships/tags" Target="../tags/tag154.xml"/><Relationship Id="rId154" Type="http://schemas.openxmlformats.org/officeDocument/2006/relationships/tags" Target="../tags/tag155.xml"/><Relationship Id="rId155" Type="http://schemas.openxmlformats.org/officeDocument/2006/relationships/tags" Target="../tags/tag156.xml"/><Relationship Id="rId156" Type="http://schemas.openxmlformats.org/officeDocument/2006/relationships/tags" Target="../tags/tag157.xml"/><Relationship Id="rId157" Type="http://schemas.openxmlformats.org/officeDocument/2006/relationships/tags" Target="../tags/tag158.xml"/><Relationship Id="rId158" Type="http://schemas.openxmlformats.org/officeDocument/2006/relationships/tags" Target="../tags/tag159.xml"/><Relationship Id="rId159" Type="http://schemas.openxmlformats.org/officeDocument/2006/relationships/tags" Target="../tags/tag160.xml"/><Relationship Id="rId240" Type="http://schemas.openxmlformats.org/officeDocument/2006/relationships/tags" Target="../tags/tag241.xml"/><Relationship Id="rId241" Type="http://schemas.openxmlformats.org/officeDocument/2006/relationships/tags" Target="../tags/tag242.xml"/><Relationship Id="rId242" Type="http://schemas.openxmlformats.org/officeDocument/2006/relationships/tags" Target="../tags/tag243.xml"/><Relationship Id="rId243" Type="http://schemas.openxmlformats.org/officeDocument/2006/relationships/tags" Target="../tags/tag244.xml"/><Relationship Id="rId244" Type="http://schemas.openxmlformats.org/officeDocument/2006/relationships/tags" Target="../tags/tag245.xml"/><Relationship Id="rId245" Type="http://schemas.openxmlformats.org/officeDocument/2006/relationships/tags" Target="../tags/tag246.xml"/><Relationship Id="rId246" Type="http://schemas.openxmlformats.org/officeDocument/2006/relationships/tags" Target="../tags/tag247.xml"/><Relationship Id="rId247" Type="http://schemas.openxmlformats.org/officeDocument/2006/relationships/tags" Target="../tags/tag248.xml"/><Relationship Id="rId248" Type="http://schemas.openxmlformats.org/officeDocument/2006/relationships/tags" Target="../tags/tag249.xml"/><Relationship Id="rId249" Type="http://schemas.openxmlformats.org/officeDocument/2006/relationships/tags" Target="../tags/tag250.xml"/><Relationship Id="rId330" Type="http://schemas.openxmlformats.org/officeDocument/2006/relationships/tags" Target="../tags/tag331.xml"/><Relationship Id="rId331" Type="http://schemas.openxmlformats.org/officeDocument/2006/relationships/tags" Target="../tags/tag332.xml"/><Relationship Id="rId332" Type="http://schemas.openxmlformats.org/officeDocument/2006/relationships/tags" Target="../tags/tag333.xml"/><Relationship Id="rId333" Type="http://schemas.openxmlformats.org/officeDocument/2006/relationships/tags" Target="../tags/tag334.xml"/><Relationship Id="rId334" Type="http://schemas.openxmlformats.org/officeDocument/2006/relationships/tags" Target="../tags/tag335.xml"/><Relationship Id="rId335" Type="http://schemas.openxmlformats.org/officeDocument/2006/relationships/tags" Target="../tags/tag336.xml"/><Relationship Id="rId336" Type="http://schemas.openxmlformats.org/officeDocument/2006/relationships/tags" Target="../tags/tag337.xml"/><Relationship Id="rId337" Type="http://schemas.openxmlformats.org/officeDocument/2006/relationships/tags" Target="../tags/tag338.xml"/><Relationship Id="rId338" Type="http://schemas.openxmlformats.org/officeDocument/2006/relationships/tags" Target="../tags/tag339.xml"/><Relationship Id="rId339" Type="http://schemas.openxmlformats.org/officeDocument/2006/relationships/tags" Target="../tags/tag340.xml"/><Relationship Id="rId60" Type="http://schemas.openxmlformats.org/officeDocument/2006/relationships/tags" Target="../tags/tag61.xml"/><Relationship Id="rId61" Type="http://schemas.openxmlformats.org/officeDocument/2006/relationships/tags" Target="../tags/tag62.xml"/><Relationship Id="rId62" Type="http://schemas.openxmlformats.org/officeDocument/2006/relationships/tags" Target="../tags/tag63.xml"/><Relationship Id="rId63" Type="http://schemas.openxmlformats.org/officeDocument/2006/relationships/tags" Target="../tags/tag64.xml"/><Relationship Id="rId64" Type="http://schemas.openxmlformats.org/officeDocument/2006/relationships/tags" Target="../tags/tag65.xml"/><Relationship Id="rId65" Type="http://schemas.openxmlformats.org/officeDocument/2006/relationships/tags" Target="../tags/tag66.xml"/><Relationship Id="rId66" Type="http://schemas.openxmlformats.org/officeDocument/2006/relationships/tags" Target="../tags/tag67.xml"/><Relationship Id="rId67" Type="http://schemas.openxmlformats.org/officeDocument/2006/relationships/tags" Target="../tags/tag68.xml"/><Relationship Id="rId68" Type="http://schemas.openxmlformats.org/officeDocument/2006/relationships/tags" Target="../tags/tag69.xml"/><Relationship Id="rId69" Type="http://schemas.openxmlformats.org/officeDocument/2006/relationships/tags" Target="../tags/tag70.xml"/><Relationship Id="rId160" Type="http://schemas.openxmlformats.org/officeDocument/2006/relationships/tags" Target="../tags/tag161.xml"/><Relationship Id="rId161" Type="http://schemas.openxmlformats.org/officeDocument/2006/relationships/tags" Target="../tags/tag162.xml"/><Relationship Id="rId162" Type="http://schemas.openxmlformats.org/officeDocument/2006/relationships/tags" Target="../tags/tag163.xml"/><Relationship Id="rId163" Type="http://schemas.openxmlformats.org/officeDocument/2006/relationships/tags" Target="../tags/tag164.xml"/><Relationship Id="rId164" Type="http://schemas.openxmlformats.org/officeDocument/2006/relationships/tags" Target="../tags/tag165.xml"/><Relationship Id="rId165" Type="http://schemas.openxmlformats.org/officeDocument/2006/relationships/tags" Target="../tags/tag166.xml"/><Relationship Id="rId166" Type="http://schemas.openxmlformats.org/officeDocument/2006/relationships/tags" Target="../tags/tag167.xml"/><Relationship Id="rId167" Type="http://schemas.openxmlformats.org/officeDocument/2006/relationships/tags" Target="../tags/tag168.xml"/><Relationship Id="rId168" Type="http://schemas.openxmlformats.org/officeDocument/2006/relationships/tags" Target="../tags/tag169.xml"/><Relationship Id="rId169" Type="http://schemas.openxmlformats.org/officeDocument/2006/relationships/tags" Target="../tags/tag170.xml"/><Relationship Id="rId250" Type="http://schemas.openxmlformats.org/officeDocument/2006/relationships/tags" Target="../tags/tag251.xml"/><Relationship Id="rId251" Type="http://schemas.openxmlformats.org/officeDocument/2006/relationships/tags" Target="../tags/tag252.xml"/><Relationship Id="rId252" Type="http://schemas.openxmlformats.org/officeDocument/2006/relationships/tags" Target="../tags/tag253.xml"/><Relationship Id="rId253" Type="http://schemas.openxmlformats.org/officeDocument/2006/relationships/tags" Target="../tags/tag254.xml"/><Relationship Id="rId254" Type="http://schemas.openxmlformats.org/officeDocument/2006/relationships/tags" Target="../tags/tag255.xml"/><Relationship Id="rId255" Type="http://schemas.openxmlformats.org/officeDocument/2006/relationships/tags" Target="../tags/tag256.xml"/><Relationship Id="rId256" Type="http://schemas.openxmlformats.org/officeDocument/2006/relationships/tags" Target="../tags/tag257.xml"/><Relationship Id="rId257" Type="http://schemas.openxmlformats.org/officeDocument/2006/relationships/tags" Target="../tags/tag258.xml"/><Relationship Id="rId258" Type="http://schemas.openxmlformats.org/officeDocument/2006/relationships/tags" Target="../tags/tag259.xml"/><Relationship Id="rId259" Type="http://schemas.openxmlformats.org/officeDocument/2006/relationships/tags" Target="../tags/tag260.xml"/><Relationship Id="rId340" Type="http://schemas.openxmlformats.org/officeDocument/2006/relationships/tags" Target="../tags/tag341.xml"/><Relationship Id="rId341" Type="http://schemas.openxmlformats.org/officeDocument/2006/relationships/tags" Target="../tags/tag342.xml"/><Relationship Id="rId342" Type="http://schemas.openxmlformats.org/officeDocument/2006/relationships/tags" Target="../tags/tag343.xml"/><Relationship Id="rId343" Type="http://schemas.openxmlformats.org/officeDocument/2006/relationships/tags" Target="../tags/tag344.xml"/><Relationship Id="rId344" Type="http://schemas.openxmlformats.org/officeDocument/2006/relationships/tags" Target="../tags/tag345.xml"/><Relationship Id="rId100" Type="http://schemas.openxmlformats.org/officeDocument/2006/relationships/tags" Target="../tags/tag101.xml"/><Relationship Id="rId101" Type="http://schemas.openxmlformats.org/officeDocument/2006/relationships/tags" Target="../tags/tag102.xml"/><Relationship Id="rId102" Type="http://schemas.openxmlformats.org/officeDocument/2006/relationships/tags" Target="../tags/tag103.xml"/><Relationship Id="rId103" Type="http://schemas.openxmlformats.org/officeDocument/2006/relationships/tags" Target="../tags/tag104.xml"/><Relationship Id="rId104" Type="http://schemas.openxmlformats.org/officeDocument/2006/relationships/tags" Target="../tags/tag105.xml"/><Relationship Id="rId105" Type="http://schemas.openxmlformats.org/officeDocument/2006/relationships/tags" Target="../tags/tag10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png"/><Relationship Id="rId3" Type="http://schemas.openxmlformats.org/officeDocument/2006/relationships/image" Target="../media/image2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oleObject" Target="../embeddings/oleObject1.bin"/><Relationship Id="rId5" Type="http://schemas.openxmlformats.org/officeDocument/2006/relationships/package" Target="../embeddings/Microsoft_Word_Document1.docx"/><Relationship Id="rId6" Type="http://schemas.openxmlformats.org/officeDocument/2006/relationships/image" Target="../media/image3.emf"/><Relationship Id="rId1" Type="http://schemas.openxmlformats.org/officeDocument/2006/relationships/vmlDrawing" Target="../drawings/vmlDrawing1.vml"/><Relationship Id="rId2"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9" Type="http://schemas.openxmlformats.org/officeDocument/2006/relationships/image" Target="../media/image10.emf"/><Relationship Id="rId20" Type="http://schemas.openxmlformats.org/officeDocument/2006/relationships/image" Target="../media/image21.emf"/><Relationship Id="rId10" Type="http://schemas.openxmlformats.org/officeDocument/2006/relationships/image" Target="../media/image11.emf"/><Relationship Id="rId11" Type="http://schemas.openxmlformats.org/officeDocument/2006/relationships/image" Target="../media/image12.emf"/><Relationship Id="rId12" Type="http://schemas.openxmlformats.org/officeDocument/2006/relationships/image" Target="../media/image13.emf"/><Relationship Id="rId13" Type="http://schemas.openxmlformats.org/officeDocument/2006/relationships/image" Target="../media/image14.emf"/><Relationship Id="rId14" Type="http://schemas.openxmlformats.org/officeDocument/2006/relationships/image" Target="../media/image15.emf"/><Relationship Id="rId15" Type="http://schemas.openxmlformats.org/officeDocument/2006/relationships/image" Target="../media/image16.emf"/><Relationship Id="rId16" Type="http://schemas.openxmlformats.org/officeDocument/2006/relationships/image" Target="../media/image17.emf"/><Relationship Id="rId17" Type="http://schemas.openxmlformats.org/officeDocument/2006/relationships/image" Target="../media/image18.emf"/><Relationship Id="rId18" Type="http://schemas.openxmlformats.org/officeDocument/2006/relationships/image" Target="../media/image19.emf"/><Relationship Id="rId19" Type="http://schemas.openxmlformats.org/officeDocument/2006/relationships/image" Target="../media/image20.emf"/><Relationship Id="rId1" Type="http://schemas.openxmlformats.org/officeDocument/2006/relationships/slideLayout" Target="../slideLayouts/slideLayout7.xml"/><Relationship Id="rId2" Type="http://schemas.openxmlformats.org/officeDocument/2006/relationships/image" Target="../media/image2.png"/><Relationship Id="rId3" Type="http://schemas.openxmlformats.org/officeDocument/2006/relationships/image" Target="../media/image4.emf"/><Relationship Id="rId4" Type="http://schemas.openxmlformats.org/officeDocument/2006/relationships/image" Target="../media/image5.emf"/><Relationship Id="rId5" Type="http://schemas.openxmlformats.org/officeDocument/2006/relationships/image" Target="../media/image6.emf"/><Relationship Id="rId6" Type="http://schemas.openxmlformats.org/officeDocument/2006/relationships/image" Target="../media/image7.emf"/><Relationship Id="rId7" Type="http://schemas.openxmlformats.org/officeDocument/2006/relationships/image" Target="../media/image8.emf"/><Relationship Id="rId8" Type="http://schemas.openxmlformats.org/officeDocument/2006/relationships/image" Target="../media/image9.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 Id="rId3" Type="http://schemas.openxmlformats.org/officeDocument/2006/relationships/image" Target="../media/image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 Id="rId3" Type="http://schemas.openxmlformats.org/officeDocument/2006/relationships/image" Target="../media/image2.pn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package" Target="../embeddings/Microsoft_Word_Document2.docx"/><Relationship Id="rId5" Type="http://schemas.openxmlformats.org/officeDocument/2006/relationships/image" Target="../media/image22.emf"/><Relationship Id="rId1" Type="http://schemas.openxmlformats.org/officeDocument/2006/relationships/vmlDrawing" Target="../drawings/vmlDrawing2.vml"/><Relationship Id="rId2"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4"/>
          <p:cNvSpPr txBox="1">
            <a:spLocks noChangeArrowheads="1"/>
          </p:cNvSpPr>
          <p:nvPr/>
        </p:nvSpPr>
        <p:spPr bwMode="auto">
          <a:xfrm>
            <a:off x="270933" y="2510017"/>
            <a:ext cx="8602133" cy="3600986"/>
          </a:xfrm>
          <a:prstGeom prst="rect">
            <a:avLst/>
          </a:prstGeom>
          <a:noFill/>
          <a:ln w="9525">
            <a:noFill/>
            <a:miter lim="800000"/>
            <a:headEnd/>
            <a:tailEnd/>
          </a:ln>
        </p:spPr>
        <p:txBody>
          <a:bodyPr wrap="square">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spcBef>
                <a:spcPct val="50000"/>
              </a:spcBef>
            </a:pPr>
            <a:r>
              <a:rPr lang="en-US" sz="4800" dirty="0" smtClean="0">
                <a:solidFill>
                  <a:srgbClr val="FFFF00"/>
                </a:solidFill>
                <a:ea typeface="ヒラギノ角ゴ Pro W3"/>
                <a:cs typeface="ヒラギノ角ゴ Pro W3"/>
              </a:rPr>
              <a:t>Review of Global Guidelines from 172 countries</a:t>
            </a:r>
          </a:p>
          <a:p>
            <a:pPr algn="ctr">
              <a:spcBef>
                <a:spcPct val="50000"/>
              </a:spcBef>
            </a:pPr>
            <a:endParaRPr lang="en-US" sz="1600" dirty="0">
              <a:solidFill>
                <a:srgbClr val="FFFF00"/>
              </a:solidFill>
              <a:ea typeface="ヒラギノ角ゴ Pro W3"/>
              <a:cs typeface="ヒラギノ角ゴ Pro W3"/>
            </a:endParaRPr>
          </a:p>
          <a:p>
            <a:pPr algn="ctr">
              <a:spcBef>
                <a:spcPct val="50000"/>
              </a:spcBef>
            </a:pPr>
            <a:r>
              <a:rPr lang="en-US" sz="2400" dirty="0" smtClean="0">
                <a:solidFill>
                  <a:schemeClr val="bg1"/>
                </a:solidFill>
                <a:ea typeface="ヒラギノ角ゴ Pro W3"/>
                <a:cs typeface="ヒラギノ角ゴ Pro W3"/>
              </a:rPr>
              <a:t>Please note that this is “under construction” and is a dynamic area – policies are changing and we do not have written policies for some countries – let us know if you see errors and/or there are new policies for the database</a:t>
            </a:r>
          </a:p>
        </p:txBody>
      </p:sp>
      <p:pic>
        <p:nvPicPr>
          <p:cNvPr id="4" name="Picture 1031" descr="IAPAC_title_slide_020113.png                                   01500AABMacintosh HD                   7C2630DB:"/>
          <p:cNvPicPr>
            <a:picLocks noChangeAspect="1" noChangeArrowheads="1"/>
          </p:cNvPicPr>
          <p:nvPr/>
        </p:nvPicPr>
        <p:blipFill rotWithShape="1">
          <a:blip r:embed="rId3">
            <a:extLst>
              <a:ext uri="{28A0092B-C50C-407E-A947-70E740481C1C}">
                <a14:useLocalDpi xmlns:a14="http://schemas.microsoft.com/office/drawing/2010/main" val="0"/>
              </a:ext>
            </a:extLst>
          </a:blip>
          <a:srcRect t="8268" b="62102"/>
          <a:stretch/>
        </p:blipFill>
        <p:spPr bwMode="auto">
          <a:xfrm>
            <a:off x="-2113" y="9"/>
            <a:ext cx="9144000"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270933" y="6343134"/>
            <a:ext cx="2725964" cy="369332"/>
          </a:xfrm>
          <a:prstGeom prst="rect">
            <a:avLst/>
          </a:prstGeom>
        </p:spPr>
        <p:txBody>
          <a:bodyPr wrap="none">
            <a:spAutoFit/>
          </a:bodyPr>
          <a:lstStyle/>
          <a:p>
            <a:r>
              <a:rPr lang="en-US" dirty="0">
                <a:solidFill>
                  <a:schemeClr val="bg1"/>
                </a:solidFill>
              </a:rPr>
              <a:t>Last updated: </a:t>
            </a:r>
            <a:r>
              <a:rPr lang="en-US" dirty="0" smtClean="0">
                <a:solidFill>
                  <a:schemeClr val="bg1"/>
                </a:solidFill>
              </a:rPr>
              <a:t>June 2017</a:t>
            </a:r>
            <a:endParaRPr lang="en-US" dirty="0">
              <a:solidFill>
                <a:schemeClr val="bg1"/>
              </a:solidFill>
            </a:endParaRPr>
          </a:p>
        </p:txBody>
      </p:sp>
    </p:spTree>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 name="Rectangle 409"/>
          <p:cNvSpPr/>
          <p:nvPr/>
        </p:nvSpPr>
        <p:spPr>
          <a:xfrm>
            <a:off x="1303864" y="1395865"/>
            <a:ext cx="6510867" cy="4529743"/>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4" name="Rectangle 203"/>
          <p:cNvSpPr/>
          <p:nvPr/>
        </p:nvSpPr>
        <p:spPr>
          <a:xfrm>
            <a:off x="94422" y="6415381"/>
            <a:ext cx="3043922" cy="307777"/>
          </a:xfrm>
          <a:prstGeom prst="rect">
            <a:avLst/>
          </a:prstGeom>
        </p:spPr>
        <p:txBody>
          <a:bodyPr wrap="none">
            <a:spAutoFit/>
          </a:bodyPr>
          <a:lstStyle/>
          <a:p>
            <a:pPr algn="ctr">
              <a:spcBef>
                <a:spcPct val="50000"/>
              </a:spcBef>
            </a:pPr>
            <a:r>
              <a:rPr lang="en-US" sz="1400" b="1" dirty="0" smtClean="0">
                <a:solidFill>
                  <a:srgbClr val="FFFF00"/>
                </a:solidFill>
                <a:ea typeface="ヒラギノ角ゴ Pro W3"/>
                <a:cs typeface="ヒラギノ角ゴ Pro W3"/>
              </a:rPr>
              <a:t>Source</a:t>
            </a:r>
            <a:r>
              <a:rPr lang="en-US" sz="1400" dirty="0" smtClean="0">
                <a:solidFill>
                  <a:srgbClr val="FFFF00"/>
                </a:solidFill>
                <a:ea typeface="ヒラギノ角ゴ Pro W3"/>
                <a:cs typeface="ヒラギノ角ゴ Pro W3"/>
              </a:rPr>
              <a:t>: published policy + reported</a:t>
            </a:r>
            <a:endParaRPr lang="en-US" sz="1400" dirty="0">
              <a:solidFill>
                <a:srgbClr val="FFFF00"/>
              </a:solidFill>
              <a:ea typeface="ヒラギノ角ゴ Pro W3"/>
              <a:cs typeface="ヒラギノ角ゴ Pro W3"/>
            </a:endParaRPr>
          </a:p>
        </p:txBody>
      </p:sp>
      <p:sp>
        <p:nvSpPr>
          <p:cNvPr id="205" name="Text Box 4"/>
          <p:cNvSpPr txBox="1">
            <a:spLocks noChangeArrowheads="1"/>
          </p:cNvSpPr>
          <p:nvPr/>
        </p:nvSpPr>
        <p:spPr bwMode="auto">
          <a:xfrm>
            <a:off x="575734" y="135464"/>
            <a:ext cx="8026400" cy="646331"/>
          </a:xfrm>
          <a:prstGeom prst="rect">
            <a:avLst/>
          </a:prstGeom>
          <a:noFill/>
          <a:ln w="9525">
            <a:noFill/>
            <a:miter lim="800000"/>
            <a:headEnd/>
            <a:tailEnd/>
          </a:ln>
        </p:spPr>
        <p:txBody>
          <a:bodyPr wrap="square">
            <a:spAutoFit/>
          </a:bodyPr>
          <a:lstStyle/>
          <a:p>
            <a:pPr algn="ctr">
              <a:spcBef>
                <a:spcPct val="50000"/>
              </a:spcBef>
            </a:pPr>
            <a:r>
              <a:rPr lang="en-US" sz="3600" dirty="0" smtClean="0">
                <a:solidFill>
                  <a:srgbClr val="FFFF00"/>
                </a:solidFill>
                <a:ea typeface="ヒラギノ角ゴ Pro W3"/>
                <a:cs typeface="ヒラギノ角ゴ Pro W3"/>
              </a:rPr>
              <a:t>ART initiation criteria in Africa</a:t>
            </a:r>
            <a:endParaRPr lang="en-US" sz="3600" dirty="0">
              <a:solidFill>
                <a:srgbClr val="FFFF00"/>
              </a:solidFill>
              <a:ea typeface="ヒラギノ角ゴ Pro W3"/>
              <a:cs typeface="ヒラギノ角ゴ Pro W3"/>
            </a:endParaRPr>
          </a:p>
        </p:txBody>
      </p:sp>
      <p:sp>
        <p:nvSpPr>
          <p:cNvPr id="206" name="Text Box 5"/>
          <p:cNvSpPr txBox="1">
            <a:spLocks noChangeArrowheads="1"/>
          </p:cNvSpPr>
          <p:nvPr/>
        </p:nvSpPr>
        <p:spPr bwMode="auto">
          <a:xfrm>
            <a:off x="1689092" y="854114"/>
            <a:ext cx="5795433" cy="338554"/>
          </a:xfrm>
          <a:prstGeom prst="rect">
            <a:avLst/>
          </a:prstGeom>
          <a:noFill/>
          <a:ln w="9525">
            <a:solidFill>
              <a:schemeClr val="bg1"/>
            </a:solidFill>
            <a:miter lim="800000"/>
            <a:headEnd/>
            <a:tailEnd/>
          </a:ln>
        </p:spPr>
        <p:txBody>
          <a:bodyPr wrap="square">
            <a:spAutoFit/>
          </a:bodyPr>
          <a:lstStyle/>
          <a:p>
            <a:pPr algn="ctr">
              <a:spcBef>
                <a:spcPct val="50000"/>
              </a:spcBef>
            </a:pPr>
            <a:r>
              <a:rPr lang="en-US" sz="1600" dirty="0">
                <a:solidFill>
                  <a:schemeClr val="bg1"/>
                </a:solidFill>
                <a:ea typeface="ヒラギノ角ゴ Pro W3"/>
                <a:cs typeface="ヒラギノ角ゴ Pro W3"/>
              </a:rPr>
              <a:t>2015 WHO Recommendation : Irrespective of CD4 count</a:t>
            </a:r>
          </a:p>
        </p:txBody>
      </p:sp>
      <p:pic>
        <p:nvPicPr>
          <p:cNvPr id="207" name="Picture 206"/>
          <p:cNvPicPr>
            <a:picLocks noChangeAspect="1"/>
          </p:cNvPicPr>
          <p:nvPr/>
        </p:nvPicPr>
        <p:blipFill>
          <a:blip r:embed="rId2"/>
          <a:stretch>
            <a:fillRect/>
          </a:stretch>
        </p:blipFill>
        <p:spPr>
          <a:xfrm>
            <a:off x="7747000" y="6324600"/>
            <a:ext cx="1397000" cy="533400"/>
          </a:xfrm>
          <a:prstGeom prst="rect">
            <a:avLst/>
          </a:prstGeom>
          <a:ln>
            <a:noFill/>
          </a:ln>
        </p:spPr>
      </p:pic>
      <p:grpSp>
        <p:nvGrpSpPr>
          <p:cNvPr id="208" name="Group 1"/>
          <p:cNvGrpSpPr>
            <a:grpSpLocks/>
          </p:cNvGrpSpPr>
          <p:nvPr/>
        </p:nvGrpSpPr>
        <p:grpSpPr bwMode="auto">
          <a:xfrm>
            <a:off x="1111250" y="1412875"/>
            <a:ext cx="7491413" cy="4591050"/>
            <a:chOff x="1111255" y="1446218"/>
            <a:chExt cx="6858000" cy="4924427"/>
          </a:xfrm>
        </p:grpSpPr>
        <p:sp>
          <p:nvSpPr>
            <p:cNvPr id="209" name="Rectangle 208"/>
            <p:cNvSpPr/>
            <p:nvPr/>
          </p:nvSpPr>
          <p:spPr>
            <a:xfrm>
              <a:off x="1111255" y="1446218"/>
              <a:ext cx="6858000" cy="492442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nvGrpSpPr>
            <p:cNvPr id="210" name="Group 279"/>
            <p:cNvGrpSpPr>
              <a:grpSpLocks/>
            </p:cNvGrpSpPr>
            <p:nvPr/>
          </p:nvGrpSpPr>
          <p:grpSpPr bwMode="auto">
            <a:xfrm>
              <a:off x="1891241" y="1553110"/>
              <a:ext cx="5421316" cy="4632343"/>
              <a:chOff x="267" y="1010"/>
              <a:chExt cx="3415" cy="2918"/>
            </a:xfrm>
          </p:grpSpPr>
          <p:sp>
            <p:nvSpPr>
              <p:cNvPr id="222" name="Freeform 8"/>
              <p:cNvSpPr>
                <a:spLocks/>
              </p:cNvSpPr>
              <p:nvPr/>
            </p:nvSpPr>
            <p:spPr bwMode="auto">
              <a:xfrm>
                <a:off x="771" y="1506"/>
                <a:ext cx="686" cy="614"/>
              </a:xfrm>
              <a:custGeom>
                <a:avLst/>
                <a:gdLst>
                  <a:gd name="T0" fmla="*/ 52227 w 641"/>
                  <a:gd name="T1" fmla="*/ 5251 h 584"/>
                  <a:gd name="T2" fmla="*/ 52473 w 641"/>
                  <a:gd name="T3" fmla="*/ 5227 h 584"/>
                  <a:gd name="T4" fmla="*/ 52913 w 641"/>
                  <a:gd name="T5" fmla="*/ 5322 h 584"/>
                  <a:gd name="T6" fmla="*/ 52940 w 641"/>
                  <a:gd name="T7" fmla="*/ 5490 h 584"/>
                  <a:gd name="T8" fmla="*/ 52940 w 641"/>
                  <a:gd name="T9" fmla="*/ 5632 h 584"/>
                  <a:gd name="T10" fmla="*/ 52888 w 641"/>
                  <a:gd name="T11" fmla="*/ 5778 h 584"/>
                  <a:gd name="T12" fmla="*/ 52545 w 641"/>
                  <a:gd name="T13" fmla="*/ 5875 h 584"/>
                  <a:gd name="T14" fmla="*/ 52416 w 641"/>
                  <a:gd name="T15" fmla="*/ 6001 h 584"/>
                  <a:gd name="T16" fmla="*/ 52473 w 641"/>
                  <a:gd name="T17" fmla="*/ 6103 h 584"/>
                  <a:gd name="T18" fmla="*/ 52888 w 641"/>
                  <a:gd name="T19" fmla="*/ 6225 h 584"/>
                  <a:gd name="T20" fmla="*/ 53303 w 641"/>
                  <a:gd name="T21" fmla="*/ 6353 h 584"/>
                  <a:gd name="T22" fmla="*/ 53657 w 641"/>
                  <a:gd name="T23" fmla="*/ 6406 h 584"/>
                  <a:gd name="T24" fmla="*/ 56157 w 641"/>
                  <a:gd name="T25" fmla="*/ 9528 h 584"/>
                  <a:gd name="T26" fmla="*/ 55664 w 641"/>
                  <a:gd name="T27" fmla="*/ 9480 h 584"/>
                  <a:gd name="T28" fmla="*/ 55220 w 641"/>
                  <a:gd name="T29" fmla="*/ 9447 h 584"/>
                  <a:gd name="T30" fmla="*/ 54877 w 641"/>
                  <a:gd name="T31" fmla="*/ 9528 h 584"/>
                  <a:gd name="T32" fmla="*/ 54822 w 641"/>
                  <a:gd name="T33" fmla="*/ 9682 h 584"/>
                  <a:gd name="T34" fmla="*/ 54877 w 641"/>
                  <a:gd name="T35" fmla="*/ 9749 h 584"/>
                  <a:gd name="T36" fmla="*/ 46239 w 641"/>
                  <a:gd name="T37" fmla="*/ 10205 h 584"/>
                  <a:gd name="T38" fmla="*/ 26847 w 641"/>
                  <a:gd name="T39" fmla="*/ 13577 h 584"/>
                  <a:gd name="T40" fmla="*/ 26592 w 641"/>
                  <a:gd name="T41" fmla="*/ 13578 h 584"/>
                  <a:gd name="T42" fmla="*/ 26161 w 641"/>
                  <a:gd name="T43" fmla="*/ 13603 h 584"/>
                  <a:gd name="T44" fmla="*/ 25632 w 641"/>
                  <a:gd name="T45" fmla="*/ 13664 h 584"/>
                  <a:gd name="T46" fmla="*/ 25383 w 641"/>
                  <a:gd name="T47" fmla="*/ 13781 h 584"/>
                  <a:gd name="T48" fmla="*/ 24933 w 641"/>
                  <a:gd name="T49" fmla="*/ 13871 h 584"/>
                  <a:gd name="T50" fmla="*/ 24848 w 641"/>
                  <a:gd name="T51" fmla="*/ 13986 h 584"/>
                  <a:gd name="T52" fmla="*/ 24555 w 641"/>
                  <a:gd name="T53" fmla="*/ 14154 h 584"/>
                  <a:gd name="T54" fmla="*/ 24459 w 641"/>
                  <a:gd name="T55" fmla="*/ 14274 h 584"/>
                  <a:gd name="T56" fmla="*/ 24310 w 641"/>
                  <a:gd name="T57" fmla="*/ 14459 h 584"/>
                  <a:gd name="T58" fmla="*/ 21893 w 641"/>
                  <a:gd name="T59" fmla="*/ 15459 h 584"/>
                  <a:gd name="T60" fmla="*/ 21356 w 641"/>
                  <a:gd name="T61" fmla="*/ 15457 h 584"/>
                  <a:gd name="T62" fmla="*/ 20912 w 641"/>
                  <a:gd name="T63" fmla="*/ 15511 h 584"/>
                  <a:gd name="T64" fmla="*/ 20708 w 641"/>
                  <a:gd name="T65" fmla="*/ 15583 h 584"/>
                  <a:gd name="T66" fmla="*/ 20622 w 641"/>
                  <a:gd name="T67" fmla="*/ 15733 h 584"/>
                  <a:gd name="T68" fmla="*/ 17491 w 641"/>
                  <a:gd name="T69" fmla="*/ 15979 h 584"/>
                  <a:gd name="T70" fmla="*/ 11007 w 641"/>
                  <a:gd name="T71" fmla="*/ 14973 h 584"/>
                  <a:gd name="T72" fmla="*/ 9136 w 641"/>
                  <a:gd name="T73" fmla="*/ 13467 h 584"/>
                  <a:gd name="T74" fmla="*/ 3718 w 641"/>
                  <a:gd name="T75" fmla="*/ 13603 h 584"/>
                  <a:gd name="T76" fmla="*/ 3433 w 641"/>
                  <a:gd name="T77" fmla="*/ 13749 h 584"/>
                  <a:gd name="T78" fmla="*/ 3033 w 641"/>
                  <a:gd name="T79" fmla="*/ 13796 h 584"/>
                  <a:gd name="T80" fmla="*/ 2648 w 641"/>
                  <a:gd name="T81" fmla="*/ 13844 h 584"/>
                  <a:gd name="T82" fmla="*/ 2312 w 641"/>
                  <a:gd name="T83" fmla="*/ 13796 h 584"/>
                  <a:gd name="T84" fmla="*/ 2160 w 641"/>
                  <a:gd name="T85" fmla="*/ 13664 h 584"/>
                  <a:gd name="T86" fmla="*/ 2285 w 641"/>
                  <a:gd name="T87" fmla="*/ 13538 h 584"/>
                  <a:gd name="T88" fmla="*/ 1 w 641"/>
                  <a:gd name="T89" fmla="*/ 11859 h 584"/>
                  <a:gd name="T90" fmla="*/ 1864 w 641"/>
                  <a:gd name="T91" fmla="*/ 10072 h 584"/>
                  <a:gd name="T92" fmla="*/ 1521 w 641"/>
                  <a:gd name="T93" fmla="*/ 9971 h 584"/>
                  <a:gd name="T94" fmla="*/ 1328 w 641"/>
                  <a:gd name="T95" fmla="*/ 9771 h 584"/>
                  <a:gd name="T96" fmla="*/ 1328 w 641"/>
                  <a:gd name="T97" fmla="*/ 9685 h 584"/>
                  <a:gd name="T98" fmla="*/ 1628 w 641"/>
                  <a:gd name="T99" fmla="*/ 9563 h 584"/>
                  <a:gd name="T100" fmla="*/ 2160 w 641"/>
                  <a:gd name="T101" fmla="*/ 9575 h 584"/>
                  <a:gd name="T102" fmla="*/ 2617 w 641"/>
                  <a:gd name="T103" fmla="*/ 9682 h 584"/>
                  <a:gd name="T104" fmla="*/ 3208 w 641"/>
                  <a:gd name="T105" fmla="*/ 9698 h 584"/>
                  <a:gd name="T106" fmla="*/ 4819 w 641"/>
                  <a:gd name="T107" fmla="*/ 10540 h 584"/>
                  <a:gd name="T108" fmla="*/ 4877 w 641"/>
                  <a:gd name="T109" fmla="*/ 10412 h 584"/>
                  <a:gd name="T110" fmla="*/ 5030 w 641"/>
                  <a:gd name="T111" fmla="*/ 10205 h 584"/>
                  <a:gd name="T112" fmla="*/ 5383 w 641"/>
                  <a:gd name="T113" fmla="*/ 10067 h 584"/>
                  <a:gd name="T114" fmla="*/ 5761 w 641"/>
                  <a:gd name="T115" fmla="*/ 10053 h 584"/>
                  <a:gd name="T116" fmla="*/ 6297 w 641"/>
                  <a:gd name="T117" fmla="*/ 10025 h 584"/>
                  <a:gd name="T118" fmla="*/ 22855 w 641"/>
                  <a:gd name="T119" fmla="*/ 10067 h 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41"/>
                  <a:gd name="T181" fmla="*/ 0 h 584"/>
                  <a:gd name="T182" fmla="*/ 641 w 641"/>
                  <a:gd name="T183" fmla="*/ 584 h 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41" h="584">
                    <a:moveTo>
                      <a:pt x="212" y="0"/>
                    </a:moveTo>
                    <a:lnTo>
                      <a:pt x="279" y="0"/>
                    </a:lnTo>
                    <a:lnTo>
                      <a:pt x="523" y="149"/>
                    </a:lnTo>
                    <a:lnTo>
                      <a:pt x="519" y="159"/>
                    </a:lnTo>
                    <a:lnTo>
                      <a:pt x="548" y="180"/>
                    </a:lnTo>
                    <a:lnTo>
                      <a:pt x="569" y="191"/>
                    </a:lnTo>
                    <a:lnTo>
                      <a:pt x="592" y="194"/>
                    </a:lnTo>
                    <a:lnTo>
                      <a:pt x="592" y="193"/>
                    </a:lnTo>
                    <a:lnTo>
                      <a:pt x="593" y="193"/>
                    </a:lnTo>
                    <a:lnTo>
                      <a:pt x="594" y="193"/>
                    </a:lnTo>
                    <a:lnTo>
                      <a:pt x="595" y="193"/>
                    </a:lnTo>
                    <a:lnTo>
                      <a:pt x="596" y="192"/>
                    </a:lnTo>
                    <a:lnTo>
                      <a:pt x="597" y="192"/>
                    </a:lnTo>
                    <a:lnTo>
                      <a:pt x="597" y="193"/>
                    </a:lnTo>
                    <a:lnTo>
                      <a:pt x="598" y="193"/>
                    </a:lnTo>
                    <a:lnTo>
                      <a:pt x="599" y="193"/>
                    </a:lnTo>
                    <a:lnTo>
                      <a:pt x="600" y="193"/>
                    </a:lnTo>
                    <a:lnTo>
                      <a:pt x="601" y="194"/>
                    </a:lnTo>
                    <a:lnTo>
                      <a:pt x="601" y="195"/>
                    </a:lnTo>
                    <a:lnTo>
                      <a:pt x="601" y="196"/>
                    </a:lnTo>
                    <a:lnTo>
                      <a:pt x="601" y="197"/>
                    </a:lnTo>
                    <a:lnTo>
                      <a:pt x="601" y="198"/>
                    </a:lnTo>
                    <a:lnTo>
                      <a:pt x="602" y="199"/>
                    </a:lnTo>
                    <a:lnTo>
                      <a:pt x="602" y="200"/>
                    </a:lnTo>
                    <a:lnTo>
                      <a:pt x="602" y="201"/>
                    </a:lnTo>
                    <a:lnTo>
                      <a:pt x="602" y="202"/>
                    </a:lnTo>
                    <a:lnTo>
                      <a:pt x="602" y="203"/>
                    </a:lnTo>
                    <a:lnTo>
                      <a:pt x="602" y="204"/>
                    </a:lnTo>
                    <a:lnTo>
                      <a:pt x="602" y="205"/>
                    </a:lnTo>
                    <a:lnTo>
                      <a:pt x="602" y="206"/>
                    </a:lnTo>
                    <a:lnTo>
                      <a:pt x="602" y="207"/>
                    </a:lnTo>
                    <a:lnTo>
                      <a:pt x="602" y="208"/>
                    </a:lnTo>
                    <a:lnTo>
                      <a:pt x="602" y="209"/>
                    </a:lnTo>
                    <a:lnTo>
                      <a:pt x="601" y="209"/>
                    </a:lnTo>
                    <a:lnTo>
                      <a:pt x="601" y="210"/>
                    </a:lnTo>
                    <a:lnTo>
                      <a:pt x="600" y="211"/>
                    </a:lnTo>
                    <a:lnTo>
                      <a:pt x="600" y="212"/>
                    </a:lnTo>
                    <a:lnTo>
                      <a:pt x="599" y="212"/>
                    </a:lnTo>
                    <a:lnTo>
                      <a:pt x="599" y="213"/>
                    </a:lnTo>
                    <a:lnTo>
                      <a:pt x="598" y="213"/>
                    </a:lnTo>
                    <a:lnTo>
                      <a:pt x="598" y="214"/>
                    </a:lnTo>
                    <a:lnTo>
                      <a:pt x="597" y="214"/>
                    </a:lnTo>
                    <a:lnTo>
                      <a:pt x="597" y="215"/>
                    </a:lnTo>
                    <a:lnTo>
                      <a:pt x="597" y="216"/>
                    </a:lnTo>
                    <a:lnTo>
                      <a:pt x="596" y="216"/>
                    </a:lnTo>
                    <a:lnTo>
                      <a:pt x="596" y="217"/>
                    </a:lnTo>
                    <a:lnTo>
                      <a:pt x="596" y="218"/>
                    </a:lnTo>
                    <a:lnTo>
                      <a:pt x="596" y="219"/>
                    </a:lnTo>
                    <a:lnTo>
                      <a:pt x="595" y="219"/>
                    </a:lnTo>
                    <a:lnTo>
                      <a:pt x="595" y="220"/>
                    </a:lnTo>
                    <a:lnTo>
                      <a:pt x="595" y="221"/>
                    </a:lnTo>
                    <a:lnTo>
                      <a:pt x="595" y="222"/>
                    </a:lnTo>
                    <a:lnTo>
                      <a:pt x="596" y="222"/>
                    </a:lnTo>
                    <a:lnTo>
                      <a:pt x="596" y="223"/>
                    </a:lnTo>
                    <a:lnTo>
                      <a:pt x="596" y="224"/>
                    </a:lnTo>
                    <a:lnTo>
                      <a:pt x="596" y="225"/>
                    </a:lnTo>
                    <a:lnTo>
                      <a:pt x="597" y="225"/>
                    </a:lnTo>
                    <a:lnTo>
                      <a:pt x="597" y="226"/>
                    </a:lnTo>
                    <a:lnTo>
                      <a:pt x="598" y="226"/>
                    </a:lnTo>
                    <a:lnTo>
                      <a:pt x="598" y="227"/>
                    </a:lnTo>
                    <a:lnTo>
                      <a:pt x="599" y="228"/>
                    </a:lnTo>
                    <a:lnTo>
                      <a:pt x="600" y="228"/>
                    </a:lnTo>
                    <a:lnTo>
                      <a:pt x="600" y="229"/>
                    </a:lnTo>
                    <a:lnTo>
                      <a:pt x="601" y="230"/>
                    </a:lnTo>
                    <a:lnTo>
                      <a:pt x="602" y="230"/>
                    </a:lnTo>
                    <a:lnTo>
                      <a:pt x="602" y="231"/>
                    </a:lnTo>
                    <a:lnTo>
                      <a:pt x="603" y="231"/>
                    </a:lnTo>
                    <a:lnTo>
                      <a:pt x="604" y="232"/>
                    </a:lnTo>
                    <a:lnTo>
                      <a:pt x="605" y="232"/>
                    </a:lnTo>
                    <a:lnTo>
                      <a:pt x="605" y="233"/>
                    </a:lnTo>
                    <a:lnTo>
                      <a:pt x="606" y="233"/>
                    </a:lnTo>
                    <a:lnTo>
                      <a:pt x="606" y="234"/>
                    </a:lnTo>
                    <a:lnTo>
                      <a:pt x="607" y="234"/>
                    </a:lnTo>
                    <a:lnTo>
                      <a:pt x="608" y="235"/>
                    </a:lnTo>
                    <a:lnTo>
                      <a:pt x="609" y="235"/>
                    </a:lnTo>
                    <a:lnTo>
                      <a:pt x="610" y="235"/>
                    </a:lnTo>
                    <a:lnTo>
                      <a:pt x="636" y="225"/>
                    </a:lnTo>
                    <a:lnTo>
                      <a:pt x="641" y="349"/>
                    </a:lnTo>
                    <a:lnTo>
                      <a:pt x="639" y="348"/>
                    </a:lnTo>
                    <a:lnTo>
                      <a:pt x="638" y="348"/>
                    </a:lnTo>
                    <a:lnTo>
                      <a:pt x="638" y="347"/>
                    </a:lnTo>
                    <a:lnTo>
                      <a:pt x="637" y="347"/>
                    </a:lnTo>
                    <a:lnTo>
                      <a:pt x="636" y="347"/>
                    </a:lnTo>
                    <a:lnTo>
                      <a:pt x="635" y="346"/>
                    </a:lnTo>
                    <a:lnTo>
                      <a:pt x="634" y="346"/>
                    </a:lnTo>
                    <a:lnTo>
                      <a:pt x="633" y="346"/>
                    </a:lnTo>
                    <a:lnTo>
                      <a:pt x="633" y="345"/>
                    </a:lnTo>
                    <a:lnTo>
                      <a:pt x="632" y="345"/>
                    </a:lnTo>
                    <a:lnTo>
                      <a:pt x="631" y="345"/>
                    </a:lnTo>
                    <a:lnTo>
                      <a:pt x="630" y="345"/>
                    </a:lnTo>
                    <a:lnTo>
                      <a:pt x="629" y="345"/>
                    </a:lnTo>
                    <a:lnTo>
                      <a:pt x="628" y="345"/>
                    </a:lnTo>
                    <a:lnTo>
                      <a:pt x="627" y="345"/>
                    </a:lnTo>
                    <a:lnTo>
                      <a:pt x="626" y="345"/>
                    </a:lnTo>
                    <a:lnTo>
                      <a:pt x="626" y="346"/>
                    </a:lnTo>
                    <a:lnTo>
                      <a:pt x="625" y="346"/>
                    </a:lnTo>
                    <a:lnTo>
                      <a:pt x="624" y="347"/>
                    </a:lnTo>
                    <a:lnTo>
                      <a:pt x="624" y="348"/>
                    </a:lnTo>
                    <a:lnTo>
                      <a:pt x="623" y="348"/>
                    </a:lnTo>
                    <a:lnTo>
                      <a:pt x="623" y="349"/>
                    </a:lnTo>
                    <a:lnTo>
                      <a:pt x="623" y="350"/>
                    </a:lnTo>
                    <a:lnTo>
                      <a:pt x="622" y="350"/>
                    </a:lnTo>
                    <a:lnTo>
                      <a:pt x="622" y="351"/>
                    </a:lnTo>
                    <a:lnTo>
                      <a:pt x="622" y="352"/>
                    </a:lnTo>
                    <a:lnTo>
                      <a:pt x="622" y="353"/>
                    </a:lnTo>
                    <a:lnTo>
                      <a:pt x="622" y="354"/>
                    </a:lnTo>
                    <a:lnTo>
                      <a:pt x="622" y="355"/>
                    </a:lnTo>
                    <a:lnTo>
                      <a:pt x="623" y="355"/>
                    </a:lnTo>
                    <a:lnTo>
                      <a:pt x="623" y="356"/>
                    </a:lnTo>
                    <a:lnTo>
                      <a:pt x="623" y="357"/>
                    </a:lnTo>
                    <a:lnTo>
                      <a:pt x="623" y="358"/>
                    </a:lnTo>
                    <a:lnTo>
                      <a:pt x="623" y="359"/>
                    </a:lnTo>
                    <a:lnTo>
                      <a:pt x="624" y="359"/>
                    </a:lnTo>
                    <a:lnTo>
                      <a:pt x="624" y="360"/>
                    </a:lnTo>
                    <a:lnTo>
                      <a:pt x="624" y="361"/>
                    </a:lnTo>
                    <a:lnTo>
                      <a:pt x="625" y="362"/>
                    </a:lnTo>
                    <a:lnTo>
                      <a:pt x="599" y="376"/>
                    </a:lnTo>
                    <a:lnTo>
                      <a:pt x="526" y="375"/>
                    </a:lnTo>
                    <a:lnTo>
                      <a:pt x="516" y="388"/>
                    </a:lnTo>
                    <a:lnTo>
                      <a:pt x="455" y="390"/>
                    </a:lnTo>
                    <a:lnTo>
                      <a:pt x="413" y="416"/>
                    </a:lnTo>
                    <a:lnTo>
                      <a:pt x="393" y="430"/>
                    </a:lnTo>
                    <a:lnTo>
                      <a:pt x="340" y="457"/>
                    </a:lnTo>
                    <a:lnTo>
                      <a:pt x="323" y="457"/>
                    </a:lnTo>
                    <a:lnTo>
                      <a:pt x="306" y="497"/>
                    </a:lnTo>
                    <a:lnTo>
                      <a:pt x="305" y="497"/>
                    </a:lnTo>
                    <a:lnTo>
                      <a:pt x="304" y="497"/>
                    </a:lnTo>
                    <a:lnTo>
                      <a:pt x="303" y="497"/>
                    </a:lnTo>
                    <a:lnTo>
                      <a:pt x="302" y="497"/>
                    </a:lnTo>
                    <a:lnTo>
                      <a:pt x="302" y="498"/>
                    </a:lnTo>
                    <a:lnTo>
                      <a:pt x="301" y="498"/>
                    </a:lnTo>
                    <a:lnTo>
                      <a:pt x="300" y="498"/>
                    </a:lnTo>
                    <a:lnTo>
                      <a:pt x="300" y="499"/>
                    </a:lnTo>
                    <a:lnTo>
                      <a:pt x="299" y="499"/>
                    </a:lnTo>
                    <a:lnTo>
                      <a:pt x="298" y="499"/>
                    </a:lnTo>
                    <a:lnTo>
                      <a:pt x="297" y="499"/>
                    </a:lnTo>
                    <a:lnTo>
                      <a:pt x="297" y="500"/>
                    </a:lnTo>
                    <a:lnTo>
                      <a:pt x="296" y="500"/>
                    </a:lnTo>
                    <a:lnTo>
                      <a:pt x="295" y="500"/>
                    </a:lnTo>
                    <a:lnTo>
                      <a:pt x="295" y="501"/>
                    </a:lnTo>
                    <a:lnTo>
                      <a:pt x="294" y="501"/>
                    </a:lnTo>
                    <a:lnTo>
                      <a:pt x="293" y="501"/>
                    </a:lnTo>
                    <a:lnTo>
                      <a:pt x="292" y="501"/>
                    </a:lnTo>
                    <a:lnTo>
                      <a:pt x="292" y="502"/>
                    </a:lnTo>
                    <a:lnTo>
                      <a:pt x="291" y="502"/>
                    </a:lnTo>
                    <a:lnTo>
                      <a:pt x="290" y="503"/>
                    </a:lnTo>
                    <a:lnTo>
                      <a:pt x="290" y="504"/>
                    </a:lnTo>
                    <a:lnTo>
                      <a:pt x="289" y="504"/>
                    </a:lnTo>
                    <a:lnTo>
                      <a:pt x="288" y="505"/>
                    </a:lnTo>
                    <a:lnTo>
                      <a:pt x="287" y="506"/>
                    </a:lnTo>
                    <a:lnTo>
                      <a:pt x="286" y="506"/>
                    </a:lnTo>
                    <a:lnTo>
                      <a:pt x="285" y="507"/>
                    </a:lnTo>
                    <a:lnTo>
                      <a:pt x="284" y="507"/>
                    </a:lnTo>
                    <a:lnTo>
                      <a:pt x="284" y="508"/>
                    </a:lnTo>
                    <a:lnTo>
                      <a:pt x="284" y="509"/>
                    </a:lnTo>
                    <a:lnTo>
                      <a:pt x="284" y="510"/>
                    </a:lnTo>
                    <a:lnTo>
                      <a:pt x="283" y="510"/>
                    </a:lnTo>
                    <a:lnTo>
                      <a:pt x="283" y="511"/>
                    </a:lnTo>
                    <a:lnTo>
                      <a:pt x="282" y="511"/>
                    </a:lnTo>
                    <a:lnTo>
                      <a:pt x="281" y="512"/>
                    </a:lnTo>
                    <a:lnTo>
                      <a:pt x="281" y="513"/>
                    </a:lnTo>
                    <a:lnTo>
                      <a:pt x="280" y="514"/>
                    </a:lnTo>
                    <a:lnTo>
                      <a:pt x="280" y="515"/>
                    </a:lnTo>
                    <a:lnTo>
                      <a:pt x="279" y="516"/>
                    </a:lnTo>
                    <a:lnTo>
                      <a:pt x="279" y="517"/>
                    </a:lnTo>
                    <a:lnTo>
                      <a:pt x="279" y="518"/>
                    </a:lnTo>
                    <a:lnTo>
                      <a:pt x="279" y="519"/>
                    </a:lnTo>
                    <a:lnTo>
                      <a:pt x="279" y="520"/>
                    </a:lnTo>
                    <a:lnTo>
                      <a:pt x="278" y="520"/>
                    </a:lnTo>
                    <a:lnTo>
                      <a:pt x="278" y="521"/>
                    </a:lnTo>
                    <a:lnTo>
                      <a:pt x="278" y="522"/>
                    </a:lnTo>
                    <a:lnTo>
                      <a:pt x="278" y="523"/>
                    </a:lnTo>
                    <a:lnTo>
                      <a:pt x="277" y="524"/>
                    </a:lnTo>
                    <a:lnTo>
                      <a:pt x="277" y="525"/>
                    </a:lnTo>
                    <a:lnTo>
                      <a:pt x="277" y="526"/>
                    </a:lnTo>
                    <a:lnTo>
                      <a:pt x="277" y="527"/>
                    </a:lnTo>
                    <a:lnTo>
                      <a:pt x="277" y="528"/>
                    </a:lnTo>
                    <a:lnTo>
                      <a:pt x="277" y="529"/>
                    </a:lnTo>
                    <a:lnTo>
                      <a:pt x="277" y="530"/>
                    </a:lnTo>
                    <a:lnTo>
                      <a:pt x="277" y="531"/>
                    </a:lnTo>
                    <a:lnTo>
                      <a:pt x="277" y="532"/>
                    </a:lnTo>
                    <a:lnTo>
                      <a:pt x="269" y="547"/>
                    </a:lnTo>
                    <a:lnTo>
                      <a:pt x="269" y="570"/>
                    </a:lnTo>
                    <a:lnTo>
                      <a:pt x="249" y="567"/>
                    </a:lnTo>
                    <a:lnTo>
                      <a:pt x="248" y="566"/>
                    </a:lnTo>
                    <a:lnTo>
                      <a:pt x="247" y="566"/>
                    </a:lnTo>
                    <a:lnTo>
                      <a:pt x="246" y="566"/>
                    </a:lnTo>
                    <a:lnTo>
                      <a:pt x="245" y="566"/>
                    </a:lnTo>
                    <a:lnTo>
                      <a:pt x="244" y="566"/>
                    </a:lnTo>
                    <a:lnTo>
                      <a:pt x="243" y="566"/>
                    </a:lnTo>
                    <a:lnTo>
                      <a:pt x="242" y="566"/>
                    </a:lnTo>
                    <a:lnTo>
                      <a:pt x="241" y="566"/>
                    </a:lnTo>
                    <a:lnTo>
                      <a:pt x="241" y="567"/>
                    </a:lnTo>
                    <a:lnTo>
                      <a:pt x="240" y="567"/>
                    </a:lnTo>
                    <a:lnTo>
                      <a:pt x="239" y="567"/>
                    </a:lnTo>
                    <a:lnTo>
                      <a:pt x="239" y="568"/>
                    </a:lnTo>
                    <a:lnTo>
                      <a:pt x="238" y="568"/>
                    </a:lnTo>
                    <a:lnTo>
                      <a:pt x="237" y="568"/>
                    </a:lnTo>
                    <a:lnTo>
                      <a:pt x="236" y="568"/>
                    </a:lnTo>
                    <a:lnTo>
                      <a:pt x="236" y="569"/>
                    </a:lnTo>
                    <a:lnTo>
                      <a:pt x="236" y="570"/>
                    </a:lnTo>
                    <a:lnTo>
                      <a:pt x="236" y="571"/>
                    </a:lnTo>
                    <a:lnTo>
                      <a:pt x="235" y="571"/>
                    </a:lnTo>
                    <a:lnTo>
                      <a:pt x="235" y="572"/>
                    </a:lnTo>
                    <a:lnTo>
                      <a:pt x="235" y="573"/>
                    </a:lnTo>
                    <a:lnTo>
                      <a:pt x="235" y="574"/>
                    </a:lnTo>
                    <a:lnTo>
                      <a:pt x="234" y="574"/>
                    </a:lnTo>
                    <a:lnTo>
                      <a:pt x="234" y="575"/>
                    </a:lnTo>
                    <a:lnTo>
                      <a:pt x="234" y="576"/>
                    </a:lnTo>
                    <a:lnTo>
                      <a:pt x="234" y="577"/>
                    </a:lnTo>
                    <a:lnTo>
                      <a:pt x="234" y="578"/>
                    </a:lnTo>
                    <a:lnTo>
                      <a:pt x="234" y="579"/>
                    </a:lnTo>
                    <a:lnTo>
                      <a:pt x="226" y="558"/>
                    </a:lnTo>
                    <a:lnTo>
                      <a:pt x="217" y="563"/>
                    </a:lnTo>
                    <a:lnTo>
                      <a:pt x="212" y="572"/>
                    </a:lnTo>
                    <a:lnTo>
                      <a:pt x="199" y="584"/>
                    </a:lnTo>
                    <a:lnTo>
                      <a:pt x="183" y="578"/>
                    </a:lnTo>
                    <a:lnTo>
                      <a:pt x="174" y="565"/>
                    </a:lnTo>
                    <a:lnTo>
                      <a:pt x="156" y="580"/>
                    </a:lnTo>
                    <a:lnTo>
                      <a:pt x="149" y="565"/>
                    </a:lnTo>
                    <a:lnTo>
                      <a:pt x="141" y="549"/>
                    </a:lnTo>
                    <a:lnTo>
                      <a:pt x="145" y="546"/>
                    </a:lnTo>
                    <a:lnTo>
                      <a:pt x="125" y="549"/>
                    </a:lnTo>
                    <a:lnTo>
                      <a:pt x="141" y="529"/>
                    </a:lnTo>
                    <a:lnTo>
                      <a:pt x="132" y="525"/>
                    </a:lnTo>
                    <a:lnTo>
                      <a:pt x="124" y="522"/>
                    </a:lnTo>
                    <a:lnTo>
                      <a:pt x="123" y="490"/>
                    </a:lnTo>
                    <a:lnTo>
                      <a:pt x="107" y="490"/>
                    </a:lnTo>
                    <a:lnTo>
                      <a:pt x="103" y="480"/>
                    </a:lnTo>
                    <a:lnTo>
                      <a:pt x="104" y="494"/>
                    </a:lnTo>
                    <a:lnTo>
                      <a:pt x="91" y="508"/>
                    </a:lnTo>
                    <a:lnTo>
                      <a:pt x="65" y="494"/>
                    </a:lnTo>
                    <a:lnTo>
                      <a:pt x="51" y="515"/>
                    </a:lnTo>
                    <a:lnTo>
                      <a:pt x="44" y="499"/>
                    </a:lnTo>
                    <a:lnTo>
                      <a:pt x="43" y="499"/>
                    </a:lnTo>
                    <a:lnTo>
                      <a:pt x="43" y="500"/>
                    </a:lnTo>
                    <a:lnTo>
                      <a:pt x="42" y="500"/>
                    </a:lnTo>
                    <a:lnTo>
                      <a:pt x="42" y="501"/>
                    </a:lnTo>
                    <a:lnTo>
                      <a:pt x="41" y="501"/>
                    </a:lnTo>
                    <a:lnTo>
                      <a:pt x="40" y="501"/>
                    </a:lnTo>
                    <a:lnTo>
                      <a:pt x="40" y="502"/>
                    </a:lnTo>
                    <a:lnTo>
                      <a:pt x="39" y="502"/>
                    </a:lnTo>
                    <a:lnTo>
                      <a:pt x="38" y="503"/>
                    </a:lnTo>
                    <a:lnTo>
                      <a:pt x="38" y="504"/>
                    </a:lnTo>
                    <a:lnTo>
                      <a:pt x="37" y="504"/>
                    </a:lnTo>
                    <a:lnTo>
                      <a:pt x="37" y="505"/>
                    </a:lnTo>
                    <a:lnTo>
                      <a:pt x="36" y="505"/>
                    </a:lnTo>
                    <a:lnTo>
                      <a:pt x="36" y="506"/>
                    </a:lnTo>
                    <a:lnTo>
                      <a:pt x="35" y="506"/>
                    </a:lnTo>
                    <a:lnTo>
                      <a:pt x="34" y="506"/>
                    </a:lnTo>
                    <a:lnTo>
                      <a:pt x="33" y="506"/>
                    </a:lnTo>
                    <a:lnTo>
                      <a:pt x="32" y="507"/>
                    </a:lnTo>
                    <a:lnTo>
                      <a:pt x="31" y="507"/>
                    </a:lnTo>
                    <a:lnTo>
                      <a:pt x="31" y="508"/>
                    </a:lnTo>
                    <a:lnTo>
                      <a:pt x="30" y="508"/>
                    </a:lnTo>
                    <a:lnTo>
                      <a:pt x="29" y="508"/>
                    </a:lnTo>
                    <a:lnTo>
                      <a:pt x="28" y="508"/>
                    </a:lnTo>
                    <a:lnTo>
                      <a:pt x="28" y="507"/>
                    </a:lnTo>
                    <a:lnTo>
                      <a:pt x="27" y="507"/>
                    </a:lnTo>
                    <a:lnTo>
                      <a:pt x="27" y="506"/>
                    </a:lnTo>
                    <a:lnTo>
                      <a:pt x="26" y="506"/>
                    </a:lnTo>
                    <a:lnTo>
                      <a:pt x="26" y="505"/>
                    </a:lnTo>
                    <a:lnTo>
                      <a:pt x="26" y="504"/>
                    </a:lnTo>
                    <a:lnTo>
                      <a:pt x="26" y="503"/>
                    </a:lnTo>
                    <a:lnTo>
                      <a:pt x="25" y="502"/>
                    </a:lnTo>
                    <a:lnTo>
                      <a:pt x="25" y="501"/>
                    </a:lnTo>
                    <a:lnTo>
                      <a:pt x="25" y="500"/>
                    </a:lnTo>
                    <a:lnTo>
                      <a:pt x="26" y="500"/>
                    </a:lnTo>
                    <a:lnTo>
                      <a:pt x="26" y="499"/>
                    </a:lnTo>
                    <a:lnTo>
                      <a:pt x="26" y="498"/>
                    </a:lnTo>
                    <a:lnTo>
                      <a:pt x="26" y="497"/>
                    </a:lnTo>
                    <a:lnTo>
                      <a:pt x="26" y="496"/>
                    </a:lnTo>
                    <a:lnTo>
                      <a:pt x="26" y="495"/>
                    </a:lnTo>
                    <a:lnTo>
                      <a:pt x="26" y="494"/>
                    </a:lnTo>
                    <a:lnTo>
                      <a:pt x="27" y="494"/>
                    </a:lnTo>
                    <a:lnTo>
                      <a:pt x="24" y="457"/>
                    </a:lnTo>
                    <a:lnTo>
                      <a:pt x="11" y="453"/>
                    </a:lnTo>
                    <a:lnTo>
                      <a:pt x="1" y="435"/>
                    </a:lnTo>
                    <a:lnTo>
                      <a:pt x="0" y="396"/>
                    </a:lnTo>
                    <a:lnTo>
                      <a:pt x="9" y="382"/>
                    </a:lnTo>
                    <a:lnTo>
                      <a:pt x="22" y="375"/>
                    </a:lnTo>
                    <a:lnTo>
                      <a:pt x="22" y="374"/>
                    </a:lnTo>
                    <a:lnTo>
                      <a:pt x="22" y="373"/>
                    </a:lnTo>
                    <a:lnTo>
                      <a:pt x="21" y="372"/>
                    </a:lnTo>
                    <a:lnTo>
                      <a:pt x="21" y="371"/>
                    </a:lnTo>
                    <a:lnTo>
                      <a:pt x="20" y="370"/>
                    </a:lnTo>
                    <a:lnTo>
                      <a:pt x="19" y="369"/>
                    </a:lnTo>
                    <a:lnTo>
                      <a:pt x="19" y="368"/>
                    </a:lnTo>
                    <a:lnTo>
                      <a:pt x="18" y="367"/>
                    </a:lnTo>
                    <a:lnTo>
                      <a:pt x="18" y="366"/>
                    </a:lnTo>
                    <a:lnTo>
                      <a:pt x="18" y="365"/>
                    </a:lnTo>
                    <a:lnTo>
                      <a:pt x="17" y="365"/>
                    </a:lnTo>
                    <a:lnTo>
                      <a:pt x="17" y="364"/>
                    </a:lnTo>
                    <a:lnTo>
                      <a:pt x="17" y="363"/>
                    </a:lnTo>
                    <a:lnTo>
                      <a:pt x="16" y="363"/>
                    </a:lnTo>
                    <a:lnTo>
                      <a:pt x="16" y="362"/>
                    </a:lnTo>
                    <a:lnTo>
                      <a:pt x="16" y="361"/>
                    </a:lnTo>
                    <a:lnTo>
                      <a:pt x="16" y="360"/>
                    </a:lnTo>
                    <a:lnTo>
                      <a:pt x="16" y="359"/>
                    </a:lnTo>
                    <a:lnTo>
                      <a:pt x="16" y="358"/>
                    </a:lnTo>
                    <a:lnTo>
                      <a:pt x="16" y="357"/>
                    </a:lnTo>
                    <a:lnTo>
                      <a:pt x="16" y="356"/>
                    </a:lnTo>
                    <a:lnTo>
                      <a:pt x="16" y="355"/>
                    </a:lnTo>
                    <a:lnTo>
                      <a:pt x="16" y="354"/>
                    </a:lnTo>
                    <a:lnTo>
                      <a:pt x="16" y="353"/>
                    </a:lnTo>
                    <a:lnTo>
                      <a:pt x="17" y="352"/>
                    </a:lnTo>
                    <a:lnTo>
                      <a:pt x="18" y="352"/>
                    </a:lnTo>
                    <a:lnTo>
                      <a:pt x="18" y="351"/>
                    </a:lnTo>
                    <a:lnTo>
                      <a:pt x="19" y="351"/>
                    </a:lnTo>
                    <a:lnTo>
                      <a:pt x="20" y="351"/>
                    </a:lnTo>
                    <a:lnTo>
                      <a:pt x="21" y="351"/>
                    </a:lnTo>
                    <a:lnTo>
                      <a:pt x="22" y="351"/>
                    </a:lnTo>
                    <a:lnTo>
                      <a:pt x="23" y="351"/>
                    </a:lnTo>
                    <a:lnTo>
                      <a:pt x="24" y="351"/>
                    </a:lnTo>
                    <a:lnTo>
                      <a:pt x="25" y="352"/>
                    </a:lnTo>
                    <a:lnTo>
                      <a:pt x="26" y="352"/>
                    </a:lnTo>
                    <a:lnTo>
                      <a:pt x="27" y="352"/>
                    </a:lnTo>
                    <a:lnTo>
                      <a:pt x="27" y="353"/>
                    </a:lnTo>
                    <a:lnTo>
                      <a:pt x="28" y="353"/>
                    </a:lnTo>
                    <a:lnTo>
                      <a:pt x="29" y="353"/>
                    </a:lnTo>
                    <a:lnTo>
                      <a:pt x="30" y="354"/>
                    </a:lnTo>
                    <a:lnTo>
                      <a:pt x="31" y="354"/>
                    </a:lnTo>
                    <a:lnTo>
                      <a:pt x="32" y="354"/>
                    </a:lnTo>
                    <a:lnTo>
                      <a:pt x="32" y="355"/>
                    </a:lnTo>
                    <a:lnTo>
                      <a:pt x="33" y="355"/>
                    </a:lnTo>
                    <a:lnTo>
                      <a:pt x="34" y="355"/>
                    </a:lnTo>
                    <a:lnTo>
                      <a:pt x="35" y="355"/>
                    </a:lnTo>
                    <a:lnTo>
                      <a:pt x="36" y="356"/>
                    </a:lnTo>
                    <a:lnTo>
                      <a:pt x="37" y="356"/>
                    </a:lnTo>
                    <a:lnTo>
                      <a:pt x="38" y="357"/>
                    </a:lnTo>
                    <a:lnTo>
                      <a:pt x="39" y="358"/>
                    </a:lnTo>
                    <a:lnTo>
                      <a:pt x="42" y="370"/>
                    </a:lnTo>
                    <a:lnTo>
                      <a:pt x="56" y="386"/>
                    </a:lnTo>
                    <a:lnTo>
                      <a:pt x="55" y="386"/>
                    </a:lnTo>
                    <a:lnTo>
                      <a:pt x="55" y="385"/>
                    </a:lnTo>
                    <a:lnTo>
                      <a:pt x="55" y="384"/>
                    </a:lnTo>
                    <a:lnTo>
                      <a:pt x="55" y="383"/>
                    </a:lnTo>
                    <a:lnTo>
                      <a:pt x="55" y="382"/>
                    </a:lnTo>
                    <a:lnTo>
                      <a:pt x="55" y="381"/>
                    </a:lnTo>
                    <a:lnTo>
                      <a:pt x="56" y="381"/>
                    </a:lnTo>
                    <a:lnTo>
                      <a:pt x="56" y="380"/>
                    </a:lnTo>
                    <a:lnTo>
                      <a:pt x="56" y="379"/>
                    </a:lnTo>
                    <a:lnTo>
                      <a:pt x="56" y="378"/>
                    </a:lnTo>
                    <a:lnTo>
                      <a:pt x="56" y="377"/>
                    </a:lnTo>
                    <a:lnTo>
                      <a:pt x="56" y="376"/>
                    </a:lnTo>
                    <a:lnTo>
                      <a:pt x="57" y="376"/>
                    </a:lnTo>
                    <a:lnTo>
                      <a:pt x="57" y="375"/>
                    </a:lnTo>
                    <a:lnTo>
                      <a:pt x="58" y="374"/>
                    </a:lnTo>
                    <a:lnTo>
                      <a:pt x="58" y="373"/>
                    </a:lnTo>
                    <a:lnTo>
                      <a:pt x="59" y="373"/>
                    </a:lnTo>
                    <a:lnTo>
                      <a:pt x="59" y="372"/>
                    </a:lnTo>
                    <a:lnTo>
                      <a:pt x="59" y="371"/>
                    </a:lnTo>
                    <a:lnTo>
                      <a:pt x="60" y="370"/>
                    </a:lnTo>
                    <a:lnTo>
                      <a:pt x="61" y="370"/>
                    </a:lnTo>
                    <a:lnTo>
                      <a:pt x="62" y="370"/>
                    </a:lnTo>
                    <a:lnTo>
                      <a:pt x="62" y="369"/>
                    </a:lnTo>
                    <a:lnTo>
                      <a:pt x="63" y="369"/>
                    </a:lnTo>
                    <a:lnTo>
                      <a:pt x="64" y="369"/>
                    </a:lnTo>
                    <a:lnTo>
                      <a:pt x="64" y="368"/>
                    </a:lnTo>
                    <a:lnTo>
                      <a:pt x="65" y="368"/>
                    </a:lnTo>
                    <a:lnTo>
                      <a:pt x="66" y="367"/>
                    </a:lnTo>
                    <a:lnTo>
                      <a:pt x="67" y="367"/>
                    </a:lnTo>
                    <a:lnTo>
                      <a:pt x="68" y="367"/>
                    </a:lnTo>
                    <a:lnTo>
                      <a:pt x="69" y="367"/>
                    </a:lnTo>
                    <a:lnTo>
                      <a:pt x="70" y="367"/>
                    </a:lnTo>
                    <a:lnTo>
                      <a:pt x="71" y="367"/>
                    </a:lnTo>
                    <a:lnTo>
                      <a:pt x="72" y="367"/>
                    </a:lnTo>
                    <a:lnTo>
                      <a:pt x="72" y="366"/>
                    </a:lnTo>
                    <a:lnTo>
                      <a:pt x="73" y="366"/>
                    </a:lnTo>
                    <a:lnTo>
                      <a:pt x="74" y="366"/>
                    </a:lnTo>
                    <a:lnTo>
                      <a:pt x="74" y="367"/>
                    </a:lnTo>
                    <a:lnTo>
                      <a:pt x="75" y="367"/>
                    </a:lnTo>
                    <a:lnTo>
                      <a:pt x="260" y="370"/>
                    </a:lnTo>
                    <a:lnTo>
                      <a:pt x="262" y="338"/>
                    </a:lnTo>
                    <a:lnTo>
                      <a:pt x="252" y="335"/>
                    </a:lnTo>
                    <a:lnTo>
                      <a:pt x="229" y="148"/>
                    </a:lnTo>
                    <a:lnTo>
                      <a:pt x="220" y="56"/>
                    </a:lnTo>
                    <a:lnTo>
                      <a:pt x="212" y="0"/>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3" name="Freeform 9"/>
              <p:cNvSpPr>
                <a:spLocks/>
              </p:cNvSpPr>
              <p:nvPr/>
            </p:nvSpPr>
            <p:spPr bwMode="auto">
              <a:xfrm>
                <a:off x="771" y="1506"/>
                <a:ext cx="686" cy="614"/>
              </a:xfrm>
              <a:custGeom>
                <a:avLst/>
                <a:gdLst>
                  <a:gd name="T0" fmla="*/ 52227 w 641"/>
                  <a:gd name="T1" fmla="*/ 5251 h 584"/>
                  <a:gd name="T2" fmla="*/ 52473 w 641"/>
                  <a:gd name="T3" fmla="*/ 5227 h 584"/>
                  <a:gd name="T4" fmla="*/ 52913 w 641"/>
                  <a:gd name="T5" fmla="*/ 5322 h 584"/>
                  <a:gd name="T6" fmla="*/ 52940 w 641"/>
                  <a:gd name="T7" fmla="*/ 5490 h 584"/>
                  <a:gd name="T8" fmla="*/ 52940 w 641"/>
                  <a:gd name="T9" fmla="*/ 5632 h 584"/>
                  <a:gd name="T10" fmla="*/ 52888 w 641"/>
                  <a:gd name="T11" fmla="*/ 5778 h 584"/>
                  <a:gd name="T12" fmla="*/ 52545 w 641"/>
                  <a:gd name="T13" fmla="*/ 5875 h 584"/>
                  <a:gd name="T14" fmla="*/ 52416 w 641"/>
                  <a:gd name="T15" fmla="*/ 6001 h 584"/>
                  <a:gd name="T16" fmla="*/ 52473 w 641"/>
                  <a:gd name="T17" fmla="*/ 6103 h 584"/>
                  <a:gd name="T18" fmla="*/ 52888 w 641"/>
                  <a:gd name="T19" fmla="*/ 6225 h 584"/>
                  <a:gd name="T20" fmla="*/ 53303 w 641"/>
                  <a:gd name="T21" fmla="*/ 6353 h 584"/>
                  <a:gd name="T22" fmla="*/ 53657 w 641"/>
                  <a:gd name="T23" fmla="*/ 6406 h 584"/>
                  <a:gd name="T24" fmla="*/ 56157 w 641"/>
                  <a:gd name="T25" fmla="*/ 9528 h 584"/>
                  <a:gd name="T26" fmla="*/ 55664 w 641"/>
                  <a:gd name="T27" fmla="*/ 9480 h 584"/>
                  <a:gd name="T28" fmla="*/ 55220 w 641"/>
                  <a:gd name="T29" fmla="*/ 9447 h 584"/>
                  <a:gd name="T30" fmla="*/ 54877 w 641"/>
                  <a:gd name="T31" fmla="*/ 9528 h 584"/>
                  <a:gd name="T32" fmla="*/ 54822 w 641"/>
                  <a:gd name="T33" fmla="*/ 9682 h 584"/>
                  <a:gd name="T34" fmla="*/ 54877 w 641"/>
                  <a:gd name="T35" fmla="*/ 9749 h 584"/>
                  <a:gd name="T36" fmla="*/ 46239 w 641"/>
                  <a:gd name="T37" fmla="*/ 10205 h 584"/>
                  <a:gd name="T38" fmla="*/ 26847 w 641"/>
                  <a:gd name="T39" fmla="*/ 13577 h 584"/>
                  <a:gd name="T40" fmla="*/ 26592 w 641"/>
                  <a:gd name="T41" fmla="*/ 13578 h 584"/>
                  <a:gd name="T42" fmla="*/ 26161 w 641"/>
                  <a:gd name="T43" fmla="*/ 13603 h 584"/>
                  <a:gd name="T44" fmla="*/ 25632 w 641"/>
                  <a:gd name="T45" fmla="*/ 13664 h 584"/>
                  <a:gd name="T46" fmla="*/ 25383 w 641"/>
                  <a:gd name="T47" fmla="*/ 13781 h 584"/>
                  <a:gd name="T48" fmla="*/ 24933 w 641"/>
                  <a:gd name="T49" fmla="*/ 13871 h 584"/>
                  <a:gd name="T50" fmla="*/ 24848 w 641"/>
                  <a:gd name="T51" fmla="*/ 13986 h 584"/>
                  <a:gd name="T52" fmla="*/ 24555 w 641"/>
                  <a:gd name="T53" fmla="*/ 14154 h 584"/>
                  <a:gd name="T54" fmla="*/ 24459 w 641"/>
                  <a:gd name="T55" fmla="*/ 14274 h 584"/>
                  <a:gd name="T56" fmla="*/ 24310 w 641"/>
                  <a:gd name="T57" fmla="*/ 14459 h 584"/>
                  <a:gd name="T58" fmla="*/ 21893 w 641"/>
                  <a:gd name="T59" fmla="*/ 15459 h 584"/>
                  <a:gd name="T60" fmla="*/ 21356 w 641"/>
                  <a:gd name="T61" fmla="*/ 15457 h 584"/>
                  <a:gd name="T62" fmla="*/ 20912 w 641"/>
                  <a:gd name="T63" fmla="*/ 15511 h 584"/>
                  <a:gd name="T64" fmla="*/ 20708 w 641"/>
                  <a:gd name="T65" fmla="*/ 15583 h 584"/>
                  <a:gd name="T66" fmla="*/ 20622 w 641"/>
                  <a:gd name="T67" fmla="*/ 15733 h 584"/>
                  <a:gd name="T68" fmla="*/ 17491 w 641"/>
                  <a:gd name="T69" fmla="*/ 15979 h 584"/>
                  <a:gd name="T70" fmla="*/ 11007 w 641"/>
                  <a:gd name="T71" fmla="*/ 14973 h 584"/>
                  <a:gd name="T72" fmla="*/ 9136 w 641"/>
                  <a:gd name="T73" fmla="*/ 13467 h 584"/>
                  <a:gd name="T74" fmla="*/ 3718 w 641"/>
                  <a:gd name="T75" fmla="*/ 13603 h 584"/>
                  <a:gd name="T76" fmla="*/ 3433 w 641"/>
                  <a:gd name="T77" fmla="*/ 13749 h 584"/>
                  <a:gd name="T78" fmla="*/ 3033 w 641"/>
                  <a:gd name="T79" fmla="*/ 13796 h 584"/>
                  <a:gd name="T80" fmla="*/ 2648 w 641"/>
                  <a:gd name="T81" fmla="*/ 13844 h 584"/>
                  <a:gd name="T82" fmla="*/ 2312 w 641"/>
                  <a:gd name="T83" fmla="*/ 13796 h 584"/>
                  <a:gd name="T84" fmla="*/ 2160 w 641"/>
                  <a:gd name="T85" fmla="*/ 13664 h 584"/>
                  <a:gd name="T86" fmla="*/ 2285 w 641"/>
                  <a:gd name="T87" fmla="*/ 13538 h 584"/>
                  <a:gd name="T88" fmla="*/ 1 w 641"/>
                  <a:gd name="T89" fmla="*/ 11859 h 584"/>
                  <a:gd name="T90" fmla="*/ 1864 w 641"/>
                  <a:gd name="T91" fmla="*/ 10072 h 584"/>
                  <a:gd name="T92" fmla="*/ 1521 w 641"/>
                  <a:gd name="T93" fmla="*/ 9971 h 584"/>
                  <a:gd name="T94" fmla="*/ 1328 w 641"/>
                  <a:gd name="T95" fmla="*/ 9771 h 584"/>
                  <a:gd name="T96" fmla="*/ 1328 w 641"/>
                  <a:gd name="T97" fmla="*/ 9685 h 584"/>
                  <a:gd name="T98" fmla="*/ 1628 w 641"/>
                  <a:gd name="T99" fmla="*/ 9563 h 584"/>
                  <a:gd name="T100" fmla="*/ 2160 w 641"/>
                  <a:gd name="T101" fmla="*/ 9575 h 584"/>
                  <a:gd name="T102" fmla="*/ 2617 w 641"/>
                  <a:gd name="T103" fmla="*/ 9682 h 584"/>
                  <a:gd name="T104" fmla="*/ 3208 w 641"/>
                  <a:gd name="T105" fmla="*/ 9698 h 584"/>
                  <a:gd name="T106" fmla="*/ 4819 w 641"/>
                  <a:gd name="T107" fmla="*/ 10540 h 584"/>
                  <a:gd name="T108" fmla="*/ 4877 w 641"/>
                  <a:gd name="T109" fmla="*/ 10412 h 584"/>
                  <a:gd name="T110" fmla="*/ 5030 w 641"/>
                  <a:gd name="T111" fmla="*/ 10205 h 584"/>
                  <a:gd name="T112" fmla="*/ 5383 w 641"/>
                  <a:gd name="T113" fmla="*/ 10067 h 584"/>
                  <a:gd name="T114" fmla="*/ 5761 w 641"/>
                  <a:gd name="T115" fmla="*/ 10053 h 584"/>
                  <a:gd name="T116" fmla="*/ 6297 w 641"/>
                  <a:gd name="T117" fmla="*/ 10025 h 584"/>
                  <a:gd name="T118" fmla="*/ 22855 w 641"/>
                  <a:gd name="T119" fmla="*/ 10067 h 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41"/>
                  <a:gd name="T181" fmla="*/ 0 h 584"/>
                  <a:gd name="T182" fmla="*/ 641 w 641"/>
                  <a:gd name="T183" fmla="*/ 584 h 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41" h="584">
                    <a:moveTo>
                      <a:pt x="212" y="0"/>
                    </a:moveTo>
                    <a:lnTo>
                      <a:pt x="279" y="0"/>
                    </a:lnTo>
                    <a:lnTo>
                      <a:pt x="523" y="149"/>
                    </a:lnTo>
                    <a:lnTo>
                      <a:pt x="519" y="159"/>
                    </a:lnTo>
                    <a:lnTo>
                      <a:pt x="548" y="180"/>
                    </a:lnTo>
                    <a:lnTo>
                      <a:pt x="569" y="191"/>
                    </a:lnTo>
                    <a:lnTo>
                      <a:pt x="592" y="194"/>
                    </a:lnTo>
                    <a:lnTo>
                      <a:pt x="592" y="193"/>
                    </a:lnTo>
                    <a:lnTo>
                      <a:pt x="593" y="193"/>
                    </a:lnTo>
                    <a:lnTo>
                      <a:pt x="594" y="193"/>
                    </a:lnTo>
                    <a:lnTo>
                      <a:pt x="595" y="193"/>
                    </a:lnTo>
                    <a:lnTo>
                      <a:pt x="596" y="192"/>
                    </a:lnTo>
                    <a:lnTo>
                      <a:pt x="597" y="192"/>
                    </a:lnTo>
                    <a:lnTo>
                      <a:pt x="597" y="193"/>
                    </a:lnTo>
                    <a:lnTo>
                      <a:pt x="598" y="193"/>
                    </a:lnTo>
                    <a:lnTo>
                      <a:pt x="599" y="193"/>
                    </a:lnTo>
                    <a:lnTo>
                      <a:pt x="600" y="193"/>
                    </a:lnTo>
                    <a:lnTo>
                      <a:pt x="601" y="194"/>
                    </a:lnTo>
                    <a:lnTo>
                      <a:pt x="601" y="195"/>
                    </a:lnTo>
                    <a:lnTo>
                      <a:pt x="601" y="196"/>
                    </a:lnTo>
                    <a:lnTo>
                      <a:pt x="601" y="197"/>
                    </a:lnTo>
                    <a:lnTo>
                      <a:pt x="601" y="198"/>
                    </a:lnTo>
                    <a:lnTo>
                      <a:pt x="602" y="199"/>
                    </a:lnTo>
                    <a:lnTo>
                      <a:pt x="602" y="200"/>
                    </a:lnTo>
                    <a:lnTo>
                      <a:pt x="602" y="201"/>
                    </a:lnTo>
                    <a:lnTo>
                      <a:pt x="602" y="202"/>
                    </a:lnTo>
                    <a:lnTo>
                      <a:pt x="602" y="203"/>
                    </a:lnTo>
                    <a:lnTo>
                      <a:pt x="602" y="204"/>
                    </a:lnTo>
                    <a:lnTo>
                      <a:pt x="602" y="205"/>
                    </a:lnTo>
                    <a:lnTo>
                      <a:pt x="602" y="206"/>
                    </a:lnTo>
                    <a:lnTo>
                      <a:pt x="602" y="207"/>
                    </a:lnTo>
                    <a:lnTo>
                      <a:pt x="602" y="208"/>
                    </a:lnTo>
                    <a:lnTo>
                      <a:pt x="602" y="209"/>
                    </a:lnTo>
                    <a:lnTo>
                      <a:pt x="601" y="209"/>
                    </a:lnTo>
                    <a:lnTo>
                      <a:pt x="601" y="210"/>
                    </a:lnTo>
                    <a:lnTo>
                      <a:pt x="600" y="211"/>
                    </a:lnTo>
                    <a:lnTo>
                      <a:pt x="600" y="212"/>
                    </a:lnTo>
                    <a:lnTo>
                      <a:pt x="599" y="212"/>
                    </a:lnTo>
                    <a:lnTo>
                      <a:pt x="599" y="213"/>
                    </a:lnTo>
                    <a:lnTo>
                      <a:pt x="598" y="213"/>
                    </a:lnTo>
                    <a:lnTo>
                      <a:pt x="598" y="214"/>
                    </a:lnTo>
                    <a:lnTo>
                      <a:pt x="597" y="214"/>
                    </a:lnTo>
                    <a:lnTo>
                      <a:pt x="597" y="215"/>
                    </a:lnTo>
                    <a:lnTo>
                      <a:pt x="597" y="216"/>
                    </a:lnTo>
                    <a:lnTo>
                      <a:pt x="596" y="216"/>
                    </a:lnTo>
                    <a:lnTo>
                      <a:pt x="596" y="217"/>
                    </a:lnTo>
                    <a:lnTo>
                      <a:pt x="596" y="218"/>
                    </a:lnTo>
                    <a:lnTo>
                      <a:pt x="596" y="219"/>
                    </a:lnTo>
                    <a:lnTo>
                      <a:pt x="595" y="219"/>
                    </a:lnTo>
                    <a:lnTo>
                      <a:pt x="595" y="220"/>
                    </a:lnTo>
                    <a:lnTo>
                      <a:pt x="595" y="221"/>
                    </a:lnTo>
                    <a:lnTo>
                      <a:pt x="595" y="222"/>
                    </a:lnTo>
                    <a:lnTo>
                      <a:pt x="596" y="222"/>
                    </a:lnTo>
                    <a:lnTo>
                      <a:pt x="596" y="223"/>
                    </a:lnTo>
                    <a:lnTo>
                      <a:pt x="596" y="224"/>
                    </a:lnTo>
                    <a:lnTo>
                      <a:pt x="596" y="225"/>
                    </a:lnTo>
                    <a:lnTo>
                      <a:pt x="597" y="225"/>
                    </a:lnTo>
                    <a:lnTo>
                      <a:pt x="597" y="226"/>
                    </a:lnTo>
                    <a:lnTo>
                      <a:pt x="598" y="226"/>
                    </a:lnTo>
                    <a:lnTo>
                      <a:pt x="598" y="227"/>
                    </a:lnTo>
                    <a:lnTo>
                      <a:pt x="599" y="228"/>
                    </a:lnTo>
                    <a:lnTo>
                      <a:pt x="600" y="228"/>
                    </a:lnTo>
                    <a:lnTo>
                      <a:pt x="600" y="229"/>
                    </a:lnTo>
                    <a:lnTo>
                      <a:pt x="601" y="230"/>
                    </a:lnTo>
                    <a:lnTo>
                      <a:pt x="602" y="230"/>
                    </a:lnTo>
                    <a:lnTo>
                      <a:pt x="602" y="231"/>
                    </a:lnTo>
                    <a:lnTo>
                      <a:pt x="603" y="231"/>
                    </a:lnTo>
                    <a:lnTo>
                      <a:pt x="604" y="232"/>
                    </a:lnTo>
                    <a:lnTo>
                      <a:pt x="605" y="232"/>
                    </a:lnTo>
                    <a:lnTo>
                      <a:pt x="605" y="233"/>
                    </a:lnTo>
                    <a:lnTo>
                      <a:pt x="606" y="233"/>
                    </a:lnTo>
                    <a:lnTo>
                      <a:pt x="606" y="234"/>
                    </a:lnTo>
                    <a:lnTo>
                      <a:pt x="607" y="234"/>
                    </a:lnTo>
                    <a:lnTo>
                      <a:pt x="608" y="235"/>
                    </a:lnTo>
                    <a:lnTo>
                      <a:pt x="609" y="235"/>
                    </a:lnTo>
                    <a:lnTo>
                      <a:pt x="610" y="235"/>
                    </a:lnTo>
                    <a:lnTo>
                      <a:pt x="636" y="225"/>
                    </a:lnTo>
                    <a:lnTo>
                      <a:pt x="641" y="349"/>
                    </a:lnTo>
                    <a:lnTo>
                      <a:pt x="639" y="348"/>
                    </a:lnTo>
                    <a:lnTo>
                      <a:pt x="638" y="348"/>
                    </a:lnTo>
                    <a:lnTo>
                      <a:pt x="638" y="347"/>
                    </a:lnTo>
                    <a:lnTo>
                      <a:pt x="637" y="347"/>
                    </a:lnTo>
                    <a:lnTo>
                      <a:pt x="636" y="347"/>
                    </a:lnTo>
                    <a:lnTo>
                      <a:pt x="635" y="346"/>
                    </a:lnTo>
                    <a:lnTo>
                      <a:pt x="634" y="346"/>
                    </a:lnTo>
                    <a:lnTo>
                      <a:pt x="633" y="346"/>
                    </a:lnTo>
                    <a:lnTo>
                      <a:pt x="633" y="345"/>
                    </a:lnTo>
                    <a:lnTo>
                      <a:pt x="632" y="345"/>
                    </a:lnTo>
                    <a:lnTo>
                      <a:pt x="631" y="345"/>
                    </a:lnTo>
                    <a:lnTo>
                      <a:pt x="630" y="345"/>
                    </a:lnTo>
                    <a:lnTo>
                      <a:pt x="629" y="345"/>
                    </a:lnTo>
                    <a:lnTo>
                      <a:pt x="628" y="345"/>
                    </a:lnTo>
                    <a:lnTo>
                      <a:pt x="627" y="345"/>
                    </a:lnTo>
                    <a:lnTo>
                      <a:pt x="626" y="345"/>
                    </a:lnTo>
                    <a:lnTo>
                      <a:pt x="626" y="346"/>
                    </a:lnTo>
                    <a:lnTo>
                      <a:pt x="625" y="346"/>
                    </a:lnTo>
                    <a:lnTo>
                      <a:pt x="624" y="347"/>
                    </a:lnTo>
                    <a:lnTo>
                      <a:pt x="624" y="348"/>
                    </a:lnTo>
                    <a:lnTo>
                      <a:pt x="623" y="348"/>
                    </a:lnTo>
                    <a:lnTo>
                      <a:pt x="623" y="349"/>
                    </a:lnTo>
                    <a:lnTo>
                      <a:pt x="623" y="350"/>
                    </a:lnTo>
                    <a:lnTo>
                      <a:pt x="622" y="350"/>
                    </a:lnTo>
                    <a:lnTo>
                      <a:pt x="622" y="351"/>
                    </a:lnTo>
                    <a:lnTo>
                      <a:pt x="622" y="352"/>
                    </a:lnTo>
                    <a:lnTo>
                      <a:pt x="622" y="353"/>
                    </a:lnTo>
                    <a:lnTo>
                      <a:pt x="622" y="354"/>
                    </a:lnTo>
                    <a:lnTo>
                      <a:pt x="622" y="355"/>
                    </a:lnTo>
                    <a:lnTo>
                      <a:pt x="623" y="355"/>
                    </a:lnTo>
                    <a:lnTo>
                      <a:pt x="623" y="356"/>
                    </a:lnTo>
                    <a:lnTo>
                      <a:pt x="623" y="357"/>
                    </a:lnTo>
                    <a:lnTo>
                      <a:pt x="623" y="358"/>
                    </a:lnTo>
                    <a:lnTo>
                      <a:pt x="623" y="359"/>
                    </a:lnTo>
                    <a:lnTo>
                      <a:pt x="624" y="359"/>
                    </a:lnTo>
                    <a:lnTo>
                      <a:pt x="624" y="360"/>
                    </a:lnTo>
                    <a:lnTo>
                      <a:pt x="624" y="361"/>
                    </a:lnTo>
                    <a:lnTo>
                      <a:pt x="625" y="362"/>
                    </a:lnTo>
                    <a:lnTo>
                      <a:pt x="599" y="376"/>
                    </a:lnTo>
                    <a:lnTo>
                      <a:pt x="526" y="375"/>
                    </a:lnTo>
                    <a:lnTo>
                      <a:pt x="516" y="388"/>
                    </a:lnTo>
                    <a:lnTo>
                      <a:pt x="455" y="390"/>
                    </a:lnTo>
                    <a:lnTo>
                      <a:pt x="413" y="416"/>
                    </a:lnTo>
                    <a:lnTo>
                      <a:pt x="393" y="430"/>
                    </a:lnTo>
                    <a:lnTo>
                      <a:pt x="340" y="457"/>
                    </a:lnTo>
                    <a:lnTo>
                      <a:pt x="323" y="457"/>
                    </a:lnTo>
                    <a:lnTo>
                      <a:pt x="306" y="497"/>
                    </a:lnTo>
                    <a:lnTo>
                      <a:pt x="305" y="497"/>
                    </a:lnTo>
                    <a:lnTo>
                      <a:pt x="304" y="497"/>
                    </a:lnTo>
                    <a:lnTo>
                      <a:pt x="303" y="497"/>
                    </a:lnTo>
                    <a:lnTo>
                      <a:pt x="302" y="497"/>
                    </a:lnTo>
                    <a:lnTo>
                      <a:pt x="302" y="498"/>
                    </a:lnTo>
                    <a:lnTo>
                      <a:pt x="301" y="498"/>
                    </a:lnTo>
                    <a:lnTo>
                      <a:pt x="300" y="498"/>
                    </a:lnTo>
                    <a:lnTo>
                      <a:pt x="300" y="499"/>
                    </a:lnTo>
                    <a:lnTo>
                      <a:pt x="299" y="499"/>
                    </a:lnTo>
                    <a:lnTo>
                      <a:pt x="298" y="499"/>
                    </a:lnTo>
                    <a:lnTo>
                      <a:pt x="297" y="499"/>
                    </a:lnTo>
                    <a:lnTo>
                      <a:pt x="297" y="500"/>
                    </a:lnTo>
                    <a:lnTo>
                      <a:pt x="296" y="500"/>
                    </a:lnTo>
                    <a:lnTo>
                      <a:pt x="295" y="500"/>
                    </a:lnTo>
                    <a:lnTo>
                      <a:pt x="295" y="501"/>
                    </a:lnTo>
                    <a:lnTo>
                      <a:pt x="294" y="501"/>
                    </a:lnTo>
                    <a:lnTo>
                      <a:pt x="293" y="501"/>
                    </a:lnTo>
                    <a:lnTo>
                      <a:pt x="292" y="501"/>
                    </a:lnTo>
                    <a:lnTo>
                      <a:pt x="292" y="502"/>
                    </a:lnTo>
                    <a:lnTo>
                      <a:pt x="291" y="502"/>
                    </a:lnTo>
                    <a:lnTo>
                      <a:pt x="290" y="503"/>
                    </a:lnTo>
                    <a:lnTo>
                      <a:pt x="290" y="504"/>
                    </a:lnTo>
                    <a:lnTo>
                      <a:pt x="289" y="504"/>
                    </a:lnTo>
                    <a:lnTo>
                      <a:pt x="288" y="505"/>
                    </a:lnTo>
                    <a:lnTo>
                      <a:pt x="287" y="506"/>
                    </a:lnTo>
                    <a:lnTo>
                      <a:pt x="286" y="506"/>
                    </a:lnTo>
                    <a:lnTo>
                      <a:pt x="285" y="507"/>
                    </a:lnTo>
                    <a:lnTo>
                      <a:pt x="284" y="507"/>
                    </a:lnTo>
                    <a:lnTo>
                      <a:pt x="284" y="508"/>
                    </a:lnTo>
                    <a:lnTo>
                      <a:pt x="284" y="509"/>
                    </a:lnTo>
                    <a:lnTo>
                      <a:pt x="284" y="510"/>
                    </a:lnTo>
                    <a:lnTo>
                      <a:pt x="283" y="510"/>
                    </a:lnTo>
                    <a:lnTo>
                      <a:pt x="283" y="511"/>
                    </a:lnTo>
                    <a:lnTo>
                      <a:pt x="282" y="511"/>
                    </a:lnTo>
                    <a:lnTo>
                      <a:pt x="281" y="512"/>
                    </a:lnTo>
                    <a:lnTo>
                      <a:pt x="281" y="513"/>
                    </a:lnTo>
                    <a:lnTo>
                      <a:pt x="280" y="514"/>
                    </a:lnTo>
                    <a:lnTo>
                      <a:pt x="280" y="515"/>
                    </a:lnTo>
                    <a:lnTo>
                      <a:pt x="279" y="516"/>
                    </a:lnTo>
                    <a:lnTo>
                      <a:pt x="279" y="517"/>
                    </a:lnTo>
                    <a:lnTo>
                      <a:pt x="279" y="518"/>
                    </a:lnTo>
                    <a:lnTo>
                      <a:pt x="279" y="519"/>
                    </a:lnTo>
                    <a:lnTo>
                      <a:pt x="279" y="520"/>
                    </a:lnTo>
                    <a:lnTo>
                      <a:pt x="278" y="520"/>
                    </a:lnTo>
                    <a:lnTo>
                      <a:pt x="278" y="521"/>
                    </a:lnTo>
                    <a:lnTo>
                      <a:pt x="278" y="522"/>
                    </a:lnTo>
                    <a:lnTo>
                      <a:pt x="278" y="523"/>
                    </a:lnTo>
                    <a:lnTo>
                      <a:pt x="277" y="524"/>
                    </a:lnTo>
                    <a:lnTo>
                      <a:pt x="277" y="525"/>
                    </a:lnTo>
                    <a:lnTo>
                      <a:pt x="277" y="526"/>
                    </a:lnTo>
                    <a:lnTo>
                      <a:pt x="277" y="527"/>
                    </a:lnTo>
                    <a:lnTo>
                      <a:pt x="277" y="528"/>
                    </a:lnTo>
                    <a:lnTo>
                      <a:pt x="277" y="529"/>
                    </a:lnTo>
                    <a:lnTo>
                      <a:pt x="277" y="530"/>
                    </a:lnTo>
                    <a:lnTo>
                      <a:pt x="277" y="531"/>
                    </a:lnTo>
                    <a:lnTo>
                      <a:pt x="277" y="532"/>
                    </a:lnTo>
                    <a:lnTo>
                      <a:pt x="269" y="547"/>
                    </a:lnTo>
                    <a:lnTo>
                      <a:pt x="269" y="570"/>
                    </a:lnTo>
                    <a:lnTo>
                      <a:pt x="249" y="567"/>
                    </a:lnTo>
                    <a:lnTo>
                      <a:pt x="248" y="566"/>
                    </a:lnTo>
                    <a:lnTo>
                      <a:pt x="247" y="566"/>
                    </a:lnTo>
                    <a:lnTo>
                      <a:pt x="246" y="566"/>
                    </a:lnTo>
                    <a:lnTo>
                      <a:pt x="245" y="566"/>
                    </a:lnTo>
                    <a:lnTo>
                      <a:pt x="244" y="566"/>
                    </a:lnTo>
                    <a:lnTo>
                      <a:pt x="243" y="566"/>
                    </a:lnTo>
                    <a:lnTo>
                      <a:pt x="242" y="566"/>
                    </a:lnTo>
                    <a:lnTo>
                      <a:pt x="241" y="566"/>
                    </a:lnTo>
                    <a:lnTo>
                      <a:pt x="241" y="567"/>
                    </a:lnTo>
                    <a:lnTo>
                      <a:pt x="240" y="567"/>
                    </a:lnTo>
                    <a:lnTo>
                      <a:pt x="239" y="567"/>
                    </a:lnTo>
                    <a:lnTo>
                      <a:pt x="239" y="568"/>
                    </a:lnTo>
                    <a:lnTo>
                      <a:pt x="238" y="568"/>
                    </a:lnTo>
                    <a:lnTo>
                      <a:pt x="237" y="568"/>
                    </a:lnTo>
                    <a:lnTo>
                      <a:pt x="236" y="568"/>
                    </a:lnTo>
                    <a:lnTo>
                      <a:pt x="236" y="569"/>
                    </a:lnTo>
                    <a:lnTo>
                      <a:pt x="236" y="570"/>
                    </a:lnTo>
                    <a:lnTo>
                      <a:pt x="236" y="571"/>
                    </a:lnTo>
                    <a:lnTo>
                      <a:pt x="235" y="571"/>
                    </a:lnTo>
                    <a:lnTo>
                      <a:pt x="235" y="572"/>
                    </a:lnTo>
                    <a:lnTo>
                      <a:pt x="235" y="573"/>
                    </a:lnTo>
                    <a:lnTo>
                      <a:pt x="235" y="574"/>
                    </a:lnTo>
                    <a:lnTo>
                      <a:pt x="234" y="574"/>
                    </a:lnTo>
                    <a:lnTo>
                      <a:pt x="234" y="575"/>
                    </a:lnTo>
                    <a:lnTo>
                      <a:pt x="234" y="576"/>
                    </a:lnTo>
                    <a:lnTo>
                      <a:pt x="234" y="577"/>
                    </a:lnTo>
                    <a:lnTo>
                      <a:pt x="234" y="578"/>
                    </a:lnTo>
                    <a:lnTo>
                      <a:pt x="234" y="579"/>
                    </a:lnTo>
                    <a:lnTo>
                      <a:pt x="226" y="558"/>
                    </a:lnTo>
                    <a:lnTo>
                      <a:pt x="217" y="563"/>
                    </a:lnTo>
                    <a:lnTo>
                      <a:pt x="212" y="572"/>
                    </a:lnTo>
                    <a:lnTo>
                      <a:pt x="199" y="584"/>
                    </a:lnTo>
                    <a:lnTo>
                      <a:pt x="183" y="578"/>
                    </a:lnTo>
                    <a:lnTo>
                      <a:pt x="174" y="565"/>
                    </a:lnTo>
                    <a:lnTo>
                      <a:pt x="156" y="580"/>
                    </a:lnTo>
                    <a:lnTo>
                      <a:pt x="149" y="565"/>
                    </a:lnTo>
                    <a:lnTo>
                      <a:pt x="141" y="549"/>
                    </a:lnTo>
                    <a:lnTo>
                      <a:pt x="145" y="546"/>
                    </a:lnTo>
                    <a:lnTo>
                      <a:pt x="125" y="549"/>
                    </a:lnTo>
                    <a:lnTo>
                      <a:pt x="141" y="529"/>
                    </a:lnTo>
                    <a:lnTo>
                      <a:pt x="132" y="525"/>
                    </a:lnTo>
                    <a:lnTo>
                      <a:pt x="124" y="522"/>
                    </a:lnTo>
                    <a:lnTo>
                      <a:pt x="123" y="490"/>
                    </a:lnTo>
                    <a:lnTo>
                      <a:pt x="107" y="490"/>
                    </a:lnTo>
                    <a:lnTo>
                      <a:pt x="103" y="480"/>
                    </a:lnTo>
                    <a:lnTo>
                      <a:pt x="104" y="494"/>
                    </a:lnTo>
                    <a:lnTo>
                      <a:pt x="91" y="508"/>
                    </a:lnTo>
                    <a:lnTo>
                      <a:pt x="65" y="494"/>
                    </a:lnTo>
                    <a:lnTo>
                      <a:pt x="51" y="515"/>
                    </a:lnTo>
                    <a:lnTo>
                      <a:pt x="44" y="499"/>
                    </a:lnTo>
                    <a:lnTo>
                      <a:pt x="43" y="499"/>
                    </a:lnTo>
                    <a:lnTo>
                      <a:pt x="43" y="500"/>
                    </a:lnTo>
                    <a:lnTo>
                      <a:pt x="42" y="500"/>
                    </a:lnTo>
                    <a:lnTo>
                      <a:pt x="42" y="501"/>
                    </a:lnTo>
                    <a:lnTo>
                      <a:pt x="41" y="501"/>
                    </a:lnTo>
                    <a:lnTo>
                      <a:pt x="40" y="501"/>
                    </a:lnTo>
                    <a:lnTo>
                      <a:pt x="40" y="502"/>
                    </a:lnTo>
                    <a:lnTo>
                      <a:pt x="39" y="502"/>
                    </a:lnTo>
                    <a:lnTo>
                      <a:pt x="38" y="503"/>
                    </a:lnTo>
                    <a:lnTo>
                      <a:pt x="38" y="504"/>
                    </a:lnTo>
                    <a:lnTo>
                      <a:pt x="37" y="504"/>
                    </a:lnTo>
                    <a:lnTo>
                      <a:pt x="37" y="505"/>
                    </a:lnTo>
                    <a:lnTo>
                      <a:pt x="36" y="505"/>
                    </a:lnTo>
                    <a:lnTo>
                      <a:pt x="36" y="506"/>
                    </a:lnTo>
                    <a:lnTo>
                      <a:pt x="35" y="506"/>
                    </a:lnTo>
                    <a:lnTo>
                      <a:pt x="34" y="506"/>
                    </a:lnTo>
                    <a:lnTo>
                      <a:pt x="33" y="506"/>
                    </a:lnTo>
                    <a:lnTo>
                      <a:pt x="32" y="507"/>
                    </a:lnTo>
                    <a:lnTo>
                      <a:pt x="31" y="507"/>
                    </a:lnTo>
                    <a:lnTo>
                      <a:pt x="31" y="508"/>
                    </a:lnTo>
                    <a:lnTo>
                      <a:pt x="30" y="508"/>
                    </a:lnTo>
                    <a:lnTo>
                      <a:pt x="29" y="508"/>
                    </a:lnTo>
                    <a:lnTo>
                      <a:pt x="28" y="508"/>
                    </a:lnTo>
                    <a:lnTo>
                      <a:pt x="28" y="507"/>
                    </a:lnTo>
                    <a:lnTo>
                      <a:pt x="27" y="507"/>
                    </a:lnTo>
                    <a:lnTo>
                      <a:pt x="27" y="506"/>
                    </a:lnTo>
                    <a:lnTo>
                      <a:pt x="26" y="506"/>
                    </a:lnTo>
                    <a:lnTo>
                      <a:pt x="26" y="505"/>
                    </a:lnTo>
                    <a:lnTo>
                      <a:pt x="26" y="504"/>
                    </a:lnTo>
                    <a:lnTo>
                      <a:pt x="26" y="503"/>
                    </a:lnTo>
                    <a:lnTo>
                      <a:pt x="25" y="502"/>
                    </a:lnTo>
                    <a:lnTo>
                      <a:pt x="25" y="501"/>
                    </a:lnTo>
                    <a:lnTo>
                      <a:pt x="25" y="500"/>
                    </a:lnTo>
                    <a:lnTo>
                      <a:pt x="26" y="500"/>
                    </a:lnTo>
                    <a:lnTo>
                      <a:pt x="26" y="499"/>
                    </a:lnTo>
                    <a:lnTo>
                      <a:pt x="26" y="498"/>
                    </a:lnTo>
                    <a:lnTo>
                      <a:pt x="26" y="497"/>
                    </a:lnTo>
                    <a:lnTo>
                      <a:pt x="26" y="496"/>
                    </a:lnTo>
                    <a:lnTo>
                      <a:pt x="26" y="495"/>
                    </a:lnTo>
                    <a:lnTo>
                      <a:pt x="26" y="494"/>
                    </a:lnTo>
                    <a:lnTo>
                      <a:pt x="27" y="494"/>
                    </a:lnTo>
                    <a:lnTo>
                      <a:pt x="24" y="457"/>
                    </a:lnTo>
                    <a:lnTo>
                      <a:pt x="11" y="453"/>
                    </a:lnTo>
                    <a:lnTo>
                      <a:pt x="1" y="435"/>
                    </a:lnTo>
                    <a:lnTo>
                      <a:pt x="0" y="396"/>
                    </a:lnTo>
                    <a:lnTo>
                      <a:pt x="9" y="382"/>
                    </a:lnTo>
                    <a:lnTo>
                      <a:pt x="22" y="375"/>
                    </a:lnTo>
                    <a:lnTo>
                      <a:pt x="22" y="374"/>
                    </a:lnTo>
                    <a:lnTo>
                      <a:pt x="22" y="373"/>
                    </a:lnTo>
                    <a:lnTo>
                      <a:pt x="21" y="372"/>
                    </a:lnTo>
                    <a:lnTo>
                      <a:pt x="21" y="371"/>
                    </a:lnTo>
                    <a:lnTo>
                      <a:pt x="20" y="370"/>
                    </a:lnTo>
                    <a:lnTo>
                      <a:pt x="19" y="369"/>
                    </a:lnTo>
                    <a:lnTo>
                      <a:pt x="19" y="368"/>
                    </a:lnTo>
                    <a:lnTo>
                      <a:pt x="18" y="367"/>
                    </a:lnTo>
                    <a:lnTo>
                      <a:pt x="18" y="366"/>
                    </a:lnTo>
                    <a:lnTo>
                      <a:pt x="18" y="365"/>
                    </a:lnTo>
                    <a:lnTo>
                      <a:pt x="17" y="365"/>
                    </a:lnTo>
                    <a:lnTo>
                      <a:pt x="17" y="364"/>
                    </a:lnTo>
                    <a:lnTo>
                      <a:pt x="17" y="363"/>
                    </a:lnTo>
                    <a:lnTo>
                      <a:pt x="16" y="363"/>
                    </a:lnTo>
                    <a:lnTo>
                      <a:pt x="16" y="362"/>
                    </a:lnTo>
                    <a:lnTo>
                      <a:pt x="16" y="361"/>
                    </a:lnTo>
                    <a:lnTo>
                      <a:pt x="16" y="360"/>
                    </a:lnTo>
                    <a:lnTo>
                      <a:pt x="16" y="359"/>
                    </a:lnTo>
                    <a:lnTo>
                      <a:pt x="16" y="358"/>
                    </a:lnTo>
                    <a:lnTo>
                      <a:pt x="16" y="357"/>
                    </a:lnTo>
                    <a:lnTo>
                      <a:pt x="16" y="356"/>
                    </a:lnTo>
                    <a:lnTo>
                      <a:pt x="16" y="355"/>
                    </a:lnTo>
                    <a:lnTo>
                      <a:pt x="16" y="354"/>
                    </a:lnTo>
                    <a:lnTo>
                      <a:pt x="16" y="353"/>
                    </a:lnTo>
                    <a:lnTo>
                      <a:pt x="17" y="352"/>
                    </a:lnTo>
                    <a:lnTo>
                      <a:pt x="18" y="352"/>
                    </a:lnTo>
                    <a:lnTo>
                      <a:pt x="18" y="351"/>
                    </a:lnTo>
                    <a:lnTo>
                      <a:pt x="19" y="351"/>
                    </a:lnTo>
                    <a:lnTo>
                      <a:pt x="20" y="351"/>
                    </a:lnTo>
                    <a:lnTo>
                      <a:pt x="21" y="351"/>
                    </a:lnTo>
                    <a:lnTo>
                      <a:pt x="22" y="351"/>
                    </a:lnTo>
                    <a:lnTo>
                      <a:pt x="23" y="351"/>
                    </a:lnTo>
                    <a:lnTo>
                      <a:pt x="24" y="351"/>
                    </a:lnTo>
                    <a:lnTo>
                      <a:pt x="25" y="352"/>
                    </a:lnTo>
                    <a:lnTo>
                      <a:pt x="26" y="352"/>
                    </a:lnTo>
                    <a:lnTo>
                      <a:pt x="27" y="352"/>
                    </a:lnTo>
                    <a:lnTo>
                      <a:pt x="27" y="353"/>
                    </a:lnTo>
                    <a:lnTo>
                      <a:pt x="28" y="353"/>
                    </a:lnTo>
                    <a:lnTo>
                      <a:pt x="29" y="353"/>
                    </a:lnTo>
                    <a:lnTo>
                      <a:pt x="30" y="354"/>
                    </a:lnTo>
                    <a:lnTo>
                      <a:pt x="31" y="354"/>
                    </a:lnTo>
                    <a:lnTo>
                      <a:pt x="32" y="354"/>
                    </a:lnTo>
                    <a:lnTo>
                      <a:pt x="32" y="355"/>
                    </a:lnTo>
                    <a:lnTo>
                      <a:pt x="33" y="355"/>
                    </a:lnTo>
                    <a:lnTo>
                      <a:pt x="34" y="355"/>
                    </a:lnTo>
                    <a:lnTo>
                      <a:pt x="35" y="355"/>
                    </a:lnTo>
                    <a:lnTo>
                      <a:pt x="36" y="356"/>
                    </a:lnTo>
                    <a:lnTo>
                      <a:pt x="37" y="356"/>
                    </a:lnTo>
                    <a:lnTo>
                      <a:pt x="38" y="357"/>
                    </a:lnTo>
                    <a:lnTo>
                      <a:pt x="39" y="358"/>
                    </a:lnTo>
                    <a:lnTo>
                      <a:pt x="42" y="370"/>
                    </a:lnTo>
                    <a:lnTo>
                      <a:pt x="56" y="386"/>
                    </a:lnTo>
                    <a:lnTo>
                      <a:pt x="55" y="386"/>
                    </a:lnTo>
                    <a:lnTo>
                      <a:pt x="55" y="385"/>
                    </a:lnTo>
                    <a:lnTo>
                      <a:pt x="55" y="384"/>
                    </a:lnTo>
                    <a:lnTo>
                      <a:pt x="55" y="383"/>
                    </a:lnTo>
                    <a:lnTo>
                      <a:pt x="55" y="382"/>
                    </a:lnTo>
                    <a:lnTo>
                      <a:pt x="55" y="381"/>
                    </a:lnTo>
                    <a:lnTo>
                      <a:pt x="56" y="381"/>
                    </a:lnTo>
                    <a:lnTo>
                      <a:pt x="56" y="380"/>
                    </a:lnTo>
                    <a:lnTo>
                      <a:pt x="56" y="379"/>
                    </a:lnTo>
                    <a:lnTo>
                      <a:pt x="56" y="378"/>
                    </a:lnTo>
                    <a:lnTo>
                      <a:pt x="56" y="377"/>
                    </a:lnTo>
                    <a:lnTo>
                      <a:pt x="56" y="376"/>
                    </a:lnTo>
                    <a:lnTo>
                      <a:pt x="57" y="376"/>
                    </a:lnTo>
                    <a:lnTo>
                      <a:pt x="57" y="375"/>
                    </a:lnTo>
                    <a:lnTo>
                      <a:pt x="58" y="374"/>
                    </a:lnTo>
                    <a:lnTo>
                      <a:pt x="58" y="373"/>
                    </a:lnTo>
                    <a:lnTo>
                      <a:pt x="59" y="373"/>
                    </a:lnTo>
                    <a:lnTo>
                      <a:pt x="59" y="372"/>
                    </a:lnTo>
                    <a:lnTo>
                      <a:pt x="59" y="371"/>
                    </a:lnTo>
                    <a:lnTo>
                      <a:pt x="60" y="370"/>
                    </a:lnTo>
                    <a:lnTo>
                      <a:pt x="61" y="370"/>
                    </a:lnTo>
                    <a:lnTo>
                      <a:pt x="62" y="370"/>
                    </a:lnTo>
                    <a:lnTo>
                      <a:pt x="62" y="369"/>
                    </a:lnTo>
                    <a:lnTo>
                      <a:pt x="63" y="369"/>
                    </a:lnTo>
                    <a:lnTo>
                      <a:pt x="64" y="369"/>
                    </a:lnTo>
                    <a:lnTo>
                      <a:pt x="64" y="368"/>
                    </a:lnTo>
                    <a:lnTo>
                      <a:pt x="65" y="368"/>
                    </a:lnTo>
                    <a:lnTo>
                      <a:pt x="66" y="367"/>
                    </a:lnTo>
                    <a:lnTo>
                      <a:pt x="67" y="367"/>
                    </a:lnTo>
                    <a:lnTo>
                      <a:pt x="68" y="367"/>
                    </a:lnTo>
                    <a:lnTo>
                      <a:pt x="69" y="367"/>
                    </a:lnTo>
                    <a:lnTo>
                      <a:pt x="70" y="367"/>
                    </a:lnTo>
                    <a:lnTo>
                      <a:pt x="71" y="367"/>
                    </a:lnTo>
                    <a:lnTo>
                      <a:pt x="72" y="367"/>
                    </a:lnTo>
                    <a:lnTo>
                      <a:pt x="72" y="366"/>
                    </a:lnTo>
                    <a:lnTo>
                      <a:pt x="73" y="366"/>
                    </a:lnTo>
                    <a:lnTo>
                      <a:pt x="74" y="366"/>
                    </a:lnTo>
                    <a:lnTo>
                      <a:pt x="74" y="367"/>
                    </a:lnTo>
                    <a:lnTo>
                      <a:pt x="75" y="367"/>
                    </a:lnTo>
                    <a:lnTo>
                      <a:pt x="260" y="370"/>
                    </a:lnTo>
                    <a:lnTo>
                      <a:pt x="262" y="338"/>
                    </a:lnTo>
                    <a:lnTo>
                      <a:pt x="252" y="335"/>
                    </a:lnTo>
                    <a:lnTo>
                      <a:pt x="229" y="148"/>
                    </a:lnTo>
                    <a:lnTo>
                      <a:pt x="220" y="56"/>
                    </a:lnTo>
                    <a:lnTo>
                      <a:pt x="212" y="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pic>
            <p:nvPicPr>
              <p:cNvPr id="224"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7" y="2907"/>
                <a:ext cx="73"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7" y="2907"/>
                <a:ext cx="73"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6" name="Freeform 12"/>
              <p:cNvSpPr>
                <a:spLocks/>
              </p:cNvSpPr>
              <p:nvPr/>
            </p:nvSpPr>
            <p:spPr bwMode="auto">
              <a:xfrm>
                <a:off x="2683" y="2913"/>
                <a:ext cx="55" cy="195"/>
              </a:xfrm>
              <a:custGeom>
                <a:avLst/>
                <a:gdLst>
                  <a:gd name="T0" fmla="*/ 0 w 52"/>
                  <a:gd name="T1" fmla="*/ 10 h 186"/>
                  <a:gd name="T2" fmla="*/ 5 w 52"/>
                  <a:gd name="T3" fmla="*/ 0 h 186"/>
                  <a:gd name="T4" fmla="*/ 877 w 52"/>
                  <a:gd name="T5" fmla="*/ 10 h 186"/>
                  <a:gd name="T6" fmla="*/ 1113 w 52"/>
                  <a:gd name="T7" fmla="*/ 570 h 186"/>
                  <a:gd name="T8" fmla="*/ 1300 w 52"/>
                  <a:gd name="T9" fmla="*/ 1004 h 186"/>
                  <a:gd name="T10" fmla="*/ 1300 w 52"/>
                  <a:gd name="T11" fmla="*/ 1334 h 186"/>
                  <a:gd name="T12" fmla="*/ 1558 w 52"/>
                  <a:gd name="T13" fmla="*/ 1473 h 186"/>
                  <a:gd name="T14" fmla="*/ 1743 w 52"/>
                  <a:gd name="T15" fmla="*/ 1708 h 186"/>
                  <a:gd name="T16" fmla="*/ 1375 w 52"/>
                  <a:gd name="T17" fmla="*/ 2245 h 186"/>
                  <a:gd name="T18" fmla="*/ 1300 w 52"/>
                  <a:gd name="T19" fmla="*/ 2596 h 186"/>
                  <a:gd name="T20" fmla="*/ 1375 w 52"/>
                  <a:gd name="T21" fmla="*/ 2980 h 186"/>
                  <a:gd name="T22" fmla="*/ 1454 w 52"/>
                  <a:gd name="T23" fmla="*/ 3275 h 186"/>
                  <a:gd name="T24" fmla="*/ 1473 w 52"/>
                  <a:gd name="T25" fmla="*/ 3435 h 186"/>
                  <a:gd name="T26" fmla="*/ 1473 w 52"/>
                  <a:gd name="T27" fmla="*/ 3615 h 186"/>
                  <a:gd name="T28" fmla="*/ 1743 w 52"/>
                  <a:gd name="T29" fmla="*/ 3646 h 186"/>
                  <a:gd name="T30" fmla="*/ 2107 w 52"/>
                  <a:gd name="T31" fmla="*/ 4113 h 186"/>
                  <a:gd name="T32" fmla="*/ 2036 w 52"/>
                  <a:gd name="T33" fmla="*/ 4196 h 186"/>
                  <a:gd name="T34" fmla="*/ 1820 w 52"/>
                  <a:gd name="T35" fmla="*/ 4007 h 186"/>
                  <a:gd name="T36" fmla="*/ 1558 w 52"/>
                  <a:gd name="T37" fmla="*/ 3923 h 186"/>
                  <a:gd name="T38" fmla="*/ 1375 w 52"/>
                  <a:gd name="T39" fmla="*/ 4007 h 186"/>
                  <a:gd name="T40" fmla="*/ 1177 w 52"/>
                  <a:gd name="T41" fmla="*/ 4007 h 186"/>
                  <a:gd name="T42" fmla="*/ 1099 w 52"/>
                  <a:gd name="T43" fmla="*/ 3956 h 186"/>
                  <a:gd name="T44" fmla="*/ 1099 w 52"/>
                  <a:gd name="T45" fmla="*/ 3790 h 186"/>
                  <a:gd name="T46" fmla="*/ 1099 w 52"/>
                  <a:gd name="T47" fmla="*/ 3641 h 186"/>
                  <a:gd name="T48" fmla="*/ 829 w 52"/>
                  <a:gd name="T49" fmla="*/ 3473 h 186"/>
                  <a:gd name="T50" fmla="*/ 663 w 52"/>
                  <a:gd name="T51" fmla="*/ 3276 h 186"/>
                  <a:gd name="T52" fmla="*/ 627 w 52"/>
                  <a:gd name="T53" fmla="*/ 3098 h 186"/>
                  <a:gd name="T54" fmla="*/ 4 w 52"/>
                  <a:gd name="T55" fmla="*/ 2362 h 186"/>
                  <a:gd name="T56" fmla="*/ 5 w 52"/>
                  <a:gd name="T57" fmla="*/ 2226 h 186"/>
                  <a:gd name="T58" fmla="*/ 474 w 52"/>
                  <a:gd name="T59" fmla="*/ 2025 h 186"/>
                  <a:gd name="T60" fmla="*/ 561 w 52"/>
                  <a:gd name="T61" fmla="*/ 1272 h 186"/>
                  <a:gd name="T62" fmla="*/ 561 w 52"/>
                  <a:gd name="T63" fmla="*/ 826 h 186"/>
                  <a:gd name="T64" fmla="*/ 474 w 52"/>
                  <a:gd name="T65" fmla="*/ 570 h 186"/>
                  <a:gd name="T66" fmla="*/ 5 w 52"/>
                  <a:gd name="T67" fmla="*/ 495 h 18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
                  <a:gd name="T103" fmla="*/ 0 h 186"/>
                  <a:gd name="T104" fmla="*/ 52 w 52"/>
                  <a:gd name="T105" fmla="*/ 186 h 18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 h="186">
                    <a:moveTo>
                      <a:pt x="0" y="14"/>
                    </a:moveTo>
                    <a:lnTo>
                      <a:pt x="0" y="10"/>
                    </a:lnTo>
                    <a:lnTo>
                      <a:pt x="1" y="4"/>
                    </a:lnTo>
                    <a:lnTo>
                      <a:pt x="5" y="0"/>
                    </a:lnTo>
                    <a:lnTo>
                      <a:pt x="14" y="1"/>
                    </a:lnTo>
                    <a:lnTo>
                      <a:pt x="22" y="10"/>
                    </a:lnTo>
                    <a:lnTo>
                      <a:pt x="24" y="14"/>
                    </a:lnTo>
                    <a:lnTo>
                      <a:pt x="27" y="26"/>
                    </a:lnTo>
                    <a:lnTo>
                      <a:pt x="29" y="39"/>
                    </a:lnTo>
                    <a:lnTo>
                      <a:pt x="32" y="45"/>
                    </a:lnTo>
                    <a:lnTo>
                      <a:pt x="31" y="58"/>
                    </a:lnTo>
                    <a:lnTo>
                      <a:pt x="32" y="59"/>
                    </a:lnTo>
                    <a:lnTo>
                      <a:pt x="36" y="64"/>
                    </a:lnTo>
                    <a:lnTo>
                      <a:pt x="39" y="66"/>
                    </a:lnTo>
                    <a:lnTo>
                      <a:pt x="43" y="73"/>
                    </a:lnTo>
                    <a:lnTo>
                      <a:pt x="43" y="76"/>
                    </a:lnTo>
                    <a:lnTo>
                      <a:pt x="40" y="88"/>
                    </a:lnTo>
                    <a:lnTo>
                      <a:pt x="34" y="99"/>
                    </a:lnTo>
                    <a:lnTo>
                      <a:pt x="32" y="110"/>
                    </a:lnTo>
                    <a:lnTo>
                      <a:pt x="32" y="115"/>
                    </a:lnTo>
                    <a:lnTo>
                      <a:pt x="34" y="120"/>
                    </a:lnTo>
                    <a:lnTo>
                      <a:pt x="34" y="131"/>
                    </a:lnTo>
                    <a:lnTo>
                      <a:pt x="36" y="137"/>
                    </a:lnTo>
                    <a:lnTo>
                      <a:pt x="36" y="144"/>
                    </a:lnTo>
                    <a:lnTo>
                      <a:pt x="37" y="151"/>
                    </a:lnTo>
                    <a:lnTo>
                      <a:pt x="37" y="152"/>
                    </a:lnTo>
                    <a:lnTo>
                      <a:pt x="37" y="157"/>
                    </a:lnTo>
                    <a:lnTo>
                      <a:pt x="37" y="160"/>
                    </a:lnTo>
                    <a:lnTo>
                      <a:pt x="39" y="161"/>
                    </a:lnTo>
                    <a:lnTo>
                      <a:pt x="43" y="162"/>
                    </a:lnTo>
                    <a:lnTo>
                      <a:pt x="44" y="164"/>
                    </a:lnTo>
                    <a:lnTo>
                      <a:pt x="52" y="180"/>
                    </a:lnTo>
                    <a:lnTo>
                      <a:pt x="52" y="185"/>
                    </a:lnTo>
                    <a:lnTo>
                      <a:pt x="50" y="186"/>
                    </a:lnTo>
                    <a:lnTo>
                      <a:pt x="49" y="185"/>
                    </a:lnTo>
                    <a:lnTo>
                      <a:pt x="44" y="178"/>
                    </a:lnTo>
                    <a:lnTo>
                      <a:pt x="41" y="178"/>
                    </a:lnTo>
                    <a:lnTo>
                      <a:pt x="39" y="172"/>
                    </a:lnTo>
                    <a:lnTo>
                      <a:pt x="37" y="172"/>
                    </a:lnTo>
                    <a:lnTo>
                      <a:pt x="34" y="178"/>
                    </a:lnTo>
                    <a:lnTo>
                      <a:pt x="32" y="178"/>
                    </a:lnTo>
                    <a:lnTo>
                      <a:pt x="29" y="178"/>
                    </a:lnTo>
                    <a:lnTo>
                      <a:pt x="27" y="178"/>
                    </a:lnTo>
                    <a:lnTo>
                      <a:pt x="26" y="174"/>
                    </a:lnTo>
                    <a:lnTo>
                      <a:pt x="26" y="171"/>
                    </a:lnTo>
                    <a:lnTo>
                      <a:pt x="26" y="168"/>
                    </a:lnTo>
                    <a:lnTo>
                      <a:pt x="26" y="163"/>
                    </a:lnTo>
                    <a:lnTo>
                      <a:pt x="26" y="161"/>
                    </a:lnTo>
                    <a:lnTo>
                      <a:pt x="26" y="158"/>
                    </a:lnTo>
                    <a:lnTo>
                      <a:pt x="21" y="154"/>
                    </a:lnTo>
                    <a:lnTo>
                      <a:pt x="19" y="152"/>
                    </a:lnTo>
                    <a:lnTo>
                      <a:pt x="17" y="145"/>
                    </a:lnTo>
                    <a:lnTo>
                      <a:pt x="17" y="136"/>
                    </a:lnTo>
                    <a:lnTo>
                      <a:pt x="16" y="136"/>
                    </a:lnTo>
                    <a:lnTo>
                      <a:pt x="12" y="120"/>
                    </a:lnTo>
                    <a:lnTo>
                      <a:pt x="4" y="105"/>
                    </a:lnTo>
                    <a:lnTo>
                      <a:pt x="4" y="101"/>
                    </a:lnTo>
                    <a:lnTo>
                      <a:pt x="5" y="98"/>
                    </a:lnTo>
                    <a:lnTo>
                      <a:pt x="8" y="93"/>
                    </a:lnTo>
                    <a:lnTo>
                      <a:pt x="11" y="89"/>
                    </a:lnTo>
                    <a:lnTo>
                      <a:pt x="15" y="81"/>
                    </a:lnTo>
                    <a:lnTo>
                      <a:pt x="14" y="56"/>
                    </a:lnTo>
                    <a:lnTo>
                      <a:pt x="11" y="40"/>
                    </a:lnTo>
                    <a:lnTo>
                      <a:pt x="14" y="36"/>
                    </a:lnTo>
                    <a:lnTo>
                      <a:pt x="14" y="32"/>
                    </a:lnTo>
                    <a:lnTo>
                      <a:pt x="11" y="26"/>
                    </a:lnTo>
                    <a:lnTo>
                      <a:pt x="7" y="25"/>
                    </a:lnTo>
                    <a:lnTo>
                      <a:pt x="5" y="23"/>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7" name="Freeform 13"/>
              <p:cNvSpPr>
                <a:spLocks/>
              </p:cNvSpPr>
              <p:nvPr/>
            </p:nvSpPr>
            <p:spPr bwMode="auto">
              <a:xfrm>
                <a:off x="2683" y="2913"/>
                <a:ext cx="55" cy="195"/>
              </a:xfrm>
              <a:custGeom>
                <a:avLst/>
                <a:gdLst>
                  <a:gd name="T0" fmla="*/ 0 w 52"/>
                  <a:gd name="T1" fmla="*/ 10 h 186"/>
                  <a:gd name="T2" fmla="*/ 5 w 52"/>
                  <a:gd name="T3" fmla="*/ 0 h 186"/>
                  <a:gd name="T4" fmla="*/ 877 w 52"/>
                  <a:gd name="T5" fmla="*/ 10 h 186"/>
                  <a:gd name="T6" fmla="*/ 1113 w 52"/>
                  <a:gd name="T7" fmla="*/ 570 h 186"/>
                  <a:gd name="T8" fmla="*/ 1300 w 52"/>
                  <a:gd name="T9" fmla="*/ 1004 h 186"/>
                  <a:gd name="T10" fmla="*/ 1300 w 52"/>
                  <a:gd name="T11" fmla="*/ 1334 h 186"/>
                  <a:gd name="T12" fmla="*/ 1558 w 52"/>
                  <a:gd name="T13" fmla="*/ 1473 h 186"/>
                  <a:gd name="T14" fmla="*/ 1743 w 52"/>
                  <a:gd name="T15" fmla="*/ 1708 h 186"/>
                  <a:gd name="T16" fmla="*/ 1375 w 52"/>
                  <a:gd name="T17" fmla="*/ 2245 h 186"/>
                  <a:gd name="T18" fmla="*/ 1300 w 52"/>
                  <a:gd name="T19" fmla="*/ 2596 h 186"/>
                  <a:gd name="T20" fmla="*/ 1375 w 52"/>
                  <a:gd name="T21" fmla="*/ 2980 h 186"/>
                  <a:gd name="T22" fmla="*/ 1454 w 52"/>
                  <a:gd name="T23" fmla="*/ 3275 h 186"/>
                  <a:gd name="T24" fmla="*/ 1473 w 52"/>
                  <a:gd name="T25" fmla="*/ 3435 h 186"/>
                  <a:gd name="T26" fmla="*/ 1473 w 52"/>
                  <a:gd name="T27" fmla="*/ 3615 h 186"/>
                  <a:gd name="T28" fmla="*/ 1743 w 52"/>
                  <a:gd name="T29" fmla="*/ 3646 h 186"/>
                  <a:gd name="T30" fmla="*/ 2107 w 52"/>
                  <a:gd name="T31" fmla="*/ 4113 h 186"/>
                  <a:gd name="T32" fmla="*/ 2036 w 52"/>
                  <a:gd name="T33" fmla="*/ 4196 h 186"/>
                  <a:gd name="T34" fmla="*/ 1820 w 52"/>
                  <a:gd name="T35" fmla="*/ 4007 h 186"/>
                  <a:gd name="T36" fmla="*/ 1558 w 52"/>
                  <a:gd name="T37" fmla="*/ 3923 h 186"/>
                  <a:gd name="T38" fmla="*/ 1375 w 52"/>
                  <a:gd name="T39" fmla="*/ 4007 h 186"/>
                  <a:gd name="T40" fmla="*/ 1177 w 52"/>
                  <a:gd name="T41" fmla="*/ 4007 h 186"/>
                  <a:gd name="T42" fmla="*/ 1099 w 52"/>
                  <a:gd name="T43" fmla="*/ 3956 h 186"/>
                  <a:gd name="T44" fmla="*/ 1099 w 52"/>
                  <a:gd name="T45" fmla="*/ 3790 h 186"/>
                  <a:gd name="T46" fmla="*/ 1099 w 52"/>
                  <a:gd name="T47" fmla="*/ 3641 h 186"/>
                  <a:gd name="T48" fmla="*/ 829 w 52"/>
                  <a:gd name="T49" fmla="*/ 3473 h 186"/>
                  <a:gd name="T50" fmla="*/ 663 w 52"/>
                  <a:gd name="T51" fmla="*/ 3276 h 186"/>
                  <a:gd name="T52" fmla="*/ 627 w 52"/>
                  <a:gd name="T53" fmla="*/ 3098 h 186"/>
                  <a:gd name="T54" fmla="*/ 4 w 52"/>
                  <a:gd name="T55" fmla="*/ 2362 h 186"/>
                  <a:gd name="T56" fmla="*/ 5 w 52"/>
                  <a:gd name="T57" fmla="*/ 2226 h 186"/>
                  <a:gd name="T58" fmla="*/ 474 w 52"/>
                  <a:gd name="T59" fmla="*/ 2025 h 186"/>
                  <a:gd name="T60" fmla="*/ 561 w 52"/>
                  <a:gd name="T61" fmla="*/ 1272 h 186"/>
                  <a:gd name="T62" fmla="*/ 561 w 52"/>
                  <a:gd name="T63" fmla="*/ 826 h 186"/>
                  <a:gd name="T64" fmla="*/ 474 w 52"/>
                  <a:gd name="T65" fmla="*/ 570 h 186"/>
                  <a:gd name="T66" fmla="*/ 5 w 52"/>
                  <a:gd name="T67" fmla="*/ 495 h 18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
                  <a:gd name="T103" fmla="*/ 0 h 186"/>
                  <a:gd name="T104" fmla="*/ 52 w 52"/>
                  <a:gd name="T105" fmla="*/ 186 h 18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 h="186">
                    <a:moveTo>
                      <a:pt x="0" y="14"/>
                    </a:moveTo>
                    <a:lnTo>
                      <a:pt x="0" y="10"/>
                    </a:lnTo>
                    <a:lnTo>
                      <a:pt x="1" y="4"/>
                    </a:lnTo>
                    <a:lnTo>
                      <a:pt x="5" y="0"/>
                    </a:lnTo>
                    <a:lnTo>
                      <a:pt x="14" y="1"/>
                    </a:lnTo>
                    <a:lnTo>
                      <a:pt x="22" y="10"/>
                    </a:lnTo>
                    <a:lnTo>
                      <a:pt x="24" y="14"/>
                    </a:lnTo>
                    <a:lnTo>
                      <a:pt x="27" y="26"/>
                    </a:lnTo>
                    <a:lnTo>
                      <a:pt x="29" y="39"/>
                    </a:lnTo>
                    <a:lnTo>
                      <a:pt x="32" y="45"/>
                    </a:lnTo>
                    <a:lnTo>
                      <a:pt x="31" y="58"/>
                    </a:lnTo>
                    <a:lnTo>
                      <a:pt x="32" y="59"/>
                    </a:lnTo>
                    <a:lnTo>
                      <a:pt x="36" y="64"/>
                    </a:lnTo>
                    <a:lnTo>
                      <a:pt x="39" y="66"/>
                    </a:lnTo>
                    <a:lnTo>
                      <a:pt x="43" y="73"/>
                    </a:lnTo>
                    <a:lnTo>
                      <a:pt x="43" y="76"/>
                    </a:lnTo>
                    <a:lnTo>
                      <a:pt x="40" y="88"/>
                    </a:lnTo>
                    <a:lnTo>
                      <a:pt x="34" y="99"/>
                    </a:lnTo>
                    <a:lnTo>
                      <a:pt x="32" y="110"/>
                    </a:lnTo>
                    <a:lnTo>
                      <a:pt x="32" y="115"/>
                    </a:lnTo>
                    <a:lnTo>
                      <a:pt x="34" y="120"/>
                    </a:lnTo>
                    <a:lnTo>
                      <a:pt x="34" y="131"/>
                    </a:lnTo>
                    <a:lnTo>
                      <a:pt x="36" y="137"/>
                    </a:lnTo>
                    <a:lnTo>
                      <a:pt x="36" y="144"/>
                    </a:lnTo>
                    <a:lnTo>
                      <a:pt x="37" y="151"/>
                    </a:lnTo>
                    <a:lnTo>
                      <a:pt x="37" y="152"/>
                    </a:lnTo>
                    <a:lnTo>
                      <a:pt x="37" y="157"/>
                    </a:lnTo>
                    <a:lnTo>
                      <a:pt x="37" y="160"/>
                    </a:lnTo>
                    <a:lnTo>
                      <a:pt x="39" y="161"/>
                    </a:lnTo>
                    <a:lnTo>
                      <a:pt x="43" y="162"/>
                    </a:lnTo>
                    <a:lnTo>
                      <a:pt x="44" y="164"/>
                    </a:lnTo>
                    <a:lnTo>
                      <a:pt x="52" y="180"/>
                    </a:lnTo>
                    <a:lnTo>
                      <a:pt x="52" y="185"/>
                    </a:lnTo>
                    <a:lnTo>
                      <a:pt x="50" y="186"/>
                    </a:lnTo>
                    <a:lnTo>
                      <a:pt x="49" y="185"/>
                    </a:lnTo>
                    <a:lnTo>
                      <a:pt x="44" y="178"/>
                    </a:lnTo>
                    <a:lnTo>
                      <a:pt x="41" y="178"/>
                    </a:lnTo>
                    <a:lnTo>
                      <a:pt x="39" y="172"/>
                    </a:lnTo>
                    <a:lnTo>
                      <a:pt x="37" y="172"/>
                    </a:lnTo>
                    <a:lnTo>
                      <a:pt x="34" y="178"/>
                    </a:lnTo>
                    <a:lnTo>
                      <a:pt x="32" y="178"/>
                    </a:lnTo>
                    <a:lnTo>
                      <a:pt x="29" y="178"/>
                    </a:lnTo>
                    <a:lnTo>
                      <a:pt x="27" y="178"/>
                    </a:lnTo>
                    <a:lnTo>
                      <a:pt x="26" y="174"/>
                    </a:lnTo>
                    <a:lnTo>
                      <a:pt x="26" y="171"/>
                    </a:lnTo>
                    <a:lnTo>
                      <a:pt x="26" y="168"/>
                    </a:lnTo>
                    <a:lnTo>
                      <a:pt x="26" y="163"/>
                    </a:lnTo>
                    <a:lnTo>
                      <a:pt x="26" y="161"/>
                    </a:lnTo>
                    <a:lnTo>
                      <a:pt x="26" y="158"/>
                    </a:lnTo>
                    <a:lnTo>
                      <a:pt x="21" y="154"/>
                    </a:lnTo>
                    <a:lnTo>
                      <a:pt x="19" y="152"/>
                    </a:lnTo>
                    <a:lnTo>
                      <a:pt x="17" y="145"/>
                    </a:lnTo>
                    <a:lnTo>
                      <a:pt x="17" y="136"/>
                    </a:lnTo>
                    <a:lnTo>
                      <a:pt x="16" y="136"/>
                    </a:lnTo>
                    <a:lnTo>
                      <a:pt x="12" y="120"/>
                    </a:lnTo>
                    <a:lnTo>
                      <a:pt x="4" y="105"/>
                    </a:lnTo>
                    <a:lnTo>
                      <a:pt x="4" y="101"/>
                    </a:lnTo>
                    <a:lnTo>
                      <a:pt x="5" y="98"/>
                    </a:lnTo>
                    <a:lnTo>
                      <a:pt x="8" y="93"/>
                    </a:lnTo>
                    <a:lnTo>
                      <a:pt x="11" y="89"/>
                    </a:lnTo>
                    <a:lnTo>
                      <a:pt x="15" y="81"/>
                    </a:lnTo>
                    <a:lnTo>
                      <a:pt x="14" y="56"/>
                    </a:lnTo>
                    <a:lnTo>
                      <a:pt x="11" y="40"/>
                    </a:lnTo>
                    <a:lnTo>
                      <a:pt x="14" y="36"/>
                    </a:lnTo>
                    <a:lnTo>
                      <a:pt x="14" y="32"/>
                    </a:lnTo>
                    <a:lnTo>
                      <a:pt x="11" y="26"/>
                    </a:lnTo>
                    <a:lnTo>
                      <a:pt x="7" y="25"/>
                    </a:lnTo>
                    <a:lnTo>
                      <a:pt x="5" y="23"/>
                    </a:lnTo>
                    <a:lnTo>
                      <a:pt x="0" y="14"/>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pic>
            <p:nvPicPr>
              <p:cNvPr id="228" name="Picture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89" y="2504"/>
                <a:ext cx="150" cy="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9"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89" y="2504"/>
                <a:ext cx="150" cy="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0" name="Freeform 16"/>
              <p:cNvSpPr>
                <a:spLocks/>
              </p:cNvSpPr>
              <p:nvPr/>
            </p:nvSpPr>
            <p:spPr bwMode="auto">
              <a:xfrm>
                <a:off x="2595" y="2509"/>
                <a:ext cx="126" cy="132"/>
              </a:xfrm>
              <a:custGeom>
                <a:avLst/>
                <a:gdLst>
                  <a:gd name="T0" fmla="*/ 6563 w 118"/>
                  <a:gd name="T1" fmla="*/ 5 h 125"/>
                  <a:gd name="T2" fmla="*/ 6631 w 118"/>
                  <a:gd name="T3" fmla="*/ 525 h 125"/>
                  <a:gd name="T4" fmla="*/ 7081 w 118"/>
                  <a:gd name="T5" fmla="*/ 1012 h 125"/>
                  <a:gd name="T6" fmla="*/ 7787 w 118"/>
                  <a:gd name="T7" fmla="*/ 859 h 125"/>
                  <a:gd name="T8" fmla="*/ 9071 w 118"/>
                  <a:gd name="T9" fmla="*/ 770 h 125"/>
                  <a:gd name="T10" fmla="*/ 8203 w 118"/>
                  <a:gd name="T11" fmla="*/ 1102 h 125"/>
                  <a:gd name="T12" fmla="*/ 7134 w 118"/>
                  <a:gd name="T13" fmla="*/ 1229 h 125"/>
                  <a:gd name="T14" fmla="*/ 7483 w 118"/>
                  <a:gd name="T15" fmla="*/ 1811 h 125"/>
                  <a:gd name="T16" fmla="*/ 6631 w 118"/>
                  <a:gd name="T17" fmla="*/ 2119 h 125"/>
                  <a:gd name="T18" fmla="*/ 6631 w 118"/>
                  <a:gd name="T19" fmla="*/ 2377 h 125"/>
                  <a:gd name="T20" fmla="*/ 6257 w 118"/>
                  <a:gd name="T21" fmla="*/ 2534 h 125"/>
                  <a:gd name="T22" fmla="*/ 5860 w 118"/>
                  <a:gd name="T23" fmla="*/ 2651 h 125"/>
                  <a:gd name="T24" fmla="*/ 5488 w 118"/>
                  <a:gd name="T25" fmla="*/ 2984 h 125"/>
                  <a:gd name="T26" fmla="*/ 5049 w 118"/>
                  <a:gd name="T27" fmla="*/ 3104 h 125"/>
                  <a:gd name="T28" fmla="*/ 4728 w 118"/>
                  <a:gd name="T29" fmla="*/ 3297 h 125"/>
                  <a:gd name="T30" fmla="*/ 5049 w 118"/>
                  <a:gd name="T31" fmla="*/ 3477 h 125"/>
                  <a:gd name="T32" fmla="*/ 5860 w 118"/>
                  <a:gd name="T33" fmla="*/ 3547 h 125"/>
                  <a:gd name="T34" fmla="*/ 5391 w 118"/>
                  <a:gd name="T35" fmla="*/ 3878 h 125"/>
                  <a:gd name="T36" fmla="*/ 4608 w 118"/>
                  <a:gd name="T37" fmla="*/ 3918 h 125"/>
                  <a:gd name="T38" fmla="*/ 3784 w 118"/>
                  <a:gd name="T39" fmla="*/ 3956 h 125"/>
                  <a:gd name="T40" fmla="*/ 3703 w 118"/>
                  <a:gd name="T41" fmla="*/ 4369 h 125"/>
                  <a:gd name="T42" fmla="*/ 3190 w 118"/>
                  <a:gd name="T43" fmla="*/ 4077 h 125"/>
                  <a:gd name="T44" fmla="*/ 2668 w 118"/>
                  <a:gd name="T45" fmla="*/ 4100 h 125"/>
                  <a:gd name="T46" fmla="*/ 1800 w 118"/>
                  <a:gd name="T47" fmla="*/ 3746 h 125"/>
                  <a:gd name="T48" fmla="*/ 1215 w 118"/>
                  <a:gd name="T49" fmla="*/ 3801 h 125"/>
                  <a:gd name="T50" fmla="*/ 935 w 118"/>
                  <a:gd name="T51" fmla="*/ 4077 h 125"/>
                  <a:gd name="T52" fmla="*/ 5 w 118"/>
                  <a:gd name="T53" fmla="*/ 4330 h 125"/>
                  <a:gd name="T54" fmla="*/ 3 w 118"/>
                  <a:gd name="T55" fmla="*/ 3918 h 125"/>
                  <a:gd name="T56" fmla="*/ 1 w 118"/>
                  <a:gd name="T57" fmla="*/ 2799 h 125"/>
                  <a:gd name="T58" fmla="*/ 4 w 118"/>
                  <a:gd name="T59" fmla="*/ 2007 h 125"/>
                  <a:gd name="T60" fmla="*/ 0 w 118"/>
                  <a:gd name="T61" fmla="*/ 1705 h 125"/>
                  <a:gd name="T62" fmla="*/ 7 w 118"/>
                  <a:gd name="T63" fmla="*/ 770 h 125"/>
                  <a:gd name="T64" fmla="*/ 1066 w 118"/>
                  <a:gd name="T65" fmla="*/ 585 h 125"/>
                  <a:gd name="T66" fmla="*/ 1922 w 118"/>
                  <a:gd name="T67" fmla="*/ 400 h 125"/>
                  <a:gd name="T68" fmla="*/ 2499 w 118"/>
                  <a:gd name="T69" fmla="*/ 400 h 125"/>
                  <a:gd name="T70" fmla="*/ 2849 w 118"/>
                  <a:gd name="T71" fmla="*/ 7 h 125"/>
                  <a:gd name="T72" fmla="*/ 3884 w 118"/>
                  <a:gd name="T73" fmla="*/ 422 h 125"/>
                  <a:gd name="T74" fmla="*/ 4805 w 118"/>
                  <a:gd name="T75" fmla="*/ 4 h 125"/>
                  <a:gd name="T76" fmla="*/ 5860 w 118"/>
                  <a:gd name="T77" fmla="*/ 4 h 12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8"/>
                  <a:gd name="T118" fmla="*/ 0 h 125"/>
                  <a:gd name="T119" fmla="*/ 118 w 118"/>
                  <a:gd name="T120" fmla="*/ 125 h 12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8" h="125">
                    <a:moveTo>
                      <a:pt x="78" y="4"/>
                    </a:moveTo>
                    <a:lnTo>
                      <a:pt x="85" y="5"/>
                    </a:lnTo>
                    <a:lnTo>
                      <a:pt x="87" y="4"/>
                    </a:lnTo>
                    <a:lnTo>
                      <a:pt x="87" y="15"/>
                    </a:lnTo>
                    <a:lnTo>
                      <a:pt x="91" y="21"/>
                    </a:lnTo>
                    <a:lnTo>
                      <a:pt x="93" y="27"/>
                    </a:lnTo>
                    <a:lnTo>
                      <a:pt x="98" y="25"/>
                    </a:lnTo>
                    <a:lnTo>
                      <a:pt x="103" y="24"/>
                    </a:lnTo>
                    <a:lnTo>
                      <a:pt x="110" y="22"/>
                    </a:lnTo>
                    <a:lnTo>
                      <a:pt x="118" y="22"/>
                    </a:lnTo>
                    <a:lnTo>
                      <a:pt x="118" y="25"/>
                    </a:lnTo>
                    <a:lnTo>
                      <a:pt x="109" y="30"/>
                    </a:lnTo>
                    <a:lnTo>
                      <a:pt x="103" y="34"/>
                    </a:lnTo>
                    <a:lnTo>
                      <a:pt x="95" y="34"/>
                    </a:lnTo>
                    <a:lnTo>
                      <a:pt x="90" y="44"/>
                    </a:lnTo>
                    <a:lnTo>
                      <a:pt x="97" y="50"/>
                    </a:lnTo>
                    <a:lnTo>
                      <a:pt x="88" y="53"/>
                    </a:lnTo>
                    <a:lnTo>
                      <a:pt x="87" y="58"/>
                    </a:lnTo>
                    <a:lnTo>
                      <a:pt x="88" y="62"/>
                    </a:lnTo>
                    <a:lnTo>
                      <a:pt x="87" y="65"/>
                    </a:lnTo>
                    <a:lnTo>
                      <a:pt x="84" y="63"/>
                    </a:lnTo>
                    <a:lnTo>
                      <a:pt x="83" y="70"/>
                    </a:lnTo>
                    <a:lnTo>
                      <a:pt x="78" y="70"/>
                    </a:lnTo>
                    <a:lnTo>
                      <a:pt x="78" y="73"/>
                    </a:lnTo>
                    <a:lnTo>
                      <a:pt x="75" y="78"/>
                    </a:lnTo>
                    <a:lnTo>
                      <a:pt x="73" y="82"/>
                    </a:lnTo>
                    <a:lnTo>
                      <a:pt x="70" y="82"/>
                    </a:lnTo>
                    <a:lnTo>
                      <a:pt x="66" y="84"/>
                    </a:lnTo>
                    <a:lnTo>
                      <a:pt x="70" y="86"/>
                    </a:lnTo>
                    <a:lnTo>
                      <a:pt x="62" y="91"/>
                    </a:lnTo>
                    <a:lnTo>
                      <a:pt x="61" y="93"/>
                    </a:lnTo>
                    <a:lnTo>
                      <a:pt x="66" y="95"/>
                    </a:lnTo>
                    <a:lnTo>
                      <a:pt x="76" y="95"/>
                    </a:lnTo>
                    <a:lnTo>
                      <a:pt x="78" y="98"/>
                    </a:lnTo>
                    <a:lnTo>
                      <a:pt x="78" y="99"/>
                    </a:lnTo>
                    <a:lnTo>
                      <a:pt x="70" y="106"/>
                    </a:lnTo>
                    <a:lnTo>
                      <a:pt x="65" y="108"/>
                    </a:lnTo>
                    <a:lnTo>
                      <a:pt x="61" y="108"/>
                    </a:lnTo>
                    <a:lnTo>
                      <a:pt x="53" y="108"/>
                    </a:lnTo>
                    <a:lnTo>
                      <a:pt x="50" y="109"/>
                    </a:lnTo>
                    <a:lnTo>
                      <a:pt x="49" y="116"/>
                    </a:lnTo>
                    <a:lnTo>
                      <a:pt x="49" y="120"/>
                    </a:lnTo>
                    <a:lnTo>
                      <a:pt x="44" y="125"/>
                    </a:lnTo>
                    <a:lnTo>
                      <a:pt x="42" y="111"/>
                    </a:lnTo>
                    <a:lnTo>
                      <a:pt x="39" y="110"/>
                    </a:lnTo>
                    <a:lnTo>
                      <a:pt x="35" y="113"/>
                    </a:lnTo>
                    <a:lnTo>
                      <a:pt x="30" y="110"/>
                    </a:lnTo>
                    <a:lnTo>
                      <a:pt x="23" y="103"/>
                    </a:lnTo>
                    <a:lnTo>
                      <a:pt x="20" y="99"/>
                    </a:lnTo>
                    <a:lnTo>
                      <a:pt x="17" y="104"/>
                    </a:lnTo>
                    <a:lnTo>
                      <a:pt x="18" y="111"/>
                    </a:lnTo>
                    <a:lnTo>
                      <a:pt x="13" y="111"/>
                    </a:lnTo>
                    <a:lnTo>
                      <a:pt x="11" y="116"/>
                    </a:lnTo>
                    <a:lnTo>
                      <a:pt x="5" y="119"/>
                    </a:lnTo>
                    <a:lnTo>
                      <a:pt x="1" y="113"/>
                    </a:lnTo>
                    <a:lnTo>
                      <a:pt x="3" y="108"/>
                    </a:lnTo>
                    <a:lnTo>
                      <a:pt x="0" y="92"/>
                    </a:lnTo>
                    <a:lnTo>
                      <a:pt x="1" y="77"/>
                    </a:lnTo>
                    <a:lnTo>
                      <a:pt x="3" y="68"/>
                    </a:lnTo>
                    <a:lnTo>
                      <a:pt x="4" y="55"/>
                    </a:lnTo>
                    <a:lnTo>
                      <a:pt x="3" y="50"/>
                    </a:lnTo>
                    <a:lnTo>
                      <a:pt x="0" y="46"/>
                    </a:lnTo>
                    <a:lnTo>
                      <a:pt x="8" y="27"/>
                    </a:lnTo>
                    <a:lnTo>
                      <a:pt x="7" y="22"/>
                    </a:lnTo>
                    <a:lnTo>
                      <a:pt x="7" y="19"/>
                    </a:lnTo>
                    <a:lnTo>
                      <a:pt x="15" y="17"/>
                    </a:lnTo>
                    <a:lnTo>
                      <a:pt x="22" y="15"/>
                    </a:lnTo>
                    <a:lnTo>
                      <a:pt x="25" y="10"/>
                    </a:lnTo>
                    <a:lnTo>
                      <a:pt x="29" y="11"/>
                    </a:lnTo>
                    <a:lnTo>
                      <a:pt x="33" y="10"/>
                    </a:lnTo>
                    <a:lnTo>
                      <a:pt x="34" y="5"/>
                    </a:lnTo>
                    <a:lnTo>
                      <a:pt x="37" y="7"/>
                    </a:lnTo>
                    <a:lnTo>
                      <a:pt x="45" y="9"/>
                    </a:lnTo>
                    <a:lnTo>
                      <a:pt x="51" y="11"/>
                    </a:lnTo>
                    <a:lnTo>
                      <a:pt x="59" y="0"/>
                    </a:lnTo>
                    <a:lnTo>
                      <a:pt x="63" y="4"/>
                    </a:lnTo>
                    <a:lnTo>
                      <a:pt x="73" y="7"/>
                    </a:lnTo>
                    <a:lnTo>
                      <a:pt x="78"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1" name="Freeform 17"/>
              <p:cNvSpPr>
                <a:spLocks/>
              </p:cNvSpPr>
              <p:nvPr/>
            </p:nvSpPr>
            <p:spPr bwMode="auto">
              <a:xfrm>
                <a:off x="2595" y="2509"/>
                <a:ext cx="126" cy="132"/>
              </a:xfrm>
              <a:custGeom>
                <a:avLst/>
                <a:gdLst>
                  <a:gd name="T0" fmla="*/ 6563 w 118"/>
                  <a:gd name="T1" fmla="*/ 5 h 125"/>
                  <a:gd name="T2" fmla="*/ 6631 w 118"/>
                  <a:gd name="T3" fmla="*/ 525 h 125"/>
                  <a:gd name="T4" fmla="*/ 7081 w 118"/>
                  <a:gd name="T5" fmla="*/ 1012 h 125"/>
                  <a:gd name="T6" fmla="*/ 7787 w 118"/>
                  <a:gd name="T7" fmla="*/ 859 h 125"/>
                  <a:gd name="T8" fmla="*/ 9071 w 118"/>
                  <a:gd name="T9" fmla="*/ 770 h 125"/>
                  <a:gd name="T10" fmla="*/ 8203 w 118"/>
                  <a:gd name="T11" fmla="*/ 1102 h 125"/>
                  <a:gd name="T12" fmla="*/ 7134 w 118"/>
                  <a:gd name="T13" fmla="*/ 1229 h 125"/>
                  <a:gd name="T14" fmla="*/ 7483 w 118"/>
                  <a:gd name="T15" fmla="*/ 1811 h 125"/>
                  <a:gd name="T16" fmla="*/ 6631 w 118"/>
                  <a:gd name="T17" fmla="*/ 2119 h 125"/>
                  <a:gd name="T18" fmla="*/ 6631 w 118"/>
                  <a:gd name="T19" fmla="*/ 2377 h 125"/>
                  <a:gd name="T20" fmla="*/ 6257 w 118"/>
                  <a:gd name="T21" fmla="*/ 2534 h 125"/>
                  <a:gd name="T22" fmla="*/ 5860 w 118"/>
                  <a:gd name="T23" fmla="*/ 2651 h 125"/>
                  <a:gd name="T24" fmla="*/ 5488 w 118"/>
                  <a:gd name="T25" fmla="*/ 2984 h 125"/>
                  <a:gd name="T26" fmla="*/ 5049 w 118"/>
                  <a:gd name="T27" fmla="*/ 3104 h 125"/>
                  <a:gd name="T28" fmla="*/ 4728 w 118"/>
                  <a:gd name="T29" fmla="*/ 3297 h 125"/>
                  <a:gd name="T30" fmla="*/ 5049 w 118"/>
                  <a:gd name="T31" fmla="*/ 3477 h 125"/>
                  <a:gd name="T32" fmla="*/ 5860 w 118"/>
                  <a:gd name="T33" fmla="*/ 3547 h 125"/>
                  <a:gd name="T34" fmla="*/ 5391 w 118"/>
                  <a:gd name="T35" fmla="*/ 3878 h 125"/>
                  <a:gd name="T36" fmla="*/ 4608 w 118"/>
                  <a:gd name="T37" fmla="*/ 3918 h 125"/>
                  <a:gd name="T38" fmla="*/ 3784 w 118"/>
                  <a:gd name="T39" fmla="*/ 3956 h 125"/>
                  <a:gd name="T40" fmla="*/ 3703 w 118"/>
                  <a:gd name="T41" fmla="*/ 4369 h 125"/>
                  <a:gd name="T42" fmla="*/ 3190 w 118"/>
                  <a:gd name="T43" fmla="*/ 4077 h 125"/>
                  <a:gd name="T44" fmla="*/ 2668 w 118"/>
                  <a:gd name="T45" fmla="*/ 4100 h 125"/>
                  <a:gd name="T46" fmla="*/ 1800 w 118"/>
                  <a:gd name="T47" fmla="*/ 3746 h 125"/>
                  <a:gd name="T48" fmla="*/ 1215 w 118"/>
                  <a:gd name="T49" fmla="*/ 3801 h 125"/>
                  <a:gd name="T50" fmla="*/ 935 w 118"/>
                  <a:gd name="T51" fmla="*/ 4077 h 125"/>
                  <a:gd name="T52" fmla="*/ 5 w 118"/>
                  <a:gd name="T53" fmla="*/ 4330 h 125"/>
                  <a:gd name="T54" fmla="*/ 3 w 118"/>
                  <a:gd name="T55" fmla="*/ 3918 h 125"/>
                  <a:gd name="T56" fmla="*/ 1 w 118"/>
                  <a:gd name="T57" fmla="*/ 2799 h 125"/>
                  <a:gd name="T58" fmla="*/ 4 w 118"/>
                  <a:gd name="T59" fmla="*/ 2007 h 125"/>
                  <a:gd name="T60" fmla="*/ 0 w 118"/>
                  <a:gd name="T61" fmla="*/ 1705 h 125"/>
                  <a:gd name="T62" fmla="*/ 7 w 118"/>
                  <a:gd name="T63" fmla="*/ 770 h 125"/>
                  <a:gd name="T64" fmla="*/ 1066 w 118"/>
                  <a:gd name="T65" fmla="*/ 585 h 125"/>
                  <a:gd name="T66" fmla="*/ 1922 w 118"/>
                  <a:gd name="T67" fmla="*/ 400 h 125"/>
                  <a:gd name="T68" fmla="*/ 2499 w 118"/>
                  <a:gd name="T69" fmla="*/ 400 h 125"/>
                  <a:gd name="T70" fmla="*/ 2849 w 118"/>
                  <a:gd name="T71" fmla="*/ 7 h 125"/>
                  <a:gd name="T72" fmla="*/ 3884 w 118"/>
                  <a:gd name="T73" fmla="*/ 422 h 125"/>
                  <a:gd name="T74" fmla="*/ 4805 w 118"/>
                  <a:gd name="T75" fmla="*/ 4 h 125"/>
                  <a:gd name="T76" fmla="*/ 5860 w 118"/>
                  <a:gd name="T77" fmla="*/ 4 h 12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8"/>
                  <a:gd name="T118" fmla="*/ 0 h 125"/>
                  <a:gd name="T119" fmla="*/ 118 w 118"/>
                  <a:gd name="T120" fmla="*/ 125 h 12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8" h="125">
                    <a:moveTo>
                      <a:pt x="78" y="4"/>
                    </a:moveTo>
                    <a:lnTo>
                      <a:pt x="85" y="5"/>
                    </a:lnTo>
                    <a:lnTo>
                      <a:pt x="87" y="4"/>
                    </a:lnTo>
                    <a:lnTo>
                      <a:pt x="87" y="15"/>
                    </a:lnTo>
                    <a:lnTo>
                      <a:pt x="91" y="21"/>
                    </a:lnTo>
                    <a:lnTo>
                      <a:pt x="93" y="27"/>
                    </a:lnTo>
                    <a:lnTo>
                      <a:pt x="98" y="25"/>
                    </a:lnTo>
                    <a:lnTo>
                      <a:pt x="103" y="24"/>
                    </a:lnTo>
                    <a:lnTo>
                      <a:pt x="110" y="22"/>
                    </a:lnTo>
                    <a:lnTo>
                      <a:pt x="118" y="22"/>
                    </a:lnTo>
                    <a:lnTo>
                      <a:pt x="118" y="25"/>
                    </a:lnTo>
                    <a:lnTo>
                      <a:pt x="109" y="30"/>
                    </a:lnTo>
                    <a:lnTo>
                      <a:pt x="103" y="34"/>
                    </a:lnTo>
                    <a:lnTo>
                      <a:pt x="95" y="34"/>
                    </a:lnTo>
                    <a:lnTo>
                      <a:pt x="90" y="44"/>
                    </a:lnTo>
                    <a:lnTo>
                      <a:pt x="97" y="50"/>
                    </a:lnTo>
                    <a:lnTo>
                      <a:pt x="88" y="53"/>
                    </a:lnTo>
                    <a:lnTo>
                      <a:pt x="87" y="58"/>
                    </a:lnTo>
                    <a:lnTo>
                      <a:pt x="88" y="62"/>
                    </a:lnTo>
                    <a:lnTo>
                      <a:pt x="87" y="65"/>
                    </a:lnTo>
                    <a:lnTo>
                      <a:pt x="84" y="63"/>
                    </a:lnTo>
                    <a:lnTo>
                      <a:pt x="83" y="70"/>
                    </a:lnTo>
                    <a:lnTo>
                      <a:pt x="78" y="70"/>
                    </a:lnTo>
                    <a:lnTo>
                      <a:pt x="78" y="73"/>
                    </a:lnTo>
                    <a:lnTo>
                      <a:pt x="75" y="78"/>
                    </a:lnTo>
                    <a:lnTo>
                      <a:pt x="73" y="82"/>
                    </a:lnTo>
                    <a:lnTo>
                      <a:pt x="70" y="82"/>
                    </a:lnTo>
                    <a:lnTo>
                      <a:pt x="66" y="84"/>
                    </a:lnTo>
                    <a:lnTo>
                      <a:pt x="70" y="86"/>
                    </a:lnTo>
                    <a:lnTo>
                      <a:pt x="62" y="91"/>
                    </a:lnTo>
                    <a:lnTo>
                      <a:pt x="61" y="93"/>
                    </a:lnTo>
                    <a:lnTo>
                      <a:pt x="66" y="95"/>
                    </a:lnTo>
                    <a:lnTo>
                      <a:pt x="76" y="95"/>
                    </a:lnTo>
                    <a:lnTo>
                      <a:pt x="78" y="98"/>
                    </a:lnTo>
                    <a:lnTo>
                      <a:pt x="78" y="99"/>
                    </a:lnTo>
                    <a:lnTo>
                      <a:pt x="70" y="106"/>
                    </a:lnTo>
                    <a:lnTo>
                      <a:pt x="65" y="108"/>
                    </a:lnTo>
                    <a:lnTo>
                      <a:pt x="61" y="108"/>
                    </a:lnTo>
                    <a:lnTo>
                      <a:pt x="53" y="108"/>
                    </a:lnTo>
                    <a:lnTo>
                      <a:pt x="50" y="109"/>
                    </a:lnTo>
                    <a:lnTo>
                      <a:pt x="49" y="116"/>
                    </a:lnTo>
                    <a:lnTo>
                      <a:pt x="49" y="120"/>
                    </a:lnTo>
                    <a:lnTo>
                      <a:pt x="44" y="125"/>
                    </a:lnTo>
                    <a:lnTo>
                      <a:pt x="42" y="111"/>
                    </a:lnTo>
                    <a:lnTo>
                      <a:pt x="39" y="110"/>
                    </a:lnTo>
                    <a:lnTo>
                      <a:pt x="35" y="113"/>
                    </a:lnTo>
                    <a:lnTo>
                      <a:pt x="30" y="110"/>
                    </a:lnTo>
                    <a:lnTo>
                      <a:pt x="23" y="103"/>
                    </a:lnTo>
                    <a:lnTo>
                      <a:pt x="20" y="99"/>
                    </a:lnTo>
                    <a:lnTo>
                      <a:pt x="17" y="104"/>
                    </a:lnTo>
                    <a:lnTo>
                      <a:pt x="18" y="111"/>
                    </a:lnTo>
                    <a:lnTo>
                      <a:pt x="13" y="111"/>
                    </a:lnTo>
                    <a:lnTo>
                      <a:pt x="11" y="116"/>
                    </a:lnTo>
                    <a:lnTo>
                      <a:pt x="5" y="119"/>
                    </a:lnTo>
                    <a:lnTo>
                      <a:pt x="1" y="113"/>
                    </a:lnTo>
                    <a:lnTo>
                      <a:pt x="3" y="108"/>
                    </a:lnTo>
                    <a:lnTo>
                      <a:pt x="0" y="92"/>
                    </a:lnTo>
                    <a:lnTo>
                      <a:pt x="1" y="77"/>
                    </a:lnTo>
                    <a:lnTo>
                      <a:pt x="3" y="68"/>
                    </a:lnTo>
                    <a:lnTo>
                      <a:pt x="4" y="55"/>
                    </a:lnTo>
                    <a:lnTo>
                      <a:pt x="3" y="50"/>
                    </a:lnTo>
                    <a:lnTo>
                      <a:pt x="0" y="46"/>
                    </a:lnTo>
                    <a:lnTo>
                      <a:pt x="8" y="27"/>
                    </a:lnTo>
                    <a:lnTo>
                      <a:pt x="7" y="22"/>
                    </a:lnTo>
                    <a:lnTo>
                      <a:pt x="7" y="19"/>
                    </a:lnTo>
                    <a:lnTo>
                      <a:pt x="15" y="17"/>
                    </a:lnTo>
                    <a:lnTo>
                      <a:pt x="22" y="15"/>
                    </a:lnTo>
                    <a:lnTo>
                      <a:pt x="25" y="10"/>
                    </a:lnTo>
                    <a:lnTo>
                      <a:pt x="29" y="11"/>
                    </a:lnTo>
                    <a:lnTo>
                      <a:pt x="33" y="10"/>
                    </a:lnTo>
                    <a:lnTo>
                      <a:pt x="34" y="5"/>
                    </a:lnTo>
                    <a:lnTo>
                      <a:pt x="37" y="7"/>
                    </a:lnTo>
                    <a:lnTo>
                      <a:pt x="45" y="9"/>
                    </a:lnTo>
                    <a:lnTo>
                      <a:pt x="51" y="11"/>
                    </a:lnTo>
                    <a:lnTo>
                      <a:pt x="59" y="0"/>
                    </a:lnTo>
                    <a:lnTo>
                      <a:pt x="63" y="4"/>
                    </a:lnTo>
                    <a:lnTo>
                      <a:pt x="73" y="7"/>
                    </a:lnTo>
                    <a:lnTo>
                      <a:pt x="78" y="4"/>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pic>
            <p:nvPicPr>
              <p:cNvPr id="232" name="Picture 1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12" y="1935"/>
                <a:ext cx="105" cy="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3"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12" y="1935"/>
                <a:ext cx="105" cy="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4" name="Freeform 20"/>
              <p:cNvSpPr>
                <a:spLocks/>
              </p:cNvSpPr>
              <p:nvPr/>
            </p:nvSpPr>
            <p:spPr bwMode="auto">
              <a:xfrm>
                <a:off x="1818" y="1940"/>
                <a:ext cx="85" cy="75"/>
              </a:xfrm>
              <a:custGeom>
                <a:avLst/>
                <a:gdLst>
                  <a:gd name="T0" fmla="*/ 4153 w 80"/>
                  <a:gd name="T1" fmla="*/ 1914 h 71"/>
                  <a:gd name="T2" fmla="*/ 3865 w 80"/>
                  <a:gd name="T3" fmla="*/ 2136 h 71"/>
                  <a:gd name="T4" fmla="*/ 3230 w 80"/>
                  <a:gd name="T5" fmla="*/ 2272 h 71"/>
                  <a:gd name="T6" fmla="*/ 3033 w 80"/>
                  <a:gd name="T7" fmla="*/ 2272 h 71"/>
                  <a:gd name="T8" fmla="*/ 2687 w 80"/>
                  <a:gd name="T9" fmla="*/ 2272 h 71"/>
                  <a:gd name="T10" fmla="*/ 2380 w 80"/>
                  <a:gd name="T11" fmla="*/ 2659 h 71"/>
                  <a:gd name="T12" fmla="*/ 2161 w 80"/>
                  <a:gd name="T13" fmla="*/ 2659 h 71"/>
                  <a:gd name="T14" fmla="*/ 1758 w 80"/>
                  <a:gd name="T15" fmla="*/ 2432 h 71"/>
                  <a:gd name="T16" fmla="*/ 1501 w 80"/>
                  <a:gd name="T17" fmla="*/ 1914 h 71"/>
                  <a:gd name="T18" fmla="*/ 1380 w 80"/>
                  <a:gd name="T19" fmla="*/ 1635 h 71"/>
                  <a:gd name="T20" fmla="*/ 800 w 80"/>
                  <a:gd name="T21" fmla="*/ 1537 h 71"/>
                  <a:gd name="T22" fmla="*/ 591 w 80"/>
                  <a:gd name="T23" fmla="*/ 1243 h 71"/>
                  <a:gd name="T24" fmla="*/ 7 w 80"/>
                  <a:gd name="T25" fmla="*/ 1106 h 71"/>
                  <a:gd name="T26" fmla="*/ 5 w 80"/>
                  <a:gd name="T27" fmla="*/ 714 h 71"/>
                  <a:gd name="T28" fmla="*/ 2 w 80"/>
                  <a:gd name="T29" fmla="*/ 606 h 71"/>
                  <a:gd name="T30" fmla="*/ 0 w 80"/>
                  <a:gd name="T31" fmla="*/ 514 h 71"/>
                  <a:gd name="T32" fmla="*/ 0 w 80"/>
                  <a:gd name="T33" fmla="*/ 413 h 71"/>
                  <a:gd name="T34" fmla="*/ 3 w 80"/>
                  <a:gd name="T35" fmla="*/ 5 h 71"/>
                  <a:gd name="T36" fmla="*/ 7 w 80"/>
                  <a:gd name="T37" fmla="*/ 4 h 71"/>
                  <a:gd name="T38" fmla="*/ 591 w 80"/>
                  <a:gd name="T39" fmla="*/ 2 h 71"/>
                  <a:gd name="T40" fmla="*/ 753 w 80"/>
                  <a:gd name="T41" fmla="*/ 0 h 71"/>
                  <a:gd name="T42" fmla="*/ 1380 w 80"/>
                  <a:gd name="T43" fmla="*/ 4 h 71"/>
                  <a:gd name="T44" fmla="*/ 1558 w 80"/>
                  <a:gd name="T45" fmla="*/ 7 h 71"/>
                  <a:gd name="T46" fmla="*/ 1758 w 80"/>
                  <a:gd name="T47" fmla="*/ 413 h 71"/>
                  <a:gd name="T48" fmla="*/ 2034 w 80"/>
                  <a:gd name="T49" fmla="*/ 543 h 71"/>
                  <a:gd name="T50" fmla="*/ 2161 w 80"/>
                  <a:gd name="T51" fmla="*/ 1114 h 71"/>
                  <a:gd name="T52" fmla="*/ 2856 w 80"/>
                  <a:gd name="T53" fmla="*/ 1177 h 71"/>
                  <a:gd name="T54" fmla="*/ 3230 w 80"/>
                  <a:gd name="T55" fmla="*/ 1114 h 71"/>
                  <a:gd name="T56" fmla="*/ 3511 w 80"/>
                  <a:gd name="T57" fmla="*/ 1243 h 71"/>
                  <a:gd name="T58" fmla="*/ 3865 w 80"/>
                  <a:gd name="T59" fmla="*/ 1243 h 71"/>
                  <a:gd name="T60" fmla="*/ 4111 w 80"/>
                  <a:gd name="T61" fmla="*/ 1243 h 71"/>
                  <a:gd name="T62" fmla="*/ 4374 w 80"/>
                  <a:gd name="T63" fmla="*/ 1635 h 71"/>
                  <a:gd name="T64" fmla="*/ 4364 w 80"/>
                  <a:gd name="T65" fmla="*/ 1727 h 71"/>
                  <a:gd name="T66" fmla="*/ 4153 w 80"/>
                  <a:gd name="T67" fmla="*/ 1914 h 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0"/>
                  <a:gd name="T103" fmla="*/ 0 h 71"/>
                  <a:gd name="T104" fmla="*/ 80 w 80"/>
                  <a:gd name="T105" fmla="*/ 71 h 7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0" h="71">
                    <a:moveTo>
                      <a:pt x="76" y="51"/>
                    </a:moveTo>
                    <a:lnTo>
                      <a:pt x="69" y="57"/>
                    </a:lnTo>
                    <a:lnTo>
                      <a:pt x="59" y="61"/>
                    </a:lnTo>
                    <a:lnTo>
                      <a:pt x="54" y="61"/>
                    </a:lnTo>
                    <a:lnTo>
                      <a:pt x="48" y="61"/>
                    </a:lnTo>
                    <a:lnTo>
                      <a:pt x="42" y="71"/>
                    </a:lnTo>
                    <a:lnTo>
                      <a:pt x="39" y="71"/>
                    </a:lnTo>
                    <a:lnTo>
                      <a:pt x="32" y="66"/>
                    </a:lnTo>
                    <a:lnTo>
                      <a:pt x="27" y="51"/>
                    </a:lnTo>
                    <a:lnTo>
                      <a:pt x="24" y="44"/>
                    </a:lnTo>
                    <a:lnTo>
                      <a:pt x="15" y="41"/>
                    </a:lnTo>
                    <a:lnTo>
                      <a:pt x="10" y="34"/>
                    </a:lnTo>
                    <a:lnTo>
                      <a:pt x="7" y="29"/>
                    </a:lnTo>
                    <a:lnTo>
                      <a:pt x="5" y="20"/>
                    </a:lnTo>
                    <a:lnTo>
                      <a:pt x="2" y="17"/>
                    </a:lnTo>
                    <a:lnTo>
                      <a:pt x="0" y="14"/>
                    </a:lnTo>
                    <a:lnTo>
                      <a:pt x="0" y="10"/>
                    </a:lnTo>
                    <a:lnTo>
                      <a:pt x="3" y="5"/>
                    </a:lnTo>
                    <a:lnTo>
                      <a:pt x="7" y="4"/>
                    </a:lnTo>
                    <a:lnTo>
                      <a:pt x="10" y="2"/>
                    </a:lnTo>
                    <a:lnTo>
                      <a:pt x="14" y="0"/>
                    </a:lnTo>
                    <a:lnTo>
                      <a:pt x="24" y="4"/>
                    </a:lnTo>
                    <a:lnTo>
                      <a:pt x="28" y="7"/>
                    </a:lnTo>
                    <a:lnTo>
                      <a:pt x="32" y="10"/>
                    </a:lnTo>
                    <a:lnTo>
                      <a:pt x="37" y="15"/>
                    </a:lnTo>
                    <a:lnTo>
                      <a:pt x="39" y="30"/>
                    </a:lnTo>
                    <a:lnTo>
                      <a:pt x="52" y="32"/>
                    </a:lnTo>
                    <a:lnTo>
                      <a:pt x="59" y="30"/>
                    </a:lnTo>
                    <a:lnTo>
                      <a:pt x="64" y="34"/>
                    </a:lnTo>
                    <a:lnTo>
                      <a:pt x="69" y="34"/>
                    </a:lnTo>
                    <a:lnTo>
                      <a:pt x="74" y="34"/>
                    </a:lnTo>
                    <a:lnTo>
                      <a:pt x="80" y="44"/>
                    </a:lnTo>
                    <a:lnTo>
                      <a:pt x="78" y="46"/>
                    </a:lnTo>
                    <a:lnTo>
                      <a:pt x="76"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5" name="Freeform 21"/>
              <p:cNvSpPr>
                <a:spLocks/>
              </p:cNvSpPr>
              <p:nvPr/>
            </p:nvSpPr>
            <p:spPr bwMode="auto">
              <a:xfrm>
                <a:off x="1818" y="1940"/>
                <a:ext cx="85" cy="75"/>
              </a:xfrm>
              <a:custGeom>
                <a:avLst/>
                <a:gdLst>
                  <a:gd name="T0" fmla="*/ 4153 w 80"/>
                  <a:gd name="T1" fmla="*/ 1914 h 71"/>
                  <a:gd name="T2" fmla="*/ 3865 w 80"/>
                  <a:gd name="T3" fmla="*/ 2136 h 71"/>
                  <a:gd name="T4" fmla="*/ 3230 w 80"/>
                  <a:gd name="T5" fmla="*/ 2272 h 71"/>
                  <a:gd name="T6" fmla="*/ 3033 w 80"/>
                  <a:gd name="T7" fmla="*/ 2272 h 71"/>
                  <a:gd name="T8" fmla="*/ 2687 w 80"/>
                  <a:gd name="T9" fmla="*/ 2272 h 71"/>
                  <a:gd name="T10" fmla="*/ 2380 w 80"/>
                  <a:gd name="T11" fmla="*/ 2659 h 71"/>
                  <a:gd name="T12" fmla="*/ 2161 w 80"/>
                  <a:gd name="T13" fmla="*/ 2659 h 71"/>
                  <a:gd name="T14" fmla="*/ 1758 w 80"/>
                  <a:gd name="T15" fmla="*/ 2432 h 71"/>
                  <a:gd name="T16" fmla="*/ 1501 w 80"/>
                  <a:gd name="T17" fmla="*/ 1914 h 71"/>
                  <a:gd name="T18" fmla="*/ 1380 w 80"/>
                  <a:gd name="T19" fmla="*/ 1635 h 71"/>
                  <a:gd name="T20" fmla="*/ 800 w 80"/>
                  <a:gd name="T21" fmla="*/ 1537 h 71"/>
                  <a:gd name="T22" fmla="*/ 591 w 80"/>
                  <a:gd name="T23" fmla="*/ 1243 h 71"/>
                  <a:gd name="T24" fmla="*/ 7 w 80"/>
                  <a:gd name="T25" fmla="*/ 1106 h 71"/>
                  <a:gd name="T26" fmla="*/ 5 w 80"/>
                  <a:gd name="T27" fmla="*/ 714 h 71"/>
                  <a:gd name="T28" fmla="*/ 2 w 80"/>
                  <a:gd name="T29" fmla="*/ 606 h 71"/>
                  <a:gd name="T30" fmla="*/ 0 w 80"/>
                  <a:gd name="T31" fmla="*/ 514 h 71"/>
                  <a:gd name="T32" fmla="*/ 0 w 80"/>
                  <a:gd name="T33" fmla="*/ 413 h 71"/>
                  <a:gd name="T34" fmla="*/ 3 w 80"/>
                  <a:gd name="T35" fmla="*/ 5 h 71"/>
                  <a:gd name="T36" fmla="*/ 7 w 80"/>
                  <a:gd name="T37" fmla="*/ 4 h 71"/>
                  <a:gd name="T38" fmla="*/ 591 w 80"/>
                  <a:gd name="T39" fmla="*/ 2 h 71"/>
                  <a:gd name="T40" fmla="*/ 753 w 80"/>
                  <a:gd name="T41" fmla="*/ 0 h 71"/>
                  <a:gd name="T42" fmla="*/ 1380 w 80"/>
                  <a:gd name="T43" fmla="*/ 4 h 71"/>
                  <a:gd name="T44" fmla="*/ 1558 w 80"/>
                  <a:gd name="T45" fmla="*/ 7 h 71"/>
                  <a:gd name="T46" fmla="*/ 1758 w 80"/>
                  <a:gd name="T47" fmla="*/ 413 h 71"/>
                  <a:gd name="T48" fmla="*/ 2034 w 80"/>
                  <a:gd name="T49" fmla="*/ 543 h 71"/>
                  <a:gd name="T50" fmla="*/ 2161 w 80"/>
                  <a:gd name="T51" fmla="*/ 1114 h 71"/>
                  <a:gd name="T52" fmla="*/ 2856 w 80"/>
                  <a:gd name="T53" fmla="*/ 1177 h 71"/>
                  <a:gd name="T54" fmla="*/ 3230 w 80"/>
                  <a:gd name="T55" fmla="*/ 1114 h 71"/>
                  <a:gd name="T56" fmla="*/ 3511 w 80"/>
                  <a:gd name="T57" fmla="*/ 1243 h 71"/>
                  <a:gd name="T58" fmla="*/ 3865 w 80"/>
                  <a:gd name="T59" fmla="*/ 1243 h 71"/>
                  <a:gd name="T60" fmla="*/ 4111 w 80"/>
                  <a:gd name="T61" fmla="*/ 1243 h 71"/>
                  <a:gd name="T62" fmla="*/ 4374 w 80"/>
                  <a:gd name="T63" fmla="*/ 1635 h 71"/>
                  <a:gd name="T64" fmla="*/ 4364 w 80"/>
                  <a:gd name="T65" fmla="*/ 1727 h 71"/>
                  <a:gd name="T66" fmla="*/ 4153 w 80"/>
                  <a:gd name="T67" fmla="*/ 1914 h 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0"/>
                  <a:gd name="T103" fmla="*/ 0 h 71"/>
                  <a:gd name="T104" fmla="*/ 80 w 80"/>
                  <a:gd name="T105" fmla="*/ 71 h 7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0" h="71">
                    <a:moveTo>
                      <a:pt x="76" y="51"/>
                    </a:moveTo>
                    <a:lnTo>
                      <a:pt x="69" y="57"/>
                    </a:lnTo>
                    <a:lnTo>
                      <a:pt x="59" y="61"/>
                    </a:lnTo>
                    <a:lnTo>
                      <a:pt x="54" y="61"/>
                    </a:lnTo>
                    <a:lnTo>
                      <a:pt x="48" y="61"/>
                    </a:lnTo>
                    <a:lnTo>
                      <a:pt x="42" y="71"/>
                    </a:lnTo>
                    <a:lnTo>
                      <a:pt x="39" y="71"/>
                    </a:lnTo>
                    <a:lnTo>
                      <a:pt x="32" y="66"/>
                    </a:lnTo>
                    <a:lnTo>
                      <a:pt x="27" y="51"/>
                    </a:lnTo>
                    <a:lnTo>
                      <a:pt x="24" y="44"/>
                    </a:lnTo>
                    <a:lnTo>
                      <a:pt x="15" y="41"/>
                    </a:lnTo>
                    <a:lnTo>
                      <a:pt x="10" y="34"/>
                    </a:lnTo>
                    <a:lnTo>
                      <a:pt x="7" y="29"/>
                    </a:lnTo>
                    <a:lnTo>
                      <a:pt x="5" y="20"/>
                    </a:lnTo>
                    <a:lnTo>
                      <a:pt x="2" y="17"/>
                    </a:lnTo>
                    <a:lnTo>
                      <a:pt x="0" y="14"/>
                    </a:lnTo>
                    <a:lnTo>
                      <a:pt x="0" y="10"/>
                    </a:lnTo>
                    <a:lnTo>
                      <a:pt x="3" y="5"/>
                    </a:lnTo>
                    <a:lnTo>
                      <a:pt x="7" y="4"/>
                    </a:lnTo>
                    <a:lnTo>
                      <a:pt x="10" y="2"/>
                    </a:lnTo>
                    <a:lnTo>
                      <a:pt x="14" y="0"/>
                    </a:lnTo>
                    <a:lnTo>
                      <a:pt x="24" y="4"/>
                    </a:lnTo>
                    <a:lnTo>
                      <a:pt x="28" y="7"/>
                    </a:lnTo>
                    <a:lnTo>
                      <a:pt x="32" y="10"/>
                    </a:lnTo>
                    <a:lnTo>
                      <a:pt x="37" y="15"/>
                    </a:lnTo>
                    <a:lnTo>
                      <a:pt x="39" y="30"/>
                    </a:lnTo>
                    <a:lnTo>
                      <a:pt x="52" y="32"/>
                    </a:lnTo>
                    <a:lnTo>
                      <a:pt x="59" y="30"/>
                    </a:lnTo>
                    <a:lnTo>
                      <a:pt x="64" y="34"/>
                    </a:lnTo>
                    <a:lnTo>
                      <a:pt x="69" y="34"/>
                    </a:lnTo>
                    <a:lnTo>
                      <a:pt x="74" y="34"/>
                    </a:lnTo>
                    <a:lnTo>
                      <a:pt x="80" y="44"/>
                    </a:lnTo>
                    <a:lnTo>
                      <a:pt x="78" y="46"/>
                    </a:lnTo>
                    <a:lnTo>
                      <a:pt x="76" y="51"/>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pic>
            <p:nvPicPr>
              <p:cNvPr id="236" name="Picture 2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36" y="2426"/>
                <a:ext cx="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7"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36" y="2426"/>
                <a:ext cx="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8" name="Freeform 24"/>
              <p:cNvSpPr>
                <a:spLocks/>
              </p:cNvSpPr>
              <p:nvPr/>
            </p:nvSpPr>
            <p:spPr bwMode="auto">
              <a:xfrm>
                <a:off x="2541" y="2432"/>
                <a:ext cx="38" cy="48"/>
              </a:xfrm>
              <a:custGeom>
                <a:avLst/>
                <a:gdLst>
                  <a:gd name="T0" fmla="*/ 4 w 35"/>
                  <a:gd name="T1" fmla="*/ 744 h 46"/>
                  <a:gd name="T2" fmla="*/ 3 w 35"/>
                  <a:gd name="T3" fmla="*/ 713 h 46"/>
                  <a:gd name="T4" fmla="*/ 3 w 35"/>
                  <a:gd name="T5" fmla="*/ 638 h 46"/>
                  <a:gd name="T6" fmla="*/ 1 w 35"/>
                  <a:gd name="T7" fmla="*/ 638 h 46"/>
                  <a:gd name="T8" fmla="*/ 0 w 35"/>
                  <a:gd name="T9" fmla="*/ 638 h 46"/>
                  <a:gd name="T10" fmla="*/ 0 w 35"/>
                  <a:gd name="T11" fmla="*/ 517 h 46"/>
                  <a:gd name="T12" fmla="*/ 3 w 35"/>
                  <a:gd name="T13" fmla="*/ 417 h 46"/>
                  <a:gd name="T14" fmla="*/ 2366 w 35"/>
                  <a:gd name="T15" fmla="*/ 297 h 46"/>
                  <a:gd name="T16" fmla="*/ 4961 w 35"/>
                  <a:gd name="T17" fmla="*/ 9 h 46"/>
                  <a:gd name="T18" fmla="*/ 6043 w 35"/>
                  <a:gd name="T19" fmla="*/ 4 h 46"/>
                  <a:gd name="T20" fmla="*/ 6893 w 35"/>
                  <a:gd name="T21" fmla="*/ 2 h 46"/>
                  <a:gd name="T22" fmla="*/ 7330 w 35"/>
                  <a:gd name="T23" fmla="*/ 0 h 46"/>
                  <a:gd name="T24" fmla="*/ 7734 w 35"/>
                  <a:gd name="T25" fmla="*/ 0 h 46"/>
                  <a:gd name="T26" fmla="*/ 7958 w 35"/>
                  <a:gd name="T27" fmla="*/ 2 h 46"/>
                  <a:gd name="T28" fmla="*/ 7958 w 35"/>
                  <a:gd name="T29" fmla="*/ 241 h 46"/>
                  <a:gd name="T30" fmla="*/ 7734 w 35"/>
                  <a:gd name="T31" fmla="*/ 297 h 46"/>
                  <a:gd name="T32" fmla="*/ 6893 w 35"/>
                  <a:gd name="T33" fmla="*/ 337 h 46"/>
                  <a:gd name="T34" fmla="*/ 5386 w 35"/>
                  <a:gd name="T35" fmla="*/ 400 h 46"/>
                  <a:gd name="T36" fmla="*/ 4569 w 35"/>
                  <a:gd name="T37" fmla="*/ 454 h 46"/>
                  <a:gd name="T38" fmla="*/ 2569 w 35"/>
                  <a:gd name="T39" fmla="*/ 638 h 46"/>
                  <a:gd name="T40" fmla="*/ 1849 w 35"/>
                  <a:gd name="T41" fmla="*/ 744 h 46"/>
                  <a:gd name="T42" fmla="*/ 4 w 35"/>
                  <a:gd name="T43" fmla="*/ 744 h 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
                  <a:gd name="T67" fmla="*/ 0 h 46"/>
                  <a:gd name="T68" fmla="*/ 35 w 35"/>
                  <a:gd name="T69" fmla="*/ 46 h 4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 h="46">
                    <a:moveTo>
                      <a:pt x="4" y="46"/>
                    </a:moveTo>
                    <a:lnTo>
                      <a:pt x="3" y="44"/>
                    </a:lnTo>
                    <a:lnTo>
                      <a:pt x="3" y="39"/>
                    </a:lnTo>
                    <a:lnTo>
                      <a:pt x="1" y="39"/>
                    </a:lnTo>
                    <a:lnTo>
                      <a:pt x="0" y="39"/>
                    </a:lnTo>
                    <a:lnTo>
                      <a:pt x="0" y="32"/>
                    </a:lnTo>
                    <a:lnTo>
                      <a:pt x="3" y="27"/>
                    </a:lnTo>
                    <a:lnTo>
                      <a:pt x="11" y="19"/>
                    </a:lnTo>
                    <a:lnTo>
                      <a:pt x="22" y="9"/>
                    </a:lnTo>
                    <a:lnTo>
                      <a:pt x="27" y="4"/>
                    </a:lnTo>
                    <a:lnTo>
                      <a:pt x="30" y="2"/>
                    </a:lnTo>
                    <a:lnTo>
                      <a:pt x="32" y="0"/>
                    </a:lnTo>
                    <a:lnTo>
                      <a:pt x="34" y="0"/>
                    </a:lnTo>
                    <a:lnTo>
                      <a:pt x="35" y="2"/>
                    </a:lnTo>
                    <a:lnTo>
                      <a:pt x="35" y="14"/>
                    </a:lnTo>
                    <a:lnTo>
                      <a:pt x="34" y="19"/>
                    </a:lnTo>
                    <a:lnTo>
                      <a:pt x="30" y="22"/>
                    </a:lnTo>
                    <a:lnTo>
                      <a:pt x="24" y="26"/>
                    </a:lnTo>
                    <a:lnTo>
                      <a:pt x="20" y="29"/>
                    </a:lnTo>
                    <a:lnTo>
                      <a:pt x="12" y="39"/>
                    </a:lnTo>
                    <a:lnTo>
                      <a:pt x="8" y="46"/>
                    </a:lnTo>
                    <a:lnTo>
                      <a:pt x="4"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9" name="Freeform 25"/>
              <p:cNvSpPr>
                <a:spLocks/>
              </p:cNvSpPr>
              <p:nvPr/>
            </p:nvSpPr>
            <p:spPr bwMode="auto">
              <a:xfrm>
                <a:off x="2541" y="2432"/>
                <a:ext cx="38" cy="48"/>
              </a:xfrm>
              <a:custGeom>
                <a:avLst/>
                <a:gdLst>
                  <a:gd name="T0" fmla="*/ 4 w 35"/>
                  <a:gd name="T1" fmla="*/ 744 h 46"/>
                  <a:gd name="T2" fmla="*/ 3 w 35"/>
                  <a:gd name="T3" fmla="*/ 713 h 46"/>
                  <a:gd name="T4" fmla="*/ 3 w 35"/>
                  <a:gd name="T5" fmla="*/ 638 h 46"/>
                  <a:gd name="T6" fmla="*/ 1 w 35"/>
                  <a:gd name="T7" fmla="*/ 638 h 46"/>
                  <a:gd name="T8" fmla="*/ 0 w 35"/>
                  <a:gd name="T9" fmla="*/ 638 h 46"/>
                  <a:gd name="T10" fmla="*/ 0 w 35"/>
                  <a:gd name="T11" fmla="*/ 517 h 46"/>
                  <a:gd name="T12" fmla="*/ 3 w 35"/>
                  <a:gd name="T13" fmla="*/ 417 h 46"/>
                  <a:gd name="T14" fmla="*/ 2366 w 35"/>
                  <a:gd name="T15" fmla="*/ 297 h 46"/>
                  <a:gd name="T16" fmla="*/ 4961 w 35"/>
                  <a:gd name="T17" fmla="*/ 9 h 46"/>
                  <a:gd name="T18" fmla="*/ 6043 w 35"/>
                  <a:gd name="T19" fmla="*/ 4 h 46"/>
                  <a:gd name="T20" fmla="*/ 6893 w 35"/>
                  <a:gd name="T21" fmla="*/ 2 h 46"/>
                  <a:gd name="T22" fmla="*/ 7330 w 35"/>
                  <a:gd name="T23" fmla="*/ 0 h 46"/>
                  <a:gd name="T24" fmla="*/ 7734 w 35"/>
                  <a:gd name="T25" fmla="*/ 0 h 46"/>
                  <a:gd name="T26" fmla="*/ 7958 w 35"/>
                  <a:gd name="T27" fmla="*/ 2 h 46"/>
                  <a:gd name="T28" fmla="*/ 7958 w 35"/>
                  <a:gd name="T29" fmla="*/ 241 h 46"/>
                  <a:gd name="T30" fmla="*/ 7734 w 35"/>
                  <a:gd name="T31" fmla="*/ 297 h 46"/>
                  <a:gd name="T32" fmla="*/ 6893 w 35"/>
                  <a:gd name="T33" fmla="*/ 337 h 46"/>
                  <a:gd name="T34" fmla="*/ 5386 w 35"/>
                  <a:gd name="T35" fmla="*/ 400 h 46"/>
                  <a:gd name="T36" fmla="*/ 4569 w 35"/>
                  <a:gd name="T37" fmla="*/ 454 h 46"/>
                  <a:gd name="T38" fmla="*/ 2569 w 35"/>
                  <a:gd name="T39" fmla="*/ 638 h 46"/>
                  <a:gd name="T40" fmla="*/ 1849 w 35"/>
                  <a:gd name="T41" fmla="*/ 744 h 46"/>
                  <a:gd name="T42" fmla="*/ 4 w 35"/>
                  <a:gd name="T43" fmla="*/ 744 h 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
                  <a:gd name="T67" fmla="*/ 0 h 46"/>
                  <a:gd name="T68" fmla="*/ 35 w 35"/>
                  <a:gd name="T69" fmla="*/ 46 h 4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 h="46">
                    <a:moveTo>
                      <a:pt x="4" y="46"/>
                    </a:moveTo>
                    <a:lnTo>
                      <a:pt x="3" y="44"/>
                    </a:lnTo>
                    <a:lnTo>
                      <a:pt x="3" y="39"/>
                    </a:lnTo>
                    <a:lnTo>
                      <a:pt x="1" y="39"/>
                    </a:lnTo>
                    <a:lnTo>
                      <a:pt x="0" y="39"/>
                    </a:lnTo>
                    <a:lnTo>
                      <a:pt x="0" y="32"/>
                    </a:lnTo>
                    <a:lnTo>
                      <a:pt x="3" y="27"/>
                    </a:lnTo>
                    <a:lnTo>
                      <a:pt x="11" y="19"/>
                    </a:lnTo>
                    <a:lnTo>
                      <a:pt x="22" y="9"/>
                    </a:lnTo>
                    <a:lnTo>
                      <a:pt x="27" y="4"/>
                    </a:lnTo>
                    <a:lnTo>
                      <a:pt x="30" y="2"/>
                    </a:lnTo>
                    <a:lnTo>
                      <a:pt x="32" y="0"/>
                    </a:lnTo>
                    <a:lnTo>
                      <a:pt x="34" y="0"/>
                    </a:lnTo>
                    <a:lnTo>
                      <a:pt x="35" y="2"/>
                    </a:lnTo>
                    <a:lnTo>
                      <a:pt x="35" y="14"/>
                    </a:lnTo>
                    <a:lnTo>
                      <a:pt x="34" y="19"/>
                    </a:lnTo>
                    <a:lnTo>
                      <a:pt x="30" y="22"/>
                    </a:lnTo>
                    <a:lnTo>
                      <a:pt x="24" y="26"/>
                    </a:lnTo>
                    <a:lnTo>
                      <a:pt x="20" y="29"/>
                    </a:lnTo>
                    <a:lnTo>
                      <a:pt x="12" y="39"/>
                    </a:lnTo>
                    <a:lnTo>
                      <a:pt x="8" y="46"/>
                    </a:lnTo>
                    <a:lnTo>
                      <a:pt x="4" y="46"/>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pic>
            <p:nvPicPr>
              <p:cNvPr id="240" name="Picture 2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480" y="2653"/>
                <a:ext cx="103"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1" name="Picture 2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480" y="2653"/>
                <a:ext cx="103"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2" name="Freeform 28"/>
              <p:cNvSpPr>
                <a:spLocks/>
              </p:cNvSpPr>
              <p:nvPr/>
            </p:nvSpPr>
            <p:spPr bwMode="auto">
              <a:xfrm>
                <a:off x="2486" y="2658"/>
                <a:ext cx="82" cy="220"/>
              </a:xfrm>
              <a:custGeom>
                <a:avLst/>
                <a:gdLst>
                  <a:gd name="T0" fmla="*/ 782 w 77"/>
                  <a:gd name="T1" fmla="*/ 894 h 209"/>
                  <a:gd name="T2" fmla="*/ 1006 w 77"/>
                  <a:gd name="T3" fmla="*/ 1043 h 209"/>
                  <a:gd name="T4" fmla="*/ 1294 w 77"/>
                  <a:gd name="T5" fmla="*/ 1156 h 209"/>
                  <a:gd name="T6" fmla="*/ 1215 w 77"/>
                  <a:gd name="T7" fmla="*/ 1573 h 209"/>
                  <a:gd name="T8" fmla="*/ 1294 w 77"/>
                  <a:gd name="T9" fmla="*/ 1929 h 209"/>
                  <a:gd name="T10" fmla="*/ 1467 w 77"/>
                  <a:gd name="T11" fmla="*/ 2000 h 209"/>
                  <a:gd name="T12" fmla="*/ 1743 w 77"/>
                  <a:gd name="T13" fmla="*/ 2105 h 209"/>
                  <a:gd name="T14" fmla="*/ 1663 w 77"/>
                  <a:gd name="T15" fmla="*/ 2373 h 209"/>
                  <a:gd name="T16" fmla="*/ 1771 w 77"/>
                  <a:gd name="T17" fmla="*/ 2677 h 209"/>
                  <a:gd name="T18" fmla="*/ 1886 w 77"/>
                  <a:gd name="T19" fmla="*/ 2949 h 209"/>
                  <a:gd name="T20" fmla="*/ 1856 w 77"/>
                  <a:gd name="T21" fmla="*/ 3066 h 209"/>
                  <a:gd name="T22" fmla="*/ 1562 w 77"/>
                  <a:gd name="T23" fmla="*/ 3174 h 209"/>
                  <a:gd name="T24" fmla="*/ 1743 w 77"/>
                  <a:gd name="T25" fmla="*/ 3459 h 209"/>
                  <a:gd name="T26" fmla="*/ 2750 w 77"/>
                  <a:gd name="T27" fmla="*/ 3759 h 209"/>
                  <a:gd name="T28" fmla="*/ 3538 w 77"/>
                  <a:gd name="T29" fmla="*/ 4102 h 209"/>
                  <a:gd name="T30" fmla="*/ 3538 w 77"/>
                  <a:gd name="T31" fmla="*/ 4247 h 209"/>
                  <a:gd name="T32" fmla="*/ 3538 w 77"/>
                  <a:gd name="T33" fmla="*/ 4615 h 209"/>
                  <a:gd name="T34" fmla="*/ 3836 w 77"/>
                  <a:gd name="T35" fmla="*/ 5036 h 209"/>
                  <a:gd name="T36" fmla="*/ 4205 w 77"/>
                  <a:gd name="T37" fmla="*/ 5301 h 209"/>
                  <a:gd name="T38" fmla="*/ 4350 w 77"/>
                  <a:gd name="T39" fmla="*/ 5558 h 209"/>
                  <a:gd name="T40" fmla="*/ 4907 w 77"/>
                  <a:gd name="T41" fmla="*/ 5964 h 209"/>
                  <a:gd name="T42" fmla="*/ 4552 w 77"/>
                  <a:gd name="T43" fmla="*/ 6183 h 209"/>
                  <a:gd name="T44" fmla="*/ 4013 w 77"/>
                  <a:gd name="T45" fmla="*/ 5964 h 209"/>
                  <a:gd name="T46" fmla="*/ 3768 w 77"/>
                  <a:gd name="T47" fmla="*/ 5964 h 209"/>
                  <a:gd name="T48" fmla="*/ 3538 w 77"/>
                  <a:gd name="T49" fmla="*/ 5964 h 209"/>
                  <a:gd name="T50" fmla="*/ 3538 w 77"/>
                  <a:gd name="T51" fmla="*/ 5739 h 209"/>
                  <a:gd name="T52" fmla="*/ 3538 w 77"/>
                  <a:gd name="T53" fmla="*/ 5655 h 209"/>
                  <a:gd name="T54" fmla="*/ 3364 w 77"/>
                  <a:gd name="T55" fmla="*/ 5474 h 209"/>
                  <a:gd name="T56" fmla="*/ 3119 w 77"/>
                  <a:gd name="T57" fmla="*/ 4706 h 209"/>
                  <a:gd name="T58" fmla="*/ 2708 w 77"/>
                  <a:gd name="T59" fmla="*/ 4471 h 209"/>
                  <a:gd name="T60" fmla="*/ 1977 w 77"/>
                  <a:gd name="T61" fmla="*/ 4412 h 209"/>
                  <a:gd name="T62" fmla="*/ 1467 w 77"/>
                  <a:gd name="T63" fmla="*/ 4165 h 209"/>
                  <a:gd name="T64" fmla="*/ 1071 w 77"/>
                  <a:gd name="T65" fmla="*/ 3981 h 209"/>
                  <a:gd name="T66" fmla="*/ 782 w 77"/>
                  <a:gd name="T67" fmla="*/ 3620 h 209"/>
                  <a:gd name="T68" fmla="*/ 647 w 77"/>
                  <a:gd name="T69" fmla="*/ 3459 h 209"/>
                  <a:gd name="T70" fmla="*/ 7 w 77"/>
                  <a:gd name="T71" fmla="*/ 3174 h 209"/>
                  <a:gd name="T72" fmla="*/ 608 w 77"/>
                  <a:gd name="T73" fmla="*/ 2864 h 209"/>
                  <a:gd name="T74" fmla="*/ 608 w 77"/>
                  <a:gd name="T75" fmla="*/ 2662 h 209"/>
                  <a:gd name="T76" fmla="*/ 4 w 77"/>
                  <a:gd name="T77" fmla="*/ 2373 h 209"/>
                  <a:gd name="T78" fmla="*/ 0 w 77"/>
                  <a:gd name="T79" fmla="*/ 2031 h 209"/>
                  <a:gd name="T80" fmla="*/ 1 w 77"/>
                  <a:gd name="T81" fmla="*/ 1656 h 209"/>
                  <a:gd name="T82" fmla="*/ 4 w 77"/>
                  <a:gd name="T83" fmla="*/ 1156 h 209"/>
                  <a:gd name="T84" fmla="*/ 3 w 77"/>
                  <a:gd name="T85" fmla="*/ 991 h 209"/>
                  <a:gd name="T86" fmla="*/ 1 w 77"/>
                  <a:gd name="T87" fmla="*/ 1027 h 209"/>
                  <a:gd name="T88" fmla="*/ 0 w 77"/>
                  <a:gd name="T89" fmla="*/ 941 h 209"/>
                  <a:gd name="T90" fmla="*/ 1 w 77"/>
                  <a:gd name="T91" fmla="*/ 681 h 209"/>
                  <a:gd name="T92" fmla="*/ 4 w 77"/>
                  <a:gd name="T93" fmla="*/ 388 h 209"/>
                  <a:gd name="T94" fmla="*/ 6 w 77"/>
                  <a:gd name="T95" fmla="*/ 6 h 209"/>
                  <a:gd name="T96" fmla="*/ 7 w 77"/>
                  <a:gd name="T97" fmla="*/ 0 h 209"/>
                  <a:gd name="T98" fmla="*/ 647 w 77"/>
                  <a:gd name="T99" fmla="*/ 3 h 209"/>
                  <a:gd name="T100" fmla="*/ 689 w 77"/>
                  <a:gd name="T101" fmla="*/ 9 h 209"/>
                  <a:gd name="T102" fmla="*/ 734 w 77"/>
                  <a:gd name="T103" fmla="*/ 452 h 209"/>
                  <a:gd name="T104" fmla="*/ 734 w 77"/>
                  <a:gd name="T105" fmla="*/ 681 h 209"/>
                  <a:gd name="T106" fmla="*/ 782 w 77"/>
                  <a:gd name="T107" fmla="*/ 894 h 20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7"/>
                  <a:gd name="T163" fmla="*/ 0 h 209"/>
                  <a:gd name="T164" fmla="*/ 77 w 77"/>
                  <a:gd name="T165" fmla="*/ 209 h 20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7" h="209">
                    <a:moveTo>
                      <a:pt x="13" y="30"/>
                    </a:moveTo>
                    <a:lnTo>
                      <a:pt x="17" y="36"/>
                    </a:lnTo>
                    <a:lnTo>
                      <a:pt x="21" y="40"/>
                    </a:lnTo>
                    <a:lnTo>
                      <a:pt x="20" y="54"/>
                    </a:lnTo>
                    <a:lnTo>
                      <a:pt x="21" y="65"/>
                    </a:lnTo>
                    <a:lnTo>
                      <a:pt x="23" y="67"/>
                    </a:lnTo>
                    <a:lnTo>
                      <a:pt x="27" y="71"/>
                    </a:lnTo>
                    <a:lnTo>
                      <a:pt x="26" y="81"/>
                    </a:lnTo>
                    <a:lnTo>
                      <a:pt x="28" y="91"/>
                    </a:lnTo>
                    <a:lnTo>
                      <a:pt x="30" y="100"/>
                    </a:lnTo>
                    <a:lnTo>
                      <a:pt x="29" y="104"/>
                    </a:lnTo>
                    <a:lnTo>
                      <a:pt x="24" y="107"/>
                    </a:lnTo>
                    <a:lnTo>
                      <a:pt x="27" y="118"/>
                    </a:lnTo>
                    <a:lnTo>
                      <a:pt x="43" y="126"/>
                    </a:lnTo>
                    <a:lnTo>
                      <a:pt x="55" y="139"/>
                    </a:lnTo>
                    <a:lnTo>
                      <a:pt x="55" y="145"/>
                    </a:lnTo>
                    <a:lnTo>
                      <a:pt x="55" y="155"/>
                    </a:lnTo>
                    <a:lnTo>
                      <a:pt x="61" y="171"/>
                    </a:lnTo>
                    <a:lnTo>
                      <a:pt x="66" y="180"/>
                    </a:lnTo>
                    <a:lnTo>
                      <a:pt x="69" y="188"/>
                    </a:lnTo>
                    <a:lnTo>
                      <a:pt x="77" y="201"/>
                    </a:lnTo>
                    <a:lnTo>
                      <a:pt x="71" y="209"/>
                    </a:lnTo>
                    <a:lnTo>
                      <a:pt x="63" y="201"/>
                    </a:lnTo>
                    <a:lnTo>
                      <a:pt x="59" y="201"/>
                    </a:lnTo>
                    <a:lnTo>
                      <a:pt x="55" y="201"/>
                    </a:lnTo>
                    <a:lnTo>
                      <a:pt x="55" y="194"/>
                    </a:lnTo>
                    <a:lnTo>
                      <a:pt x="55" y="190"/>
                    </a:lnTo>
                    <a:lnTo>
                      <a:pt x="53" y="186"/>
                    </a:lnTo>
                    <a:lnTo>
                      <a:pt x="49" y="161"/>
                    </a:lnTo>
                    <a:lnTo>
                      <a:pt x="42" y="153"/>
                    </a:lnTo>
                    <a:lnTo>
                      <a:pt x="31" y="149"/>
                    </a:lnTo>
                    <a:lnTo>
                      <a:pt x="23" y="140"/>
                    </a:lnTo>
                    <a:lnTo>
                      <a:pt x="18" y="135"/>
                    </a:lnTo>
                    <a:lnTo>
                      <a:pt x="13" y="123"/>
                    </a:lnTo>
                    <a:lnTo>
                      <a:pt x="10" y="118"/>
                    </a:lnTo>
                    <a:lnTo>
                      <a:pt x="7" y="107"/>
                    </a:lnTo>
                    <a:lnTo>
                      <a:pt x="9" y="97"/>
                    </a:lnTo>
                    <a:lnTo>
                      <a:pt x="9" y="90"/>
                    </a:lnTo>
                    <a:lnTo>
                      <a:pt x="4" y="81"/>
                    </a:lnTo>
                    <a:lnTo>
                      <a:pt x="0" y="68"/>
                    </a:lnTo>
                    <a:lnTo>
                      <a:pt x="1" y="57"/>
                    </a:lnTo>
                    <a:lnTo>
                      <a:pt x="4" y="40"/>
                    </a:lnTo>
                    <a:lnTo>
                      <a:pt x="3" y="34"/>
                    </a:lnTo>
                    <a:lnTo>
                      <a:pt x="1" y="35"/>
                    </a:lnTo>
                    <a:lnTo>
                      <a:pt x="0" y="32"/>
                    </a:lnTo>
                    <a:lnTo>
                      <a:pt x="1" y="24"/>
                    </a:lnTo>
                    <a:lnTo>
                      <a:pt x="4" y="13"/>
                    </a:lnTo>
                    <a:lnTo>
                      <a:pt x="6" y="6"/>
                    </a:lnTo>
                    <a:lnTo>
                      <a:pt x="7" y="0"/>
                    </a:lnTo>
                    <a:lnTo>
                      <a:pt x="10" y="3"/>
                    </a:lnTo>
                    <a:lnTo>
                      <a:pt x="11" y="9"/>
                    </a:lnTo>
                    <a:lnTo>
                      <a:pt x="12" y="16"/>
                    </a:lnTo>
                    <a:lnTo>
                      <a:pt x="12" y="24"/>
                    </a:lnTo>
                    <a:lnTo>
                      <a:pt x="1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3" name="Freeform 29"/>
              <p:cNvSpPr>
                <a:spLocks/>
              </p:cNvSpPr>
              <p:nvPr/>
            </p:nvSpPr>
            <p:spPr bwMode="auto">
              <a:xfrm>
                <a:off x="2486" y="2658"/>
                <a:ext cx="82" cy="220"/>
              </a:xfrm>
              <a:custGeom>
                <a:avLst/>
                <a:gdLst>
                  <a:gd name="T0" fmla="*/ 782 w 77"/>
                  <a:gd name="T1" fmla="*/ 894 h 209"/>
                  <a:gd name="T2" fmla="*/ 1006 w 77"/>
                  <a:gd name="T3" fmla="*/ 1043 h 209"/>
                  <a:gd name="T4" fmla="*/ 1294 w 77"/>
                  <a:gd name="T5" fmla="*/ 1156 h 209"/>
                  <a:gd name="T6" fmla="*/ 1215 w 77"/>
                  <a:gd name="T7" fmla="*/ 1573 h 209"/>
                  <a:gd name="T8" fmla="*/ 1294 w 77"/>
                  <a:gd name="T9" fmla="*/ 1929 h 209"/>
                  <a:gd name="T10" fmla="*/ 1467 w 77"/>
                  <a:gd name="T11" fmla="*/ 2000 h 209"/>
                  <a:gd name="T12" fmla="*/ 1743 w 77"/>
                  <a:gd name="T13" fmla="*/ 2105 h 209"/>
                  <a:gd name="T14" fmla="*/ 1663 w 77"/>
                  <a:gd name="T15" fmla="*/ 2373 h 209"/>
                  <a:gd name="T16" fmla="*/ 1771 w 77"/>
                  <a:gd name="T17" fmla="*/ 2677 h 209"/>
                  <a:gd name="T18" fmla="*/ 1886 w 77"/>
                  <a:gd name="T19" fmla="*/ 2949 h 209"/>
                  <a:gd name="T20" fmla="*/ 1856 w 77"/>
                  <a:gd name="T21" fmla="*/ 3066 h 209"/>
                  <a:gd name="T22" fmla="*/ 1562 w 77"/>
                  <a:gd name="T23" fmla="*/ 3174 h 209"/>
                  <a:gd name="T24" fmla="*/ 1743 w 77"/>
                  <a:gd name="T25" fmla="*/ 3459 h 209"/>
                  <a:gd name="T26" fmla="*/ 2750 w 77"/>
                  <a:gd name="T27" fmla="*/ 3759 h 209"/>
                  <a:gd name="T28" fmla="*/ 3538 w 77"/>
                  <a:gd name="T29" fmla="*/ 4102 h 209"/>
                  <a:gd name="T30" fmla="*/ 3538 w 77"/>
                  <a:gd name="T31" fmla="*/ 4247 h 209"/>
                  <a:gd name="T32" fmla="*/ 3538 w 77"/>
                  <a:gd name="T33" fmla="*/ 4615 h 209"/>
                  <a:gd name="T34" fmla="*/ 3836 w 77"/>
                  <a:gd name="T35" fmla="*/ 5036 h 209"/>
                  <a:gd name="T36" fmla="*/ 4205 w 77"/>
                  <a:gd name="T37" fmla="*/ 5301 h 209"/>
                  <a:gd name="T38" fmla="*/ 4350 w 77"/>
                  <a:gd name="T39" fmla="*/ 5558 h 209"/>
                  <a:gd name="T40" fmla="*/ 4907 w 77"/>
                  <a:gd name="T41" fmla="*/ 5964 h 209"/>
                  <a:gd name="T42" fmla="*/ 4552 w 77"/>
                  <a:gd name="T43" fmla="*/ 6183 h 209"/>
                  <a:gd name="T44" fmla="*/ 4013 w 77"/>
                  <a:gd name="T45" fmla="*/ 5964 h 209"/>
                  <a:gd name="T46" fmla="*/ 3768 w 77"/>
                  <a:gd name="T47" fmla="*/ 5964 h 209"/>
                  <a:gd name="T48" fmla="*/ 3538 w 77"/>
                  <a:gd name="T49" fmla="*/ 5964 h 209"/>
                  <a:gd name="T50" fmla="*/ 3538 w 77"/>
                  <a:gd name="T51" fmla="*/ 5739 h 209"/>
                  <a:gd name="T52" fmla="*/ 3538 w 77"/>
                  <a:gd name="T53" fmla="*/ 5655 h 209"/>
                  <a:gd name="T54" fmla="*/ 3364 w 77"/>
                  <a:gd name="T55" fmla="*/ 5474 h 209"/>
                  <a:gd name="T56" fmla="*/ 3119 w 77"/>
                  <a:gd name="T57" fmla="*/ 4706 h 209"/>
                  <a:gd name="T58" fmla="*/ 2708 w 77"/>
                  <a:gd name="T59" fmla="*/ 4471 h 209"/>
                  <a:gd name="T60" fmla="*/ 1977 w 77"/>
                  <a:gd name="T61" fmla="*/ 4412 h 209"/>
                  <a:gd name="T62" fmla="*/ 1467 w 77"/>
                  <a:gd name="T63" fmla="*/ 4165 h 209"/>
                  <a:gd name="T64" fmla="*/ 1071 w 77"/>
                  <a:gd name="T65" fmla="*/ 3981 h 209"/>
                  <a:gd name="T66" fmla="*/ 782 w 77"/>
                  <a:gd name="T67" fmla="*/ 3620 h 209"/>
                  <a:gd name="T68" fmla="*/ 647 w 77"/>
                  <a:gd name="T69" fmla="*/ 3459 h 209"/>
                  <a:gd name="T70" fmla="*/ 7 w 77"/>
                  <a:gd name="T71" fmla="*/ 3174 h 209"/>
                  <a:gd name="T72" fmla="*/ 608 w 77"/>
                  <a:gd name="T73" fmla="*/ 2864 h 209"/>
                  <a:gd name="T74" fmla="*/ 608 w 77"/>
                  <a:gd name="T75" fmla="*/ 2662 h 209"/>
                  <a:gd name="T76" fmla="*/ 4 w 77"/>
                  <a:gd name="T77" fmla="*/ 2373 h 209"/>
                  <a:gd name="T78" fmla="*/ 0 w 77"/>
                  <a:gd name="T79" fmla="*/ 2031 h 209"/>
                  <a:gd name="T80" fmla="*/ 1 w 77"/>
                  <a:gd name="T81" fmla="*/ 1656 h 209"/>
                  <a:gd name="T82" fmla="*/ 4 w 77"/>
                  <a:gd name="T83" fmla="*/ 1156 h 209"/>
                  <a:gd name="T84" fmla="*/ 3 w 77"/>
                  <a:gd name="T85" fmla="*/ 991 h 209"/>
                  <a:gd name="T86" fmla="*/ 1 w 77"/>
                  <a:gd name="T87" fmla="*/ 1027 h 209"/>
                  <a:gd name="T88" fmla="*/ 0 w 77"/>
                  <a:gd name="T89" fmla="*/ 941 h 209"/>
                  <a:gd name="T90" fmla="*/ 1 w 77"/>
                  <a:gd name="T91" fmla="*/ 681 h 209"/>
                  <a:gd name="T92" fmla="*/ 4 w 77"/>
                  <a:gd name="T93" fmla="*/ 388 h 209"/>
                  <a:gd name="T94" fmla="*/ 6 w 77"/>
                  <a:gd name="T95" fmla="*/ 6 h 209"/>
                  <a:gd name="T96" fmla="*/ 7 w 77"/>
                  <a:gd name="T97" fmla="*/ 0 h 209"/>
                  <a:gd name="T98" fmla="*/ 647 w 77"/>
                  <a:gd name="T99" fmla="*/ 3 h 209"/>
                  <a:gd name="T100" fmla="*/ 689 w 77"/>
                  <a:gd name="T101" fmla="*/ 9 h 209"/>
                  <a:gd name="T102" fmla="*/ 734 w 77"/>
                  <a:gd name="T103" fmla="*/ 452 h 209"/>
                  <a:gd name="T104" fmla="*/ 734 w 77"/>
                  <a:gd name="T105" fmla="*/ 681 h 209"/>
                  <a:gd name="T106" fmla="*/ 782 w 77"/>
                  <a:gd name="T107" fmla="*/ 894 h 20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7"/>
                  <a:gd name="T163" fmla="*/ 0 h 209"/>
                  <a:gd name="T164" fmla="*/ 77 w 77"/>
                  <a:gd name="T165" fmla="*/ 209 h 20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7" h="209">
                    <a:moveTo>
                      <a:pt x="13" y="30"/>
                    </a:moveTo>
                    <a:lnTo>
                      <a:pt x="17" y="36"/>
                    </a:lnTo>
                    <a:lnTo>
                      <a:pt x="21" y="40"/>
                    </a:lnTo>
                    <a:lnTo>
                      <a:pt x="20" y="54"/>
                    </a:lnTo>
                    <a:lnTo>
                      <a:pt x="21" y="65"/>
                    </a:lnTo>
                    <a:lnTo>
                      <a:pt x="23" y="67"/>
                    </a:lnTo>
                    <a:lnTo>
                      <a:pt x="27" y="71"/>
                    </a:lnTo>
                    <a:lnTo>
                      <a:pt x="26" y="81"/>
                    </a:lnTo>
                    <a:lnTo>
                      <a:pt x="28" y="91"/>
                    </a:lnTo>
                    <a:lnTo>
                      <a:pt x="30" y="100"/>
                    </a:lnTo>
                    <a:lnTo>
                      <a:pt x="29" y="104"/>
                    </a:lnTo>
                    <a:lnTo>
                      <a:pt x="24" y="107"/>
                    </a:lnTo>
                    <a:lnTo>
                      <a:pt x="27" y="118"/>
                    </a:lnTo>
                    <a:lnTo>
                      <a:pt x="43" y="126"/>
                    </a:lnTo>
                    <a:lnTo>
                      <a:pt x="55" y="139"/>
                    </a:lnTo>
                    <a:lnTo>
                      <a:pt x="55" y="145"/>
                    </a:lnTo>
                    <a:lnTo>
                      <a:pt x="55" y="155"/>
                    </a:lnTo>
                    <a:lnTo>
                      <a:pt x="61" y="171"/>
                    </a:lnTo>
                    <a:lnTo>
                      <a:pt x="66" y="180"/>
                    </a:lnTo>
                    <a:lnTo>
                      <a:pt x="69" y="188"/>
                    </a:lnTo>
                    <a:lnTo>
                      <a:pt x="77" y="201"/>
                    </a:lnTo>
                    <a:lnTo>
                      <a:pt x="71" y="209"/>
                    </a:lnTo>
                    <a:lnTo>
                      <a:pt x="63" y="201"/>
                    </a:lnTo>
                    <a:lnTo>
                      <a:pt x="59" y="201"/>
                    </a:lnTo>
                    <a:lnTo>
                      <a:pt x="55" y="201"/>
                    </a:lnTo>
                    <a:lnTo>
                      <a:pt x="55" y="194"/>
                    </a:lnTo>
                    <a:lnTo>
                      <a:pt x="55" y="190"/>
                    </a:lnTo>
                    <a:lnTo>
                      <a:pt x="53" y="186"/>
                    </a:lnTo>
                    <a:lnTo>
                      <a:pt x="49" y="161"/>
                    </a:lnTo>
                    <a:lnTo>
                      <a:pt x="42" y="153"/>
                    </a:lnTo>
                    <a:lnTo>
                      <a:pt x="31" y="149"/>
                    </a:lnTo>
                    <a:lnTo>
                      <a:pt x="23" y="140"/>
                    </a:lnTo>
                    <a:lnTo>
                      <a:pt x="18" y="135"/>
                    </a:lnTo>
                    <a:lnTo>
                      <a:pt x="13" y="123"/>
                    </a:lnTo>
                    <a:lnTo>
                      <a:pt x="10" y="118"/>
                    </a:lnTo>
                    <a:lnTo>
                      <a:pt x="7" y="107"/>
                    </a:lnTo>
                    <a:lnTo>
                      <a:pt x="9" y="97"/>
                    </a:lnTo>
                    <a:lnTo>
                      <a:pt x="9" y="90"/>
                    </a:lnTo>
                    <a:lnTo>
                      <a:pt x="4" y="81"/>
                    </a:lnTo>
                    <a:lnTo>
                      <a:pt x="0" y="68"/>
                    </a:lnTo>
                    <a:lnTo>
                      <a:pt x="1" y="57"/>
                    </a:lnTo>
                    <a:lnTo>
                      <a:pt x="4" y="40"/>
                    </a:lnTo>
                    <a:lnTo>
                      <a:pt x="3" y="34"/>
                    </a:lnTo>
                    <a:lnTo>
                      <a:pt x="1" y="35"/>
                    </a:lnTo>
                    <a:lnTo>
                      <a:pt x="0" y="32"/>
                    </a:lnTo>
                    <a:lnTo>
                      <a:pt x="1" y="24"/>
                    </a:lnTo>
                    <a:lnTo>
                      <a:pt x="4" y="13"/>
                    </a:lnTo>
                    <a:lnTo>
                      <a:pt x="6" y="6"/>
                    </a:lnTo>
                    <a:lnTo>
                      <a:pt x="7" y="0"/>
                    </a:lnTo>
                    <a:lnTo>
                      <a:pt x="10" y="3"/>
                    </a:lnTo>
                    <a:lnTo>
                      <a:pt x="11" y="9"/>
                    </a:lnTo>
                    <a:lnTo>
                      <a:pt x="12" y="16"/>
                    </a:lnTo>
                    <a:lnTo>
                      <a:pt x="12" y="24"/>
                    </a:lnTo>
                    <a:lnTo>
                      <a:pt x="13" y="3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pic>
            <p:nvPicPr>
              <p:cNvPr id="244" name="Picture 3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389" y="3188"/>
                <a:ext cx="96"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 name="Picture 3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389" y="3188"/>
                <a:ext cx="96"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6" name="Freeform 32"/>
              <p:cNvSpPr>
                <a:spLocks/>
              </p:cNvSpPr>
              <p:nvPr/>
            </p:nvSpPr>
            <p:spPr bwMode="auto">
              <a:xfrm>
                <a:off x="2396" y="3193"/>
                <a:ext cx="77" cy="54"/>
              </a:xfrm>
              <a:custGeom>
                <a:avLst/>
                <a:gdLst>
                  <a:gd name="T0" fmla="*/ 7 w 72"/>
                  <a:gd name="T1" fmla="*/ 2017 h 51"/>
                  <a:gd name="T2" fmla="*/ 3 w 72"/>
                  <a:gd name="T3" fmla="*/ 2204 h 51"/>
                  <a:gd name="T4" fmla="*/ 0 w 72"/>
                  <a:gd name="T5" fmla="*/ 2204 h 51"/>
                  <a:gd name="T6" fmla="*/ 3 w 72"/>
                  <a:gd name="T7" fmla="*/ 1905 h 51"/>
                  <a:gd name="T8" fmla="*/ 6 w 72"/>
                  <a:gd name="T9" fmla="*/ 1797 h 51"/>
                  <a:gd name="T10" fmla="*/ 761 w 72"/>
                  <a:gd name="T11" fmla="*/ 1605 h 51"/>
                  <a:gd name="T12" fmla="*/ 761 w 72"/>
                  <a:gd name="T13" fmla="*/ 1514 h 51"/>
                  <a:gd name="T14" fmla="*/ 871 w 72"/>
                  <a:gd name="T15" fmla="*/ 1351 h 51"/>
                  <a:gd name="T16" fmla="*/ 1393 w 72"/>
                  <a:gd name="T17" fmla="*/ 1076 h 51"/>
                  <a:gd name="T18" fmla="*/ 1822 w 72"/>
                  <a:gd name="T19" fmla="*/ 682 h 51"/>
                  <a:gd name="T20" fmla="*/ 2084 w 72"/>
                  <a:gd name="T21" fmla="*/ 608 h 51"/>
                  <a:gd name="T22" fmla="*/ 2237 w 72"/>
                  <a:gd name="T23" fmla="*/ 512 h 51"/>
                  <a:gd name="T24" fmla="*/ 2237 w 72"/>
                  <a:gd name="T25" fmla="*/ 484 h 51"/>
                  <a:gd name="T26" fmla="*/ 2558 w 72"/>
                  <a:gd name="T27" fmla="*/ 457 h 51"/>
                  <a:gd name="T28" fmla="*/ 3129 w 72"/>
                  <a:gd name="T29" fmla="*/ 484 h 51"/>
                  <a:gd name="T30" fmla="*/ 3441 w 72"/>
                  <a:gd name="T31" fmla="*/ 4 h 51"/>
                  <a:gd name="T32" fmla="*/ 3578 w 72"/>
                  <a:gd name="T33" fmla="*/ 4 h 51"/>
                  <a:gd name="T34" fmla="*/ 3680 w 72"/>
                  <a:gd name="T35" fmla="*/ 2 h 51"/>
                  <a:gd name="T36" fmla="*/ 4081 w 72"/>
                  <a:gd name="T37" fmla="*/ 0 h 51"/>
                  <a:gd name="T38" fmla="*/ 4814 w 72"/>
                  <a:gd name="T39" fmla="*/ 1 h 51"/>
                  <a:gd name="T40" fmla="*/ 5178 w 72"/>
                  <a:gd name="T41" fmla="*/ 1 h 51"/>
                  <a:gd name="T42" fmla="*/ 5888 w 72"/>
                  <a:gd name="T43" fmla="*/ 5 h 51"/>
                  <a:gd name="T44" fmla="*/ 6105 w 72"/>
                  <a:gd name="T45" fmla="*/ 8 h 51"/>
                  <a:gd name="T46" fmla="*/ 5725 w 72"/>
                  <a:gd name="T47" fmla="*/ 457 h 51"/>
                  <a:gd name="T48" fmla="*/ 5506 w 72"/>
                  <a:gd name="T49" fmla="*/ 512 h 51"/>
                  <a:gd name="T50" fmla="*/ 5353 w 72"/>
                  <a:gd name="T51" fmla="*/ 512 h 51"/>
                  <a:gd name="T52" fmla="*/ 4842 w 72"/>
                  <a:gd name="T53" fmla="*/ 457 h 51"/>
                  <a:gd name="T54" fmla="*/ 4528 w 72"/>
                  <a:gd name="T55" fmla="*/ 432 h 51"/>
                  <a:gd name="T56" fmla="*/ 4501 w 72"/>
                  <a:gd name="T57" fmla="*/ 457 h 51"/>
                  <a:gd name="T58" fmla="*/ 4376 w 72"/>
                  <a:gd name="T59" fmla="*/ 512 h 51"/>
                  <a:gd name="T60" fmla="*/ 4209 w 72"/>
                  <a:gd name="T61" fmla="*/ 574 h 51"/>
                  <a:gd name="T62" fmla="*/ 4081 w 72"/>
                  <a:gd name="T63" fmla="*/ 512 h 51"/>
                  <a:gd name="T64" fmla="*/ 3936 w 72"/>
                  <a:gd name="T65" fmla="*/ 512 h 51"/>
                  <a:gd name="T66" fmla="*/ 3680 w 72"/>
                  <a:gd name="T67" fmla="*/ 574 h 51"/>
                  <a:gd name="T68" fmla="*/ 3441 w 72"/>
                  <a:gd name="T69" fmla="*/ 608 h 51"/>
                  <a:gd name="T70" fmla="*/ 3218 w 72"/>
                  <a:gd name="T71" fmla="*/ 682 h 51"/>
                  <a:gd name="T72" fmla="*/ 3218 w 72"/>
                  <a:gd name="T73" fmla="*/ 764 h 51"/>
                  <a:gd name="T74" fmla="*/ 3218 w 72"/>
                  <a:gd name="T75" fmla="*/ 857 h 51"/>
                  <a:gd name="T76" fmla="*/ 3129 w 72"/>
                  <a:gd name="T77" fmla="*/ 907 h 51"/>
                  <a:gd name="T78" fmla="*/ 2926 w 72"/>
                  <a:gd name="T79" fmla="*/ 857 h 51"/>
                  <a:gd name="T80" fmla="*/ 2550 w 72"/>
                  <a:gd name="T81" fmla="*/ 1016 h 51"/>
                  <a:gd name="T82" fmla="*/ 2384 w 72"/>
                  <a:gd name="T83" fmla="*/ 1076 h 51"/>
                  <a:gd name="T84" fmla="*/ 2237 w 72"/>
                  <a:gd name="T85" fmla="*/ 1206 h 51"/>
                  <a:gd name="T86" fmla="*/ 2084 w 72"/>
                  <a:gd name="T87" fmla="*/ 1276 h 51"/>
                  <a:gd name="T88" fmla="*/ 1822 w 72"/>
                  <a:gd name="T89" fmla="*/ 1352 h 51"/>
                  <a:gd name="T90" fmla="*/ 1490 w 72"/>
                  <a:gd name="T91" fmla="*/ 1516 h 51"/>
                  <a:gd name="T92" fmla="*/ 1218 w 72"/>
                  <a:gd name="T93" fmla="*/ 1605 h 51"/>
                  <a:gd name="T94" fmla="*/ 1139 w 72"/>
                  <a:gd name="T95" fmla="*/ 1797 h 51"/>
                  <a:gd name="T96" fmla="*/ 871 w 72"/>
                  <a:gd name="T97" fmla="*/ 1797 h 51"/>
                  <a:gd name="T98" fmla="*/ 7 w 72"/>
                  <a:gd name="T99" fmla="*/ 2017 h 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2"/>
                  <a:gd name="T151" fmla="*/ 0 h 51"/>
                  <a:gd name="T152" fmla="*/ 72 w 72"/>
                  <a:gd name="T153" fmla="*/ 51 h 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2" h="51">
                    <a:moveTo>
                      <a:pt x="7" y="47"/>
                    </a:moveTo>
                    <a:lnTo>
                      <a:pt x="3" y="51"/>
                    </a:lnTo>
                    <a:lnTo>
                      <a:pt x="0" y="51"/>
                    </a:lnTo>
                    <a:lnTo>
                      <a:pt x="3" y="44"/>
                    </a:lnTo>
                    <a:lnTo>
                      <a:pt x="6" y="41"/>
                    </a:lnTo>
                    <a:lnTo>
                      <a:pt x="8" y="38"/>
                    </a:lnTo>
                    <a:lnTo>
                      <a:pt x="8" y="35"/>
                    </a:lnTo>
                    <a:lnTo>
                      <a:pt x="10" y="31"/>
                    </a:lnTo>
                    <a:lnTo>
                      <a:pt x="17" y="25"/>
                    </a:lnTo>
                    <a:lnTo>
                      <a:pt x="21" y="17"/>
                    </a:lnTo>
                    <a:lnTo>
                      <a:pt x="24" y="15"/>
                    </a:lnTo>
                    <a:lnTo>
                      <a:pt x="27" y="12"/>
                    </a:lnTo>
                    <a:lnTo>
                      <a:pt x="27" y="11"/>
                    </a:lnTo>
                    <a:lnTo>
                      <a:pt x="31" y="10"/>
                    </a:lnTo>
                    <a:lnTo>
                      <a:pt x="37" y="11"/>
                    </a:lnTo>
                    <a:lnTo>
                      <a:pt x="41" y="4"/>
                    </a:lnTo>
                    <a:lnTo>
                      <a:pt x="43" y="4"/>
                    </a:lnTo>
                    <a:lnTo>
                      <a:pt x="44" y="2"/>
                    </a:lnTo>
                    <a:lnTo>
                      <a:pt x="48" y="0"/>
                    </a:lnTo>
                    <a:lnTo>
                      <a:pt x="57" y="1"/>
                    </a:lnTo>
                    <a:lnTo>
                      <a:pt x="62" y="1"/>
                    </a:lnTo>
                    <a:lnTo>
                      <a:pt x="70" y="5"/>
                    </a:lnTo>
                    <a:lnTo>
                      <a:pt x="72" y="8"/>
                    </a:lnTo>
                    <a:lnTo>
                      <a:pt x="68" y="10"/>
                    </a:lnTo>
                    <a:lnTo>
                      <a:pt x="65" y="12"/>
                    </a:lnTo>
                    <a:lnTo>
                      <a:pt x="64" y="12"/>
                    </a:lnTo>
                    <a:lnTo>
                      <a:pt x="58" y="10"/>
                    </a:lnTo>
                    <a:lnTo>
                      <a:pt x="54" y="9"/>
                    </a:lnTo>
                    <a:lnTo>
                      <a:pt x="53" y="10"/>
                    </a:lnTo>
                    <a:lnTo>
                      <a:pt x="52" y="12"/>
                    </a:lnTo>
                    <a:lnTo>
                      <a:pt x="50" y="14"/>
                    </a:lnTo>
                    <a:lnTo>
                      <a:pt x="48" y="12"/>
                    </a:lnTo>
                    <a:lnTo>
                      <a:pt x="47" y="12"/>
                    </a:lnTo>
                    <a:lnTo>
                      <a:pt x="44" y="14"/>
                    </a:lnTo>
                    <a:lnTo>
                      <a:pt x="41" y="15"/>
                    </a:lnTo>
                    <a:lnTo>
                      <a:pt x="38" y="17"/>
                    </a:lnTo>
                    <a:lnTo>
                      <a:pt x="38" y="19"/>
                    </a:lnTo>
                    <a:lnTo>
                      <a:pt x="38" y="21"/>
                    </a:lnTo>
                    <a:lnTo>
                      <a:pt x="37" y="22"/>
                    </a:lnTo>
                    <a:lnTo>
                      <a:pt x="35" y="21"/>
                    </a:lnTo>
                    <a:lnTo>
                      <a:pt x="30" y="24"/>
                    </a:lnTo>
                    <a:lnTo>
                      <a:pt x="28" y="25"/>
                    </a:lnTo>
                    <a:lnTo>
                      <a:pt x="27" y="28"/>
                    </a:lnTo>
                    <a:lnTo>
                      <a:pt x="24" y="29"/>
                    </a:lnTo>
                    <a:lnTo>
                      <a:pt x="21" y="32"/>
                    </a:lnTo>
                    <a:lnTo>
                      <a:pt x="18" y="36"/>
                    </a:lnTo>
                    <a:lnTo>
                      <a:pt x="15" y="38"/>
                    </a:lnTo>
                    <a:lnTo>
                      <a:pt x="14" y="41"/>
                    </a:lnTo>
                    <a:lnTo>
                      <a:pt x="10" y="41"/>
                    </a:lnTo>
                    <a:lnTo>
                      <a:pt x="7"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7" name="Freeform 33"/>
              <p:cNvSpPr>
                <a:spLocks/>
              </p:cNvSpPr>
              <p:nvPr/>
            </p:nvSpPr>
            <p:spPr bwMode="auto">
              <a:xfrm>
                <a:off x="2396" y="3193"/>
                <a:ext cx="77" cy="54"/>
              </a:xfrm>
              <a:custGeom>
                <a:avLst/>
                <a:gdLst>
                  <a:gd name="T0" fmla="*/ 7 w 72"/>
                  <a:gd name="T1" fmla="*/ 2017 h 51"/>
                  <a:gd name="T2" fmla="*/ 3 w 72"/>
                  <a:gd name="T3" fmla="*/ 2204 h 51"/>
                  <a:gd name="T4" fmla="*/ 0 w 72"/>
                  <a:gd name="T5" fmla="*/ 2204 h 51"/>
                  <a:gd name="T6" fmla="*/ 3 w 72"/>
                  <a:gd name="T7" fmla="*/ 1905 h 51"/>
                  <a:gd name="T8" fmla="*/ 6 w 72"/>
                  <a:gd name="T9" fmla="*/ 1797 h 51"/>
                  <a:gd name="T10" fmla="*/ 761 w 72"/>
                  <a:gd name="T11" fmla="*/ 1605 h 51"/>
                  <a:gd name="T12" fmla="*/ 761 w 72"/>
                  <a:gd name="T13" fmla="*/ 1514 h 51"/>
                  <a:gd name="T14" fmla="*/ 871 w 72"/>
                  <a:gd name="T15" fmla="*/ 1351 h 51"/>
                  <a:gd name="T16" fmla="*/ 1393 w 72"/>
                  <a:gd name="T17" fmla="*/ 1076 h 51"/>
                  <a:gd name="T18" fmla="*/ 1822 w 72"/>
                  <a:gd name="T19" fmla="*/ 682 h 51"/>
                  <a:gd name="T20" fmla="*/ 2084 w 72"/>
                  <a:gd name="T21" fmla="*/ 608 h 51"/>
                  <a:gd name="T22" fmla="*/ 2237 w 72"/>
                  <a:gd name="T23" fmla="*/ 512 h 51"/>
                  <a:gd name="T24" fmla="*/ 2237 w 72"/>
                  <a:gd name="T25" fmla="*/ 484 h 51"/>
                  <a:gd name="T26" fmla="*/ 2558 w 72"/>
                  <a:gd name="T27" fmla="*/ 457 h 51"/>
                  <a:gd name="T28" fmla="*/ 3129 w 72"/>
                  <a:gd name="T29" fmla="*/ 484 h 51"/>
                  <a:gd name="T30" fmla="*/ 3441 w 72"/>
                  <a:gd name="T31" fmla="*/ 4 h 51"/>
                  <a:gd name="T32" fmla="*/ 3578 w 72"/>
                  <a:gd name="T33" fmla="*/ 4 h 51"/>
                  <a:gd name="T34" fmla="*/ 3680 w 72"/>
                  <a:gd name="T35" fmla="*/ 2 h 51"/>
                  <a:gd name="T36" fmla="*/ 4081 w 72"/>
                  <a:gd name="T37" fmla="*/ 0 h 51"/>
                  <a:gd name="T38" fmla="*/ 4814 w 72"/>
                  <a:gd name="T39" fmla="*/ 1 h 51"/>
                  <a:gd name="T40" fmla="*/ 5178 w 72"/>
                  <a:gd name="T41" fmla="*/ 1 h 51"/>
                  <a:gd name="T42" fmla="*/ 5888 w 72"/>
                  <a:gd name="T43" fmla="*/ 5 h 51"/>
                  <a:gd name="T44" fmla="*/ 6105 w 72"/>
                  <a:gd name="T45" fmla="*/ 8 h 51"/>
                  <a:gd name="T46" fmla="*/ 5725 w 72"/>
                  <a:gd name="T47" fmla="*/ 457 h 51"/>
                  <a:gd name="T48" fmla="*/ 5506 w 72"/>
                  <a:gd name="T49" fmla="*/ 512 h 51"/>
                  <a:gd name="T50" fmla="*/ 5353 w 72"/>
                  <a:gd name="T51" fmla="*/ 512 h 51"/>
                  <a:gd name="T52" fmla="*/ 4842 w 72"/>
                  <a:gd name="T53" fmla="*/ 457 h 51"/>
                  <a:gd name="T54" fmla="*/ 4528 w 72"/>
                  <a:gd name="T55" fmla="*/ 432 h 51"/>
                  <a:gd name="T56" fmla="*/ 4501 w 72"/>
                  <a:gd name="T57" fmla="*/ 457 h 51"/>
                  <a:gd name="T58" fmla="*/ 4376 w 72"/>
                  <a:gd name="T59" fmla="*/ 512 h 51"/>
                  <a:gd name="T60" fmla="*/ 4209 w 72"/>
                  <a:gd name="T61" fmla="*/ 574 h 51"/>
                  <a:gd name="T62" fmla="*/ 4081 w 72"/>
                  <a:gd name="T63" fmla="*/ 512 h 51"/>
                  <a:gd name="T64" fmla="*/ 3936 w 72"/>
                  <a:gd name="T65" fmla="*/ 512 h 51"/>
                  <a:gd name="T66" fmla="*/ 3680 w 72"/>
                  <a:gd name="T67" fmla="*/ 574 h 51"/>
                  <a:gd name="T68" fmla="*/ 3441 w 72"/>
                  <a:gd name="T69" fmla="*/ 608 h 51"/>
                  <a:gd name="T70" fmla="*/ 3218 w 72"/>
                  <a:gd name="T71" fmla="*/ 682 h 51"/>
                  <a:gd name="T72" fmla="*/ 3218 w 72"/>
                  <a:gd name="T73" fmla="*/ 764 h 51"/>
                  <a:gd name="T74" fmla="*/ 3218 w 72"/>
                  <a:gd name="T75" fmla="*/ 857 h 51"/>
                  <a:gd name="T76" fmla="*/ 3129 w 72"/>
                  <a:gd name="T77" fmla="*/ 907 h 51"/>
                  <a:gd name="T78" fmla="*/ 2926 w 72"/>
                  <a:gd name="T79" fmla="*/ 857 h 51"/>
                  <a:gd name="T80" fmla="*/ 2550 w 72"/>
                  <a:gd name="T81" fmla="*/ 1016 h 51"/>
                  <a:gd name="T82" fmla="*/ 2384 w 72"/>
                  <a:gd name="T83" fmla="*/ 1076 h 51"/>
                  <a:gd name="T84" fmla="*/ 2237 w 72"/>
                  <a:gd name="T85" fmla="*/ 1206 h 51"/>
                  <a:gd name="T86" fmla="*/ 2084 w 72"/>
                  <a:gd name="T87" fmla="*/ 1276 h 51"/>
                  <a:gd name="T88" fmla="*/ 1822 w 72"/>
                  <a:gd name="T89" fmla="*/ 1352 h 51"/>
                  <a:gd name="T90" fmla="*/ 1490 w 72"/>
                  <a:gd name="T91" fmla="*/ 1516 h 51"/>
                  <a:gd name="T92" fmla="*/ 1218 w 72"/>
                  <a:gd name="T93" fmla="*/ 1605 h 51"/>
                  <a:gd name="T94" fmla="*/ 1139 w 72"/>
                  <a:gd name="T95" fmla="*/ 1797 h 51"/>
                  <a:gd name="T96" fmla="*/ 871 w 72"/>
                  <a:gd name="T97" fmla="*/ 1797 h 51"/>
                  <a:gd name="T98" fmla="*/ 7 w 72"/>
                  <a:gd name="T99" fmla="*/ 2017 h 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2"/>
                  <a:gd name="T151" fmla="*/ 0 h 51"/>
                  <a:gd name="T152" fmla="*/ 72 w 72"/>
                  <a:gd name="T153" fmla="*/ 51 h 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2" h="51">
                    <a:moveTo>
                      <a:pt x="7" y="47"/>
                    </a:moveTo>
                    <a:lnTo>
                      <a:pt x="3" y="51"/>
                    </a:lnTo>
                    <a:lnTo>
                      <a:pt x="0" y="51"/>
                    </a:lnTo>
                    <a:lnTo>
                      <a:pt x="3" y="44"/>
                    </a:lnTo>
                    <a:lnTo>
                      <a:pt x="6" y="41"/>
                    </a:lnTo>
                    <a:lnTo>
                      <a:pt x="8" y="38"/>
                    </a:lnTo>
                    <a:lnTo>
                      <a:pt x="8" y="35"/>
                    </a:lnTo>
                    <a:lnTo>
                      <a:pt x="10" y="31"/>
                    </a:lnTo>
                    <a:lnTo>
                      <a:pt x="17" y="25"/>
                    </a:lnTo>
                    <a:lnTo>
                      <a:pt x="21" y="17"/>
                    </a:lnTo>
                    <a:lnTo>
                      <a:pt x="24" y="15"/>
                    </a:lnTo>
                    <a:lnTo>
                      <a:pt x="27" y="12"/>
                    </a:lnTo>
                    <a:lnTo>
                      <a:pt x="27" y="11"/>
                    </a:lnTo>
                    <a:lnTo>
                      <a:pt x="31" y="10"/>
                    </a:lnTo>
                    <a:lnTo>
                      <a:pt x="37" y="11"/>
                    </a:lnTo>
                    <a:lnTo>
                      <a:pt x="41" y="4"/>
                    </a:lnTo>
                    <a:lnTo>
                      <a:pt x="43" y="4"/>
                    </a:lnTo>
                    <a:lnTo>
                      <a:pt x="44" y="2"/>
                    </a:lnTo>
                    <a:lnTo>
                      <a:pt x="48" y="0"/>
                    </a:lnTo>
                    <a:lnTo>
                      <a:pt x="57" y="1"/>
                    </a:lnTo>
                    <a:lnTo>
                      <a:pt x="62" y="1"/>
                    </a:lnTo>
                    <a:lnTo>
                      <a:pt x="70" y="5"/>
                    </a:lnTo>
                    <a:lnTo>
                      <a:pt x="72" y="8"/>
                    </a:lnTo>
                    <a:lnTo>
                      <a:pt x="68" y="10"/>
                    </a:lnTo>
                    <a:lnTo>
                      <a:pt x="65" y="12"/>
                    </a:lnTo>
                    <a:lnTo>
                      <a:pt x="64" y="12"/>
                    </a:lnTo>
                    <a:lnTo>
                      <a:pt x="58" y="10"/>
                    </a:lnTo>
                    <a:lnTo>
                      <a:pt x="54" y="9"/>
                    </a:lnTo>
                    <a:lnTo>
                      <a:pt x="53" y="10"/>
                    </a:lnTo>
                    <a:lnTo>
                      <a:pt x="52" y="12"/>
                    </a:lnTo>
                    <a:lnTo>
                      <a:pt x="50" y="14"/>
                    </a:lnTo>
                    <a:lnTo>
                      <a:pt x="48" y="12"/>
                    </a:lnTo>
                    <a:lnTo>
                      <a:pt x="47" y="12"/>
                    </a:lnTo>
                    <a:lnTo>
                      <a:pt x="44" y="14"/>
                    </a:lnTo>
                    <a:lnTo>
                      <a:pt x="41" y="15"/>
                    </a:lnTo>
                    <a:lnTo>
                      <a:pt x="38" y="17"/>
                    </a:lnTo>
                    <a:lnTo>
                      <a:pt x="38" y="19"/>
                    </a:lnTo>
                    <a:lnTo>
                      <a:pt x="38" y="21"/>
                    </a:lnTo>
                    <a:lnTo>
                      <a:pt x="37" y="22"/>
                    </a:lnTo>
                    <a:lnTo>
                      <a:pt x="35" y="21"/>
                    </a:lnTo>
                    <a:lnTo>
                      <a:pt x="30" y="24"/>
                    </a:lnTo>
                    <a:lnTo>
                      <a:pt x="28" y="25"/>
                    </a:lnTo>
                    <a:lnTo>
                      <a:pt x="27" y="28"/>
                    </a:lnTo>
                    <a:lnTo>
                      <a:pt x="24" y="29"/>
                    </a:lnTo>
                    <a:lnTo>
                      <a:pt x="21" y="32"/>
                    </a:lnTo>
                    <a:lnTo>
                      <a:pt x="18" y="36"/>
                    </a:lnTo>
                    <a:lnTo>
                      <a:pt x="15" y="38"/>
                    </a:lnTo>
                    <a:lnTo>
                      <a:pt x="14" y="41"/>
                    </a:lnTo>
                    <a:lnTo>
                      <a:pt x="10" y="41"/>
                    </a:lnTo>
                    <a:lnTo>
                      <a:pt x="7" y="47"/>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48" name="Freeform 34"/>
              <p:cNvSpPr>
                <a:spLocks/>
              </p:cNvSpPr>
              <p:nvPr/>
            </p:nvSpPr>
            <p:spPr bwMode="auto">
              <a:xfrm>
                <a:off x="1832" y="1575"/>
                <a:ext cx="443" cy="645"/>
              </a:xfrm>
              <a:custGeom>
                <a:avLst/>
                <a:gdLst>
                  <a:gd name="T0" fmla="*/ 36134 w 414"/>
                  <a:gd name="T1" fmla="*/ 3850 h 614"/>
                  <a:gd name="T2" fmla="*/ 36134 w 414"/>
                  <a:gd name="T3" fmla="*/ 6647 h 614"/>
                  <a:gd name="T4" fmla="*/ 33769 w 414"/>
                  <a:gd name="T5" fmla="*/ 7578 h 614"/>
                  <a:gd name="T6" fmla="*/ 32489 w 414"/>
                  <a:gd name="T7" fmla="*/ 7627 h 614"/>
                  <a:gd name="T8" fmla="*/ 31901 w 414"/>
                  <a:gd name="T9" fmla="*/ 8238 h 614"/>
                  <a:gd name="T10" fmla="*/ 30243 w 414"/>
                  <a:gd name="T11" fmla="*/ 9021 h 614"/>
                  <a:gd name="T12" fmla="*/ 30237 w 414"/>
                  <a:gd name="T13" fmla="*/ 9275 h 614"/>
                  <a:gd name="T14" fmla="*/ 29492 w 414"/>
                  <a:gd name="T15" fmla="*/ 9647 h 614"/>
                  <a:gd name="T16" fmla="*/ 28912 w 414"/>
                  <a:gd name="T17" fmla="*/ 10235 h 614"/>
                  <a:gd name="T18" fmla="*/ 29146 w 414"/>
                  <a:gd name="T19" fmla="*/ 10603 h 614"/>
                  <a:gd name="T20" fmla="*/ 30243 w 414"/>
                  <a:gd name="T21" fmla="*/ 10768 h 614"/>
                  <a:gd name="T22" fmla="*/ 31241 w 414"/>
                  <a:gd name="T23" fmla="*/ 11700 h 614"/>
                  <a:gd name="T24" fmla="*/ 32038 w 414"/>
                  <a:gd name="T25" fmla="*/ 12061 h 614"/>
                  <a:gd name="T26" fmla="*/ 30937 w 414"/>
                  <a:gd name="T27" fmla="*/ 12266 h 614"/>
                  <a:gd name="T28" fmla="*/ 29146 w 414"/>
                  <a:gd name="T29" fmla="*/ 12401 h 614"/>
                  <a:gd name="T30" fmla="*/ 28284 w 414"/>
                  <a:gd name="T31" fmla="*/ 12996 h 614"/>
                  <a:gd name="T32" fmla="*/ 27243 w 414"/>
                  <a:gd name="T33" fmla="*/ 13248 h 614"/>
                  <a:gd name="T34" fmla="*/ 25757 w 414"/>
                  <a:gd name="T35" fmla="*/ 13768 h 614"/>
                  <a:gd name="T36" fmla="*/ 24437 w 414"/>
                  <a:gd name="T37" fmla="*/ 13917 h 614"/>
                  <a:gd name="T38" fmla="*/ 23461 w 414"/>
                  <a:gd name="T39" fmla="*/ 14166 h 614"/>
                  <a:gd name="T40" fmla="*/ 22389 w 414"/>
                  <a:gd name="T41" fmla="*/ 14187 h 614"/>
                  <a:gd name="T42" fmla="*/ 20245 w 414"/>
                  <a:gd name="T43" fmla="*/ 14197 h 614"/>
                  <a:gd name="T44" fmla="*/ 18902 w 414"/>
                  <a:gd name="T45" fmla="*/ 14341 h 614"/>
                  <a:gd name="T46" fmla="*/ 19073 w 414"/>
                  <a:gd name="T47" fmla="*/ 14551 h 614"/>
                  <a:gd name="T48" fmla="*/ 18902 w 414"/>
                  <a:gd name="T49" fmla="*/ 14814 h 614"/>
                  <a:gd name="T50" fmla="*/ 18273 w 414"/>
                  <a:gd name="T51" fmla="*/ 15065 h 614"/>
                  <a:gd name="T52" fmla="*/ 17824 w 414"/>
                  <a:gd name="T53" fmla="*/ 15205 h 614"/>
                  <a:gd name="T54" fmla="*/ 15363 w 414"/>
                  <a:gd name="T55" fmla="*/ 15286 h 614"/>
                  <a:gd name="T56" fmla="*/ 13230 w 414"/>
                  <a:gd name="T57" fmla="*/ 15508 h 614"/>
                  <a:gd name="T58" fmla="*/ 12264 w 414"/>
                  <a:gd name="T59" fmla="*/ 15629 h 614"/>
                  <a:gd name="T60" fmla="*/ 11459 w 414"/>
                  <a:gd name="T61" fmla="*/ 15562 h 614"/>
                  <a:gd name="T62" fmla="*/ 10843 w 414"/>
                  <a:gd name="T63" fmla="*/ 15437 h 614"/>
                  <a:gd name="T64" fmla="*/ 10371 w 414"/>
                  <a:gd name="T65" fmla="*/ 15467 h 614"/>
                  <a:gd name="T66" fmla="*/ 8814 w 414"/>
                  <a:gd name="T67" fmla="*/ 15826 h 614"/>
                  <a:gd name="T68" fmla="*/ 7809 w 414"/>
                  <a:gd name="T69" fmla="*/ 15724 h 614"/>
                  <a:gd name="T70" fmla="*/ 6667 w 414"/>
                  <a:gd name="T71" fmla="*/ 15867 h 614"/>
                  <a:gd name="T72" fmla="*/ 6309 w 414"/>
                  <a:gd name="T73" fmla="*/ 15437 h 614"/>
                  <a:gd name="T74" fmla="*/ 5086 w 414"/>
                  <a:gd name="T75" fmla="*/ 14463 h 614"/>
                  <a:gd name="T76" fmla="*/ 3431 w 414"/>
                  <a:gd name="T77" fmla="*/ 14308 h 614"/>
                  <a:gd name="T78" fmla="*/ 2286 w 414"/>
                  <a:gd name="T79" fmla="*/ 13691 h 614"/>
                  <a:gd name="T80" fmla="*/ 2800 w 414"/>
                  <a:gd name="T81" fmla="*/ 13317 h 614"/>
                  <a:gd name="T82" fmla="*/ 4812 w 414"/>
                  <a:gd name="T83" fmla="*/ 13299 h 614"/>
                  <a:gd name="T84" fmla="*/ 6573 w 414"/>
                  <a:gd name="T85" fmla="*/ 13299 h 614"/>
                  <a:gd name="T86" fmla="*/ 5365 w 414"/>
                  <a:gd name="T87" fmla="*/ 12670 h 614"/>
                  <a:gd name="T88" fmla="*/ 4812 w 414"/>
                  <a:gd name="T89" fmla="*/ 11886 h 614"/>
                  <a:gd name="T90" fmla="*/ 4812 w 414"/>
                  <a:gd name="T91" fmla="*/ 11238 h 614"/>
                  <a:gd name="T92" fmla="*/ 4203 w 414"/>
                  <a:gd name="T93" fmla="*/ 10542 h 614"/>
                  <a:gd name="T94" fmla="*/ 5741 w 414"/>
                  <a:gd name="T95" fmla="*/ 10250 h 614"/>
                  <a:gd name="T96" fmla="*/ 5488 w 414"/>
                  <a:gd name="T97" fmla="*/ 9760 h 614"/>
                  <a:gd name="T98" fmla="*/ 4186 w 414"/>
                  <a:gd name="T99" fmla="*/ 9743 h 614"/>
                  <a:gd name="T100" fmla="*/ 2136 w 414"/>
                  <a:gd name="T101" fmla="*/ 9291 h 614"/>
                  <a:gd name="T102" fmla="*/ 1009 w 414"/>
                  <a:gd name="T103" fmla="*/ 9091 h 614"/>
                  <a:gd name="T104" fmla="*/ 3 w 414"/>
                  <a:gd name="T105" fmla="*/ 8688 h 614"/>
                  <a:gd name="T106" fmla="*/ 1009 w 414"/>
                  <a:gd name="T107" fmla="*/ 8365 h 614"/>
                  <a:gd name="T108" fmla="*/ 6723 w 414"/>
                  <a:gd name="T109" fmla="*/ 6358 h 614"/>
                  <a:gd name="T110" fmla="*/ 8814 w 414"/>
                  <a:gd name="T111" fmla="*/ 2891 h 614"/>
                  <a:gd name="T112" fmla="*/ 6667 w 414"/>
                  <a:gd name="T113" fmla="*/ 2483 h 614"/>
                  <a:gd name="T114" fmla="*/ 5896 w 414"/>
                  <a:gd name="T115" fmla="*/ 2048 h 614"/>
                  <a:gd name="T116" fmla="*/ 5488 w 414"/>
                  <a:gd name="T117" fmla="*/ 1759 h 614"/>
                  <a:gd name="T118" fmla="*/ 8941 w 414"/>
                  <a:gd name="T119" fmla="*/ 0 h 614"/>
                  <a:gd name="T120" fmla="*/ 15363 w 414"/>
                  <a:gd name="T121" fmla="*/ 882 h 614"/>
                  <a:gd name="T122" fmla="*/ 23980 w 414"/>
                  <a:gd name="T123" fmla="*/ 2119 h 614"/>
                  <a:gd name="T124" fmla="*/ 32531 w 414"/>
                  <a:gd name="T125" fmla="*/ 3408 h 6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14"/>
                  <a:gd name="T190" fmla="*/ 0 h 614"/>
                  <a:gd name="T191" fmla="*/ 414 w 414"/>
                  <a:gd name="T192" fmla="*/ 614 h 6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14" h="614">
                    <a:moveTo>
                      <a:pt x="374" y="132"/>
                    </a:moveTo>
                    <a:lnTo>
                      <a:pt x="407" y="148"/>
                    </a:lnTo>
                    <a:lnTo>
                      <a:pt x="414" y="149"/>
                    </a:lnTo>
                    <a:lnTo>
                      <a:pt x="414" y="185"/>
                    </a:lnTo>
                    <a:lnTo>
                      <a:pt x="414" y="222"/>
                    </a:lnTo>
                    <a:lnTo>
                      <a:pt x="414" y="258"/>
                    </a:lnTo>
                    <a:lnTo>
                      <a:pt x="412" y="292"/>
                    </a:lnTo>
                    <a:lnTo>
                      <a:pt x="409" y="293"/>
                    </a:lnTo>
                    <a:lnTo>
                      <a:pt x="387" y="293"/>
                    </a:lnTo>
                    <a:lnTo>
                      <a:pt x="381" y="294"/>
                    </a:lnTo>
                    <a:lnTo>
                      <a:pt x="372" y="294"/>
                    </a:lnTo>
                    <a:lnTo>
                      <a:pt x="372" y="296"/>
                    </a:lnTo>
                    <a:lnTo>
                      <a:pt x="369" y="302"/>
                    </a:lnTo>
                    <a:lnTo>
                      <a:pt x="369" y="310"/>
                    </a:lnTo>
                    <a:lnTo>
                      <a:pt x="366" y="317"/>
                    </a:lnTo>
                    <a:lnTo>
                      <a:pt x="358" y="329"/>
                    </a:lnTo>
                    <a:lnTo>
                      <a:pt x="346" y="341"/>
                    </a:lnTo>
                    <a:lnTo>
                      <a:pt x="346" y="349"/>
                    </a:lnTo>
                    <a:lnTo>
                      <a:pt x="348" y="356"/>
                    </a:lnTo>
                    <a:lnTo>
                      <a:pt x="346" y="358"/>
                    </a:lnTo>
                    <a:lnTo>
                      <a:pt x="345" y="359"/>
                    </a:lnTo>
                    <a:lnTo>
                      <a:pt x="339" y="362"/>
                    </a:lnTo>
                    <a:lnTo>
                      <a:pt x="339" y="365"/>
                    </a:lnTo>
                    <a:lnTo>
                      <a:pt x="338" y="373"/>
                    </a:lnTo>
                    <a:lnTo>
                      <a:pt x="338" y="382"/>
                    </a:lnTo>
                    <a:lnTo>
                      <a:pt x="335" y="389"/>
                    </a:lnTo>
                    <a:lnTo>
                      <a:pt x="331" y="396"/>
                    </a:lnTo>
                    <a:lnTo>
                      <a:pt x="329" y="399"/>
                    </a:lnTo>
                    <a:lnTo>
                      <a:pt x="329" y="411"/>
                    </a:lnTo>
                    <a:lnTo>
                      <a:pt x="333" y="411"/>
                    </a:lnTo>
                    <a:lnTo>
                      <a:pt x="336" y="409"/>
                    </a:lnTo>
                    <a:lnTo>
                      <a:pt x="348" y="408"/>
                    </a:lnTo>
                    <a:lnTo>
                      <a:pt x="346" y="418"/>
                    </a:lnTo>
                    <a:lnTo>
                      <a:pt x="350" y="429"/>
                    </a:lnTo>
                    <a:lnTo>
                      <a:pt x="358" y="453"/>
                    </a:lnTo>
                    <a:lnTo>
                      <a:pt x="359" y="454"/>
                    </a:lnTo>
                    <a:lnTo>
                      <a:pt x="364" y="456"/>
                    </a:lnTo>
                    <a:lnTo>
                      <a:pt x="366" y="460"/>
                    </a:lnTo>
                    <a:lnTo>
                      <a:pt x="367" y="466"/>
                    </a:lnTo>
                    <a:lnTo>
                      <a:pt x="368" y="471"/>
                    </a:lnTo>
                    <a:lnTo>
                      <a:pt x="361" y="475"/>
                    </a:lnTo>
                    <a:lnTo>
                      <a:pt x="354" y="476"/>
                    </a:lnTo>
                    <a:lnTo>
                      <a:pt x="348" y="478"/>
                    </a:lnTo>
                    <a:lnTo>
                      <a:pt x="338" y="479"/>
                    </a:lnTo>
                    <a:lnTo>
                      <a:pt x="333" y="480"/>
                    </a:lnTo>
                    <a:lnTo>
                      <a:pt x="328" y="485"/>
                    </a:lnTo>
                    <a:lnTo>
                      <a:pt x="324" y="493"/>
                    </a:lnTo>
                    <a:lnTo>
                      <a:pt x="324" y="503"/>
                    </a:lnTo>
                    <a:lnTo>
                      <a:pt x="320" y="505"/>
                    </a:lnTo>
                    <a:lnTo>
                      <a:pt x="316" y="511"/>
                    </a:lnTo>
                    <a:lnTo>
                      <a:pt x="312" y="513"/>
                    </a:lnTo>
                    <a:lnTo>
                      <a:pt x="310" y="514"/>
                    </a:lnTo>
                    <a:lnTo>
                      <a:pt x="298" y="524"/>
                    </a:lnTo>
                    <a:lnTo>
                      <a:pt x="295" y="533"/>
                    </a:lnTo>
                    <a:lnTo>
                      <a:pt x="293" y="535"/>
                    </a:lnTo>
                    <a:lnTo>
                      <a:pt x="285" y="539"/>
                    </a:lnTo>
                    <a:lnTo>
                      <a:pt x="280" y="539"/>
                    </a:lnTo>
                    <a:lnTo>
                      <a:pt x="276" y="545"/>
                    </a:lnTo>
                    <a:lnTo>
                      <a:pt x="275" y="546"/>
                    </a:lnTo>
                    <a:lnTo>
                      <a:pt x="269" y="549"/>
                    </a:lnTo>
                    <a:lnTo>
                      <a:pt x="265" y="548"/>
                    </a:lnTo>
                    <a:lnTo>
                      <a:pt x="260" y="548"/>
                    </a:lnTo>
                    <a:lnTo>
                      <a:pt x="256" y="550"/>
                    </a:lnTo>
                    <a:lnTo>
                      <a:pt x="249" y="550"/>
                    </a:lnTo>
                    <a:lnTo>
                      <a:pt x="247" y="551"/>
                    </a:lnTo>
                    <a:lnTo>
                      <a:pt x="233" y="551"/>
                    </a:lnTo>
                    <a:lnTo>
                      <a:pt x="225" y="552"/>
                    </a:lnTo>
                    <a:lnTo>
                      <a:pt x="218" y="555"/>
                    </a:lnTo>
                    <a:lnTo>
                      <a:pt x="217" y="555"/>
                    </a:lnTo>
                    <a:lnTo>
                      <a:pt x="216" y="559"/>
                    </a:lnTo>
                    <a:lnTo>
                      <a:pt x="216" y="561"/>
                    </a:lnTo>
                    <a:lnTo>
                      <a:pt x="219" y="564"/>
                    </a:lnTo>
                    <a:lnTo>
                      <a:pt x="221" y="569"/>
                    </a:lnTo>
                    <a:lnTo>
                      <a:pt x="221" y="572"/>
                    </a:lnTo>
                    <a:lnTo>
                      <a:pt x="217" y="574"/>
                    </a:lnTo>
                    <a:lnTo>
                      <a:pt x="215" y="580"/>
                    </a:lnTo>
                    <a:lnTo>
                      <a:pt x="211" y="582"/>
                    </a:lnTo>
                    <a:lnTo>
                      <a:pt x="208" y="583"/>
                    </a:lnTo>
                    <a:lnTo>
                      <a:pt x="207" y="584"/>
                    </a:lnTo>
                    <a:lnTo>
                      <a:pt x="205" y="589"/>
                    </a:lnTo>
                    <a:lnTo>
                      <a:pt x="205" y="590"/>
                    </a:lnTo>
                    <a:lnTo>
                      <a:pt x="187" y="590"/>
                    </a:lnTo>
                    <a:lnTo>
                      <a:pt x="182" y="592"/>
                    </a:lnTo>
                    <a:lnTo>
                      <a:pt x="176" y="592"/>
                    </a:lnTo>
                    <a:lnTo>
                      <a:pt x="171" y="592"/>
                    </a:lnTo>
                    <a:lnTo>
                      <a:pt x="156" y="598"/>
                    </a:lnTo>
                    <a:lnTo>
                      <a:pt x="152" y="600"/>
                    </a:lnTo>
                    <a:lnTo>
                      <a:pt x="151" y="602"/>
                    </a:lnTo>
                    <a:lnTo>
                      <a:pt x="146" y="603"/>
                    </a:lnTo>
                    <a:lnTo>
                      <a:pt x="141" y="605"/>
                    </a:lnTo>
                    <a:lnTo>
                      <a:pt x="139" y="608"/>
                    </a:lnTo>
                    <a:lnTo>
                      <a:pt x="137" y="610"/>
                    </a:lnTo>
                    <a:lnTo>
                      <a:pt x="131" y="603"/>
                    </a:lnTo>
                    <a:lnTo>
                      <a:pt x="129" y="602"/>
                    </a:lnTo>
                    <a:lnTo>
                      <a:pt x="126" y="598"/>
                    </a:lnTo>
                    <a:lnTo>
                      <a:pt x="125" y="598"/>
                    </a:lnTo>
                    <a:lnTo>
                      <a:pt x="122" y="598"/>
                    </a:lnTo>
                    <a:lnTo>
                      <a:pt x="121" y="599"/>
                    </a:lnTo>
                    <a:lnTo>
                      <a:pt x="119" y="599"/>
                    </a:lnTo>
                    <a:lnTo>
                      <a:pt x="118" y="605"/>
                    </a:lnTo>
                    <a:lnTo>
                      <a:pt x="108" y="607"/>
                    </a:lnTo>
                    <a:lnTo>
                      <a:pt x="101" y="612"/>
                    </a:lnTo>
                    <a:lnTo>
                      <a:pt x="98" y="612"/>
                    </a:lnTo>
                    <a:lnTo>
                      <a:pt x="93" y="610"/>
                    </a:lnTo>
                    <a:lnTo>
                      <a:pt x="90" y="610"/>
                    </a:lnTo>
                    <a:lnTo>
                      <a:pt x="85" y="612"/>
                    </a:lnTo>
                    <a:lnTo>
                      <a:pt x="80" y="612"/>
                    </a:lnTo>
                    <a:lnTo>
                      <a:pt x="76" y="614"/>
                    </a:lnTo>
                    <a:lnTo>
                      <a:pt x="75" y="613"/>
                    </a:lnTo>
                    <a:lnTo>
                      <a:pt x="74" y="610"/>
                    </a:lnTo>
                    <a:lnTo>
                      <a:pt x="73" y="598"/>
                    </a:lnTo>
                    <a:lnTo>
                      <a:pt x="71" y="586"/>
                    </a:lnTo>
                    <a:lnTo>
                      <a:pt x="63" y="565"/>
                    </a:lnTo>
                    <a:lnTo>
                      <a:pt x="58" y="560"/>
                    </a:lnTo>
                    <a:lnTo>
                      <a:pt x="55" y="558"/>
                    </a:lnTo>
                    <a:lnTo>
                      <a:pt x="48" y="555"/>
                    </a:lnTo>
                    <a:lnTo>
                      <a:pt x="40" y="554"/>
                    </a:lnTo>
                    <a:lnTo>
                      <a:pt x="36" y="550"/>
                    </a:lnTo>
                    <a:lnTo>
                      <a:pt x="28" y="539"/>
                    </a:lnTo>
                    <a:lnTo>
                      <a:pt x="27" y="531"/>
                    </a:lnTo>
                    <a:lnTo>
                      <a:pt x="27" y="521"/>
                    </a:lnTo>
                    <a:lnTo>
                      <a:pt x="30" y="517"/>
                    </a:lnTo>
                    <a:lnTo>
                      <a:pt x="33" y="516"/>
                    </a:lnTo>
                    <a:lnTo>
                      <a:pt x="36" y="514"/>
                    </a:lnTo>
                    <a:lnTo>
                      <a:pt x="46" y="513"/>
                    </a:lnTo>
                    <a:lnTo>
                      <a:pt x="56" y="514"/>
                    </a:lnTo>
                    <a:lnTo>
                      <a:pt x="71" y="518"/>
                    </a:lnTo>
                    <a:lnTo>
                      <a:pt x="74" y="517"/>
                    </a:lnTo>
                    <a:lnTo>
                      <a:pt x="75" y="514"/>
                    </a:lnTo>
                    <a:lnTo>
                      <a:pt x="74" y="509"/>
                    </a:lnTo>
                    <a:lnTo>
                      <a:pt x="73" y="503"/>
                    </a:lnTo>
                    <a:lnTo>
                      <a:pt x="61" y="490"/>
                    </a:lnTo>
                    <a:lnTo>
                      <a:pt x="55" y="476"/>
                    </a:lnTo>
                    <a:lnTo>
                      <a:pt x="55" y="469"/>
                    </a:lnTo>
                    <a:lnTo>
                      <a:pt x="56" y="462"/>
                    </a:lnTo>
                    <a:lnTo>
                      <a:pt x="58" y="454"/>
                    </a:lnTo>
                    <a:lnTo>
                      <a:pt x="59" y="440"/>
                    </a:lnTo>
                    <a:lnTo>
                      <a:pt x="56" y="435"/>
                    </a:lnTo>
                    <a:lnTo>
                      <a:pt x="53" y="429"/>
                    </a:lnTo>
                    <a:lnTo>
                      <a:pt x="49" y="409"/>
                    </a:lnTo>
                    <a:lnTo>
                      <a:pt x="49" y="408"/>
                    </a:lnTo>
                    <a:lnTo>
                      <a:pt x="48" y="408"/>
                    </a:lnTo>
                    <a:lnTo>
                      <a:pt x="58" y="404"/>
                    </a:lnTo>
                    <a:lnTo>
                      <a:pt x="65" y="398"/>
                    </a:lnTo>
                    <a:lnTo>
                      <a:pt x="66" y="393"/>
                    </a:lnTo>
                    <a:lnTo>
                      <a:pt x="68" y="390"/>
                    </a:lnTo>
                    <a:lnTo>
                      <a:pt x="63" y="380"/>
                    </a:lnTo>
                    <a:lnTo>
                      <a:pt x="58" y="381"/>
                    </a:lnTo>
                    <a:lnTo>
                      <a:pt x="52" y="380"/>
                    </a:lnTo>
                    <a:lnTo>
                      <a:pt x="48" y="377"/>
                    </a:lnTo>
                    <a:lnTo>
                      <a:pt x="39" y="378"/>
                    </a:lnTo>
                    <a:lnTo>
                      <a:pt x="27" y="377"/>
                    </a:lnTo>
                    <a:lnTo>
                      <a:pt x="25" y="362"/>
                    </a:lnTo>
                    <a:lnTo>
                      <a:pt x="20" y="357"/>
                    </a:lnTo>
                    <a:lnTo>
                      <a:pt x="15" y="353"/>
                    </a:lnTo>
                    <a:lnTo>
                      <a:pt x="12" y="350"/>
                    </a:lnTo>
                    <a:lnTo>
                      <a:pt x="1" y="346"/>
                    </a:lnTo>
                    <a:lnTo>
                      <a:pt x="0" y="339"/>
                    </a:lnTo>
                    <a:lnTo>
                      <a:pt x="3" y="336"/>
                    </a:lnTo>
                    <a:lnTo>
                      <a:pt x="8" y="334"/>
                    </a:lnTo>
                    <a:lnTo>
                      <a:pt x="7" y="327"/>
                    </a:lnTo>
                    <a:lnTo>
                      <a:pt x="12" y="325"/>
                    </a:lnTo>
                    <a:lnTo>
                      <a:pt x="12" y="318"/>
                    </a:lnTo>
                    <a:lnTo>
                      <a:pt x="75" y="251"/>
                    </a:lnTo>
                    <a:lnTo>
                      <a:pt x="77" y="247"/>
                    </a:lnTo>
                    <a:lnTo>
                      <a:pt x="81" y="181"/>
                    </a:lnTo>
                    <a:lnTo>
                      <a:pt x="91" y="128"/>
                    </a:lnTo>
                    <a:lnTo>
                      <a:pt x="101" y="112"/>
                    </a:lnTo>
                    <a:lnTo>
                      <a:pt x="85" y="104"/>
                    </a:lnTo>
                    <a:lnTo>
                      <a:pt x="81" y="101"/>
                    </a:lnTo>
                    <a:lnTo>
                      <a:pt x="76" y="96"/>
                    </a:lnTo>
                    <a:lnTo>
                      <a:pt x="74" y="92"/>
                    </a:lnTo>
                    <a:lnTo>
                      <a:pt x="71" y="86"/>
                    </a:lnTo>
                    <a:lnTo>
                      <a:pt x="68" y="80"/>
                    </a:lnTo>
                    <a:lnTo>
                      <a:pt x="68" y="78"/>
                    </a:lnTo>
                    <a:lnTo>
                      <a:pt x="65" y="71"/>
                    </a:lnTo>
                    <a:lnTo>
                      <a:pt x="63" y="68"/>
                    </a:lnTo>
                    <a:lnTo>
                      <a:pt x="63" y="12"/>
                    </a:lnTo>
                    <a:lnTo>
                      <a:pt x="68" y="10"/>
                    </a:lnTo>
                    <a:lnTo>
                      <a:pt x="103" y="0"/>
                    </a:lnTo>
                    <a:lnTo>
                      <a:pt x="109" y="2"/>
                    </a:lnTo>
                    <a:lnTo>
                      <a:pt x="142" y="18"/>
                    </a:lnTo>
                    <a:lnTo>
                      <a:pt x="176" y="34"/>
                    </a:lnTo>
                    <a:lnTo>
                      <a:pt x="209" y="51"/>
                    </a:lnTo>
                    <a:lnTo>
                      <a:pt x="242" y="67"/>
                    </a:lnTo>
                    <a:lnTo>
                      <a:pt x="275" y="82"/>
                    </a:lnTo>
                    <a:lnTo>
                      <a:pt x="307" y="99"/>
                    </a:lnTo>
                    <a:lnTo>
                      <a:pt x="341" y="116"/>
                    </a:lnTo>
                    <a:lnTo>
                      <a:pt x="374" y="132"/>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9" name="Freeform 35"/>
              <p:cNvSpPr>
                <a:spLocks/>
              </p:cNvSpPr>
              <p:nvPr/>
            </p:nvSpPr>
            <p:spPr bwMode="auto">
              <a:xfrm>
                <a:off x="1832" y="1575"/>
                <a:ext cx="443" cy="645"/>
              </a:xfrm>
              <a:custGeom>
                <a:avLst/>
                <a:gdLst>
                  <a:gd name="T0" fmla="*/ 36134 w 414"/>
                  <a:gd name="T1" fmla="*/ 3850 h 614"/>
                  <a:gd name="T2" fmla="*/ 36134 w 414"/>
                  <a:gd name="T3" fmla="*/ 6647 h 614"/>
                  <a:gd name="T4" fmla="*/ 33769 w 414"/>
                  <a:gd name="T5" fmla="*/ 7578 h 614"/>
                  <a:gd name="T6" fmla="*/ 32489 w 414"/>
                  <a:gd name="T7" fmla="*/ 7627 h 614"/>
                  <a:gd name="T8" fmla="*/ 31901 w 414"/>
                  <a:gd name="T9" fmla="*/ 8238 h 614"/>
                  <a:gd name="T10" fmla="*/ 30243 w 414"/>
                  <a:gd name="T11" fmla="*/ 9021 h 614"/>
                  <a:gd name="T12" fmla="*/ 30237 w 414"/>
                  <a:gd name="T13" fmla="*/ 9275 h 614"/>
                  <a:gd name="T14" fmla="*/ 29492 w 414"/>
                  <a:gd name="T15" fmla="*/ 9647 h 614"/>
                  <a:gd name="T16" fmla="*/ 28912 w 414"/>
                  <a:gd name="T17" fmla="*/ 10235 h 614"/>
                  <a:gd name="T18" fmla="*/ 29146 w 414"/>
                  <a:gd name="T19" fmla="*/ 10603 h 614"/>
                  <a:gd name="T20" fmla="*/ 30243 w 414"/>
                  <a:gd name="T21" fmla="*/ 10768 h 614"/>
                  <a:gd name="T22" fmla="*/ 31241 w 414"/>
                  <a:gd name="T23" fmla="*/ 11700 h 614"/>
                  <a:gd name="T24" fmla="*/ 32038 w 414"/>
                  <a:gd name="T25" fmla="*/ 12061 h 614"/>
                  <a:gd name="T26" fmla="*/ 30937 w 414"/>
                  <a:gd name="T27" fmla="*/ 12266 h 614"/>
                  <a:gd name="T28" fmla="*/ 29146 w 414"/>
                  <a:gd name="T29" fmla="*/ 12401 h 614"/>
                  <a:gd name="T30" fmla="*/ 28284 w 414"/>
                  <a:gd name="T31" fmla="*/ 12996 h 614"/>
                  <a:gd name="T32" fmla="*/ 27243 w 414"/>
                  <a:gd name="T33" fmla="*/ 13248 h 614"/>
                  <a:gd name="T34" fmla="*/ 25757 w 414"/>
                  <a:gd name="T35" fmla="*/ 13768 h 614"/>
                  <a:gd name="T36" fmla="*/ 24437 w 414"/>
                  <a:gd name="T37" fmla="*/ 13917 h 614"/>
                  <a:gd name="T38" fmla="*/ 23461 w 414"/>
                  <a:gd name="T39" fmla="*/ 14166 h 614"/>
                  <a:gd name="T40" fmla="*/ 22389 w 414"/>
                  <a:gd name="T41" fmla="*/ 14187 h 614"/>
                  <a:gd name="T42" fmla="*/ 20245 w 414"/>
                  <a:gd name="T43" fmla="*/ 14197 h 614"/>
                  <a:gd name="T44" fmla="*/ 18902 w 414"/>
                  <a:gd name="T45" fmla="*/ 14341 h 614"/>
                  <a:gd name="T46" fmla="*/ 19073 w 414"/>
                  <a:gd name="T47" fmla="*/ 14551 h 614"/>
                  <a:gd name="T48" fmla="*/ 18902 w 414"/>
                  <a:gd name="T49" fmla="*/ 14814 h 614"/>
                  <a:gd name="T50" fmla="*/ 18273 w 414"/>
                  <a:gd name="T51" fmla="*/ 15065 h 614"/>
                  <a:gd name="T52" fmla="*/ 17824 w 414"/>
                  <a:gd name="T53" fmla="*/ 15205 h 614"/>
                  <a:gd name="T54" fmla="*/ 15363 w 414"/>
                  <a:gd name="T55" fmla="*/ 15286 h 614"/>
                  <a:gd name="T56" fmla="*/ 13230 w 414"/>
                  <a:gd name="T57" fmla="*/ 15508 h 614"/>
                  <a:gd name="T58" fmla="*/ 12264 w 414"/>
                  <a:gd name="T59" fmla="*/ 15629 h 614"/>
                  <a:gd name="T60" fmla="*/ 11459 w 414"/>
                  <a:gd name="T61" fmla="*/ 15562 h 614"/>
                  <a:gd name="T62" fmla="*/ 10843 w 414"/>
                  <a:gd name="T63" fmla="*/ 15437 h 614"/>
                  <a:gd name="T64" fmla="*/ 10371 w 414"/>
                  <a:gd name="T65" fmla="*/ 15467 h 614"/>
                  <a:gd name="T66" fmla="*/ 8814 w 414"/>
                  <a:gd name="T67" fmla="*/ 15826 h 614"/>
                  <a:gd name="T68" fmla="*/ 7809 w 414"/>
                  <a:gd name="T69" fmla="*/ 15724 h 614"/>
                  <a:gd name="T70" fmla="*/ 6667 w 414"/>
                  <a:gd name="T71" fmla="*/ 15867 h 614"/>
                  <a:gd name="T72" fmla="*/ 6309 w 414"/>
                  <a:gd name="T73" fmla="*/ 15437 h 614"/>
                  <a:gd name="T74" fmla="*/ 5086 w 414"/>
                  <a:gd name="T75" fmla="*/ 14463 h 614"/>
                  <a:gd name="T76" fmla="*/ 3431 w 414"/>
                  <a:gd name="T77" fmla="*/ 14308 h 614"/>
                  <a:gd name="T78" fmla="*/ 2286 w 414"/>
                  <a:gd name="T79" fmla="*/ 13691 h 614"/>
                  <a:gd name="T80" fmla="*/ 2800 w 414"/>
                  <a:gd name="T81" fmla="*/ 13317 h 614"/>
                  <a:gd name="T82" fmla="*/ 4812 w 414"/>
                  <a:gd name="T83" fmla="*/ 13299 h 614"/>
                  <a:gd name="T84" fmla="*/ 6573 w 414"/>
                  <a:gd name="T85" fmla="*/ 13299 h 614"/>
                  <a:gd name="T86" fmla="*/ 5365 w 414"/>
                  <a:gd name="T87" fmla="*/ 12670 h 614"/>
                  <a:gd name="T88" fmla="*/ 4812 w 414"/>
                  <a:gd name="T89" fmla="*/ 11886 h 614"/>
                  <a:gd name="T90" fmla="*/ 4812 w 414"/>
                  <a:gd name="T91" fmla="*/ 11238 h 614"/>
                  <a:gd name="T92" fmla="*/ 4203 w 414"/>
                  <a:gd name="T93" fmla="*/ 10542 h 614"/>
                  <a:gd name="T94" fmla="*/ 5741 w 414"/>
                  <a:gd name="T95" fmla="*/ 10250 h 614"/>
                  <a:gd name="T96" fmla="*/ 5488 w 414"/>
                  <a:gd name="T97" fmla="*/ 9760 h 614"/>
                  <a:gd name="T98" fmla="*/ 4186 w 414"/>
                  <a:gd name="T99" fmla="*/ 9743 h 614"/>
                  <a:gd name="T100" fmla="*/ 2136 w 414"/>
                  <a:gd name="T101" fmla="*/ 9291 h 614"/>
                  <a:gd name="T102" fmla="*/ 1009 w 414"/>
                  <a:gd name="T103" fmla="*/ 9091 h 614"/>
                  <a:gd name="T104" fmla="*/ 3 w 414"/>
                  <a:gd name="T105" fmla="*/ 8688 h 614"/>
                  <a:gd name="T106" fmla="*/ 1009 w 414"/>
                  <a:gd name="T107" fmla="*/ 8365 h 614"/>
                  <a:gd name="T108" fmla="*/ 6723 w 414"/>
                  <a:gd name="T109" fmla="*/ 6358 h 614"/>
                  <a:gd name="T110" fmla="*/ 8814 w 414"/>
                  <a:gd name="T111" fmla="*/ 2891 h 614"/>
                  <a:gd name="T112" fmla="*/ 6667 w 414"/>
                  <a:gd name="T113" fmla="*/ 2483 h 614"/>
                  <a:gd name="T114" fmla="*/ 5896 w 414"/>
                  <a:gd name="T115" fmla="*/ 2048 h 614"/>
                  <a:gd name="T116" fmla="*/ 5488 w 414"/>
                  <a:gd name="T117" fmla="*/ 1759 h 614"/>
                  <a:gd name="T118" fmla="*/ 8941 w 414"/>
                  <a:gd name="T119" fmla="*/ 0 h 614"/>
                  <a:gd name="T120" fmla="*/ 15363 w 414"/>
                  <a:gd name="T121" fmla="*/ 882 h 614"/>
                  <a:gd name="T122" fmla="*/ 23980 w 414"/>
                  <a:gd name="T123" fmla="*/ 2119 h 614"/>
                  <a:gd name="T124" fmla="*/ 32531 w 414"/>
                  <a:gd name="T125" fmla="*/ 3408 h 6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14"/>
                  <a:gd name="T190" fmla="*/ 0 h 614"/>
                  <a:gd name="T191" fmla="*/ 414 w 414"/>
                  <a:gd name="T192" fmla="*/ 614 h 6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14" h="614">
                    <a:moveTo>
                      <a:pt x="374" y="132"/>
                    </a:moveTo>
                    <a:lnTo>
                      <a:pt x="407" y="148"/>
                    </a:lnTo>
                    <a:lnTo>
                      <a:pt x="414" y="149"/>
                    </a:lnTo>
                    <a:lnTo>
                      <a:pt x="414" y="185"/>
                    </a:lnTo>
                    <a:lnTo>
                      <a:pt x="414" y="222"/>
                    </a:lnTo>
                    <a:lnTo>
                      <a:pt x="414" y="258"/>
                    </a:lnTo>
                    <a:lnTo>
                      <a:pt x="412" y="292"/>
                    </a:lnTo>
                    <a:lnTo>
                      <a:pt x="409" y="293"/>
                    </a:lnTo>
                    <a:lnTo>
                      <a:pt x="387" y="293"/>
                    </a:lnTo>
                    <a:lnTo>
                      <a:pt x="381" y="294"/>
                    </a:lnTo>
                    <a:lnTo>
                      <a:pt x="372" y="294"/>
                    </a:lnTo>
                    <a:lnTo>
                      <a:pt x="372" y="296"/>
                    </a:lnTo>
                    <a:lnTo>
                      <a:pt x="369" y="302"/>
                    </a:lnTo>
                    <a:lnTo>
                      <a:pt x="369" y="310"/>
                    </a:lnTo>
                    <a:lnTo>
                      <a:pt x="366" y="317"/>
                    </a:lnTo>
                    <a:lnTo>
                      <a:pt x="358" y="329"/>
                    </a:lnTo>
                    <a:lnTo>
                      <a:pt x="346" y="341"/>
                    </a:lnTo>
                    <a:lnTo>
                      <a:pt x="346" y="349"/>
                    </a:lnTo>
                    <a:lnTo>
                      <a:pt x="348" y="356"/>
                    </a:lnTo>
                    <a:lnTo>
                      <a:pt x="346" y="358"/>
                    </a:lnTo>
                    <a:lnTo>
                      <a:pt x="345" y="359"/>
                    </a:lnTo>
                    <a:lnTo>
                      <a:pt x="339" y="362"/>
                    </a:lnTo>
                    <a:lnTo>
                      <a:pt x="339" y="365"/>
                    </a:lnTo>
                    <a:lnTo>
                      <a:pt x="338" y="373"/>
                    </a:lnTo>
                    <a:lnTo>
                      <a:pt x="338" y="382"/>
                    </a:lnTo>
                    <a:lnTo>
                      <a:pt x="335" y="389"/>
                    </a:lnTo>
                    <a:lnTo>
                      <a:pt x="331" y="396"/>
                    </a:lnTo>
                    <a:lnTo>
                      <a:pt x="329" y="399"/>
                    </a:lnTo>
                    <a:lnTo>
                      <a:pt x="329" y="411"/>
                    </a:lnTo>
                    <a:lnTo>
                      <a:pt x="333" y="411"/>
                    </a:lnTo>
                    <a:lnTo>
                      <a:pt x="336" y="409"/>
                    </a:lnTo>
                    <a:lnTo>
                      <a:pt x="348" y="408"/>
                    </a:lnTo>
                    <a:lnTo>
                      <a:pt x="346" y="418"/>
                    </a:lnTo>
                    <a:lnTo>
                      <a:pt x="350" y="429"/>
                    </a:lnTo>
                    <a:lnTo>
                      <a:pt x="358" y="453"/>
                    </a:lnTo>
                    <a:lnTo>
                      <a:pt x="359" y="454"/>
                    </a:lnTo>
                    <a:lnTo>
                      <a:pt x="364" y="456"/>
                    </a:lnTo>
                    <a:lnTo>
                      <a:pt x="366" y="460"/>
                    </a:lnTo>
                    <a:lnTo>
                      <a:pt x="367" y="466"/>
                    </a:lnTo>
                    <a:lnTo>
                      <a:pt x="368" y="471"/>
                    </a:lnTo>
                    <a:lnTo>
                      <a:pt x="361" y="475"/>
                    </a:lnTo>
                    <a:lnTo>
                      <a:pt x="354" y="476"/>
                    </a:lnTo>
                    <a:lnTo>
                      <a:pt x="348" y="478"/>
                    </a:lnTo>
                    <a:lnTo>
                      <a:pt x="338" y="479"/>
                    </a:lnTo>
                    <a:lnTo>
                      <a:pt x="333" y="480"/>
                    </a:lnTo>
                    <a:lnTo>
                      <a:pt x="328" y="485"/>
                    </a:lnTo>
                    <a:lnTo>
                      <a:pt x="324" y="493"/>
                    </a:lnTo>
                    <a:lnTo>
                      <a:pt x="324" y="503"/>
                    </a:lnTo>
                    <a:lnTo>
                      <a:pt x="320" y="505"/>
                    </a:lnTo>
                    <a:lnTo>
                      <a:pt x="316" y="511"/>
                    </a:lnTo>
                    <a:lnTo>
                      <a:pt x="312" y="513"/>
                    </a:lnTo>
                    <a:lnTo>
                      <a:pt x="310" y="514"/>
                    </a:lnTo>
                    <a:lnTo>
                      <a:pt x="298" y="524"/>
                    </a:lnTo>
                    <a:lnTo>
                      <a:pt x="295" y="533"/>
                    </a:lnTo>
                    <a:lnTo>
                      <a:pt x="293" y="535"/>
                    </a:lnTo>
                    <a:lnTo>
                      <a:pt x="285" y="539"/>
                    </a:lnTo>
                    <a:lnTo>
                      <a:pt x="280" y="539"/>
                    </a:lnTo>
                    <a:lnTo>
                      <a:pt x="276" y="545"/>
                    </a:lnTo>
                    <a:lnTo>
                      <a:pt x="275" y="546"/>
                    </a:lnTo>
                    <a:lnTo>
                      <a:pt x="269" y="549"/>
                    </a:lnTo>
                    <a:lnTo>
                      <a:pt x="265" y="548"/>
                    </a:lnTo>
                    <a:lnTo>
                      <a:pt x="260" y="548"/>
                    </a:lnTo>
                    <a:lnTo>
                      <a:pt x="256" y="550"/>
                    </a:lnTo>
                    <a:lnTo>
                      <a:pt x="249" y="550"/>
                    </a:lnTo>
                    <a:lnTo>
                      <a:pt x="247" y="551"/>
                    </a:lnTo>
                    <a:lnTo>
                      <a:pt x="233" y="551"/>
                    </a:lnTo>
                    <a:lnTo>
                      <a:pt x="225" y="552"/>
                    </a:lnTo>
                    <a:lnTo>
                      <a:pt x="218" y="555"/>
                    </a:lnTo>
                    <a:lnTo>
                      <a:pt x="217" y="555"/>
                    </a:lnTo>
                    <a:lnTo>
                      <a:pt x="216" y="559"/>
                    </a:lnTo>
                    <a:lnTo>
                      <a:pt x="216" y="561"/>
                    </a:lnTo>
                    <a:lnTo>
                      <a:pt x="219" y="564"/>
                    </a:lnTo>
                    <a:lnTo>
                      <a:pt x="221" y="569"/>
                    </a:lnTo>
                    <a:lnTo>
                      <a:pt x="221" y="572"/>
                    </a:lnTo>
                    <a:lnTo>
                      <a:pt x="217" y="574"/>
                    </a:lnTo>
                    <a:lnTo>
                      <a:pt x="215" y="580"/>
                    </a:lnTo>
                    <a:lnTo>
                      <a:pt x="211" y="582"/>
                    </a:lnTo>
                    <a:lnTo>
                      <a:pt x="208" y="583"/>
                    </a:lnTo>
                    <a:lnTo>
                      <a:pt x="207" y="584"/>
                    </a:lnTo>
                    <a:lnTo>
                      <a:pt x="205" y="589"/>
                    </a:lnTo>
                    <a:lnTo>
                      <a:pt x="205" y="590"/>
                    </a:lnTo>
                    <a:lnTo>
                      <a:pt x="187" y="590"/>
                    </a:lnTo>
                    <a:lnTo>
                      <a:pt x="182" y="592"/>
                    </a:lnTo>
                    <a:lnTo>
                      <a:pt x="176" y="592"/>
                    </a:lnTo>
                    <a:lnTo>
                      <a:pt x="171" y="592"/>
                    </a:lnTo>
                    <a:lnTo>
                      <a:pt x="156" y="598"/>
                    </a:lnTo>
                    <a:lnTo>
                      <a:pt x="152" y="600"/>
                    </a:lnTo>
                    <a:lnTo>
                      <a:pt x="151" y="602"/>
                    </a:lnTo>
                    <a:lnTo>
                      <a:pt x="146" y="603"/>
                    </a:lnTo>
                    <a:lnTo>
                      <a:pt x="141" y="605"/>
                    </a:lnTo>
                    <a:lnTo>
                      <a:pt x="139" y="608"/>
                    </a:lnTo>
                    <a:lnTo>
                      <a:pt x="137" y="610"/>
                    </a:lnTo>
                    <a:lnTo>
                      <a:pt x="131" y="603"/>
                    </a:lnTo>
                    <a:lnTo>
                      <a:pt x="129" y="602"/>
                    </a:lnTo>
                    <a:lnTo>
                      <a:pt x="126" y="598"/>
                    </a:lnTo>
                    <a:lnTo>
                      <a:pt x="125" y="598"/>
                    </a:lnTo>
                    <a:lnTo>
                      <a:pt x="122" y="598"/>
                    </a:lnTo>
                    <a:lnTo>
                      <a:pt x="121" y="599"/>
                    </a:lnTo>
                    <a:lnTo>
                      <a:pt x="119" y="599"/>
                    </a:lnTo>
                    <a:lnTo>
                      <a:pt x="118" y="605"/>
                    </a:lnTo>
                    <a:lnTo>
                      <a:pt x="108" y="607"/>
                    </a:lnTo>
                    <a:lnTo>
                      <a:pt x="101" y="612"/>
                    </a:lnTo>
                    <a:lnTo>
                      <a:pt x="98" y="612"/>
                    </a:lnTo>
                    <a:lnTo>
                      <a:pt x="93" y="610"/>
                    </a:lnTo>
                    <a:lnTo>
                      <a:pt x="90" y="610"/>
                    </a:lnTo>
                    <a:lnTo>
                      <a:pt x="85" y="612"/>
                    </a:lnTo>
                    <a:lnTo>
                      <a:pt x="80" y="612"/>
                    </a:lnTo>
                    <a:lnTo>
                      <a:pt x="76" y="614"/>
                    </a:lnTo>
                    <a:lnTo>
                      <a:pt x="75" y="613"/>
                    </a:lnTo>
                    <a:lnTo>
                      <a:pt x="74" y="610"/>
                    </a:lnTo>
                    <a:lnTo>
                      <a:pt x="73" y="598"/>
                    </a:lnTo>
                    <a:lnTo>
                      <a:pt x="71" y="586"/>
                    </a:lnTo>
                    <a:lnTo>
                      <a:pt x="63" y="565"/>
                    </a:lnTo>
                    <a:lnTo>
                      <a:pt x="58" y="560"/>
                    </a:lnTo>
                    <a:lnTo>
                      <a:pt x="55" y="558"/>
                    </a:lnTo>
                    <a:lnTo>
                      <a:pt x="48" y="555"/>
                    </a:lnTo>
                    <a:lnTo>
                      <a:pt x="40" y="554"/>
                    </a:lnTo>
                    <a:lnTo>
                      <a:pt x="36" y="550"/>
                    </a:lnTo>
                    <a:lnTo>
                      <a:pt x="28" y="539"/>
                    </a:lnTo>
                    <a:lnTo>
                      <a:pt x="27" y="531"/>
                    </a:lnTo>
                    <a:lnTo>
                      <a:pt x="27" y="521"/>
                    </a:lnTo>
                    <a:lnTo>
                      <a:pt x="30" y="517"/>
                    </a:lnTo>
                    <a:lnTo>
                      <a:pt x="33" y="516"/>
                    </a:lnTo>
                    <a:lnTo>
                      <a:pt x="36" y="514"/>
                    </a:lnTo>
                    <a:lnTo>
                      <a:pt x="46" y="513"/>
                    </a:lnTo>
                    <a:lnTo>
                      <a:pt x="56" y="514"/>
                    </a:lnTo>
                    <a:lnTo>
                      <a:pt x="71" y="518"/>
                    </a:lnTo>
                    <a:lnTo>
                      <a:pt x="74" y="517"/>
                    </a:lnTo>
                    <a:lnTo>
                      <a:pt x="75" y="514"/>
                    </a:lnTo>
                    <a:lnTo>
                      <a:pt x="74" y="509"/>
                    </a:lnTo>
                    <a:lnTo>
                      <a:pt x="73" y="503"/>
                    </a:lnTo>
                    <a:lnTo>
                      <a:pt x="61" y="490"/>
                    </a:lnTo>
                    <a:lnTo>
                      <a:pt x="55" y="476"/>
                    </a:lnTo>
                    <a:lnTo>
                      <a:pt x="55" y="469"/>
                    </a:lnTo>
                    <a:lnTo>
                      <a:pt x="56" y="462"/>
                    </a:lnTo>
                    <a:lnTo>
                      <a:pt x="58" y="454"/>
                    </a:lnTo>
                    <a:lnTo>
                      <a:pt x="59" y="440"/>
                    </a:lnTo>
                    <a:lnTo>
                      <a:pt x="56" y="435"/>
                    </a:lnTo>
                    <a:lnTo>
                      <a:pt x="53" y="429"/>
                    </a:lnTo>
                    <a:lnTo>
                      <a:pt x="49" y="409"/>
                    </a:lnTo>
                    <a:lnTo>
                      <a:pt x="49" y="408"/>
                    </a:lnTo>
                    <a:lnTo>
                      <a:pt x="48" y="408"/>
                    </a:lnTo>
                    <a:lnTo>
                      <a:pt x="58" y="404"/>
                    </a:lnTo>
                    <a:lnTo>
                      <a:pt x="65" y="398"/>
                    </a:lnTo>
                    <a:lnTo>
                      <a:pt x="66" y="393"/>
                    </a:lnTo>
                    <a:lnTo>
                      <a:pt x="68" y="390"/>
                    </a:lnTo>
                    <a:lnTo>
                      <a:pt x="63" y="380"/>
                    </a:lnTo>
                    <a:lnTo>
                      <a:pt x="58" y="381"/>
                    </a:lnTo>
                    <a:lnTo>
                      <a:pt x="52" y="380"/>
                    </a:lnTo>
                    <a:lnTo>
                      <a:pt x="48" y="377"/>
                    </a:lnTo>
                    <a:lnTo>
                      <a:pt x="39" y="378"/>
                    </a:lnTo>
                    <a:lnTo>
                      <a:pt x="27" y="377"/>
                    </a:lnTo>
                    <a:lnTo>
                      <a:pt x="25" y="362"/>
                    </a:lnTo>
                    <a:lnTo>
                      <a:pt x="20" y="357"/>
                    </a:lnTo>
                    <a:lnTo>
                      <a:pt x="15" y="353"/>
                    </a:lnTo>
                    <a:lnTo>
                      <a:pt x="12" y="350"/>
                    </a:lnTo>
                    <a:lnTo>
                      <a:pt x="1" y="346"/>
                    </a:lnTo>
                    <a:lnTo>
                      <a:pt x="0" y="339"/>
                    </a:lnTo>
                    <a:lnTo>
                      <a:pt x="3" y="336"/>
                    </a:lnTo>
                    <a:lnTo>
                      <a:pt x="8" y="334"/>
                    </a:lnTo>
                    <a:lnTo>
                      <a:pt x="7" y="327"/>
                    </a:lnTo>
                    <a:lnTo>
                      <a:pt x="12" y="325"/>
                    </a:lnTo>
                    <a:lnTo>
                      <a:pt x="12" y="318"/>
                    </a:lnTo>
                    <a:lnTo>
                      <a:pt x="75" y="251"/>
                    </a:lnTo>
                    <a:lnTo>
                      <a:pt x="77" y="247"/>
                    </a:lnTo>
                    <a:lnTo>
                      <a:pt x="81" y="181"/>
                    </a:lnTo>
                    <a:lnTo>
                      <a:pt x="91" y="128"/>
                    </a:lnTo>
                    <a:lnTo>
                      <a:pt x="101" y="112"/>
                    </a:lnTo>
                    <a:lnTo>
                      <a:pt x="85" y="104"/>
                    </a:lnTo>
                    <a:lnTo>
                      <a:pt x="81" y="101"/>
                    </a:lnTo>
                    <a:lnTo>
                      <a:pt x="76" y="96"/>
                    </a:lnTo>
                    <a:lnTo>
                      <a:pt x="74" y="92"/>
                    </a:lnTo>
                    <a:lnTo>
                      <a:pt x="71" y="86"/>
                    </a:lnTo>
                    <a:lnTo>
                      <a:pt x="68" y="80"/>
                    </a:lnTo>
                    <a:lnTo>
                      <a:pt x="68" y="78"/>
                    </a:lnTo>
                    <a:lnTo>
                      <a:pt x="65" y="71"/>
                    </a:lnTo>
                    <a:lnTo>
                      <a:pt x="63" y="68"/>
                    </a:lnTo>
                    <a:lnTo>
                      <a:pt x="63" y="12"/>
                    </a:lnTo>
                    <a:lnTo>
                      <a:pt x="68" y="10"/>
                    </a:lnTo>
                    <a:lnTo>
                      <a:pt x="103" y="0"/>
                    </a:lnTo>
                    <a:lnTo>
                      <a:pt x="109" y="2"/>
                    </a:lnTo>
                    <a:lnTo>
                      <a:pt x="142" y="18"/>
                    </a:lnTo>
                    <a:lnTo>
                      <a:pt x="176" y="34"/>
                    </a:lnTo>
                    <a:lnTo>
                      <a:pt x="209" y="51"/>
                    </a:lnTo>
                    <a:lnTo>
                      <a:pt x="242" y="67"/>
                    </a:lnTo>
                    <a:lnTo>
                      <a:pt x="275" y="82"/>
                    </a:lnTo>
                    <a:lnTo>
                      <a:pt x="307" y="99"/>
                    </a:lnTo>
                    <a:lnTo>
                      <a:pt x="341" y="116"/>
                    </a:lnTo>
                    <a:lnTo>
                      <a:pt x="374" y="132"/>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50" name="Freeform 36"/>
              <p:cNvSpPr>
                <a:spLocks/>
              </p:cNvSpPr>
              <p:nvPr/>
            </p:nvSpPr>
            <p:spPr bwMode="auto">
              <a:xfrm>
                <a:off x="549" y="1846"/>
                <a:ext cx="260" cy="175"/>
              </a:xfrm>
              <a:custGeom>
                <a:avLst/>
                <a:gdLst>
                  <a:gd name="T0" fmla="*/ 2603 w 243"/>
                  <a:gd name="T1" fmla="*/ 5307 h 166"/>
                  <a:gd name="T2" fmla="*/ 2980 w 243"/>
                  <a:gd name="T3" fmla="*/ 4415 h 166"/>
                  <a:gd name="T4" fmla="*/ 5974 w 243"/>
                  <a:gd name="T5" fmla="*/ 4125 h 166"/>
                  <a:gd name="T6" fmla="*/ 7794 w 243"/>
                  <a:gd name="T7" fmla="*/ 4005 h 166"/>
                  <a:gd name="T8" fmla="*/ 8805 w 243"/>
                  <a:gd name="T9" fmla="*/ 3993 h 166"/>
                  <a:gd name="T10" fmla="*/ 10685 w 243"/>
                  <a:gd name="T11" fmla="*/ 4222 h 166"/>
                  <a:gd name="T12" fmla="*/ 12347 w 243"/>
                  <a:gd name="T13" fmla="*/ 4188 h 166"/>
                  <a:gd name="T14" fmla="*/ 12538 w 243"/>
                  <a:gd name="T15" fmla="*/ 3865 h 166"/>
                  <a:gd name="T16" fmla="*/ 11747 w 243"/>
                  <a:gd name="T17" fmla="*/ 3865 h 166"/>
                  <a:gd name="T18" fmla="*/ 10080 w 243"/>
                  <a:gd name="T19" fmla="*/ 3769 h 166"/>
                  <a:gd name="T20" fmla="*/ 8608 w 243"/>
                  <a:gd name="T21" fmla="*/ 3575 h 166"/>
                  <a:gd name="T22" fmla="*/ 7317 w 243"/>
                  <a:gd name="T23" fmla="*/ 3575 h 166"/>
                  <a:gd name="T24" fmla="*/ 3192 w 243"/>
                  <a:gd name="T25" fmla="*/ 3815 h 166"/>
                  <a:gd name="T26" fmla="*/ 2436 w 243"/>
                  <a:gd name="T27" fmla="*/ 3089 h 166"/>
                  <a:gd name="T28" fmla="*/ 943 w 243"/>
                  <a:gd name="T29" fmla="*/ 2471 h 166"/>
                  <a:gd name="T30" fmla="*/ 1 w 243"/>
                  <a:gd name="T31" fmla="*/ 2471 h 166"/>
                  <a:gd name="T32" fmla="*/ 1080 w 243"/>
                  <a:gd name="T33" fmla="*/ 2233 h 166"/>
                  <a:gd name="T34" fmla="*/ 3411 w 243"/>
                  <a:gd name="T35" fmla="*/ 1189 h 166"/>
                  <a:gd name="T36" fmla="*/ 4053 w 243"/>
                  <a:gd name="T37" fmla="*/ 438 h 166"/>
                  <a:gd name="T38" fmla="*/ 5118 w 243"/>
                  <a:gd name="T39" fmla="*/ 4 h 166"/>
                  <a:gd name="T40" fmla="*/ 6718 w 243"/>
                  <a:gd name="T41" fmla="*/ 4 h 166"/>
                  <a:gd name="T42" fmla="*/ 8229 w 243"/>
                  <a:gd name="T43" fmla="*/ 0 h 166"/>
                  <a:gd name="T44" fmla="*/ 10261 w 243"/>
                  <a:gd name="T45" fmla="*/ 0 h 166"/>
                  <a:gd name="T46" fmla="*/ 11281 w 243"/>
                  <a:gd name="T47" fmla="*/ 4 h 166"/>
                  <a:gd name="T48" fmla="*/ 12796 w 243"/>
                  <a:gd name="T49" fmla="*/ 570 h 166"/>
                  <a:gd name="T50" fmla="*/ 13415 w 243"/>
                  <a:gd name="T51" fmla="*/ 570 h 166"/>
                  <a:gd name="T52" fmla="*/ 14649 w 243"/>
                  <a:gd name="T53" fmla="*/ 1189 h 166"/>
                  <a:gd name="T54" fmla="*/ 15124 w 243"/>
                  <a:gd name="T55" fmla="*/ 1469 h 166"/>
                  <a:gd name="T56" fmla="*/ 15818 w 243"/>
                  <a:gd name="T57" fmla="*/ 1633 h 166"/>
                  <a:gd name="T58" fmla="*/ 16155 w 243"/>
                  <a:gd name="T59" fmla="*/ 1820 h 166"/>
                  <a:gd name="T60" fmla="*/ 17155 w 243"/>
                  <a:gd name="T61" fmla="*/ 2017 h 166"/>
                  <a:gd name="T62" fmla="*/ 18247 w 243"/>
                  <a:gd name="T63" fmla="*/ 2354 h 166"/>
                  <a:gd name="T64" fmla="*/ 18263 w 243"/>
                  <a:gd name="T65" fmla="*/ 2779 h 166"/>
                  <a:gd name="T66" fmla="*/ 18772 w 243"/>
                  <a:gd name="T67" fmla="*/ 3026 h 166"/>
                  <a:gd name="T68" fmla="*/ 18833 w 243"/>
                  <a:gd name="T69" fmla="*/ 3545 h 166"/>
                  <a:gd name="T70" fmla="*/ 19364 w 243"/>
                  <a:gd name="T71" fmla="*/ 4075 h 166"/>
                  <a:gd name="T72" fmla="*/ 20085 w 243"/>
                  <a:gd name="T73" fmla="*/ 4075 h 166"/>
                  <a:gd name="T74" fmla="*/ 20542 w 243"/>
                  <a:gd name="T75" fmla="*/ 4349 h 166"/>
                  <a:gd name="T76" fmla="*/ 20732 w 243"/>
                  <a:gd name="T77" fmla="*/ 4692 h 166"/>
                  <a:gd name="T78" fmla="*/ 20732 w 243"/>
                  <a:gd name="T79" fmla="*/ 4932 h 166"/>
                  <a:gd name="T80" fmla="*/ 20908 w 243"/>
                  <a:gd name="T81" fmla="*/ 5236 h 166"/>
                  <a:gd name="T82" fmla="*/ 18858 w 243"/>
                  <a:gd name="T83" fmla="*/ 5307 h 166"/>
                  <a:gd name="T84" fmla="*/ 17545 w 243"/>
                  <a:gd name="T85" fmla="*/ 5408 h 166"/>
                  <a:gd name="T86" fmla="*/ 16155 w 243"/>
                  <a:gd name="T87" fmla="*/ 5236 h 166"/>
                  <a:gd name="T88" fmla="*/ 15124 w 243"/>
                  <a:gd name="T89" fmla="*/ 5236 h 166"/>
                  <a:gd name="T90" fmla="*/ 14005 w 243"/>
                  <a:gd name="T91" fmla="*/ 4991 h 166"/>
                  <a:gd name="T92" fmla="*/ 9854 w 243"/>
                  <a:gd name="T93" fmla="*/ 4932 h 166"/>
                  <a:gd name="T94" fmla="*/ 6269 w 243"/>
                  <a:gd name="T95" fmla="*/ 5236 h 166"/>
                  <a:gd name="T96" fmla="*/ 3188 w 243"/>
                  <a:gd name="T97" fmla="*/ 5408 h 16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43"/>
                  <a:gd name="T148" fmla="*/ 0 h 166"/>
                  <a:gd name="T149" fmla="*/ 243 w 243"/>
                  <a:gd name="T150" fmla="*/ 166 h 16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43" h="166">
                    <a:moveTo>
                      <a:pt x="36" y="166"/>
                    </a:moveTo>
                    <a:lnTo>
                      <a:pt x="33" y="164"/>
                    </a:lnTo>
                    <a:lnTo>
                      <a:pt x="32" y="163"/>
                    </a:lnTo>
                    <a:lnTo>
                      <a:pt x="30" y="163"/>
                    </a:lnTo>
                    <a:lnTo>
                      <a:pt x="32" y="163"/>
                    </a:lnTo>
                    <a:lnTo>
                      <a:pt x="30" y="161"/>
                    </a:lnTo>
                    <a:lnTo>
                      <a:pt x="30" y="140"/>
                    </a:lnTo>
                    <a:lnTo>
                      <a:pt x="34" y="135"/>
                    </a:lnTo>
                    <a:lnTo>
                      <a:pt x="61" y="133"/>
                    </a:lnTo>
                    <a:lnTo>
                      <a:pt x="68" y="133"/>
                    </a:lnTo>
                    <a:lnTo>
                      <a:pt x="68" y="131"/>
                    </a:lnTo>
                    <a:lnTo>
                      <a:pt x="69" y="126"/>
                    </a:lnTo>
                    <a:lnTo>
                      <a:pt x="73" y="125"/>
                    </a:lnTo>
                    <a:lnTo>
                      <a:pt x="75" y="126"/>
                    </a:lnTo>
                    <a:lnTo>
                      <a:pt x="84" y="125"/>
                    </a:lnTo>
                    <a:lnTo>
                      <a:pt x="90" y="123"/>
                    </a:lnTo>
                    <a:lnTo>
                      <a:pt x="92" y="119"/>
                    </a:lnTo>
                    <a:lnTo>
                      <a:pt x="95" y="119"/>
                    </a:lnTo>
                    <a:lnTo>
                      <a:pt x="99" y="119"/>
                    </a:lnTo>
                    <a:lnTo>
                      <a:pt x="102" y="122"/>
                    </a:lnTo>
                    <a:lnTo>
                      <a:pt x="107" y="123"/>
                    </a:lnTo>
                    <a:lnTo>
                      <a:pt x="113" y="128"/>
                    </a:lnTo>
                    <a:lnTo>
                      <a:pt x="117" y="128"/>
                    </a:lnTo>
                    <a:lnTo>
                      <a:pt x="123" y="130"/>
                    </a:lnTo>
                    <a:lnTo>
                      <a:pt x="129" y="130"/>
                    </a:lnTo>
                    <a:lnTo>
                      <a:pt x="132" y="131"/>
                    </a:lnTo>
                    <a:lnTo>
                      <a:pt x="136" y="130"/>
                    </a:lnTo>
                    <a:lnTo>
                      <a:pt x="143" y="128"/>
                    </a:lnTo>
                    <a:lnTo>
                      <a:pt x="147" y="125"/>
                    </a:lnTo>
                    <a:lnTo>
                      <a:pt x="147" y="122"/>
                    </a:lnTo>
                    <a:lnTo>
                      <a:pt x="147" y="119"/>
                    </a:lnTo>
                    <a:lnTo>
                      <a:pt x="145" y="119"/>
                    </a:lnTo>
                    <a:lnTo>
                      <a:pt x="143" y="119"/>
                    </a:lnTo>
                    <a:lnTo>
                      <a:pt x="140" y="118"/>
                    </a:lnTo>
                    <a:lnTo>
                      <a:pt x="138" y="118"/>
                    </a:lnTo>
                    <a:lnTo>
                      <a:pt x="136" y="119"/>
                    </a:lnTo>
                    <a:lnTo>
                      <a:pt x="128" y="122"/>
                    </a:lnTo>
                    <a:lnTo>
                      <a:pt x="123" y="122"/>
                    </a:lnTo>
                    <a:lnTo>
                      <a:pt x="120" y="119"/>
                    </a:lnTo>
                    <a:lnTo>
                      <a:pt x="117" y="115"/>
                    </a:lnTo>
                    <a:lnTo>
                      <a:pt x="116" y="115"/>
                    </a:lnTo>
                    <a:lnTo>
                      <a:pt x="107" y="115"/>
                    </a:lnTo>
                    <a:lnTo>
                      <a:pt x="103" y="109"/>
                    </a:lnTo>
                    <a:lnTo>
                      <a:pt x="99" y="109"/>
                    </a:lnTo>
                    <a:lnTo>
                      <a:pt x="97" y="108"/>
                    </a:lnTo>
                    <a:lnTo>
                      <a:pt x="92" y="109"/>
                    </a:lnTo>
                    <a:lnTo>
                      <a:pt x="89" y="109"/>
                    </a:lnTo>
                    <a:lnTo>
                      <a:pt x="85" y="109"/>
                    </a:lnTo>
                    <a:lnTo>
                      <a:pt x="81" y="113"/>
                    </a:lnTo>
                    <a:lnTo>
                      <a:pt x="78" y="118"/>
                    </a:lnTo>
                    <a:lnTo>
                      <a:pt x="39" y="118"/>
                    </a:lnTo>
                    <a:lnTo>
                      <a:pt x="37" y="118"/>
                    </a:lnTo>
                    <a:lnTo>
                      <a:pt x="35" y="113"/>
                    </a:lnTo>
                    <a:lnTo>
                      <a:pt x="30" y="108"/>
                    </a:lnTo>
                    <a:lnTo>
                      <a:pt x="30" y="99"/>
                    </a:lnTo>
                    <a:lnTo>
                      <a:pt x="29" y="96"/>
                    </a:lnTo>
                    <a:lnTo>
                      <a:pt x="24" y="93"/>
                    </a:lnTo>
                    <a:lnTo>
                      <a:pt x="20" y="86"/>
                    </a:lnTo>
                    <a:lnTo>
                      <a:pt x="14" y="80"/>
                    </a:lnTo>
                    <a:lnTo>
                      <a:pt x="11" y="75"/>
                    </a:lnTo>
                    <a:lnTo>
                      <a:pt x="8" y="75"/>
                    </a:lnTo>
                    <a:lnTo>
                      <a:pt x="6" y="75"/>
                    </a:lnTo>
                    <a:lnTo>
                      <a:pt x="3" y="78"/>
                    </a:lnTo>
                    <a:lnTo>
                      <a:pt x="1" y="75"/>
                    </a:lnTo>
                    <a:lnTo>
                      <a:pt x="0" y="72"/>
                    </a:lnTo>
                    <a:lnTo>
                      <a:pt x="1" y="72"/>
                    </a:lnTo>
                    <a:lnTo>
                      <a:pt x="4" y="72"/>
                    </a:lnTo>
                    <a:lnTo>
                      <a:pt x="13" y="68"/>
                    </a:lnTo>
                    <a:lnTo>
                      <a:pt x="23" y="61"/>
                    </a:lnTo>
                    <a:lnTo>
                      <a:pt x="26" y="57"/>
                    </a:lnTo>
                    <a:lnTo>
                      <a:pt x="29" y="51"/>
                    </a:lnTo>
                    <a:lnTo>
                      <a:pt x="39" y="37"/>
                    </a:lnTo>
                    <a:lnTo>
                      <a:pt x="41" y="34"/>
                    </a:lnTo>
                    <a:lnTo>
                      <a:pt x="41" y="21"/>
                    </a:lnTo>
                    <a:lnTo>
                      <a:pt x="44" y="19"/>
                    </a:lnTo>
                    <a:lnTo>
                      <a:pt x="47" y="14"/>
                    </a:lnTo>
                    <a:lnTo>
                      <a:pt x="49" y="5"/>
                    </a:lnTo>
                    <a:lnTo>
                      <a:pt x="52" y="5"/>
                    </a:lnTo>
                    <a:lnTo>
                      <a:pt x="54" y="4"/>
                    </a:lnTo>
                    <a:lnTo>
                      <a:pt x="59" y="4"/>
                    </a:lnTo>
                    <a:lnTo>
                      <a:pt x="65" y="4"/>
                    </a:lnTo>
                    <a:lnTo>
                      <a:pt x="72" y="7"/>
                    </a:lnTo>
                    <a:lnTo>
                      <a:pt x="78" y="5"/>
                    </a:lnTo>
                    <a:lnTo>
                      <a:pt x="78" y="4"/>
                    </a:lnTo>
                    <a:lnTo>
                      <a:pt x="87" y="2"/>
                    </a:lnTo>
                    <a:lnTo>
                      <a:pt x="92" y="4"/>
                    </a:lnTo>
                    <a:lnTo>
                      <a:pt x="94" y="2"/>
                    </a:lnTo>
                    <a:lnTo>
                      <a:pt x="95" y="0"/>
                    </a:lnTo>
                    <a:lnTo>
                      <a:pt x="99" y="0"/>
                    </a:lnTo>
                    <a:lnTo>
                      <a:pt x="103" y="0"/>
                    </a:lnTo>
                    <a:lnTo>
                      <a:pt x="107" y="0"/>
                    </a:lnTo>
                    <a:lnTo>
                      <a:pt x="119" y="0"/>
                    </a:lnTo>
                    <a:lnTo>
                      <a:pt x="120" y="2"/>
                    </a:lnTo>
                    <a:lnTo>
                      <a:pt x="123" y="0"/>
                    </a:lnTo>
                    <a:lnTo>
                      <a:pt x="125" y="4"/>
                    </a:lnTo>
                    <a:lnTo>
                      <a:pt x="129" y="4"/>
                    </a:lnTo>
                    <a:lnTo>
                      <a:pt x="137" y="10"/>
                    </a:lnTo>
                    <a:lnTo>
                      <a:pt x="138" y="15"/>
                    </a:lnTo>
                    <a:lnTo>
                      <a:pt x="143" y="19"/>
                    </a:lnTo>
                    <a:lnTo>
                      <a:pt x="147" y="19"/>
                    </a:lnTo>
                    <a:lnTo>
                      <a:pt x="150" y="18"/>
                    </a:lnTo>
                    <a:lnTo>
                      <a:pt x="150" y="20"/>
                    </a:lnTo>
                    <a:lnTo>
                      <a:pt x="152" y="21"/>
                    </a:lnTo>
                    <a:lnTo>
                      <a:pt x="155" y="19"/>
                    </a:lnTo>
                    <a:lnTo>
                      <a:pt x="158" y="19"/>
                    </a:lnTo>
                    <a:lnTo>
                      <a:pt x="164" y="28"/>
                    </a:lnTo>
                    <a:lnTo>
                      <a:pt x="168" y="35"/>
                    </a:lnTo>
                    <a:lnTo>
                      <a:pt x="168" y="37"/>
                    </a:lnTo>
                    <a:lnTo>
                      <a:pt x="171" y="40"/>
                    </a:lnTo>
                    <a:lnTo>
                      <a:pt x="173" y="41"/>
                    </a:lnTo>
                    <a:lnTo>
                      <a:pt x="174" y="44"/>
                    </a:lnTo>
                    <a:lnTo>
                      <a:pt x="175" y="45"/>
                    </a:lnTo>
                    <a:lnTo>
                      <a:pt x="177" y="44"/>
                    </a:lnTo>
                    <a:lnTo>
                      <a:pt x="178" y="44"/>
                    </a:lnTo>
                    <a:lnTo>
                      <a:pt x="180" y="48"/>
                    </a:lnTo>
                    <a:lnTo>
                      <a:pt x="181" y="50"/>
                    </a:lnTo>
                    <a:lnTo>
                      <a:pt x="184" y="52"/>
                    </a:lnTo>
                    <a:lnTo>
                      <a:pt x="180" y="53"/>
                    </a:lnTo>
                    <a:lnTo>
                      <a:pt x="185" y="55"/>
                    </a:lnTo>
                    <a:lnTo>
                      <a:pt x="186" y="57"/>
                    </a:lnTo>
                    <a:lnTo>
                      <a:pt x="188" y="58"/>
                    </a:lnTo>
                    <a:lnTo>
                      <a:pt x="191" y="58"/>
                    </a:lnTo>
                    <a:lnTo>
                      <a:pt x="195" y="61"/>
                    </a:lnTo>
                    <a:lnTo>
                      <a:pt x="198" y="62"/>
                    </a:lnTo>
                    <a:lnTo>
                      <a:pt x="198" y="67"/>
                    </a:lnTo>
                    <a:lnTo>
                      <a:pt x="200" y="68"/>
                    </a:lnTo>
                    <a:lnTo>
                      <a:pt x="205" y="68"/>
                    </a:lnTo>
                    <a:lnTo>
                      <a:pt x="209" y="72"/>
                    </a:lnTo>
                    <a:lnTo>
                      <a:pt x="212" y="75"/>
                    </a:lnTo>
                    <a:lnTo>
                      <a:pt x="212" y="77"/>
                    </a:lnTo>
                    <a:lnTo>
                      <a:pt x="209" y="82"/>
                    </a:lnTo>
                    <a:lnTo>
                      <a:pt x="210" y="86"/>
                    </a:lnTo>
                    <a:lnTo>
                      <a:pt x="212" y="86"/>
                    </a:lnTo>
                    <a:lnTo>
                      <a:pt x="212" y="89"/>
                    </a:lnTo>
                    <a:lnTo>
                      <a:pt x="213" y="89"/>
                    </a:lnTo>
                    <a:lnTo>
                      <a:pt x="216" y="92"/>
                    </a:lnTo>
                    <a:lnTo>
                      <a:pt x="217" y="96"/>
                    </a:lnTo>
                    <a:lnTo>
                      <a:pt x="217" y="100"/>
                    </a:lnTo>
                    <a:lnTo>
                      <a:pt x="218" y="104"/>
                    </a:lnTo>
                    <a:lnTo>
                      <a:pt x="218" y="108"/>
                    </a:lnTo>
                    <a:lnTo>
                      <a:pt x="216" y="112"/>
                    </a:lnTo>
                    <a:lnTo>
                      <a:pt x="215" y="114"/>
                    </a:lnTo>
                    <a:lnTo>
                      <a:pt x="220" y="121"/>
                    </a:lnTo>
                    <a:lnTo>
                      <a:pt x="222" y="125"/>
                    </a:lnTo>
                    <a:lnTo>
                      <a:pt x="224" y="126"/>
                    </a:lnTo>
                    <a:lnTo>
                      <a:pt x="226" y="126"/>
                    </a:lnTo>
                    <a:lnTo>
                      <a:pt x="228" y="125"/>
                    </a:lnTo>
                    <a:lnTo>
                      <a:pt x="231" y="125"/>
                    </a:lnTo>
                    <a:lnTo>
                      <a:pt x="231" y="128"/>
                    </a:lnTo>
                    <a:lnTo>
                      <a:pt x="234" y="130"/>
                    </a:lnTo>
                    <a:lnTo>
                      <a:pt x="234" y="133"/>
                    </a:lnTo>
                    <a:lnTo>
                      <a:pt x="236" y="133"/>
                    </a:lnTo>
                    <a:lnTo>
                      <a:pt x="238" y="136"/>
                    </a:lnTo>
                    <a:lnTo>
                      <a:pt x="241" y="140"/>
                    </a:lnTo>
                    <a:lnTo>
                      <a:pt x="241" y="143"/>
                    </a:lnTo>
                    <a:lnTo>
                      <a:pt x="239" y="144"/>
                    </a:lnTo>
                    <a:lnTo>
                      <a:pt x="239" y="145"/>
                    </a:lnTo>
                    <a:lnTo>
                      <a:pt x="241" y="146"/>
                    </a:lnTo>
                    <a:lnTo>
                      <a:pt x="241" y="150"/>
                    </a:lnTo>
                    <a:lnTo>
                      <a:pt x="239" y="151"/>
                    </a:lnTo>
                    <a:lnTo>
                      <a:pt x="239" y="157"/>
                    </a:lnTo>
                    <a:lnTo>
                      <a:pt x="243" y="160"/>
                    </a:lnTo>
                    <a:lnTo>
                      <a:pt x="243" y="161"/>
                    </a:lnTo>
                    <a:lnTo>
                      <a:pt x="241" y="161"/>
                    </a:lnTo>
                    <a:lnTo>
                      <a:pt x="234" y="161"/>
                    </a:lnTo>
                    <a:lnTo>
                      <a:pt x="229" y="163"/>
                    </a:lnTo>
                    <a:lnTo>
                      <a:pt x="226" y="164"/>
                    </a:lnTo>
                    <a:lnTo>
                      <a:pt x="219" y="163"/>
                    </a:lnTo>
                    <a:lnTo>
                      <a:pt x="217" y="163"/>
                    </a:lnTo>
                    <a:lnTo>
                      <a:pt x="212" y="163"/>
                    </a:lnTo>
                    <a:lnTo>
                      <a:pt x="207" y="166"/>
                    </a:lnTo>
                    <a:lnTo>
                      <a:pt x="202" y="166"/>
                    </a:lnTo>
                    <a:lnTo>
                      <a:pt x="198" y="163"/>
                    </a:lnTo>
                    <a:lnTo>
                      <a:pt x="196" y="164"/>
                    </a:lnTo>
                    <a:lnTo>
                      <a:pt x="191" y="161"/>
                    </a:lnTo>
                    <a:lnTo>
                      <a:pt x="186" y="161"/>
                    </a:lnTo>
                    <a:lnTo>
                      <a:pt x="181" y="158"/>
                    </a:lnTo>
                    <a:lnTo>
                      <a:pt x="180" y="158"/>
                    </a:lnTo>
                    <a:lnTo>
                      <a:pt x="180" y="161"/>
                    </a:lnTo>
                    <a:lnTo>
                      <a:pt x="175" y="161"/>
                    </a:lnTo>
                    <a:lnTo>
                      <a:pt x="175" y="156"/>
                    </a:lnTo>
                    <a:lnTo>
                      <a:pt x="173" y="154"/>
                    </a:lnTo>
                    <a:lnTo>
                      <a:pt x="168" y="153"/>
                    </a:lnTo>
                    <a:lnTo>
                      <a:pt x="162" y="154"/>
                    </a:lnTo>
                    <a:lnTo>
                      <a:pt x="160" y="151"/>
                    </a:lnTo>
                    <a:lnTo>
                      <a:pt x="150" y="151"/>
                    </a:lnTo>
                    <a:lnTo>
                      <a:pt x="114" y="151"/>
                    </a:lnTo>
                    <a:lnTo>
                      <a:pt x="113" y="151"/>
                    </a:lnTo>
                    <a:lnTo>
                      <a:pt x="95" y="151"/>
                    </a:lnTo>
                    <a:lnTo>
                      <a:pt x="87" y="155"/>
                    </a:lnTo>
                    <a:lnTo>
                      <a:pt x="78" y="160"/>
                    </a:lnTo>
                    <a:lnTo>
                      <a:pt x="72" y="161"/>
                    </a:lnTo>
                    <a:lnTo>
                      <a:pt x="52" y="161"/>
                    </a:lnTo>
                    <a:lnTo>
                      <a:pt x="49" y="161"/>
                    </a:lnTo>
                    <a:lnTo>
                      <a:pt x="41" y="166"/>
                    </a:lnTo>
                    <a:lnTo>
                      <a:pt x="36" y="166"/>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1" name="Freeform 37"/>
              <p:cNvSpPr>
                <a:spLocks/>
              </p:cNvSpPr>
              <p:nvPr/>
            </p:nvSpPr>
            <p:spPr bwMode="auto">
              <a:xfrm>
                <a:off x="549" y="1846"/>
                <a:ext cx="260" cy="175"/>
              </a:xfrm>
              <a:custGeom>
                <a:avLst/>
                <a:gdLst>
                  <a:gd name="T0" fmla="*/ 2603 w 243"/>
                  <a:gd name="T1" fmla="*/ 5307 h 166"/>
                  <a:gd name="T2" fmla="*/ 2980 w 243"/>
                  <a:gd name="T3" fmla="*/ 4415 h 166"/>
                  <a:gd name="T4" fmla="*/ 5974 w 243"/>
                  <a:gd name="T5" fmla="*/ 4125 h 166"/>
                  <a:gd name="T6" fmla="*/ 7794 w 243"/>
                  <a:gd name="T7" fmla="*/ 4005 h 166"/>
                  <a:gd name="T8" fmla="*/ 8805 w 243"/>
                  <a:gd name="T9" fmla="*/ 3993 h 166"/>
                  <a:gd name="T10" fmla="*/ 10685 w 243"/>
                  <a:gd name="T11" fmla="*/ 4222 h 166"/>
                  <a:gd name="T12" fmla="*/ 12347 w 243"/>
                  <a:gd name="T13" fmla="*/ 4188 h 166"/>
                  <a:gd name="T14" fmla="*/ 12538 w 243"/>
                  <a:gd name="T15" fmla="*/ 3865 h 166"/>
                  <a:gd name="T16" fmla="*/ 11747 w 243"/>
                  <a:gd name="T17" fmla="*/ 3865 h 166"/>
                  <a:gd name="T18" fmla="*/ 10080 w 243"/>
                  <a:gd name="T19" fmla="*/ 3769 h 166"/>
                  <a:gd name="T20" fmla="*/ 8608 w 243"/>
                  <a:gd name="T21" fmla="*/ 3575 h 166"/>
                  <a:gd name="T22" fmla="*/ 7317 w 243"/>
                  <a:gd name="T23" fmla="*/ 3575 h 166"/>
                  <a:gd name="T24" fmla="*/ 3192 w 243"/>
                  <a:gd name="T25" fmla="*/ 3815 h 166"/>
                  <a:gd name="T26" fmla="*/ 2436 w 243"/>
                  <a:gd name="T27" fmla="*/ 3089 h 166"/>
                  <a:gd name="T28" fmla="*/ 943 w 243"/>
                  <a:gd name="T29" fmla="*/ 2471 h 166"/>
                  <a:gd name="T30" fmla="*/ 1 w 243"/>
                  <a:gd name="T31" fmla="*/ 2471 h 166"/>
                  <a:gd name="T32" fmla="*/ 1080 w 243"/>
                  <a:gd name="T33" fmla="*/ 2233 h 166"/>
                  <a:gd name="T34" fmla="*/ 3411 w 243"/>
                  <a:gd name="T35" fmla="*/ 1189 h 166"/>
                  <a:gd name="T36" fmla="*/ 4053 w 243"/>
                  <a:gd name="T37" fmla="*/ 438 h 166"/>
                  <a:gd name="T38" fmla="*/ 5118 w 243"/>
                  <a:gd name="T39" fmla="*/ 4 h 166"/>
                  <a:gd name="T40" fmla="*/ 6718 w 243"/>
                  <a:gd name="T41" fmla="*/ 4 h 166"/>
                  <a:gd name="T42" fmla="*/ 8229 w 243"/>
                  <a:gd name="T43" fmla="*/ 0 h 166"/>
                  <a:gd name="T44" fmla="*/ 10261 w 243"/>
                  <a:gd name="T45" fmla="*/ 0 h 166"/>
                  <a:gd name="T46" fmla="*/ 11281 w 243"/>
                  <a:gd name="T47" fmla="*/ 4 h 166"/>
                  <a:gd name="T48" fmla="*/ 12796 w 243"/>
                  <a:gd name="T49" fmla="*/ 570 h 166"/>
                  <a:gd name="T50" fmla="*/ 13415 w 243"/>
                  <a:gd name="T51" fmla="*/ 570 h 166"/>
                  <a:gd name="T52" fmla="*/ 14649 w 243"/>
                  <a:gd name="T53" fmla="*/ 1189 h 166"/>
                  <a:gd name="T54" fmla="*/ 15124 w 243"/>
                  <a:gd name="T55" fmla="*/ 1469 h 166"/>
                  <a:gd name="T56" fmla="*/ 15818 w 243"/>
                  <a:gd name="T57" fmla="*/ 1633 h 166"/>
                  <a:gd name="T58" fmla="*/ 16155 w 243"/>
                  <a:gd name="T59" fmla="*/ 1820 h 166"/>
                  <a:gd name="T60" fmla="*/ 17155 w 243"/>
                  <a:gd name="T61" fmla="*/ 2017 h 166"/>
                  <a:gd name="T62" fmla="*/ 18247 w 243"/>
                  <a:gd name="T63" fmla="*/ 2354 h 166"/>
                  <a:gd name="T64" fmla="*/ 18263 w 243"/>
                  <a:gd name="T65" fmla="*/ 2779 h 166"/>
                  <a:gd name="T66" fmla="*/ 18772 w 243"/>
                  <a:gd name="T67" fmla="*/ 3026 h 166"/>
                  <a:gd name="T68" fmla="*/ 18833 w 243"/>
                  <a:gd name="T69" fmla="*/ 3545 h 166"/>
                  <a:gd name="T70" fmla="*/ 19364 w 243"/>
                  <a:gd name="T71" fmla="*/ 4075 h 166"/>
                  <a:gd name="T72" fmla="*/ 20085 w 243"/>
                  <a:gd name="T73" fmla="*/ 4075 h 166"/>
                  <a:gd name="T74" fmla="*/ 20542 w 243"/>
                  <a:gd name="T75" fmla="*/ 4349 h 166"/>
                  <a:gd name="T76" fmla="*/ 20732 w 243"/>
                  <a:gd name="T77" fmla="*/ 4692 h 166"/>
                  <a:gd name="T78" fmla="*/ 20732 w 243"/>
                  <a:gd name="T79" fmla="*/ 4932 h 166"/>
                  <a:gd name="T80" fmla="*/ 20908 w 243"/>
                  <a:gd name="T81" fmla="*/ 5236 h 166"/>
                  <a:gd name="T82" fmla="*/ 18858 w 243"/>
                  <a:gd name="T83" fmla="*/ 5307 h 166"/>
                  <a:gd name="T84" fmla="*/ 17545 w 243"/>
                  <a:gd name="T85" fmla="*/ 5408 h 166"/>
                  <a:gd name="T86" fmla="*/ 16155 w 243"/>
                  <a:gd name="T87" fmla="*/ 5236 h 166"/>
                  <a:gd name="T88" fmla="*/ 15124 w 243"/>
                  <a:gd name="T89" fmla="*/ 5236 h 166"/>
                  <a:gd name="T90" fmla="*/ 14005 w 243"/>
                  <a:gd name="T91" fmla="*/ 4991 h 166"/>
                  <a:gd name="T92" fmla="*/ 9854 w 243"/>
                  <a:gd name="T93" fmla="*/ 4932 h 166"/>
                  <a:gd name="T94" fmla="*/ 6269 w 243"/>
                  <a:gd name="T95" fmla="*/ 5236 h 166"/>
                  <a:gd name="T96" fmla="*/ 3188 w 243"/>
                  <a:gd name="T97" fmla="*/ 5408 h 16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43"/>
                  <a:gd name="T148" fmla="*/ 0 h 166"/>
                  <a:gd name="T149" fmla="*/ 243 w 243"/>
                  <a:gd name="T150" fmla="*/ 166 h 16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43" h="166">
                    <a:moveTo>
                      <a:pt x="36" y="166"/>
                    </a:moveTo>
                    <a:lnTo>
                      <a:pt x="33" y="164"/>
                    </a:lnTo>
                    <a:lnTo>
                      <a:pt x="32" y="163"/>
                    </a:lnTo>
                    <a:lnTo>
                      <a:pt x="30" y="163"/>
                    </a:lnTo>
                    <a:lnTo>
                      <a:pt x="32" y="163"/>
                    </a:lnTo>
                    <a:lnTo>
                      <a:pt x="30" y="161"/>
                    </a:lnTo>
                    <a:lnTo>
                      <a:pt x="30" y="140"/>
                    </a:lnTo>
                    <a:lnTo>
                      <a:pt x="34" y="135"/>
                    </a:lnTo>
                    <a:lnTo>
                      <a:pt x="61" y="133"/>
                    </a:lnTo>
                    <a:lnTo>
                      <a:pt x="68" y="133"/>
                    </a:lnTo>
                    <a:lnTo>
                      <a:pt x="68" y="131"/>
                    </a:lnTo>
                    <a:lnTo>
                      <a:pt x="69" y="126"/>
                    </a:lnTo>
                    <a:lnTo>
                      <a:pt x="73" y="125"/>
                    </a:lnTo>
                    <a:lnTo>
                      <a:pt x="75" y="126"/>
                    </a:lnTo>
                    <a:lnTo>
                      <a:pt x="84" y="125"/>
                    </a:lnTo>
                    <a:lnTo>
                      <a:pt x="90" y="123"/>
                    </a:lnTo>
                    <a:lnTo>
                      <a:pt x="92" y="119"/>
                    </a:lnTo>
                    <a:lnTo>
                      <a:pt x="95" y="119"/>
                    </a:lnTo>
                    <a:lnTo>
                      <a:pt x="99" y="119"/>
                    </a:lnTo>
                    <a:lnTo>
                      <a:pt x="102" y="122"/>
                    </a:lnTo>
                    <a:lnTo>
                      <a:pt x="107" y="123"/>
                    </a:lnTo>
                    <a:lnTo>
                      <a:pt x="113" y="128"/>
                    </a:lnTo>
                    <a:lnTo>
                      <a:pt x="117" y="128"/>
                    </a:lnTo>
                    <a:lnTo>
                      <a:pt x="123" y="130"/>
                    </a:lnTo>
                    <a:lnTo>
                      <a:pt x="129" y="130"/>
                    </a:lnTo>
                    <a:lnTo>
                      <a:pt x="132" y="131"/>
                    </a:lnTo>
                    <a:lnTo>
                      <a:pt x="136" y="130"/>
                    </a:lnTo>
                    <a:lnTo>
                      <a:pt x="143" y="128"/>
                    </a:lnTo>
                    <a:lnTo>
                      <a:pt x="147" y="125"/>
                    </a:lnTo>
                    <a:lnTo>
                      <a:pt x="147" y="122"/>
                    </a:lnTo>
                    <a:lnTo>
                      <a:pt x="147" y="119"/>
                    </a:lnTo>
                    <a:lnTo>
                      <a:pt x="145" y="119"/>
                    </a:lnTo>
                    <a:lnTo>
                      <a:pt x="143" y="119"/>
                    </a:lnTo>
                    <a:lnTo>
                      <a:pt x="140" y="118"/>
                    </a:lnTo>
                    <a:lnTo>
                      <a:pt x="138" y="118"/>
                    </a:lnTo>
                    <a:lnTo>
                      <a:pt x="136" y="119"/>
                    </a:lnTo>
                    <a:lnTo>
                      <a:pt x="128" y="122"/>
                    </a:lnTo>
                    <a:lnTo>
                      <a:pt x="123" y="122"/>
                    </a:lnTo>
                    <a:lnTo>
                      <a:pt x="120" y="119"/>
                    </a:lnTo>
                    <a:lnTo>
                      <a:pt x="117" y="115"/>
                    </a:lnTo>
                    <a:lnTo>
                      <a:pt x="116" y="115"/>
                    </a:lnTo>
                    <a:lnTo>
                      <a:pt x="107" y="115"/>
                    </a:lnTo>
                    <a:lnTo>
                      <a:pt x="103" y="109"/>
                    </a:lnTo>
                    <a:lnTo>
                      <a:pt x="99" y="109"/>
                    </a:lnTo>
                    <a:lnTo>
                      <a:pt x="97" y="108"/>
                    </a:lnTo>
                    <a:lnTo>
                      <a:pt x="92" y="109"/>
                    </a:lnTo>
                    <a:lnTo>
                      <a:pt x="89" y="109"/>
                    </a:lnTo>
                    <a:lnTo>
                      <a:pt x="85" y="109"/>
                    </a:lnTo>
                    <a:lnTo>
                      <a:pt x="81" y="113"/>
                    </a:lnTo>
                    <a:lnTo>
                      <a:pt x="78" y="118"/>
                    </a:lnTo>
                    <a:lnTo>
                      <a:pt x="39" y="118"/>
                    </a:lnTo>
                    <a:lnTo>
                      <a:pt x="37" y="118"/>
                    </a:lnTo>
                    <a:lnTo>
                      <a:pt x="35" y="113"/>
                    </a:lnTo>
                    <a:lnTo>
                      <a:pt x="30" y="108"/>
                    </a:lnTo>
                    <a:lnTo>
                      <a:pt x="30" y="99"/>
                    </a:lnTo>
                    <a:lnTo>
                      <a:pt x="29" y="96"/>
                    </a:lnTo>
                    <a:lnTo>
                      <a:pt x="24" y="93"/>
                    </a:lnTo>
                    <a:lnTo>
                      <a:pt x="20" y="86"/>
                    </a:lnTo>
                    <a:lnTo>
                      <a:pt x="14" y="80"/>
                    </a:lnTo>
                    <a:lnTo>
                      <a:pt x="11" y="75"/>
                    </a:lnTo>
                    <a:lnTo>
                      <a:pt x="8" y="75"/>
                    </a:lnTo>
                    <a:lnTo>
                      <a:pt x="6" y="75"/>
                    </a:lnTo>
                    <a:lnTo>
                      <a:pt x="3" y="78"/>
                    </a:lnTo>
                    <a:lnTo>
                      <a:pt x="1" y="75"/>
                    </a:lnTo>
                    <a:lnTo>
                      <a:pt x="0" y="72"/>
                    </a:lnTo>
                    <a:lnTo>
                      <a:pt x="1" y="72"/>
                    </a:lnTo>
                    <a:lnTo>
                      <a:pt x="4" y="72"/>
                    </a:lnTo>
                    <a:lnTo>
                      <a:pt x="13" y="68"/>
                    </a:lnTo>
                    <a:lnTo>
                      <a:pt x="23" y="61"/>
                    </a:lnTo>
                    <a:lnTo>
                      <a:pt x="26" y="57"/>
                    </a:lnTo>
                    <a:lnTo>
                      <a:pt x="29" y="51"/>
                    </a:lnTo>
                    <a:lnTo>
                      <a:pt x="39" y="37"/>
                    </a:lnTo>
                    <a:lnTo>
                      <a:pt x="41" y="34"/>
                    </a:lnTo>
                    <a:lnTo>
                      <a:pt x="41" y="21"/>
                    </a:lnTo>
                    <a:lnTo>
                      <a:pt x="44" y="19"/>
                    </a:lnTo>
                    <a:lnTo>
                      <a:pt x="47" y="14"/>
                    </a:lnTo>
                    <a:lnTo>
                      <a:pt x="49" y="5"/>
                    </a:lnTo>
                    <a:lnTo>
                      <a:pt x="52" y="5"/>
                    </a:lnTo>
                    <a:lnTo>
                      <a:pt x="54" y="4"/>
                    </a:lnTo>
                    <a:lnTo>
                      <a:pt x="59" y="4"/>
                    </a:lnTo>
                    <a:lnTo>
                      <a:pt x="65" y="4"/>
                    </a:lnTo>
                    <a:lnTo>
                      <a:pt x="72" y="7"/>
                    </a:lnTo>
                    <a:lnTo>
                      <a:pt x="78" y="5"/>
                    </a:lnTo>
                    <a:lnTo>
                      <a:pt x="78" y="4"/>
                    </a:lnTo>
                    <a:lnTo>
                      <a:pt x="87" y="2"/>
                    </a:lnTo>
                    <a:lnTo>
                      <a:pt x="92" y="4"/>
                    </a:lnTo>
                    <a:lnTo>
                      <a:pt x="94" y="2"/>
                    </a:lnTo>
                    <a:lnTo>
                      <a:pt x="95" y="0"/>
                    </a:lnTo>
                    <a:lnTo>
                      <a:pt x="99" y="0"/>
                    </a:lnTo>
                    <a:lnTo>
                      <a:pt x="103" y="0"/>
                    </a:lnTo>
                    <a:lnTo>
                      <a:pt x="107" y="0"/>
                    </a:lnTo>
                    <a:lnTo>
                      <a:pt x="119" y="0"/>
                    </a:lnTo>
                    <a:lnTo>
                      <a:pt x="120" y="2"/>
                    </a:lnTo>
                    <a:lnTo>
                      <a:pt x="123" y="0"/>
                    </a:lnTo>
                    <a:lnTo>
                      <a:pt x="125" y="4"/>
                    </a:lnTo>
                    <a:lnTo>
                      <a:pt x="129" y="4"/>
                    </a:lnTo>
                    <a:lnTo>
                      <a:pt x="137" y="10"/>
                    </a:lnTo>
                    <a:lnTo>
                      <a:pt x="138" y="15"/>
                    </a:lnTo>
                    <a:lnTo>
                      <a:pt x="143" y="19"/>
                    </a:lnTo>
                    <a:lnTo>
                      <a:pt x="147" y="19"/>
                    </a:lnTo>
                    <a:lnTo>
                      <a:pt x="150" y="18"/>
                    </a:lnTo>
                    <a:lnTo>
                      <a:pt x="150" y="20"/>
                    </a:lnTo>
                    <a:lnTo>
                      <a:pt x="152" y="21"/>
                    </a:lnTo>
                    <a:lnTo>
                      <a:pt x="155" y="19"/>
                    </a:lnTo>
                    <a:lnTo>
                      <a:pt x="158" y="19"/>
                    </a:lnTo>
                    <a:lnTo>
                      <a:pt x="164" y="28"/>
                    </a:lnTo>
                    <a:lnTo>
                      <a:pt x="168" y="35"/>
                    </a:lnTo>
                    <a:lnTo>
                      <a:pt x="168" y="37"/>
                    </a:lnTo>
                    <a:lnTo>
                      <a:pt x="171" y="40"/>
                    </a:lnTo>
                    <a:lnTo>
                      <a:pt x="173" y="41"/>
                    </a:lnTo>
                    <a:lnTo>
                      <a:pt x="174" y="44"/>
                    </a:lnTo>
                    <a:lnTo>
                      <a:pt x="175" y="45"/>
                    </a:lnTo>
                    <a:lnTo>
                      <a:pt x="177" y="44"/>
                    </a:lnTo>
                    <a:lnTo>
                      <a:pt x="178" y="44"/>
                    </a:lnTo>
                    <a:lnTo>
                      <a:pt x="180" y="48"/>
                    </a:lnTo>
                    <a:lnTo>
                      <a:pt x="181" y="50"/>
                    </a:lnTo>
                    <a:lnTo>
                      <a:pt x="184" y="52"/>
                    </a:lnTo>
                    <a:lnTo>
                      <a:pt x="180" y="53"/>
                    </a:lnTo>
                    <a:lnTo>
                      <a:pt x="185" y="55"/>
                    </a:lnTo>
                    <a:lnTo>
                      <a:pt x="186" y="57"/>
                    </a:lnTo>
                    <a:lnTo>
                      <a:pt x="188" y="58"/>
                    </a:lnTo>
                    <a:lnTo>
                      <a:pt x="191" y="58"/>
                    </a:lnTo>
                    <a:lnTo>
                      <a:pt x="195" y="61"/>
                    </a:lnTo>
                    <a:lnTo>
                      <a:pt x="198" y="62"/>
                    </a:lnTo>
                    <a:lnTo>
                      <a:pt x="198" y="67"/>
                    </a:lnTo>
                    <a:lnTo>
                      <a:pt x="200" y="68"/>
                    </a:lnTo>
                    <a:lnTo>
                      <a:pt x="205" y="68"/>
                    </a:lnTo>
                    <a:lnTo>
                      <a:pt x="209" y="72"/>
                    </a:lnTo>
                    <a:lnTo>
                      <a:pt x="212" y="75"/>
                    </a:lnTo>
                    <a:lnTo>
                      <a:pt x="212" y="77"/>
                    </a:lnTo>
                    <a:lnTo>
                      <a:pt x="209" y="82"/>
                    </a:lnTo>
                    <a:lnTo>
                      <a:pt x="210" y="86"/>
                    </a:lnTo>
                    <a:lnTo>
                      <a:pt x="212" y="86"/>
                    </a:lnTo>
                    <a:lnTo>
                      <a:pt x="212" y="89"/>
                    </a:lnTo>
                    <a:lnTo>
                      <a:pt x="213" y="89"/>
                    </a:lnTo>
                    <a:lnTo>
                      <a:pt x="216" y="92"/>
                    </a:lnTo>
                    <a:lnTo>
                      <a:pt x="217" y="96"/>
                    </a:lnTo>
                    <a:lnTo>
                      <a:pt x="217" y="100"/>
                    </a:lnTo>
                    <a:lnTo>
                      <a:pt x="218" y="104"/>
                    </a:lnTo>
                    <a:lnTo>
                      <a:pt x="218" y="108"/>
                    </a:lnTo>
                    <a:lnTo>
                      <a:pt x="216" y="112"/>
                    </a:lnTo>
                    <a:lnTo>
                      <a:pt x="215" y="114"/>
                    </a:lnTo>
                    <a:lnTo>
                      <a:pt x="220" y="121"/>
                    </a:lnTo>
                    <a:lnTo>
                      <a:pt x="222" y="125"/>
                    </a:lnTo>
                    <a:lnTo>
                      <a:pt x="224" y="126"/>
                    </a:lnTo>
                    <a:lnTo>
                      <a:pt x="226" y="126"/>
                    </a:lnTo>
                    <a:lnTo>
                      <a:pt x="228" y="125"/>
                    </a:lnTo>
                    <a:lnTo>
                      <a:pt x="231" y="125"/>
                    </a:lnTo>
                    <a:lnTo>
                      <a:pt x="231" y="128"/>
                    </a:lnTo>
                    <a:lnTo>
                      <a:pt x="234" y="130"/>
                    </a:lnTo>
                    <a:lnTo>
                      <a:pt x="234" y="133"/>
                    </a:lnTo>
                    <a:lnTo>
                      <a:pt x="236" y="133"/>
                    </a:lnTo>
                    <a:lnTo>
                      <a:pt x="238" y="136"/>
                    </a:lnTo>
                    <a:lnTo>
                      <a:pt x="241" y="140"/>
                    </a:lnTo>
                    <a:lnTo>
                      <a:pt x="241" y="143"/>
                    </a:lnTo>
                    <a:lnTo>
                      <a:pt x="239" y="144"/>
                    </a:lnTo>
                    <a:lnTo>
                      <a:pt x="239" y="145"/>
                    </a:lnTo>
                    <a:lnTo>
                      <a:pt x="241" y="146"/>
                    </a:lnTo>
                    <a:lnTo>
                      <a:pt x="241" y="150"/>
                    </a:lnTo>
                    <a:lnTo>
                      <a:pt x="239" y="151"/>
                    </a:lnTo>
                    <a:lnTo>
                      <a:pt x="239" y="157"/>
                    </a:lnTo>
                    <a:lnTo>
                      <a:pt x="243" y="160"/>
                    </a:lnTo>
                    <a:lnTo>
                      <a:pt x="243" y="161"/>
                    </a:lnTo>
                    <a:lnTo>
                      <a:pt x="241" y="161"/>
                    </a:lnTo>
                    <a:lnTo>
                      <a:pt x="234" y="161"/>
                    </a:lnTo>
                    <a:lnTo>
                      <a:pt x="229" y="163"/>
                    </a:lnTo>
                    <a:lnTo>
                      <a:pt x="226" y="164"/>
                    </a:lnTo>
                    <a:lnTo>
                      <a:pt x="219" y="163"/>
                    </a:lnTo>
                    <a:lnTo>
                      <a:pt x="217" y="163"/>
                    </a:lnTo>
                    <a:lnTo>
                      <a:pt x="212" y="163"/>
                    </a:lnTo>
                    <a:lnTo>
                      <a:pt x="207" y="166"/>
                    </a:lnTo>
                    <a:lnTo>
                      <a:pt x="202" y="166"/>
                    </a:lnTo>
                    <a:lnTo>
                      <a:pt x="198" y="163"/>
                    </a:lnTo>
                    <a:lnTo>
                      <a:pt x="196" y="164"/>
                    </a:lnTo>
                    <a:lnTo>
                      <a:pt x="191" y="161"/>
                    </a:lnTo>
                    <a:lnTo>
                      <a:pt x="186" y="161"/>
                    </a:lnTo>
                    <a:lnTo>
                      <a:pt x="181" y="158"/>
                    </a:lnTo>
                    <a:lnTo>
                      <a:pt x="180" y="158"/>
                    </a:lnTo>
                    <a:lnTo>
                      <a:pt x="180" y="161"/>
                    </a:lnTo>
                    <a:lnTo>
                      <a:pt x="175" y="161"/>
                    </a:lnTo>
                    <a:lnTo>
                      <a:pt x="175" y="156"/>
                    </a:lnTo>
                    <a:lnTo>
                      <a:pt x="173" y="154"/>
                    </a:lnTo>
                    <a:lnTo>
                      <a:pt x="168" y="153"/>
                    </a:lnTo>
                    <a:lnTo>
                      <a:pt x="162" y="154"/>
                    </a:lnTo>
                    <a:lnTo>
                      <a:pt x="160" y="151"/>
                    </a:lnTo>
                    <a:lnTo>
                      <a:pt x="150" y="151"/>
                    </a:lnTo>
                    <a:lnTo>
                      <a:pt x="114" y="151"/>
                    </a:lnTo>
                    <a:lnTo>
                      <a:pt x="113" y="151"/>
                    </a:lnTo>
                    <a:lnTo>
                      <a:pt x="95" y="151"/>
                    </a:lnTo>
                    <a:lnTo>
                      <a:pt x="87" y="155"/>
                    </a:lnTo>
                    <a:lnTo>
                      <a:pt x="78" y="160"/>
                    </a:lnTo>
                    <a:lnTo>
                      <a:pt x="72" y="161"/>
                    </a:lnTo>
                    <a:lnTo>
                      <a:pt x="52" y="161"/>
                    </a:lnTo>
                    <a:lnTo>
                      <a:pt x="49" y="161"/>
                    </a:lnTo>
                    <a:lnTo>
                      <a:pt x="41" y="166"/>
                    </a:lnTo>
                    <a:lnTo>
                      <a:pt x="36" y="166"/>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52" name="Freeform 38"/>
              <p:cNvSpPr>
                <a:spLocks/>
              </p:cNvSpPr>
              <p:nvPr/>
            </p:nvSpPr>
            <p:spPr bwMode="auto">
              <a:xfrm>
                <a:off x="2508" y="2562"/>
                <a:ext cx="449" cy="430"/>
              </a:xfrm>
              <a:custGeom>
                <a:avLst/>
                <a:gdLst>
                  <a:gd name="T0" fmla="*/ 566 w 420"/>
                  <a:gd name="T1" fmla="*/ 195 h 414"/>
                  <a:gd name="T2" fmla="*/ 537 w 420"/>
                  <a:gd name="T3" fmla="*/ 266 h 414"/>
                  <a:gd name="T4" fmla="*/ 566 w 420"/>
                  <a:gd name="T5" fmla="*/ 302 h 414"/>
                  <a:gd name="T6" fmla="*/ 575 w 420"/>
                  <a:gd name="T7" fmla="*/ 324 h 414"/>
                  <a:gd name="T8" fmla="*/ 571 w 420"/>
                  <a:gd name="T9" fmla="*/ 353 h 414"/>
                  <a:gd name="T10" fmla="*/ 567 w 420"/>
                  <a:gd name="T11" fmla="*/ 374 h 414"/>
                  <a:gd name="T12" fmla="*/ 575 w 420"/>
                  <a:gd name="T13" fmla="*/ 406 h 414"/>
                  <a:gd name="T14" fmla="*/ 589 w 420"/>
                  <a:gd name="T15" fmla="*/ 434 h 414"/>
                  <a:gd name="T16" fmla="*/ 596 w 420"/>
                  <a:gd name="T17" fmla="*/ 457 h 414"/>
                  <a:gd name="T18" fmla="*/ 616 w 420"/>
                  <a:gd name="T19" fmla="*/ 482 h 414"/>
                  <a:gd name="T20" fmla="*/ 635 w 420"/>
                  <a:gd name="T21" fmla="*/ 497 h 414"/>
                  <a:gd name="T22" fmla="*/ 596 w 420"/>
                  <a:gd name="T23" fmla="*/ 522 h 414"/>
                  <a:gd name="T24" fmla="*/ 521 w 420"/>
                  <a:gd name="T25" fmla="*/ 536 h 414"/>
                  <a:gd name="T26" fmla="*/ 468 w 420"/>
                  <a:gd name="T27" fmla="*/ 548 h 414"/>
                  <a:gd name="T28" fmla="*/ 411 w 420"/>
                  <a:gd name="T29" fmla="*/ 554 h 414"/>
                  <a:gd name="T30" fmla="*/ 386 w 420"/>
                  <a:gd name="T31" fmla="*/ 554 h 414"/>
                  <a:gd name="T32" fmla="*/ 357 w 420"/>
                  <a:gd name="T33" fmla="*/ 550 h 414"/>
                  <a:gd name="T34" fmla="*/ 303 w 420"/>
                  <a:gd name="T35" fmla="*/ 536 h 414"/>
                  <a:gd name="T36" fmla="*/ 295 w 420"/>
                  <a:gd name="T37" fmla="*/ 506 h 414"/>
                  <a:gd name="T38" fmla="*/ 278 w 420"/>
                  <a:gd name="T39" fmla="*/ 459 h 414"/>
                  <a:gd name="T40" fmla="*/ 246 w 420"/>
                  <a:gd name="T41" fmla="*/ 451 h 414"/>
                  <a:gd name="T42" fmla="*/ 223 w 420"/>
                  <a:gd name="T43" fmla="*/ 451 h 414"/>
                  <a:gd name="T44" fmla="*/ 194 w 420"/>
                  <a:gd name="T45" fmla="*/ 435 h 414"/>
                  <a:gd name="T46" fmla="*/ 165 w 420"/>
                  <a:gd name="T47" fmla="*/ 429 h 414"/>
                  <a:gd name="T48" fmla="*/ 110 w 420"/>
                  <a:gd name="T49" fmla="*/ 403 h 414"/>
                  <a:gd name="T50" fmla="*/ 75 w 420"/>
                  <a:gd name="T51" fmla="*/ 376 h 414"/>
                  <a:gd name="T52" fmla="*/ 54 w 420"/>
                  <a:gd name="T53" fmla="*/ 319 h 414"/>
                  <a:gd name="T54" fmla="*/ 4 w 420"/>
                  <a:gd name="T55" fmla="*/ 268 h 414"/>
                  <a:gd name="T56" fmla="*/ 6 w 420"/>
                  <a:gd name="T57" fmla="*/ 233 h 414"/>
                  <a:gd name="T58" fmla="*/ 0 w 420"/>
                  <a:gd name="T59" fmla="*/ 195 h 414"/>
                  <a:gd name="T60" fmla="*/ 31 w 420"/>
                  <a:gd name="T61" fmla="*/ 168 h 414"/>
                  <a:gd name="T62" fmla="*/ 63 w 420"/>
                  <a:gd name="T63" fmla="*/ 122 h 414"/>
                  <a:gd name="T64" fmla="*/ 61 w 420"/>
                  <a:gd name="T65" fmla="*/ 99 h 414"/>
                  <a:gd name="T66" fmla="*/ 51 w 420"/>
                  <a:gd name="T67" fmla="*/ 85 h 414"/>
                  <a:gd name="T68" fmla="*/ 73 w 420"/>
                  <a:gd name="T69" fmla="*/ 49 h 414"/>
                  <a:gd name="T70" fmla="*/ 48 w 420"/>
                  <a:gd name="T71" fmla="*/ 1 h 414"/>
                  <a:gd name="T72" fmla="*/ 125 w 420"/>
                  <a:gd name="T73" fmla="*/ 0 h 414"/>
                  <a:gd name="T74" fmla="*/ 122 w 420"/>
                  <a:gd name="T75" fmla="*/ 56 h 414"/>
                  <a:gd name="T76" fmla="*/ 140 w 420"/>
                  <a:gd name="T77" fmla="*/ 89 h 414"/>
                  <a:gd name="T78" fmla="*/ 151 w 420"/>
                  <a:gd name="T79" fmla="*/ 66 h 414"/>
                  <a:gd name="T80" fmla="*/ 182 w 420"/>
                  <a:gd name="T81" fmla="*/ 79 h 414"/>
                  <a:gd name="T82" fmla="*/ 196 w 420"/>
                  <a:gd name="T83" fmla="*/ 89 h 414"/>
                  <a:gd name="T84" fmla="*/ 220 w 420"/>
                  <a:gd name="T85" fmla="*/ 78 h 414"/>
                  <a:gd name="T86" fmla="*/ 238 w 420"/>
                  <a:gd name="T87" fmla="*/ 60 h 414"/>
                  <a:gd name="T88" fmla="*/ 227 w 420"/>
                  <a:gd name="T89" fmla="*/ 48 h 414"/>
                  <a:gd name="T90" fmla="*/ 237 w 420"/>
                  <a:gd name="T91" fmla="*/ 38 h 414"/>
                  <a:gd name="T92" fmla="*/ 251 w 420"/>
                  <a:gd name="T93" fmla="*/ 19 h 414"/>
                  <a:gd name="T94" fmla="*/ 256 w 420"/>
                  <a:gd name="T95" fmla="*/ 3 h 414"/>
                  <a:gd name="T96" fmla="*/ 475 w 420"/>
                  <a:gd name="T97" fmla="*/ 11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20"/>
                  <a:gd name="T148" fmla="*/ 0 h 414"/>
                  <a:gd name="T149" fmla="*/ 420 w 42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20" h="414">
                    <a:moveTo>
                      <a:pt x="317" y="100"/>
                    </a:moveTo>
                    <a:lnTo>
                      <a:pt x="320" y="108"/>
                    </a:lnTo>
                    <a:lnTo>
                      <a:pt x="374" y="142"/>
                    </a:lnTo>
                    <a:lnTo>
                      <a:pt x="373" y="145"/>
                    </a:lnTo>
                    <a:lnTo>
                      <a:pt x="367" y="166"/>
                    </a:lnTo>
                    <a:lnTo>
                      <a:pt x="365" y="171"/>
                    </a:lnTo>
                    <a:lnTo>
                      <a:pt x="363" y="179"/>
                    </a:lnTo>
                    <a:lnTo>
                      <a:pt x="356" y="197"/>
                    </a:lnTo>
                    <a:lnTo>
                      <a:pt x="356" y="204"/>
                    </a:lnTo>
                    <a:lnTo>
                      <a:pt x="358" y="209"/>
                    </a:lnTo>
                    <a:lnTo>
                      <a:pt x="368" y="216"/>
                    </a:lnTo>
                    <a:lnTo>
                      <a:pt x="373" y="224"/>
                    </a:lnTo>
                    <a:lnTo>
                      <a:pt x="379" y="227"/>
                    </a:lnTo>
                    <a:lnTo>
                      <a:pt x="383" y="235"/>
                    </a:lnTo>
                    <a:lnTo>
                      <a:pt x="383" y="239"/>
                    </a:lnTo>
                    <a:lnTo>
                      <a:pt x="381" y="241"/>
                    </a:lnTo>
                    <a:lnTo>
                      <a:pt x="377" y="245"/>
                    </a:lnTo>
                    <a:lnTo>
                      <a:pt x="377" y="254"/>
                    </a:lnTo>
                    <a:lnTo>
                      <a:pt x="377" y="258"/>
                    </a:lnTo>
                    <a:lnTo>
                      <a:pt x="377" y="263"/>
                    </a:lnTo>
                    <a:lnTo>
                      <a:pt x="377" y="267"/>
                    </a:lnTo>
                    <a:lnTo>
                      <a:pt x="379" y="270"/>
                    </a:lnTo>
                    <a:lnTo>
                      <a:pt x="377" y="277"/>
                    </a:lnTo>
                    <a:lnTo>
                      <a:pt x="374" y="278"/>
                    </a:lnTo>
                    <a:lnTo>
                      <a:pt x="373" y="282"/>
                    </a:lnTo>
                    <a:lnTo>
                      <a:pt x="374" y="289"/>
                    </a:lnTo>
                    <a:lnTo>
                      <a:pt x="377" y="298"/>
                    </a:lnTo>
                    <a:lnTo>
                      <a:pt x="381" y="301"/>
                    </a:lnTo>
                    <a:lnTo>
                      <a:pt x="381" y="303"/>
                    </a:lnTo>
                    <a:lnTo>
                      <a:pt x="379" y="305"/>
                    </a:lnTo>
                    <a:lnTo>
                      <a:pt x="388" y="319"/>
                    </a:lnTo>
                    <a:lnTo>
                      <a:pt x="389" y="323"/>
                    </a:lnTo>
                    <a:lnTo>
                      <a:pt x="388" y="328"/>
                    </a:lnTo>
                    <a:lnTo>
                      <a:pt x="391" y="332"/>
                    </a:lnTo>
                    <a:lnTo>
                      <a:pt x="394" y="335"/>
                    </a:lnTo>
                    <a:lnTo>
                      <a:pt x="394" y="340"/>
                    </a:lnTo>
                    <a:lnTo>
                      <a:pt x="396" y="343"/>
                    </a:lnTo>
                    <a:lnTo>
                      <a:pt x="396" y="347"/>
                    </a:lnTo>
                    <a:lnTo>
                      <a:pt x="403" y="352"/>
                    </a:lnTo>
                    <a:lnTo>
                      <a:pt x="408" y="359"/>
                    </a:lnTo>
                    <a:lnTo>
                      <a:pt x="413" y="360"/>
                    </a:lnTo>
                    <a:lnTo>
                      <a:pt x="418" y="364"/>
                    </a:lnTo>
                    <a:lnTo>
                      <a:pt x="420" y="364"/>
                    </a:lnTo>
                    <a:lnTo>
                      <a:pt x="420" y="368"/>
                    </a:lnTo>
                    <a:lnTo>
                      <a:pt x="419" y="369"/>
                    </a:lnTo>
                    <a:lnTo>
                      <a:pt x="409" y="376"/>
                    </a:lnTo>
                    <a:lnTo>
                      <a:pt x="398" y="384"/>
                    </a:lnTo>
                    <a:lnTo>
                      <a:pt x="394" y="387"/>
                    </a:lnTo>
                    <a:lnTo>
                      <a:pt x="381" y="390"/>
                    </a:lnTo>
                    <a:lnTo>
                      <a:pt x="358" y="399"/>
                    </a:lnTo>
                    <a:lnTo>
                      <a:pt x="351" y="400"/>
                    </a:lnTo>
                    <a:lnTo>
                      <a:pt x="345" y="399"/>
                    </a:lnTo>
                    <a:lnTo>
                      <a:pt x="335" y="395"/>
                    </a:lnTo>
                    <a:lnTo>
                      <a:pt x="329" y="397"/>
                    </a:lnTo>
                    <a:lnTo>
                      <a:pt x="319" y="398"/>
                    </a:lnTo>
                    <a:lnTo>
                      <a:pt x="310" y="407"/>
                    </a:lnTo>
                    <a:lnTo>
                      <a:pt x="308" y="408"/>
                    </a:lnTo>
                    <a:lnTo>
                      <a:pt x="303" y="408"/>
                    </a:lnTo>
                    <a:lnTo>
                      <a:pt x="281" y="407"/>
                    </a:lnTo>
                    <a:lnTo>
                      <a:pt x="272" y="412"/>
                    </a:lnTo>
                    <a:lnTo>
                      <a:pt x="267" y="412"/>
                    </a:lnTo>
                    <a:lnTo>
                      <a:pt x="260" y="414"/>
                    </a:lnTo>
                    <a:lnTo>
                      <a:pt x="259" y="413"/>
                    </a:lnTo>
                    <a:lnTo>
                      <a:pt x="255" y="412"/>
                    </a:lnTo>
                    <a:lnTo>
                      <a:pt x="250" y="406"/>
                    </a:lnTo>
                    <a:lnTo>
                      <a:pt x="246" y="405"/>
                    </a:lnTo>
                    <a:lnTo>
                      <a:pt x="240" y="405"/>
                    </a:lnTo>
                    <a:lnTo>
                      <a:pt x="236" y="408"/>
                    </a:lnTo>
                    <a:lnTo>
                      <a:pt x="233" y="408"/>
                    </a:lnTo>
                    <a:lnTo>
                      <a:pt x="205" y="408"/>
                    </a:lnTo>
                    <a:lnTo>
                      <a:pt x="205" y="405"/>
                    </a:lnTo>
                    <a:lnTo>
                      <a:pt x="201" y="399"/>
                    </a:lnTo>
                    <a:lnTo>
                      <a:pt x="198" y="397"/>
                    </a:lnTo>
                    <a:lnTo>
                      <a:pt x="195" y="392"/>
                    </a:lnTo>
                    <a:lnTo>
                      <a:pt x="193" y="390"/>
                    </a:lnTo>
                    <a:lnTo>
                      <a:pt x="195" y="377"/>
                    </a:lnTo>
                    <a:lnTo>
                      <a:pt x="191" y="371"/>
                    </a:lnTo>
                    <a:lnTo>
                      <a:pt x="190" y="359"/>
                    </a:lnTo>
                    <a:lnTo>
                      <a:pt x="186" y="346"/>
                    </a:lnTo>
                    <a:lnTo>
                      <a:pt x="184" y="342"/>
                    </a:lnTo>
                    <a:lnTo>
                      <a:pt x="176" y="334"/>
                    </a:lnTo>
                    <a:lnTo>
                      <a:pt x="167" y="332"/>
                    </a:lnTo>
                    <a:lnTo>
                      <a:pt x="163" y="336"/>
                    </a:lnTo>
                    <a:lnTo>
                      <a:pt x="163" y="334"/>
                    </a:lnTo>
                    <a:lnTo>
                      <a:pt x="161" y="333"/>
                    </a:lnTo>
                    <a:lnTo>
                      <a:pt x="159" y="330"/>
                    </a:lnTo>
                    <a:lnTo>
                      <a:pt x="157" y="330"/>
                    </a:lnTo>
                    <a:lnTo>
                      <a:pt x="147" y="334"/>
                    </a:lnTo>
                    <a:lnTo>
                      <a:pt x="147" y="333"/>
                    </a:lnTo>
                    <a:lnTo>
                      <a:pt x="144" y="329"/>
                    </a:lnTo>
                    <a:lnTo>
                      <a:pt x="136" y="329"/>
                    </a:lnTo>
                    <a:lnTo>
                      <a:pt x="128" y="324"/>
                    </a:lnTo>
                    <a:lnTo>
                      <a:pt x="126" y="321"/>
                    </a:lnTo>
                    <a:lnTo>
                      <a:pt x="125" y="320"/>
                    </a:lnTo>
                    <a:lnTo>
                      <a:pt x="116" y="320"/>
                    </a:lnTo>
                    <a:lnTo>
                      <a:pt x="109" y="318"/>
                    </a:lnTo>
                    <a:lnTo>
                      <a:pt x="88" y="309"/>
                    </a:lnTo>
                    <a:lnTo>
                      <a:pt x="82" y="308"/>
                    </a:lnTo>
                    <a:lnTo>
                      <a:pt x="77" y="304"/>
                    </a:lnTo>
                    <a:lnTo>
                      <a:pt x="73" y="299"/>
                    </a:lnTo>
                    <a:lnTo>
                      <a:pt x="66" y="294"/>
                    </a:lnTo>
                    <a:lnTo>
                      <a:pt x="61" y="292"/>
                    </a:lnTo>
                    <a:lnTo>
                      <a:pt x="57" y="293"/>
                    </a:lnTo>
                    <a:lnTo>
                      <a:pt x="49" y="280"/>
                    </a:lnTo>
                    <a:lnTo>
                      <a:pt x="45" y="272"/>
                    </a:lnTo>
                    <a:lnTo>
                      <a:pt x="40" y="263"/>
                    </a:lnTo>
                    <a:lnTo>
                      <a:pt x="35" y="247"/>
                    </a:lnTo>
                    <a:lnTo>
                      <a:pt x="35" y="237"/>
                    </a:lnTo>
                    <a:lnTo>
                      <a:pt x="35" y="230"/>
                    </a:lnTo>
                    <a:lnTo>
                      <a:pt x="23" y="217"/>
                    </a:lnTo>
                    <a:lnTo>
                      <a:pt x="7" y="209"/>
                    </a:lnTo>
                    <a:lnTo>
                      <a:pt x="4" y="199"/>
                    </a:lnTo>
                    <a:lnTo>
                      <a:pt x="9" y="196"/>
                    </a:lnTo>
                    <a:lnTo>
                      <a:pt x="10" y="191"/>
                    </a:lnTo>
                    <a:lnTo>
                      <a:pt x="7" y="183"/>
                    </a:lnTo>
                    <a:lnTo>
                      <a:pt x="6" y="173"/>
                    </a:lnTo>
                    <a:lnTo>
                      <a:pt x="7" y="163"/>
                    </a:lnTo>
                    <a:lnTo>
                      <a:pt x="3" y="158"/>
                    </a:lnTo>
                    <a:lnTo>
                      <a:pt x="1" y="156"/>
                    </a:lnTo>
                    <a:lnTo>
                      <a:pt x="0" y="145"/>
                    </a:lnTo>
                    <a:lnTo>
                      <a:pt x="1" y="131"/>
                    </a:lnTo>
                    <a:lnTo>
                      <a:pt x="2" y="131"/>
                    </a:lnTo>
                    <a:lnTo>
                      <a:pt x="10" y="130"/>
                    </a:lnTo>
                    <a:lnTo>
                      <a:pt x="20" y="125"/>
                    </a:lnTo>
                    <a:lnTo>
                      <a:pt x="29" y="111"/>
                    </a:lnTo>
                    <a:lnTo>
                      <a:pt x="32" y="107"/>
                    </a:lnTo>
                    <a:lnTo>
                      <a:pt x="35" y="97"/>
                    </a:lnTo>
                    <a:lnTo>
                      <a:pt x="42" y="90"/>
                    </a:lnTo>
                    <a:lnTo>
                      <a:pt x="44" y="85"/>
                    </a:lnTo>
                    <a:lnTo>
                      <a:pt x="44" y="79"/>
                    </a:lnTo>
                    <a:lnTo>
                      <a:pt x="44" y="74"/>
                    </a:lnTo>
                    <a:lnTo>
                      <a:pt x="40" y="73"/>
                    </a:lnTo>
                    <a:lnTo>
                      <a:pt x="37" y="71"/>
                    </a:lnTo>
                    <a:lnTo>
                      <a:pt x="34" y="69"/>
                    </a:lnTo>
                    <a:lnTo>
                      <a:pt x="34" y="67"/>
                    </a:lnTo>
                    <a:lnTo>
                      <a:pt x="34" y="63"/>
                    </a:lnTo>
                    <a:lnTo>
                      <a:pt x="35" y="58"/>
                    </a:lnTo>
                    <a:lnTo>
                      <a:pt x="39" y="54"/>
                    </a:lnTo>
                    <a:lnTo>
                      <a:pt x="45" y="44"/>
                    </a:lnTo>
                    <a:lnTo>
                      <a:pt x="48" y="37"/>
                    </a:lnTo>
                    <a:lnTo>
                      <a:pt x="47" y="32"/>
                    </a:lnTo>
                    <a:lnTo>
                      <a:pt x="44" y="22"/>
                    </a:lnTo>
                    <a:lnTo>
                      <a:pt x="35" y="6"/>
                    </a:lnTo>
                    <a:lnTo>
                      <a:pt x="32" y="1"/>
                    </a:lnTo>
                    <a:lnTo>
                      <a:pt x="47" y="3"/>
                    </a:lnTo>
                    <a:lnTo>
                      <a:pt x="51" y="1"/>
                    </a:lnTo>
                    <a:lnTo>
                      <a:pt x="51" y="0"/>
                    </a:lnTo>
                    <a:lnTo>
                      <a:pt x="83" y="0"/>
                    </a:lnTo>
                    <a:lnTo>
                      <a:pt x="85" y="4"/>
                    </a:lnTo>
                    <a:lnTo>
                      <a:pt x="83" y="18"/>
                    </a:lnTo>
                    <a:lnTo>
                      <a:pt x="82" y="27"/>
                    </a:lnTo>
                    <a:lnTo>
                      <a:pt x="80" y="42"/>
                    </a:lnTo>
                    <a:lnTo>
                      <a:pt x="83" y="58"/>
                    </a:lnTo>
                    <a:lnTo>
                      <a:pt x="82" y="63"/>
                    </a:lnTo>
                    <a:lnTo>
                      <a:pt x="85" y="69"/>
                    </a:lnTo>
                    <a:lnTo>
                      <a:pt x="92" y="66"/>
                    </a:lnTo>
                    <a:lnTo>
                      <a:pt x="93" y="61"/>
                    </a:lnTo>
                    <a:lnTo>
                      <a:pt x="99" y="61"/>
                    </a:lnTo>
                    <a:lnTo>
                      <a:pt x="97" y="54"/>
                    </a:lnTo>
                    <a:lnTo>
                      <a:pt x="100" y="49"/>
                    </a:lnTo>
                    <a:lnTo>
                      <a:pt x="104" y="52"/>
                    </a:lnTo>
                    <a:lnTo>
                      <a:pt x="111" y="59"/>
                    </a:lnTo>
                    <a:lnTo>
                      <a:pt x="115" y="63"/>
                    </a:lnTo>
                    <a:lnTo>
                      <a:pt x="120" y="59"/>
                    </a:lnTo>
                    <a:lnTo>
                      <a:pt x="122" y="61"/>
                    </a:lnTo>
                    <a:lnTo>
                      <a:pt x="125" y="74"/>
                    </a:lnTo>
                    <a:lnTo>
                      <a:pt x="130" y="70"/>
                    </a:lnTo>
                    <a:lnTo>
                      <a:pt x="130" y="66"/>
                    </a:lnTo>
                    <a:lnTo>
                      <a:pt x="130" y="59"/>
                    </a:lnTo>
                    <a:lnTo>
                      <a:pt x="133" y="58"/>
                    </a:lnTo>
                    <a:lnTo>
                      <a:pt x="141" y="58"/>
                    </a:lnTo>
                    <a:lnTo>
                      <a:pt x="145" y="58"/>
                    </a:lnTo>
                    <a:lnTo>
                      <a:pt x="151" y="55"/>
                    </a:lnTo>
                    <a:lnTo>
                      <a:pt x="159" y="49"/>
                    </a:lnTo>
                    <a:lnTo>
                      <a:pt x="159" y="48"/>
                    </a:lnTo>
                    <a:lnTo>
                      <a:pt x="157" y="45"/>
                    </a:lnTo>
                    <a:lnTo>
                      <a:pt x="147" y="45"/>
                    </a:lnTo>
                    <a:lnTo>
                      <a:pt x="141" y="43"/>
                    </a:lnTo>
                    <a:lnTo>
                      <a:pt x="143" y="40"/>
                    </a:lnTo>
                    <a:lnTo>
                      <a:pt x="150" y="36"/>
                    </a:lnTo>
                    <a:lnTo>
                      <a:pt x="147" y="33"/>
                    </a:lnTo>
                    <a:lnTo>
                      <a:pt x="150" y="32"/>
                    </a:lnTo>
                    <a:lnTo>
                      <a:pt x="154" y="32"/>
                    </a:lnTo>
                    <a:lnTo>
                      <a:pt x="156" y="28"/>
                    </a:lnTo>
                    <a:lnTo>
                      <a:pt x="159" y="23"/>
                    </a:lnTo>
                    <a:lnTo>
                      <a:pt x="159" y="20"/>
                    </a:lnTo>
                    <a:lnTo>
                      <a:pt x="163" y="20"/>
                    </a:lnTo>
                    <a:lnTo>
                      <a:pt x="164" y="13"/>
                    </a:lnTo>
                    <a:lnTo>
                      <a:pt x="168" y="14"/>
                    </a:lnTo>
                    <a:lnTo>
                      <a:pt x="169" y="11"/>
                    </a:lnTo>
                    <a:lnTo>
                      <a:pt x="167" y="7"/>
                    </a:lnTo>
                    <a:lnTo>
                      <a:pt x="169" y="3"/>
                    </a:lnTo>
                    <a:lnTo>
                      <a:pt x="178" y="0"/>
                    </a:lnTo>
                    <a:lnTo>
                      <a:pt x="312" y="78"/>
                    </a:lnTo>
                    <a:lnTo>
                      <a:pt x="313" y="81"/>
                    </a:lnTo>
                    <a:lnTo>
                      <a:pt x="313" y="87"/>
                    </a:lnTo>
                    <a:lnTo>
                      <a:pt x="317" y="100"/>
                    </a:lnTo>
                    <a:close/>
                  </a:path>
                </a:pathLst>
              </a:custGeom>
              <a:solidFill>
                <a:srgbClr val="9CBC5A"/>
              </a:solidFill>
              <a:ln>
                <a:noFill/>
              </a:ln>
              <a:extLst/>
            </p:spPr>
            <p:txBody>
              <a:bodyPr/>
              <a:lstStyle/>
              <a:p>
                <a:pPr>
                  <a:defRPr/>
                </a:pPr>
                <a:endParaRPr lang="en-US">
                  <a:latin typeface="Arial" panose="020B0604020202020204" pitchFamily="34" charset="0"/>
                  <a:ea typeface="ＭＳ Ｐゴシック" panose="020B0600070205080204" pitchFamily="34" charset="-128"/>
                  <a:cs typeface="+mn-cs"/>
                </a:endParaRPr>
              </a:p>
            </p:txBody>
          </p:sp>
          <p:sp>
            <p:nvSpPr>
              <p:cNvPr id="253" name="Freeform 39"/>
              <p:cNvSpPr>
                <a:spLocks/>
              </p:cNvSpPr>
              <p:nvPr/>
            </p:nvSpPr>
            <p:spPr bwMode="auto">
              <a:xfrm>
                <a:off x="2508" y="2562"/>
                <a:ext cx="450" cy="435"/>
              </a:xfrm>
              <a:custGeom>
                <a:avLst/>
                <a:gdLst>
                  <a:gd name="T0" fmla="*/ 35454 w 420"/>
                  <a:gd name="T1" fmla="*/ 3796 h 414"/>
                  <a:gd name="T2" fmla="*/ 33719 w 420"/>
                  <a:gd name="T3" fmla="*/ 5152 h 414"/>
                  <a:gd name="T4" fmla="*/ 35454 w 420"/>
                  <a:gd name="T5" fmla="*/ 5891 h 414"/>
                  <a:gd name="T6" fmla="*/ 36128 w 420"/>
                  <a:gd name="T7" fmla="*/ 6280 h 414"/>
                  <a:gd name="T8" fmla="*/ 35853 w 420"/>
                  <a:gd name="T9" fmla="*/ 6886 h 414"/>
                  <a:gd name="T10" fmla="*/ 35586 w 420"/>
                  <a:gd name="T11" fmla="*/ 7279 h 414"/>
                  <a:gd name="T12" fmla="*/ 36128 w 420"/>
                  <a:gd name="T13" fmla="*/ 7914 h 414"/>
                  <a:gd name="T14" fmla="*/ 36957 w 420"/>
                  <a:gd name="T15" fmla="*/ 8444 h 414"/>
                  <a:gd name="T16" fmla="*/ 37401 w 420"/>
                  <a:gd name="T17" fmla="*/ 8881 h 414"/>
                  <a:gd name="T18" fmla="*/ 38709 w 420"/>
                  <a:gd name="T19" fmla="*/ 9375 h 414"/>
                  <a:gd name="T20" fmla="*/ 39944 w 420"/>
                  <a:gd name="T21" fmla="*/ 9664 h 414"/>
                  <a:gd name="T22" fmla="*/ 37401 w 420"/>
                  <a:gd name="T23" fmla="*/ 10154 h 414"/>
                  <a:gd name="T24" fmla="*/ 32720 w 420"/>
                  <a:gd name="T25" fmla="*/ 10454 h 414"/>
                  <a:gd name="T26" fmla="*/ 29373 w 420"/>
                  <a:gd name="T27" fmla="*/ 10669 h 414"/>
                  <a:gd name="T28" fmla="*/ 25824 w 420"/>
                  <a:gd name="T29" fmla="*/ 10806 h 414"/>
                  <a:gd name="T30" fmla="*/ 24286 w 420"/>
                  <a:gd name="T31" fmla="*/ 10806 h 414"/>
                  <a:gd name="T32" fmla="*/ 22367 w 420"/>
                  <a:gd name="T33" fmla="*/ 10715 h 414"/>
                  <a:gd name="T34" fmla="*/ 19054 w 420"/>
                  <a:gd name="T35" fmla="*/ 10454 h 414"/>
                  <a:gd name="T36" fmla="*/ 18537 w 420"/>
                  <a:gd name="T37" fmla="*/ 9851 h 414"/>
                  <a:gd name="T38" fmla="*/ 17454 w 420"/>
                  <a:gd name="T39" fmla="*/ 8922 h 414"/>
                  <a:gd name="T40" fmla="*/ 15491 w 420"/>
                  <a:gd name="T41" fmla="*/ 8791 h 414"/>
                  <a:gd name="T42" fmla="*/ 14060 w 420"/>
                  <a:gd name="T43" fmla="*/ 8791 h 414"/>
                  <a:gd name="T44" fmla="*/ 12248 w 420"/>
                  <a:gd name="T45" fmla="*/ 8452 h 414"/>
                  <a:gd name="T46" fmla="*/ 10435 w 420"/>
                  <a:gd name="T47" fmla="*/ 8367 h 414"/>
                  <a:gd name="T48" fmla="*/ 6921 w 420"/>
                  <a:gd name="T49" fmla="*/ 7847 h 414"/>
                  <a:gd name="T50" fmla="*/ 4721 w 420"/>
                  <a:gd name="T51" fmla="*/ 7301 h 414"/>
                  <a:gd name="T52" fmla="*/ 3355 w 420"/>
                  <a:gd name="T53" fmla="*/ 6227 h 414"/>
                  <a:gd name="T54" fmla="*/ 4 w 420"/>
                  <a:gd name="T55" fmla="*/ 5218 h 414"/>
                  <a:gd name="T56" fmla="*/ 6 w 420"/>
                  <a:gd name="T57" fmla="*/ 4531 h 414"/>
                  <a:gd name="T58" fmla="*/ 0 w 420"/>
                  <a:gd name="T59" fmla="*/ 3796 h 414"/>
                  <a:gd name="T60" fmla="*/ 1931 w 420"/>
                  <a:gd name="T61" fmla="*/ 3273 h 414"/>
                  <a:gd name="T62" fmla="*/ 3985 w 420"/>
                  <a:gd name="T63" fmla="*/ 2374 h 414"/>
                  <a:gd name="T64" fmla="*/ 3838 w 420"/>
                  <a:gd name="T65" fmla="*/ 1929 h 414"/>
                  <a:gd name="T66" fmla="*/ 3240 w 420"/>
                  <a:gd name="T67" fmla="*/ 1663 h 414"/>
                  <a:gd name="T68" fmla="*/ 4575 w 420"/>
                  <a:gd name="T69" fmla="*/ 965 h 414"/>
                  <a:gd name="T70" fmla="*/ 3024 w 420"/>
                  <a:gd name="T71" fmla="*/ 1 h 414"/>
                  <a:gd name="T72" fmla="*/ 7918 w 420"/>
                  <a:gd name="T73" fmla="*/ 0 h 414"/>
                  <a:gd name="T74" fmla="*/ 7651 w 420"/>
                  <a:gd name="T75" fmla="*/ 1082 h 414"/>
                  <a:gd name="T76" fmla="*/ 8784 w 420"/>
                  <a:gd name="T77" fmla="*/ 1747 h 414"/>
                  <a:gd name="T78" fmla="*/ 9447 w 420"/>
                  <a:gd name="T79" fmla="*/ 1299 h 414"/>
                  <a:gd name="T80" fmla="*/ 11436 w 420"/>
                  <a:gd name="T81" fmla="*/ 1531 h 414"/>
                  <a:gd name="T82" fmla="*/ 12274 w 420"/>
                  <a:gd name="T83" fmla="*/ 1747 h 414"/>
                  <a:gd name="T84" fmla="*/ 13799 w 420"/>
                  <a:gd name="T85" fmla="*/ 1521 h 414"/>
                  <a:gd name="T86" fmla="*/ 14984 w 420"/>
                  <a:gd name="T87" fmla="*/ 1176 h 414"/>
                  <a:gd name="T88" fmla="*/ 14237 w 420"/>
                  <a:gd name="T89" fmla="*/ 933 h 414"/>
                  <a:gd name="T90" fmla="*/ 14870 w 420"/>
                  <a:gd name="T91" fmla="*/ 728 h 414"/>
                  <a:gd name="T92" fmla="*/ 15753 w 420"/>
                  <a:gd name="T93" fmla="*/ 347 h 414"/>
                  <a:gd name="T94" fmla="*/ 16140 w 420"/>
                  <a:gd name="T95" fmla="*/ 3 h 414"/>
                  <a:gd name="T96" fmla="*/ 29861 w 420"/>
                  <a:gd name="T97" fmla="*/ 227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20"/>
                  <a:gd name="T148" fmla="*/ 0 h 414"/>
                  <a:gd name="T149" fmla="*/ 420 w 42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20" h="414">
                    <a:moveTo>
                      <a:pt x="317" y="100"/>
                    </a:moveTo>
                    <a:lnTo>
                      <a:pt x="320" y="108"/>
                    </a:lnTo>
                    <a:lnTo>
                      <a:pt x="374" y="142"/>
                    </a:lnTo>
                    <a:lnTo>
                      <a:pt x="373" y="145"/>
                    </a:lnTo>
                    <a:lnTo>
                      <a:pt x="367" y="166"/>
                    </a:lnTo>
                    <a:lnTo>
                      <a:pt x="365" y="171"/>
                    </a:lnTo>
                    <a:lnTo>
                      <a:pt x="363" y="179"/>
                    </a:lnTo>
                    <a:lnTo>
                      <a:pt x="356" y="197"/>
                    </a:lnTo>
                    <a:lnTo>
                      <a:pt x="356" y="204"/>
                    </a:lnTo>
                    <a:lnTo>
                      <a:pt x="358" y="209"/>
                    </a:lnTo>
                    <a:lnTo>
                      <a:pt x="368" y="216"/>
                    </a:lnTo>
                    <a:lnTo>
                      <a:pt x="373" y="224"/>
                    </a:lnTo>
                    <a:lnTo>
                      <a:pt x="379" y="227"/>
                    </a:lnTo>
                    <a:lnTo>
                      <a:pt x="383" y="235"/>
                    </a:lnTo>
                    <a:lnTo>
                      <a:pt x="383" y="239"/>
                    </a:lnTo>
                    <a:lnTo>
                      <a:pt x="381" y="241"/>
                    </a:lnTo>
                    <a:lnTo>
                      <a:pt x="377" y="245"/>
                    </a:lnTo>
                    <a:lnTo>
                      <a:pt x="377" y="254"/>
                    </a:lnTo>
                    <a:lnTo>
                      <a:pt x="377" y="258"/>
                    </a:lnTo>
                    <a:lnTo>
                      <a:pt x="377" y="263"/>
                    </a:lnTo>
                    <a:lnTo>
                      <a:pt x="377" y="267"/>
                    </a:lnTo>
                    <a:lnTo>
                      <a:pt x="379" y="270"/>
                    </a:lnTo>
                    <a:lnTo>
                      <a:pt x="377" y="277"/>
                    </a:lnTo>
                    <a:lnTo>
                      <a:pt x="374" y="278"/>
                    </a:lnTo>
                    <a:lnTo>
                      <a:pt x="373" y="282"/>
                    </a:lnTo>
                    <a:lnTo>
                      <a:pt x="374" y="289"/>
                    </a:lnTo>
                    <a:lnTo>
                      <a:pt x="377" y="298"/>
                    </a:lnTo>
                    <a:lnTo>
                      <a:pt x="381" y="301"/>
                    </a:lnTo>
                    <a:lnTo>
                      <a:pt x="381" y="303"/>
                    </a:lnTo>
                    <a:lnTo>
                      <a:pt x="379" y="305"/>
                    </a:lnTo>
                    <a:lnTo>
                      <a:pt x="388" y="319"/>
                    </a:lnTo>
                    <a:lnTo>
                      <a:pt x="389" y="323"/>
                    </a:lnTo>
                    <a:lnTo>
                      <a:pt x="388" y="328"/>
                    </a:lnTo>
                    <a:lnTo>
                      <a:pt x="391" y="332"/>
                    </a:lnTo>
                    <a:lnTo>
                      <a:pt x="394" y="335"/>
                    </a:lnTo>
                    <a:lnTo>
                      <a:pt x="394" y="340"/>
                    </a:lnTo>
                    <a:lnTo>
                      <a:pt x="396" y="343"/>
                    </a:lnTo>
                    <a:lnTo>
                      <a:pt x="396" y="347"/>
                    </a:lnTo>
                    <a:lnTo>
                      <a:pt x="403" y="352"/>
                    </a:lnTo>
                    <a:lnTo>
                      <a:pt x="408" y="359"/>
                    </a:lnTo>
                    <a:lnTo>
                      <a:pt x="413" y="360"/>
                    </a:lnTo>
                    <a:lnTo>
                      <a:pt x="418" y="364"/>
                    </a:lnTo>
                    <a:lnTo>
                      <a:pt x="420" y="364"/>
                    </a:lnTo>
                    <a:lnTo>
                      <a:pt x="420" y="368"/>
                    </a:lnTo>
                    <a:lnTo>
                      <a:pt x="419" y="369"/>
                    </a:lnTo>
                    <a:lnTo>
                      <a:pt x="409" y="376"/>
                    </a:lnTo>
                    <a:lnTo>
                      <a:pt x="398" y="384"/>
                    </a:lnTo>
                    <a:lnTo>
                      <a:pt x="394" y="387"/>
                    </a:lnTo>
                    <a:lnTo>
                      <a:pt x="381" y="390"/>
                    </a:lnTo>
                    <a:lnTo>
                      <a:pt x="358" y="399"/>
                    </a:lnTo>
                    <a:lnTo>
                      <a:pt x="351" y="400"/>
                    </a:lnTo>
                    <a:lnTo>
                      <a:pt x="345" y="399"/>
                    </a:lnTo>
                    <a:lnTo>
                      <a:pt x="335" y="395"/>
                    </a:lnTo>
                    <a:lnTo>
                      <a:pt x="329" y="397"/>
                    </a:lnTo>
                    <a:lnTo>
                      <a:pt x="319" y="398"/>
                    </a:lnTo>
                    <a:lnTo>
                      <a:pt x="310" y="407"/>
                    </a:lnTo>
                    <a:lnTo>
                      <a:pt x="308" y="408"/>
                    </a:lnTo>
                    <a:lnTo>
                      <a:pt x="303" y="408"/>
                    </a:lnTo>
                    <a:lnTo>
                      <a:pt x="281" y="407"/>
                    </a:lnTo>
                    <a:lnTo>
                      <a:pt x="272" y="412"/>
                    </a:lnTo>
                    <a:lnTo>
                      <a:pt x="267" y="412"/>
                    </a:lnTo>
                    <a:lnTo>
                      <a:pt x="260" y="414"/>
                    </a:lnTo>
                    <a:lnTo>
                      <a:pt x="259" y="413"/>
                    </a:lnTo>
                    <a:lnTo>
                      <a:pt x="255" y="412"/>
                    </a:lnTo>
                    <a:lnTo>
                      <a:pt x="250" y="406"/>
                    </a:lnTo>
                    <a:lnTo>
                      <a:pt x="246" y="405"/>
                    </a:lnTo>
                    <a:lnTo>
                      <a:pt x="240" y="405"/>
                    </a:lnTo>
                    <a:lnTo>
                      <a:pt x="236" y="408"/>
                    </a:lnTo>
                    <a:lnTo>
                      <a:pt x="233" y="408"/>
                    </a:lnTo>
                    <a:lnTo>
                      <a:pt x="205" y="408"/>
                    </a:lnTo>
                    <a:lnTo>
                      <a:pt x="205" y="405"/>
                    </a:lnTo>
                    <a:lnTo>
                      <a:pt x="201" y="399"/>
                    </a:lnTo>
                    <a:lnTo>
                      <a:pt x="198" y="397"/>
                    </a:lnTo>
                    <a:lnTo>
                      <a:pt x="195" y="392"/>
                    </a:lnTo>
                    <a:lnTo>
                      <a:pt x="193" y="390"/>
                    </a:lnTo>
                    <a:lnTo>
                      <a:pt x="195" y="377"/>
                    </a:lnTo>
                    <a:lnTo>
                      <a:pt x="191" y="371"/>
                    </a:lnTo>
                    <a:lnTo>
                      <a:pt x="190" y="359"/>
                    </a:lnTo>
                    <a:lnTo>
                      <a:pt x="186" y="346"/>
                    </a:lnTo>
                    <a:lnTo>
                      <a:pt x="184" y="342"/>
                    </a:lnTo>
                    <a:lnTo>
                      <a:pt x="176" y="334"/>
                    </a:lnTo>
                    <a:lnTo>
                      <a:pt x="167" y="332"/>
                    </a:lnTo>
                    <a:lnTo>
                      <a:pt x="163" y="336"/>
                    </a:lnTo>
                    <a:lnTo>
                      <a:pt x="163" y="334"/>
                    </a:lnTo>
                    <a:lnTo>
                      <a:pt x="161" y="333"/>
                    </a:lnTo>
                    <a:lnTo>
                      <a:pt x="159" y="330"/>
                    </a:lnTo>
                    <a:lnTo>
                      <a:pt x="157" y="330"/>
                    </a:lnTo>
                    <a:lnTo>
                      <a:pt x="147" y="334"/>
                    </a:lnTo>
                    <a:lnTo>
                      <a:pt x="147" y="333"/>
                    </a:lnTo>
                    <a:lnTo>
                      <a:pt x="144" y="329"/>
                    </a:lnTo>
                    <a:lnTo>
                      <a:pt x="136" y="329"/>
                    </a:lnTo>
                    <a:lnTo>
                      <a:pt x="128" y="324"/>
                    </a:lnTo>
                    <a:lnTo>
                      <a:pt x="126" y="321"/>
                    </a:lnTo>
                    <a:lnTo>
                      <a:pt x="125" y="320"/>
                    </a:lnTo>
                    <a:lnTo>
                      <a:pt x="116" y="320"/>
                    </a:lnTo>
                    <a:lnTo>
                      <a:pt x="109" y="318"/>
                    </a:lnTo>
                    <a:lnTo>
                      <a:pt x="88" y="309"/>
                    </a:lnTo>
                    <a:lnTo>
                      <a:pt x="82" y="308"/>
                    </a:lnTo>
                    <a:lnTo>
                      <a:pt x="77" y="304"/>
                    </a:lnTo>
                    <a:lnTo>
                      <a:pt x="73" y="299"/>
                    </a:lnTo>
                    <a:lnTo>
                      <a:pt x="66" y="294"/>
                    </a:lnTo>
                    <a:lnTo>
                      <a:pt x="61" y="292"/>
                    </a:lnTo>
                    <a:lnTo>
                      <a:pt x="57" y="293"/>
                    </a:lnTo>
                    <a:lnTo>
                      <a:pt x="49" y="280"/>
                    </a:lnTo>
                    <a:lnTo>
                      <a:pt x="45" y="272"/>
                    </a:lnTo>
                    <a:lnTo>
                      <a:pt x="40" y="263"/>
                    </a:lnTo>
                    <a:lnTo>
                      <a:pt x="35" y="247"/>
                    </a:lnTo>
                    <a:lnTo>
                      <a:pt x="35" y="237"/>
                    </a:lnTo>
                    <a:lnTo>
                      <a:pt x="35" y="230"/>
                    </a:lnTo>
                    <a:lnTo>
                      <a:pt x="23" y="217"/>
                    </a:lnTo>
                    <a:lnTo>
                      <a:pt x="7" y="209"/>
                    </a:lnTo>
                    <a:lnTo>
                      <a:pt x="4" y="199"/>
                    </a:lnTo>
                    <a:lnTo>
                      <a:pt x="9" y="196"/>
                    </a:lnTo>
                    <a:lnTo>
                      <a:pt x="10" y="191"/>
                    </a:lnTo>
                    <a:lnTo>
                      <a:pt x="7" y="183"/>
                    </a:lnTo>
                    <a:lnTo>
                      <a:pt x="6" y="173"/>
                    </a:lnTo>
                    <a:lnTo>
                      <a:pt x="7" y="163"/>
                    </a:lnTo>
                    <a:lnTo>
                      <a:pt x="3" y="158"/>
                    </a:lnTo>
                    <a:lnTo>
                      <a:pt x="1" y="156"/>
                    </a:lnTo>
                    <a:lnTo>
                      <a:pt x="0" y="145"/>
                    </a:lnTo>
                    <a:lnTo>
                      <a:pt x="1" y="131"/>
                    </a:lnTo>
                    <a:lnTo>
                      <a:pt x="2" y="131"/>
                    </a:lnTo>
                    <a:lnTo>
                      <a:pt x="10" y="130"/>
                    </a:lnTo>
                    <a:lnTo>
                      <a:pt x="20" y="125"/>
                    </a:lnTo>
                    <a:lnTo>
                      <a:pt x="29" y="111"/>
                    </a:lnTo>
                    <a:lnTo>
                      <a:pt x="32" y="107"/>
                    </a:lnTo>
                    <a:lnTo>
                      <a:pt x="35" y="97"/>
                    </a:lnTo>
                    <a:lnTo>
                      <a:pt x="42" y="90"/>
                    </a:lnTo>
                    <a:lnTo>
                      <a:pt x="44" y="85"/>
                    </a:lnTo>
                    <a:lnTo>
                      <a:pt x="44" y="79"/>
                    </a:lnTo>
                    <a:lnTo>
                      <a:pt x="44" y="74"/>
                    </a:lnTo>
                    <a:lnTo>
                      <a:pt x="40" y="73"/>
                    </a:lnTo>
                    <a:lnTo>
                      <a:pt x="37" y="71"/>
                    </a:lnTo>
                    <a:lnTo>
                      <a:pt x="34" y="69"/>
                    </a:lnTo>
                    <a:lnTo>
                      <a:pt x="34" y="67"/>
                    </a:lnTo>
                    <a:lnTo>
                      <a:pt x="34" y="63"/>
                    </a:lnTo>
                    <a:lnTo>
                      <a:pt x="35" y="58"/>
                    </a:lnTo>
                    <a:lnTo>
                      <a:pt x="39" y="54"/>
                    </a:lnTo>
                    <a:lnTo>
                      <a:pt x="45" y="44"/>
                    </a:lnTo>
                    <a:lnTo>
                      <a:pt x="48" y="37"/>
                    </a:lnTo>
                    <a:lnTo>
                      <a:pt x="47" y="32"/>
                    </a:lnTo>
                    <a:lnTo>
                      <a:pt x="44" y="22"/>
                    </a:lnTo>
                    <a:lnTo>
                      <a:pt x="35" y="6"/>
                    </a:lnTo>
                    <a:lnTo>
                      <a:pt x="32" y="1"/>
                    </a:lnTo>
                    <a:lnTo>
                      <a:pt x="47" y="3"/>
                    </a:lnTo>
                    <a:lnTo>
                      <a:pt x="51" y="1"/>
                    </a:lnTo>
                    <a:lnTo>
                      <a:pt x="51" y="0"/>
                    </a:lnTo>
                    <a:lnTo>
                      <a:pt x="83" y="0"/>
                    </a:lnTo>
                    <a:lnTo>
                      <a:pt x="85" y="4"/>
                    </a:lnTo>
                    <a:lnTo>
                      <a:pt x="83" y="18"/>
                    </a:lnTo>
                    <a:lnTo>
                      <a:pt x="82" y="27"/>
                    </a:lnTo>
                    <a:lnTo>
                      <a:pt x="80" y="42"/>
                    </a:lnTo>
                    <a:lnTo>
                      <a:pt x="83" y="58"/>
                    </a:lnTo>
                    <a:lnTo>
                      <a:pt x="82" y="63"/>
                    </a:lnTo>
                    <a:lnTo>
                      <a:pt x="85" y="69"/>
                    </a:lnTo>
                    <a:lnTo>
                      <a:pt x="92" y="66"/>
                    </a:lnTo>
                    <a:lnTo>
                      <a:pt x="93" y="61"/>
                    </a:lnTo>
                    <a:lnTo>
                      <a:pt x="99" y="61"/>
                    </a:lnTo>
                    <a:lnTo>
                      <a:pt x="97" y="54"/>
                    </a:lnTo>
                    <a:lnTo>
                      <a:pt x="100" y="49"/>
                    </a:lnTo>
                    <a:lnTo>
                      <a:pt x="104" y="52"/>
                    </a:lnTo>
                    <a:lnTo>
                      <a:pt x="111" y="59"/>
                    </a:lnTo>
                    <a:lnTo>
                      <a:pt x="115" y="63"/>
                    </a:lnTo>
                    <a:lnTo>
                      <a:pt x="120" y="59"/>
                    </a:lnTo>
                    <a:lnTo>
                      <a:pt x="122" y="61"/>
                    </a:lnTo>
                    <a:lnTo>
                      <a:pt x="125" y="74"/>
                    </a:lnTo>
                    <a:lnTo>
                      <a:pt x="130" y="70"/>
                    </a:lnTo>
                    <a:lnTo>
                      <a:pt x="130" y="66"/>
                    </a:lnTo>
                    <a:lnTo>
                      <a:pt x="130" y="59"/>
                    </a:lnTo>
                    <a:lnTo>
                      <a:pt x="133" y="58"/>
                    </a:lnTo>
                    <a:lnTo>
                      <a:pt x="141" y="58"/>
                    </a:lnTo>
                    <a:lnTo>
                      <a:pt x="145" y="58"/>
                    </a:lnTo>
                    <a:lnTo>
                      <a:pt x="151" y="55"/>
                    </a:lnTo>
                    <a:lnTo>
                      <a:pt x="159" y="49"/>
                    </a:lnTo>
                    <a:lnTo>
                      <a:pt x="159" y="48"/>
                    </a:lnTo>
                    <a:lnTo>
                      <a:pt x="157" y="45"/>
                    </a:lnTo>
                    <a:lnTo>
                      <a:pt x="147" y="45"/>
                    </a:lnTo>
                    <a:lnTo>
                      <a:pt x="141" y="43"/>
                    </a:lnTo>
                    <a:lnTo>
                      <a:pt x="143" y="40"/>
                    </a:lnTo>
                    <a:lnTo>
                      <a:pt x="150" y="36"/>
                    </a:lnTo>
                    <a:lnTo>
                      <a:pt x="147" y="33"/>
                    </a:lnTo>
                    <a:lnTo>
                      <a:pt x="150" y="32"/>
                    </a:lnTo>
                    <a:lnTo>
                      <a:pt x="154" y="32"/>
                    </a:lnTo>
                    <a:lnTo>
                      <a:pt x="156" y="28"/>
                    </a:lnTo>
                    <a:lnTo>
                      <a:pt x="159" y="23"/>
                    </a:lnTo>
                    <a:lnTo>
                      <a:pt x="159" y="20"/>
                    </a:lnTo>
                    <a:lnTo>
                      <a:pt x="163" y="20"/>
                    </a:lnTo>
                    <a:lnTo>
                      <a:pt x="164" y="13"/>
                    </a:lnTo>
                    <a:lnTo>
                      <a:pt x="168" y="14"/>
                    </a:lnTo>
                    <a:lnTo>
                      <a:pt x="169" y="11"/>
                    </a:lnTo>
                    <a:lnTo>
                      <a:pt x="167" y="7"/>
                    </a:lnTo>
                    <a:lnTo>
                      <a:pt x="169" y="3"/>
                    </a:lnTo>
                    <a:lnTo>
                      <a:pt x="178" y="0"/>
                    </a:lnTo>
                    <a:lnTo>
                      <a:pt x="312" y="78"/>
                    </a:lnTo>
                    <a:lnTo>
                      <a:pt x="313" y="81"/>
                    </a:lnTo>
                    <a:lnTo>
                      <a:pt x="313" y="87"/>
                    </a:lnTo>
                    <a:lnTo>
                      <a:pt x="317" y="10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54" name="Freeform 40"/>
              <p:cNvSpPr>
                <a:spLocks/>
              </p:cNvSpPr>
              <p:nvPr/>
            </p:nvSpPr>
            <p:spPr bwMode="auto">
              <a:xfrm>
                <a:off x="740" y="1067"/>
                <a:ext cx="495" cy="330"/>
              </a:xfrm>
              <a:custGeom>
                <a:avLst/>
                <a:gdLst>
                  <a:gd name="T0" fmla="*/ 0 w 463"/>
                  <a:gd name="T1" fmla="*/ 8375 h 314"/>
                  <a:gd name="T2" fmla="*/ 1392 w 463"/>
                  <a:gd name="T3" fmla="*/ 8073 h 314"/>
                  <a:gd name="T4" fmla="*/ 4959 w 463"/>
                  <a:gd name="T5" fmla="*/ 7674 h 314"/>
                  <a:gd name="T6" fmla="*/ 6469 w 463"/>
                  <a:gd name="T7" fmla="*/ 7310 h 314"/>
                  <a:gd name="T8" fmla="*/ 8379 w 463"/>
                  <a:gd name="T9" fmla="*/ 6917 h 314"/>
                  <a:gd name="T10" fmla="*/ 9648 w 463"/>
                  <a:gd name="T11" fmla="*/ 6443 h 314"/>
                  <a:gd name="T12" fmla="*/ 10363 w 463"/>
                  <a:gd name="T13" fmla="*/ 5669 h 314"/>
                  <a:gd name="T14" fmla="*/ 10239 w 463"/>
                  <a:gd name="T15" fmla="*/ 4757 h 314"/>
                  <a:gd name="T16" fmla="*/ 11184 w 463"/>
                  <a:gd name="T17" fmla="*/ 4098 h 314"/>
                  <a:gd name="T18" fmla="*/ 11823 w 463"/>
                  <a:gd name="T19" fmla="*/ 4003 h 314"/>
                  <a:gd name="T20" fmla="*/ 13514 w 463"/>
                  <a:gd name="T21" fmla="*/ 3041 h 314"/>
                  <a:gd name="T22" fmla="*/ 15611 w 463"/>
                  <a:gd name="T23" fmla="*/ 2560 h 314"/>
                  <a:gd name="T24" fmla="*/ 19449 w 463"/>
                  <a:gd name="T25" fmla="*/ 1997 h 314"/>
                  <a:gd name="T26" fmla="*/ 21136 w 463"/>
                  <a:gd name="T27" fmla="*/ 1378 h 314"/>
                  <a:gd name="T28" fmla="*/ 23027 w 463"/>
                  <a:gd name="T29" fmla="*/ 3 h 314"/>
                  <a:gd name="T30" fmla="*/ 25638 w 463"/>
                  <a:gd name="T31" fmla="*/ 449 h 314"/>
                  <a:gd name="T32" fmla="*/ 28938 w 463"/>
                  <a:gd name="T33" fmla="*/ 576 h 314"/>
                  <a:gd name="T34" fmla="*/ 31384 w 463"/>
                  <a:gd name="T35" fmla="*/ 605 h 314"/>
                  <a:gd name="T36" fmla="*/ 32581 w 463"/>
                  <a:gd name="T37" fmla="*/ 738 h 314"/>
                  <a:gd name="T38" fmla="*/ 33757 w 463"/>
                  <a:gd name="T39" fmla="*/ 776 h 314"/>
                  <a:gd name="T40" fmla="*/ 35041 w 463"/>
                  <a:gd name="T41" fmla="*/ 972 h 314"/>
                  <a:gd name="T42" fmla="*/ 35872 w 463"/>
                  <a:gd name="T43" fmla="*/ 1129 h 314"/>
                  <a:gd name="T44" fmla="*/ 35885 w 463"/>
                  <a:gd name="T45" fmla="*/ 1277 h 314"/>
                  <a:gd name="T46" fmla="*/ 36021 w 463"/>
                  <a:gd name="T47" fmla="*/ 1558 h 314"/>
                  <a:gd name="T48" fmla="*/ 36090 w 463"/>
                  <a:gd name="T49" fmla="*/ 1997 h 314"/>
                  <a:gd name="T50" fmla="*/ 36487 w 463"/>
                  <a:gd name="T51" fmla="*/ 2318 h 314"/>
                  <a:gd name="T52" fmla="*/ 36487 w 463"/>
                  <a:gd name="T53" fmla="*/ 2560 h 314"/>
                  <a:gd name="T54" fmla="*/ 36762 w 463"/>
                  <a:gd name="T55" fmla="*/ 2827 h 314"/>
                  <a:gd name="T56" fmla="*/ 37774 w 463"/>
                  <a:gd name="T57" fmla="*/ 3312 h 314"/>
                  <a:gd name="T58" fmla="*/ 37774 w 463"/>
                  <a:gd name="T59" fmla="*/ 3448 h 314"/>
                  <a:gd name="T60" fmla="*/ 37774 w 463"/>
                  <a:gd name="T61" fmla="*/ 3729 h 314"/>
                  <a:gd name="T62" fmla="*/ 37193 w 463"/>
                  <a:gd name="T63" fmla="*/ 3729 h 314"/>
                  <a:gd name="T64" fmla="*/ 35421 w 463"/>
                  <a:gd name="T65" fmla="*/ 3729 h 314"/>
                  <a:gd name="T66" fmla="*/ 32897 w 463"/>
                  <a:gd name="T67" fmla="*/ 3827 h 314"/>
                  <a:gd name="T68" fmla="*/ 32129 w 463"/>
                  <a:gd name="T69" fmla="*/ 3809 h 314"/>
                  <a:gd name="T70" fmla="*/ 32020 w 463"/>
                  <a:gd name="T71" fmla="*/ 4098 h 314"/>
                  <a:gd name="T72" fmla="*/ 30475 w 463"/>
                  <a:gd name="T73" fmla="*/ 4246 h 314"/>
                  <a:gd name="T74" fmla="*/ 29365 w 463"/>
                  <a:gd name="T75" fmla="*/ 4207 h 314"/>
                  <a:gd name="T76" fmla="*/ 29140 w 463"/>
                  <a:gd name="T77" fmla="*/ 4462 h 314"/>
                  <a:gd name="T78" fmla="*/ 29365 w 463"/>
                  <a:gd name="T79" fmla="*/ 4555 h 314"/>
                  <a:gd name="T80" fmla="*/ 29358 w 463"/>
                  <a:gd name="T81" fmla="*/ 4782 h 314"/>
                  <a:gd name="T82" fmla="*/ 29858 w 463"/>
                  <a:gd name="T83" fmla="*/ 4884 h 314"/>
                  <a:gd name="T84" fmla="*/ 28488 w 463"/>
                  <a:gd name="T85" fmla="*/ 5031 h 314"/>
                  <a:gd name="T86" fmla="*/ 25829 w 463"/>
                  <a:gd name="T87" fmla="*/ 5443 h 314"/>
                  <a:gd name="T88" fmla="*/ 24938 w 463"/>
                  <a:gd name="T89" fmla="*/ 5720 h 314"/>
                  <a:gd name="T90" fmla="*/ 24159 w 463"/>
                  <a:gd name="T91" fmla="*/ 6011 h 314"/>
                  <a:gd name="T92" fmla="*/ 21805 w 463"/>
                  <a:gd name="T93" fmla="*/ 6137 h 314"/>
                  <a:gd name="T94" fmla="*/ 20395 w 463"/>
                  <a:gd name="T95" fmla="*/ 6262 h 314"/>
                  <a:gd name="T96" fmla="*/ 19779 w 463"/>
                  <a:gd name="T97" fmla="*/ 6367 h 314"/>
                  <a:gd name="T98" fmla="*/ 18760 w 463"/>
                  <a:gd name="T99" fmla="*/ 6298 h 314"/>
                  <a:gd name="T100" fmla="*/ 17656 w 463"/>
                  <a:gd name="T101" fmla="*/ 6581 h 314"/>
                  <a:gd name="T102" fmla="*/ 15421 w 463"/>
                  <a:gd name="T103" fmla="*/ 6900 h 314"/>
                  <a:gd name="T104" fmla="*/ 11823 w 463"/>
                  <a:gd name="T105" fmla="*/ 8375 h 314"/>
                  <a:gd name="T106" fmla="*/ 4632 w 463"/>
                  <a:gd name="T107" fmla="*/ 8375 h 3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63"/>
                  <a:gd name="T163" fmla="*/ 0 h 314"/>
                  <a:gd name="T164" fmla="*/ 463 w 463"/>
                  <a:gd name="T165" fmla="*/ 314 h 31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63" h="314">
                    <a:moveTo>
                      <a:pt x="29" y="314"/>
                    </a:moveTo>
                    <a:lnTo>
                      <a:pt x="7" y="314"/>
                    </a:lnTo>
                    <a:lnTo>
                      <a:pt x="0" y="314"/>
                    </a:lnTo>
                    <a:lnTo>
                      <a:pt x="3" y="307"/>
                    </a:lnTo>
                    <a:lnTo>
                      <a:pt x="10" y="304"/>
                    </a:lnTo>
                    <a:lnTo>
                      <a:pt x="18" y="304"/>
                    </a:lnTo>
                    <a:lnTo>
                      <a:pt x="33" y="303"/>
                    </a:lnTo>
                    <a:lnTo>
                      <a:pt x="53" y="294"/>
                    </a:lnTo>
                    <a:lnTo>
                      <a:pt x="61" y="288"/>
                    </a:lnTo>
                    <a:lnTo>
                      <a:pt x="68" y="282"/>
                    </a:lnTo>
                    <a:lnTo>
                      <a:pt x="71" y="281"/>
                    </a:lnTo>
                    <a:lnTo>
                      <a:pt x="78" y="275"/>
                    </a:lnTo>
                    <a:lnTo>
                      <a:pt x="91" y="270"/>
                    </a:lnTo>
                    <a:lnTo>
                      <a:pt x="99" y="263"/>
                    </a:lnTo>
                    <a:lnTo>
                      <a:pt x="101" y="260"/>
                    </a:lnTo>
                    <a:lnTo>
                      <a:pt x="104" y="259"/>
                    </a:lnTo>
                    <a:lnTo>
                      <a:pt x="108" y="256"/>
                    </a:lnTo>
                    <a:lnTo>
                      <a:pt x="116" y="242"/>
                    </a:lnTo>
                    <a:lnTo>
                      <a:pt x="127" y="226"/>
                    </a:lnTo>
                    <a:lnTo>
                      <a:pt x="129" y="222"/>
                    </a:lnTo>
                    <a:lnTo>
                      <a:pt x="127" y="212"/>
                    </a:lnTo>
                    <a:lnTo>
                      <a:pt x="120" y="201"/>
                    </a:lnTo>
                    <a:lnTo>
                      <a:pt x="123" y="195"/>
                    </a:lnTo>
                    <a:lnTo>
                      <a:pt x="123" y="178"/>
                    </a:lnTo>
                    <a:lnTo>
                      <a:pt x="124" y="174"/>
                    </a:lnTo>
                    <a:lnTo>
                      <a:pt x="137" y="155"/>
                    </a:lnTo>
                    <a:lnTo>
                      <a:pt x="137" y="153"/>
                    </a:lnTo>
                    <a:lnTo>
                      <a:pt x="144" y="150"/>
                    </a:lnTo>
                    <a:lnTo>
                      <a:pt x="146" y="148"/>
                    </a:lnTo>
                    <a:lnTo>
                      <a:pt x="144" y="150"/>
                    </a:lnTo>
                    <a:lnTo>
                      <a:pt x="151" y="137"/>
                    </a:lnTo>
                    <a:lnTo>
                      <a:pt x="149" y="129"/>
                    </a:lnTo>
                    <a:lnTo>
                      <a:pt x="165" y="114"/>
                    </a:lnTo>
                    <a:lnTo>
                      <a:pt x="171" y="106"/>
                    </a:lnTo>
                    <a:lnTo>
                      <a:pt x="179" y="101"/>
                    </a:lnTo>
                    <a:lnTo>
                      <a:pt x="190" y="96"/>
                    </a:lnTo>
                    <a:lnTo>
                      <a:pt x="210" y="89"/>
                    </a:lnTo>
                    <a:lnTo>
                      <a:pt x="220" y="85"/>
                    </a:lnTo>
                    <a:lnTo>
                      <a:pt x="237" y="75"/>
                    </a:lnTo>
                    <a:lnTo>
                      <a:pt x="244" y="69"/>
                    </a:lnTo>
                    <a:lnTo>
                      <a:pt x="249" y="59"/>
                    </a:lnTo>
                    <a:lnTo>
                      <a:pt x="257" y="51"/>
                    </a:lnTo>
                    <a:lnTo>
                      <a:pt x="265" y="31"/>
                    </a:lnTo>
                    <a:lnTo>
                      <a:pt x="276" y="7"/>
                    </a:lnTo>
                    <a:lnTo>
                      <a:pt x="280" y="3"/>
                    </a:lnTo>
                    <a:lnTo>
                      <a:pt x="295" y="0"/>
                    </a:lnTo>
                    <a:lnTo>
                      <a:pt x="302" y="10"/>
                    </a:lnTo>
                    <a:lnTo>
                      <a:pt x="311" y="18"/>
                    </a:lnTo>
                    <a:lnTo>
                      <a:pt x="327" y="27"/>
                    </a:lnTo>
                    <a:lnTo>
                      <a:pt x="334" y="28"/>
                    </a:lnTo>
                    <a:lnTo>
                      <a:pt x="351" y="23"/>
                    </a:lnTo>
                    <a:lnTo>
                      <a:pt x="356" y="24"/>
                    </a:lnTo>
                    <a:lnTo>
                      <a:pt x="369" y="24"/>
                    </a:lnTo>
                    <a:lnTo>
                      <a:pt x="381" y="24"/>
                    </a:lnTo>
                    <a:lnTo>
                      <a:pt x="385" y="22"/>
                    </a:lnTo>
                    <a:lnTo>
                      <a:pt x="391" y="24"/>
                    </a:lnTo>
                    <a:lnTo>
                      <a:pt x="397" y="28"/>
                    </a:lnTo>
                    <a:lnTo>
                      <a:pt x="404" y="30"/>
                    </a:lnTo>
                    <a:lnTo>
                      <a:pt x="409" y="30"/>
                    </a:lnTo>
                    <a:lnTo>
                      <a:pt x="412" y="29"/>
                    </a:lnTo>
                    <a:lnTo>
                      <a:pt x="425" y="31"/>
                    </a:lnTo>
                    <a:lnTo>
                      <a:pt x="425" y="33"/>
                    </a:lnTo>
                    <a:lnTo>
                      <a:pt x="426" y="37"/>
                    </a:lnTo>
                    <a:lnTo>
                      <a:pt x="430" y="39"/>
                    </a:lnTo>
                    <a:lnTo>
                      <a:pt x="431" y="41"/>
                    </a:lnTo>
                    <a:lnTo>
                      <a:pt x="435" y="43"/>
                    </a:lnTo>
                    <a:lnTo>
                      <a:pt x="437" y="44"/>
                    </a:lnTo>
                    <a:lnTo>
                      <a:pt x="438" y="48"/>
                    </a:lnTo>
                    <a:lnTo>
                      <a:pt x="437" y="48"/>
                    </a:lnTo>
                    <a:lnTo>
                      <a:pt x="437" y="49"/>
                    </a:lnTo>
                    <a:lnTo>
                      <a:pt x="440" y="55"/>
                    </a:lnTo>
                    <a:lnTo>
                      <a:pt x="438" y="59"/>
                    </a:lnTo>
                    <a:lnTo>
                      <a:pt x="440" y="63"/>
                    </a:lnTo>
                    <a:lnTo>
                      <a:pt x="442" y="69"/>
                    </a:lnTo>
                    <a:lnTo>
                      <a:pt x="440" y="75"/>
                    </a:lnTo>
                    <a:lnTo>
                      <a:pt x="440" y="80"/>
                    </a:lnTo>
                    <a:lnTo>
                      <a:pt x="440" y="82"/>
                    </a:lnTo>
                    <a:lnTo>
                      <a:pt x="443" y="87"/>
                    </a:lnTo>
                    <a:lnTo>
                      <a:pt x="443" y="89"/>
                    </a:lnTo>
                    <a:lnTo>
                      <a:pt x="443" y="92"/>
                    </a:lnTo>
                    <a:lnTo>
                      <a:pt x="443" y="96"/>
                    </a:lnTo>
                    <a:lnTo>
                      <a:pt x="443" y="99"/>
                    </a:lnTo>
                    <a:lnTo>
                      <a:pt x="443" y="103"/>
                    </a:lnTo>
                    <a:lnTo>
                      <a:pt x="447" y="106"/>
                    </a:lnTo>
                    <a:lnTo>
                      <a:pt x="447" y="111"/>
                    </a:lnTo>
                    <a:lnTo>
                      <a:pt x="451" y="119"/>
                    </a:lnTo>
                    <a:lnTo>
                      <a:pt x="458" y="125"/>
                    </a:lnTo>
                    <a:lnTo>
                      <a:pt x="463" y="127"/>
                    </a:lnTo>
                    <a:lnTo>
                      <a:pt x="463" y="128"/>
                    </a:lnTo>
                    <a:lnTo>
                      <a:pt x="458" y="129"/>
                    </a:lnTo>
                    <a:lnTo>
                      <a:pt x="455" y="133"/>
                    </a:lnTo>
                    <a:lnTo>
                      <a:pt x="455" y="138"/>
                    </a:lnTo>
                    <a:lnTo>
                      <a:pt x="458" y="140"/>
                    </a:lnTo>
                    <a:lnTo>
                      <a:pt x="458" y="142"/>
                    </a:lnTo>
                    <a:lnTo>
                      <a:pt x="455" y="143"/>
                    </a:lnTo>
                    <a:lnTo>
                      <a:pt x="451" y="140"/>
                    </a:lnTo>
                    <a:lnTo>
                      <a:pt x="442" y="140"/>
                    </a:lnTo>
                    <a:lnTo>
                      <a:pt x="433" y="140"/>
                    </a:lnTo>
                    <a:lnTo>
                      <a:pt x="430" y="140"/>
                    </a:lnTo>
                    <a:lnTo>
                      <a:pt x="409" y="140"/>
                    </a:lnTo>
                    <a:lnTo>
                      <a:pt x="402" y="143"/>
                    </a:lnTo>
                    <a:lnTo>
                      <a:pt x="399" y="144"/>
                    </a:lnTo>
                    <a:lnTo>
                      <a:pt x="395" y="144"/>
                    </a:lnTo>
                    <a:lnTo>
                      <a:pt x="391" y="143"/>
                    </a:lnTo>
                    <a:lnTo>
                      <a:pt x="390" y="143"/>
                    </a:lnTo>
                    <a:lnTo>
                      <a:pt x="388" y="147"/>
                    </a:lnTo>
                    <a:lnTo>
                      <a:pt x="388" y="150"/>
                    </a:lnTo>
                    <a:lnTo>
                      <a:pt x="388" y="153"/>
                    </a:lnTo>
                    <a:lnTo>
                      <a:pt x="387" y="154"/>
                    </a:lnTo>
                    <a:lnTo>
                      <a:pt x="377" y="158"/>
                    </a:lnTo>
                    <a:lnTo>
                      <a:pt x="371" y="160"/>
                    </a:lnTo>
                    <a:lnTo>
                      <a:pt x="366" y="160"/>
                    </a:lnTo>
                    <a:lnTo>
                      <a:pt x="362" y="158"/>
                    </a:lnTo>
                    <a:lnTo>
                      <a:pt x="358" y="158"/>
                    </a:lnTo>
                    <a:lnTo>
                      <a:pt x="354" y="161"/>
                    </a:lnTo>
                    <a:lnTo>
                      <a:pt x="354" y="164"/>
                    </a:lnTo>
                    <a:lnTo>
                      <a:pt x="354" y="168"/>
                    </a:lnTo>
                    <a:lnTo>
                      <a:pt x="354" y="169"/>
                    </a:lnTo>
                    <a:lnTo>
                      <a:pt x="358" y="170"/>
                    </a:lnTo>
                    <a:lnTo>
                      <a:pt x="358" y="171"/>
                    </a:lnTo>
                    <a:lnTo>
                      <a:pt x="354" y="174"/>
                    </a:lnTo>
                    <a:lnTo>
                      <a:pt x="354" y="181"/>
                    </a:lnTo>
                    <a:lnTo>
                      <a:pt x="357" y="179"/>
                    </a:lnTo>
                    <a:lnTo>
                      <a:pt x="358" y="179"/>
                    </a:lnTo>
                    <a:lnTo>
                      <a:pt x="359" y="181"/>
                    </a:lnTo>
                    <a:lnTo>
                      <a:pt x="362" y="184"/>
                    </a:lnTo>
                    <a:lnTo>
                      <a:pt x="364" y="186"/>
                    </a:lnTo>
                    <a:lnTo>
                      <a:pt x="362" y="188"/>
                    </a:lnTo>
                    <a:lnTo>
                      <a:pt x="346" y="189"/>
                    </a:lnTo>
                    <a:lnTo>
                      <a:pt x="328" y="201"/>
                    </a:lnTo>
                    <a:lnTo>
                      <a:pt x="324" y="201"/>
                    </a:lnTo>
                    <a:lnTo>
                      <a:pt x="314" y="205"/>
                    </a:lnTo>
                    <a:lnTo>
                      <a:pt x="308" y="209"/>
                    </a:lnTo>
                    <a:lnTo>
                      <a:pt x="304" y="214"/>
                    </a:lnTo>
                    <a:lnTo>
                      <a:pt x="304" y="215"/>
                    </a:lnTo>
                    <a:lnTo>
                      <a:pt x="303" y="218"/>
                    </a:lnTo>
                    <a:lnTo>
                      <a:pt x="298" y="221"/>
                    </a:lnTo>
                    <a:lnTo>
                      <a:pt x="294" y="226"/>
                    </a:lnTo>
                    <a:lnTo>
                      <a:pt x="282" y="229"/>
                    </a:lnTo>
                    <a:lnTo>
                      <a:pt x="271" y="231"/>
                    </a:lnTo>
                    <a:lnTo>
                      <a:pt x="265" y="231"/>
                    </a:lnTo>
                    <a:lnTo>
                      <a:pt x="260" y="232"/>
                    </a:lnTo>
                    <a:lnTo>
                      <a:pt x="249" y="231"/>
                    </a:lnTo>
                    <a:lnTo>
                      <a:pt x="248" y="234"/>
                    </a:lnTo>
                    <a:lnTo>
                      <a:pt x="248" y="239"/>
                    </a:lnTo>
                    <a:lnTo>
                      <a:pt x="247" y="240"/>
                    </a:lnTo>
                    <a:lnTo>
                      <a:pt x="241" y="240"/>
                    </a:lnTo>
                    <a:lnTo>
                      <a:pt x="237" y="237"/>
                    </a:lnTo>
                    <a:lnTo>
                      <a:pt x="232" y="239"/>
                    </a:lnTo>
                    <a:lnTo>
                      <a:pt x="227" y="237"/>
                    </a:lnTo>
                    <a:lnTo>
                      <a:pt x="223" y="240"/>
                    </a:lnTo>
                    <a:lnTo>
                      <a:pt x="220" y="244"/>
                    </a:lnTo>
                    <a:lnTo>
                      <a:pt x="215" y="246"/>
                    </a:lnTo>
                    <a:lnTo>
                      <a:pt x="210" y="250"/>
                    </a:lnTo>
                    <a:lnTo>
                      <a:pt x="201" y="250"/>
                    </a:lnTo>
                    <a:lnTo>
                      <a:pt x="187" y="258"/>
                    </a:lnTo>
                    <a:lnTo>
                      <a:pt x="168" y="270"/>
                    </a:lnTo>
                    <a:lnTo>
                      <a:pt x="168" y="314"/>
                    </a:lnTo>
                    <a:lnTo>
                      <a:pt x="144" y="314"/>
                    </a:lnTo>
                    <a:lnTo>
                      <a:pt x="113" y="314"/>
                    </a:lnTo>
                    <a:lnTo>
                      <a:pt x="84" y="314"/>
                    </a:lnTo>
                    <a:lnTo>
                      <a:pt x="56" y="314"/>
                    </a:lnTo>
                    <a:lnTo>
                      <a:pt x="29" y="314"/>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5" name="Freeform 41"/>
              <p:cNvSpPr>
                <a:spLocks/>
              </p:cNvSpPr>
              <p:nvPr/>
            </p:nvSpPr>
            <p:spPr bwMode="auto">
              <a:xfrm>
                <a:off x="740" y="1067"/>
                <a:ext cx="495" cy="330"/>
              </a:xfrm>
              <a:custGeom>
                <a:avLst/>
                <a:gdLst>
                  <a:gd name="T0" fmla="*/ 0 w 463"/>
                  <a:gd name="T1" fmla="*/ 8375 h 314"/>
                  <a:gd name="T2" fmla="*/ 1392 w 463"/>
                  <a:gd name="T3" fmla="*/ 8073 h 314"/>
                  <a:gd name="T4" fmla="*/ 4959 w 463"/>
                  <a:gd name="T5" fmla="*/ 7674 h 314"/>
                  <a:gd name="T6" fmla="*/ 6469 w 463"/>
                  <a:gd name="T7" fmla="*/ 7310 h 314"/>
                  <a:gd name="T8" fmla="*/ 8379 w 463"/>
                  <a:gd name="T9" fmla="*/ 6917 h 314"/>
                  <a:gd name="T10" fmla="*/ 9648 w 463"/>
                  <a:gd name="T11" fmla="*/ 6443 h 314"/>
                  <a:gd name="T12" fmla="*/ 10363 w 463"/>
                  <a:gd name="T13" fmla="*/ 5669 h 314"/>
                  <a:gd name="T14" fmla="*/ 10239 w 463"/>
                  <a:gd name="T15" fmla="*/ 4757 h 314"/>
                  <a:gd name="T16" fmla="*/ 11184 w 463"/>
                  <a:gd name="T17" fmla="*/ 4098 h 314"/>
                  <a:gd name="T18" fmla="*/ 11823 w 463"/>
                  <a:gd name="T19" fmla="*/ 4003 h 314"/>
                  <a:gd name="T20" fmla="*/ 13514 w 463"/>
                  <a:gd name="T21" fmla="*/ 3041 h 314"/>
                  <a:gd name="T22" fmla="*/ 15611 w 463"/>
                  <a:gd name="T23" fmla="*/ 2560 h 314"/>
                  <a:gd name="T24" fmla="*/ 19449 w 463"/>
                  <a:gd name="T25" fmla="*/ 1997 h 314"/>
                  <a:gd name="T26" fmla="*/ 21136 w 463"/>
                  <a:gd name="T27" fmla="*/ 1378 h 314"/>
                  <a:gd name="T28" fmla="*/ 23027 w 463"/>
                  <a:gd name="T29" fmla="*/ 3 h 314"/>
                  <a:gd name="T30" fmla="*/ 25638 w 463"/>
                  <a:gd name="T31" fmla="*/ 449 h 314"/>
                  <a:gd name="T32" fmla="*/ 28938 w 463"/>
                  <a:gd name="T33" fmla="*/ 576 h 314"/>
                  <a:gd name="T34" fmla="*/ 31384 w 463"/>
                  <a:gd name="T35" fmla="*/ 605 h 314"/>
                  <a:gd name="T36" fmla="*/ 32581 w 463"/>
                  <a:gd name="T37" fmla="*/ 738 h 314"/>
                  <a:gd name="T38" fmla="*/ 33757 w 463"/>
                  <a:gd name="T39" fmla="*/ 776 h 314"/>
                  <a:gd name="T40" fmla="*/ 35041 w 463"/>
                  <a:gd name="T41" fmla="*/ 972 h 314"/>
                  <a:gd name="T42" fmla="*/ 35872 w 463"/>
                  <a:gd name="T43" fmla="*/ 1129 h 314"/>
                  <a:gd name="T44" fmla="*/ 35885 w 463"/>
                  <a:gd name="T45" fmla="*/ 1277 h 314"/>
                  <a:gd name="T46" fmla="*/ 36021 w 463"/>
                  <a:gd name="T47" fmla="*/ 1558 h 314"/>
                  <a:gd name="T48" fmla="*/ 36090 w 463"/>
                  <a:gd name="T49" fmla="*/ 1997 h 314"/>
                  <a:gd name="T50" fmla="*/ 36487 w 463"/>
                  <a:gd name="T51" fmla="*/ 2318 h 314"/>
                  <a:gd name="T52" fmla="*/ 36487 w 463"/>
                  <a:gd name="T53" fmla="*/ 2560 h 314"/>
                  <a:gd name="T54" fmla="*/ 36762 w 463"/>
                  <a:gd name="T55" fmla="*/ 2827 h 314"/>
                  <a:gd name="T56" fmla="*/ 37774 w 463"/>
                  <a:gd name="T57" fmla="*/ 3312 h 314"/>
                  <a:gd name="T58" fmla="*/ 37774 w 463"/>
                  <a:gd name="T59" fmla="*/ 3448 h 314"/>
                  <a:gd name="T60" fmla="*/ 37774 w 463"/>
                  <a:gd name="T61" fmla="*/ 3729 h 314"/>
                  <a:gd name="T62" fmla="*/ 37193 w 463"/>
                  <a:gd name="T63" fmla="*/ 3729 h 314"/>
                  <a:gd name="T64" fmla="*/ 35421 w 463"/>
                  <a:gd name="T65" fmla="*/ 3729 h 314"/>
                  <a:gd name="T66" fmla="*/ 32897 w 463"/>
                  <a:gd name="T67" fmla="*/ 3827 h 314"/>
                  <a:gd name="T68" fmla="*/ 32129 w 463"/>
                  <a:gd name="T69" fmla="*/ 3809 h 314"/>
                  <a:gd name="T70" fmla="*/ 32020 w 463"/>
                  <a:gd name="T71" fmla="*/ 4098 h 314"/>
                  <a:gd name="T72" fmla="*/ 30475 w 463"/>
                  <a:gd name="T73" fmla="*/ 4246 h 314"/>
                  <a:gd name="T74" fmla="*/ 29365 w 463"/>
                  <a:gd name="T75" fmla="*/ 4207 h 314"/>
                  <a:gd name="T76" fmla="*/ 29140 w 463"/>
                  <a:gd name="T77" fmla="*/ 4462 h 314"/>
                  <a:gd name="T78" fmla="*/ 29365 w 463"/>
                  <a:gd name="T79" fmla="*/ 4555 h 314"/>
                  <a:gd name="T80" fmla="*/ 29358 w 463"/>
                  <a:gd name="T81" fmla="*/ 4782 h 314"/>
                  <a:gd name="T82" fmla="*/ 29858 w 463"/>
                  <a:gd name="T83" fmla="*/ 4884 h 314"/>
                  <a:gd name="T84" fmla="*/ 28488 w 463"/>
                  <a:gd name="T85" fmla="*/ 5031 h 314"/>
                  <a:gd name="T86" fmla="*/ 25829 w 463"/>
                  <a:gd name="T87" fmla="*/ 5443 h 314"/>
                  <a:gd name="T88" fmla="*/ 24938 w 463"/>
                  <a:gd name="T89" fmla="*/ 5720 h 314"/>
                  <a:gd name="T90" fmla="*/ 24159 w 463"/>
                  <a:gd name="T91" fmla="*/ 6011 h 314"/>
                  <a:gd name="T92" fmla="*/ 21805 w 463"/>
                  <a:gd name="T93" fmla="*/ 6137 h 314"/>
                  <a:gd name="T94" fmla="*/ 20395 w 463"/>
                  <a:gd name="T95" fmla="*/ 6262 h 314"/>
                  <a:gd name="T96" fmla="*/ 19779 w 463"/>
                  <a:gd name="T97" fmla="*/ 6367 h 314"/>
                  <a:gd name="T98" fmla="*/ 18760 w 463"/>
                  <a:gd name="T99" fmla="*/ 6298 h 314"/>
                  <a:gd name="T100" fmla="*/ 17656 w 463"/>
                  <a:gd name="T101" fmla="*/ 6581 h 314"/>
                  <a:gd name="T102" fmla="*/ 15421 w 463"/>
                  <a:gd name="T103" fmla="*/ 6900 h 314"/>
                  <a:gd name="T104" fmla="*/ 11823 w 463"/>
                  <a:gd name="T105" fmla="*/ 8375 h 314"/>
                  <a:gd name="T106" fmla="*/ 4632 w 463"/>
                  <a:gd name="T107" fmla="*/ 8375 h 3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63"/>
                  <a:gd name="T163" fmla="*/ 0 h 314"/>
                  <a:gd name="T164" fmla="*/ 463 w 463"/>
                  <a:gd name="T165" fmla="*/ 314 h 31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63" h="314">
                    <a:moveTo>
                      <a:pt x="29" y="314"/>
                    </a:moveTo>
                    <a:lnTo>
                      <a:pt x="7" y="314"/>
                    </a:lnTo>
                    <a:lnTo>
                      <a:pt x="0" y="314"/>
                    </a:lnTo>
                    <a:lnTo>
                      <a:pt x="3" y="307"/>
                    </a:lnTo>
                    <a:lnTo>
                      <a:pt x="10" y="304"/>
                    </a:lnTo>
                    <a:lnTo>
                      <a:pt x="18" y="304"/>
                    </a:lnTo>
                    <a:lnTo>
                      <a:pt x="33" y="303"/>
                    </a:lnTo>
                    <a:lnTo>
                      <a:pt x="53" y="294"/>
                    </a:lnTo>
                    <a:lnTo>
                      <a:pt x="61" y="288"/>
                    </a:lnTo>
                    <a:lnTo>
                      <a:pt x="68" y="282"/>
                    </a:lnTo>
                    <a:lnTo>
                      <a:pt x="71" y="281"/>
                    </a:lnTo>
                    <a:lnTo>
                      <a:pt x="78" y="275"/>
                    </a:lnTo>
                    <a:lnTo>
                      <a:pt x="91" y="270"/>
                    </a:lnTo>
                    <a:lnTo>
                      <a:pt x="99" y="263"/>
                    </a:lnTo>
                    <a:lnTo>
                      <a:pt x="101" y="260"/>
                    </a:lnTo>
                    <a:lnTo>
                      <a:pt x="104" y="259"/>
                    </a:lnTo>
                    <a:lnTo>
                      <a:pt x="108" y="256"/>
                    </a:lnTo>
                    <a:lnTo>
                      <a:pt x="116" y="242"/>
                    </a:lnTo>
                    <a:lnTo>
                      <a:pt x="127" y="226"/>
                    </a:lnTo>
                    <a:lnTo>
                      <a:pt x="129" y="222"/>
                    </a:lnTo>
                    <a:lnTo>
                      <a:pt x="127" y="212"/>
                    </a:lnTo>
                    <a:lnTo>
                      <a:pt x="120" y="201"/>
                    </a:lnTo>
                    <a:lnTo>
                      <a:pt x="123" y="195"/>
                    </a:lnTo>
                    <a:lnTo>
                      <a:pt x="123" y="178"/>
                    </a:lnTo>
                    <a:lnTo>
                      <a:pt x="124" y="174"/>
                    </a:lnTo>
                    <a:lnTo>
                      <a:pt x="137" y="155"/>
                    </a:lnTo>
                    <a:lnTo>
                      <a:pt x="137" y="153"/>
                    </a:lnTo>
                    <a:lnTo>
                      <a:pt x="144" y="150"/>
                    </a:lnTo>
                    <a:lnTo>
                      <a:pt x="146" y="148"/>
                    </a:lnTo>
                    <a:lnTo>
                      <a:pt x="144" y="150"/>
                    </a:lnTo>
                    <a:lnTo>
                      <a:pt x="151" y="137"/>
                    </a:lnTo>
                    <a:lnTo>
                      <a:pt x="149" y="129"/>
                    </a:lnTo>
                    <a:lnTo>
                      <a:pt x="165" y="114"/>
                    </a:lnTo>
                    <a:lnTo>
                      <a:pt x="171" y="106"/>
                    </a:lnTo>
                    <a:lnTo>
                      <a:pt x="179" y="101"/>
                    </a:lnTo>
                    <a:lnTo>
                      <a:pt x="190" y="96"/>
                    </a:lnTo>
                    <a:lnTo>
                      <a:pt x="210" y="89"/>
                    </a:lnTo>
                    <a:lnTo>
                      <a:pt x="220" y="85"/>
                    </a:lnTo>
                    <a:lnTo>
                      <a:pt x="237" y="75"/>
                    </a:lnTo>
                    <a:lnTo>
                      <a:pt x="244" y="69"/>
                    </a:lnTo>
                    <a:lnTo>
                      <a:pt x="249" y="59"/>
                    </a:lnTo>
                    <a:lnTo>
                      <a:pt x="257" y="51"/>
                    </a:lnTo>
                    <a:lnTo>
                      <a:pt x="265" y="31"/>
                    </a:lnTo>
                    <a:lnTo>
                      <a:pt x="276" y="7"/>
                    </a:lnTo>
                    <a:lnTo>
                      <a:pt x="280" y="3"/>
                    </a:lnTo>
                    <a:lnTo>
                      <a:pt x="295" y="0"/>
                    </a:lnTo>
                    <a:lnTo>
                      <a:pt x="302" y="10"/>
                    </a:lnTo>
                    <a:lnTo>
                      <a:pt x="311" y="18"/>
                    </a:lnTo>
                    <a:lnTo>
                      <a:pt x="327" y="27"/>
                    </a:lnTo>
                    <a:lnTo>
                      <a:pt x="334" y="28"/>
                    </a:lnTo>
                    <a:lnTo>
                      <a:pt x="351" y="23"/>
                    </a:lnTo>
                    <a:lnTo>
                      <a:pt x="356" y="24"/>
                    </a:lnTo>
                    <a:lnTo>
                      <a:pt x="369" y="24"/>
                    </a:lnTo>
                    <a:lnTo>
                      <a:pt x="381" y="24"/>
                    </a:lnTo>
                    <a:lnTo>
                      <a:pt x="385" y="22"/>
                    </a:lnTo>
                    <a:lnTo>
                      <a:pt x="391" y="24"/>
                    </a:lnTo>
                    <a:lnTo>
                      <a:pt x="397" y="28"/>
                    </a:lnTo>
                    <a:lnTo>
                      <a:pt x="404" y="30"/>
                    </a:lnTo>
                    <a:lnTo>
                      <a:pt x="409" y="30"/>
                    </a:lnTo>
                    <a:lnTo>
                      <a:pt x="412" y="29"/>
                    </a:lnTo>
                    <a:lnTo>
                      <a:pt x="425" y="31"/>
                    </a:lnTo>
                    <a:lnTo>
                      <a:pt x="425" y="33"/>
                    </a:lnTo>
                    <a:lnTo>
                      <a:pt x="426" y="37"/>
                    </a:lnTo>
                    <a:lnTo>
                      <a:pt x="430" y="39"/>
                    </a:lnTo>
                    <a:lnTo>
                      <a:pt x="431" y="41"/>
                    </a:lnTo>
                    <a:lnTo>
                      <a:pt x="435" y="43"/>
                    </a:lnTo>
                    <a:lnTo>
                      <a:pt x="437" y="44"/>
                    </a:lnTo>
                    <a:lnTo>
                      <a:pt x="438" y="48"/>
                    </a:lnTo>
                    <a:lnTo>
                      <a:pt x="437" y="48"/>
                    </a:lnTo>
                    <a:lnTo>
                      <a:pt x="437" y="49"/>
                    </a:lnTo>
                    <a:lnTo>
                      <a:pt x="440" y="55"/>
                    </a:lnTo>
                    <a:lnTo>
                      <a:pt x="438" y="59"/>
                    </a:lnTo>
                    <a:lnTo>
                      <a:pt x="440" y="63"/>
                    </a:lnTo>
                    <a:lnTo>
                      <a:pt x="442" y="69"/>
                    </a:lnTo>
                    <a:lnTo>
                      <a:pt x="440" y="75"/>
                    </a:lnTo>
                    <a:lnTo>
                      <a:pt x="440" y="80"/>
                    </a:lnTo>
                    <a:lnTo>
                      <a:pt x="440" y="82"/>
                    </a:lnTo>
                    <a:lnTo>
                      <a:pt x="443" y="87"/>
                    </a:lnTo>
                    <a:lnTo>
                      <a:pt x="443" y="89"/>
                    </a:lnTo>
                    <a:lnTo>
                      <a:pt x="443" y="92"/>
                    </a:lnTo>
                    <a:lnTo>
                      <a:pt x="443" y="96"/>
                    </a:lnTo>
                    <a:lnTo>
                      <a:pt x="443" y="99"/>
                    </a:lnTo>
                    <a:lnTo>
                      <a:pt x="443" y="103"/>
                    </a:lnTo>
                    <a:lnTo>
                      <a:pt x="447" y="106"/>
                    </a:lnTo>
                    <a:lnTo>
                      <a:pt x="447" y="111"/>
                    </a:lnTo>
                    <a:lnTo>
                      <a:pt x="451" y="119"/>
                    </a:lnTo>
                    <a:lnTo>
                      <a:pt x="458" y="125"/>
                    </a:lnTo>
                    <a:lnTo>
                      <a:pt x="463" y="127"/>
                    </a:lnTo>
                    <a:lnTo>
                      <a:pt x="463" y="128"/>
                    </a:lnTo>
                    <a:lnTo>
                      <a:pt x="458" y="129"/>
                    </a:lnTo>
                    <a:lnTo>
                      <a:pt x="455" y="133"/>
                    </a:lnTo>
                    <a:lnTo>
                      <a:pt x="455" y="138"/>
                    </a:lnTo>
                    <a:lnTo>
                      <a:pt x="458" y="140"/>
                    </a:lnTo>
                    <a:lnTo>
                      <a:pt x="458" y="142"/>
                    </a:lnTo>
                    <a:lnTo>
                      <a:pt x="455" y="143"/>
                    </a:lnTo>
                    <a:lnTo>
                      <a:pt x="451" y="140"/>
                    </a:lnTo>
                    <a:lnTo>
                      <a:pt x="442" y="140"/>
                    </a:lnTo>
                    <a:lnTo>
                      <a:pt x="433" y="140"/>
                    </a:lnTo>
                    <a:lnTo>
                      <a:pt x="430" y="140"/>
                    </a:lnTo>
                    <a:lnTo>
                      <a:pt x="409" y="140"/>
                    </a:lnTo>
                    <a:lnTo>
                      <a:pt x="402" y="143"/>
                    </a:lnTo>
                    <a:lnTo>
                      <a:pt x="399" y="144"/>
                    </a:lnTo>
                    <a:lnTo>
                      <a:pt x="395" y="144"/>
                    </a:lnTo>
                    <a:lnTo>
                      <a:pt x="391" y="143"/>
                    </a:lnTo>
                    <a:lnTo>
                      <a:pt x="390" y="143"/>
                    </a:lnTo>
                    <a:lnTo>
                      <a:pt x="388" y="147"/>
                    </a:lnTo>
                    <a:lnTo>
                      <a:pt x="388" y="150"/>
                    </a:lnTo>
                    <a:lnTo>
                      <a:pt x="388" y="153"/>
                    </a:lnTo>
                    <a:lnTo>
                      <a:pt x="387" y="154"/>
                    </a:lnTo>
                    <a:lnTo>
                      <a:pt x="377" y="158"/>
                    </a:lnTo>
                    <a:lnTo>
                      <a:pt x="371" y="160"/>
                    </a:lnTo>
                    <a:lnTo>
                      <a:pt x="366" y="160"/>
                    </a:lnTo>
                    <a:lnTo>
                      <a:pt x="362" y="158"/>
                    </a:lnTo>
                    <a:lnTo>
                      <a:pt x="358" y="158"/>
                    </a:lnTo>
                    <a:lnTo>
                      <a:pt x="354" y="161"/>
                    </a:lnTo>
                    <a:lnTo>
                      <a:pt x="354" y="164"/>
                    </a:lnTo>
                    <a:lnTo>
                      <a:pt x="354" y="168"/>
                    </a:lnTo>
                    <a:lnTo>
                      <a:pt x="354" y="169"/>
                    </a:lnTo>
                    <a:lnTo>
                      <a:pt x="358" y="170"/>
                    </a:lnTo>
                    <a:lnTo>
                      <a:pt x="358" y="171"/>
                    </a:lnTo>
                    <a:lnTo>
                      <a:pt x="354" y="174"/>
                    </a:lnTo>
                    <a:lnTo>
                      <a:pt x="354" y="181"/>
                    </a:lnTo>
                    <a:lnTo>
                      <a:pt x="357" y="179"/>
                    </a:lnTo>
                    <a:lnTo>
                      <a:pt x="358" y="179"/>
                    </a:lnTo>
                    <a:lnTo>
                      <a:pt x="359" y="181"/>
                    </a:lnTo>
                    <a:lnTo>
                      <a:pt x="362" y="184"/>
                    </a:lnTo>
                    <a:lnTo>
                      <a:pt x="364" y="186"/>
                    </a:lnTo>
                    <a:lnTo>
                      <a:pt x="362" y="188"/>
                    </a:lnTo>
                    <a:lnTo>
                      <a:pt x="346" y="189"/>
                    </a:lnTo>
                    <a:lnTo>
                      <a:pt x="328" y="201"/>
                    </a:lnTo>
                    <a:lnTo>
                      <a:pt x="324" y="201"/>
                    </a:lnTo>
                    <a:lnTo>
                      <a:pt x="314" y="205"/>
                    </a:lnTo>
                    <a:lnTo>
                      <a:pt x="308" y="209"/>
                    </a:lnTo>
                    <a:lnTo>
                      <a:pt x="304" y="214"/>
                    </a:lnTo>
                    <a:lnTo>
                      <a:pt x="304" y="215"/>
                    </a:lnTo>
                    <a:lnTo>
                      <a:pt x="303" y="218"/>
                    </a:lnTo>
                    <a:lnTo>
                      <a:pt x="298" y="221"/>
                    </a:lnTo>
                    <a:lnTo>
                      <a:pt x="294" y="226"/>
                    </a:lnTo>
                    <a:lnTo>
                      <a:pt x="282" y="229"/>
                    </a:lnTo>
                    <a:lnTo>
                      <a:pt x="271" y="231"/>
                    </a:lnTo>
                    <a:lnTo>
                      <a:pt x="265" y="231"/>
                    </a:lnTo>
                    <a:lnTo>
                      <a:pt x="260" y="232"/>
                    </a:lnTo>
                    <a:lnTo>
                      <a:pt x="249" y="231"/>
                    </a:lnTo>
                    <a:lnTo>
                      <a:pt x="248" y="234"/>
                    </a:lnTo>
                    <a:lnTo>
                      <a:pt x="248" y="239"/>
                    </a:lnTo>
                    <a:lnTo>
                      <a:pt x="247" y="240"/>
                    </a:lnTo>
                    <a:lnTo>
                      <a:pt x="241" y="240"/>
                    </a:lnTo>
                    <a:lnTo>
                      <a:pt x="237" y="237"/>
                    </a:lnTo>
                    <a:lnTo>
                      <a:pt x="232" y="239"/>
                    </a:lnTo>
                    <a:lnTo>
                      <a:pt x="227" y="237"/>
                    </a:lnTo>
                    <a:lnTo>
                      <a:pt x="223" y="240"/>
                    </a:lnTo>
                    <a:lnTo>
                      <a:pt x="220" y="244"/>
                    </a:lnTo>
                    <a:lnTo>
                      <a:pt x="215" y="246"/>
                    </a:lnTo>
                    <a:lnTo>
                      <a:pt x="210" y="250"/>
                    </a:lnTo>
                    <a:lnTo>
                      <a:pt x="201" y="250"/>
                    </a:lnTo>
                    <a:lnTo>
                      <a:pt x="187" y="258"/>
                    </a:lnTo>
                    <a:lnTo>
                      <a:pt x="168" y="270"/>
                    </a:lnTo>
                    <a:lnTo>
                      <a:pt x="168" y="314"/>
                    </a:lnTo>
                    <a:lnTo>
                      <a:pt x="144" y="314"/>
                    </a:lnTo>
                    <a:lnTo>
                      <a:pt x="113" y="314"/>
                    </a:lnTo>
                    <a:lnTo>
                      <a:pt x="84" y="314"/>
                    </a:lnTo>
                    <a:lnTo>
                      <a:pt x="56" y="314"/>
                    </a:lnTo>
                    <a:lnTo>
                      <a:pt x="29" y="314"/>
                    </a:lnTo>
                    <a:close/>
                  </a:path>
                </a:pathLst>
              </a:custGeom>
              <a:solidFill>
                <a:srgbClr val="9BBB59"/>
              </a:solidFill>
              <a:ln w="7938">
                <a:solidFill>
                  <a:srgbClr val="1C1329"/>
                </a:solidFill>
                <a:miter lim="800000"/>
                <a:headEnd/>
                <a:tailEnd/>
              </a:ln>
            </p:spPr>
            <p:txBody>
              <a:bodyPr/>
              <a:lstStyle/>
              <a:p>
                <a:endParaRPr lang="en-US"/>
              </a:p>
            </p:txBody>
          </p:sp>
          <p:sp>
            <p:nvSpPr>
              <p:cNvPr id="256" name="Freeform 42"/>
              <p:cNvSpPr>
                <a:spLocks/>
              </p:cNvSpPr>
              <p:nvPr/>
            </p:nvSpPr>
            <p:spPr bwMode="auto">
              <a:xfrm>
                <a:off x="581" y="1961"/>
                <a:ext cx="126" cy="33"/>
              </a:xfrm>
              <a:custGeom>
                <a:avLst/>
                <a:gdLst>
                  <a:gd name="T0" fmla="*/ 4059 w 117"/>
                  <a:gd name="T1" fmla="*/ 1531 h 31"/>
                  <a:gd name="T2" fmla="*/ 5 w 117"/>
                  <a:gd name="T3" fmla="*/ 1630 h 31"/>
                  <a:gd name="T4" fmla="*/ 1 w 117"/>
                  <a:gd name="T5" fmla="*/ 1883 h 31"/>
                  <a:gd name="T6" fmla="*/ 0 w 117"/>
                  <a:gd name="T7" fmla="*/ 1883 h 31"/>
                  <a:gd name="T8" fmla="*/ 0 w 117"/>
                  <a:gd name="T9" fmla="*/ 1769 h 31"/>
                  <a:gd name="T10" fmla="*/ 0 w 117"/>
                  <a:gd name="T11" fmla="*/ 1351 h 31"/>
                  <a:gd name="T12" fmla="*/ 0 w 117"/>
                  <a:gd name="T13" fmla="*/ 1052 h 31"/>
                  <a:gd name="T14" fmla="*/ 1 w 117"/>
                  <a:gd name="T15" fmla="*/ 988 h 31"/>
                  <a:gd name="T16" fmla="*/ 4 w 117"/>
                  <a:gd name="T17" fmla="*/ 819 h 31"/>
                  <a:gd name="T18" fmla="*/ 5 w 117"/>
                  <a:gd name="T19" fmla="*/ 819 h 31"/>
                  <a:gd name="T20" fmla="*/ 1134 w 117"/>
                  <a:gd name="T21" fmla="*/ 819 h 31"/>
                  <a:gd name="T22" fmla="*/ 1134 w 117"/>
                  <a:gd name="T23" fmla="*/ 678 h 31"/>
                  <a:gd name="T24" fmla="*/ 1134 w 117"/>
                  <a:gd name="T25" fmla="*/ 598 h 31"/>
                  <a:gd name="T26" fmla="*/ 1315 w 117"/>
                  <a:gd name="T27" fmla="*/ 598 h 31"/>
                  <a:gd name="T28" fmla="*/ 6331 w 117"/>
                  <a:gd name="T29" fmla="*/ 598 h 31"/>
                  <a:gd name="T30" fmla="*/ 6818 w 117"/>
                  <a:gd name="T31" fmla="*/ 5 h 31"/>
                  <a:gd name="T32" fmla="*/ 7342 w 117"/>
                  <a:gd name="T33" fmla="*/ 1 h 31"/>
                  <a:gd name="T34" fmla="*/ 7901 w 117"/>
                  <a:gd name="T35" fmla="*/ 1 h 31"/>
                  <a:gd name="T36" fmla="*/ 8490 w 117"/>
                  <a:gd name="T37" fmla="*/ 0 h 31"/>
                  <a:gd name="T38" fmla="*/ 9025 w 117"/>
                  <a:gd name="T39" fmla="*/ 0 h 31"/>
                  <a:gd name="T40" fmla="*/ 9170 w 117"/>
                  <a:gd name="T41" fmla="*/ 1 h 31"/>
                  <a:gd name="T42" fmla="*/ 9846 w 117"/>
                  <a:gd name="T43" fmla="*/ 1 h 31"/>
                  <a:gd name="T44" fmla="*/ 10193 w 117"/>
                  <a:gd name="T45" fmla="*/ 7 h 31"/>
                  <a:gd name="T46" fmla="*/ 11446 w 117"/>
                  <a:gd name="T47" fmla="*/ 7 h 31"/>
                  <a:gd name="T48" fmla="*/ 11673 w 117"/>
                  <a:gd name="T49" fmla="*/ 7 h 31"/>
                  <a:gd name="T50" fmla="*/ 12139 w 117"/>
                  <a:gd name="T51" fmla="*/ 678 h 31"/>
                  <a:gd name="T52" fmla="*/ 12326 w 117"/>
                  <a:gd name="T53" fmla="*/ 819 h 31"/>
                  <a:gd name="T54" fmla="*/ 13091 w 117"/>
                  <a:gd name="T55" fmla="*/ 819 h 31"/>
                  <a:gd name="T56" fmla="*/ 14098 w 117"/>
                  <a:gd name="T57" fmla="*/ 637 h 31"/>
                  <a:gd name="T58" fmla="*/ 14295 w 117"/>
                  <a:gd name="T59" fmla="*/ 598 h 31"/>
                  <a:gd name="T60" fmla="*/ 14579 w 117"/>
                  <a:gd name="T61" fmla="*/ 598 h 31"/>
                  <a:gd name="T62" fmla="*/ 15180 w 117"/>
                  <a:gd name="T63" fmla="*/ 637 h 31"/>
                  <a:gd name="T64" fmla="*/ 15359 w 117"/>
                  <a:gd name="T65" fmla="*/ 637 h 31"/>
                  <a:gd name="T66" fmla="*/ 15405 w 117"/>
                  <a:gd name="T67" fmla="*/ 637 h 31"/>
                  <a:gd name="T68" fmla="*/ 15405 w 117"/>
                  <a:gd name="T69" fmla="*/ 819 h 31"/>
                  <a:gd name="T70" fmla="*/ 15405 w 117"/>
                  <a:gd name="T71" fmla="*/ 928 h 31"/>
                  <a:gd name="T72" fmla="*/ 15180 w 117"/>
                  <a:gd name="T73" fmla="*/ 1120 h 31"/>
                  <a:gd name="T74" fmla="*/ 14098 w 117"/>
                  <a:gd name="T75" fmla="*/ 1269 h 31"/>
                  <a:gd name="T76" fmla="*/ 13538 w 117"/>
                  <a:gd name="T77" fmla="*/ 1351 h 31"/>
                  <a:gd name="T78" fmla="*/ 13243 w 117"/>
                  <a:gd name="T79" fmla="*/ 1269 h 31"/>
                  <a:gd name="T80" fmla="*/ 12326 w 117"/>
                  <a:gd name="T81" fmla="*/ 1269 h 31"/>
                  <a:gd name="T82" fmla="*/ 11673 w 117"/>
                  <a:gd name="T83" fmla="*/ 1120 h 31"/>
                  <a:gd name="T84" fmla="*/ 10977 w 117"/>
                  <a:gd name="T85" fmla="*/ 1120 h 31"/>
                  <a:gd name="T86" fmla="*/ 10193 w 117"/>
                  <a:gd name="T87" fmla="*/ 872 h 31"/>
                  <a:gd name="T88" fmla="*/ 9719 w 117"/>
                  <a:gd name="T89" fmla="*/ 819 h 31"/>
                  <a:gd name="T90" fmla="*/ 9170 w 117"/>
                  <a:gd name="T91" fmla="*/ 678 h 31"/>
                  <a:gd name="T92" fmla="*/ 8515 w 117"/>
                  <a:gd name="T93" fmla="*/ 637 h 31"/>
                  <a:gd name="T94" fmla="*/ 8490 w 117"/>
                  <a:gd name="T95" fmla="*/ 678 h 31"/>
                  <a:gd name="T96" fmla="*/ 7907 w 117"/>
                  <a:gd name="T97" fmla="*/ 872 h 31"/>
                  <a:gd name="T98" fmla="*/ 7225 w 117"/>
                  <a:gd name="T99" fmla="*/ 988 h 31"/>
                  <a:gd name="T100" fmla="*/ 5879 w 117"/>
                  <a:gd name="T101" fmla="*/ 1052 h 31"/>
                  <a:gd name="T102" fmla="*/ 5785 w 117"/>
                  <a:gd name="T103" fmla="*/ 988 h 31"/>
                  <a:gd name="T104" fmla="*/ 5372 w 117"/>
                  <a:gd name="T105" fmla="*/ 1052 h 31"/>
                  <a:gd name="T106" fmla="*/ 5064 w 117"/>
                  <a:gd name="T107" fmla="*/ 1351 h 31"/>
                  <a:gd name="T108" fmla="*/ 5064 w 117"/>
                  <a:gd name="T109" fmla="*/ 1531 h 31"/>
                  <a:gd name="T110" fmla="*/ 4059 w 117"/>
                  <a:gd name="T111" fmla="*/ 1531 h 3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7"/>
                  <a:gd name="T169" fmla="*/ 0 h 31"/>
                  <a:gd name="T170" fmla="*/ 117 w 117"/>
                  <a:gd name="T171" fmla="*/ 31 h 3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7" h="31">
                    <a:moveTo>
                      <a:pt x="31" y="24"/>
                    </a:moveTo>
                    <a:lnTo>
                      <a:pt x="5" y="26"/>
                    </a:lnTo>
                    <a:lnTo>
                      <a:pt x="1" y="31"/>
                    </a:lnTo>
                    <a:lnTo>
                      <a:pt x="0" y="31"/>
                    </a:lnTo>
                    <a:lnTo>
                      <a:pt x="0" y="29"/>
                    </a:lnTo>
                    <a:lnTo>
                      <a:pt x="0" y="22"/>
                    </a:lnTo>
                    <a:lnTo>
                      <a:pt x="0" y="18"/>
                    </a:lnTo>
                    <a:lnTo>
                      <a:pt x="1" y="17"/>
                    </a:lnTo>
                    <a:lnTo>
                      <a:pt x="4" y="14"/>
                    </a:lnTo>
                    <a:lnTo>
                      <a:pt x="5" y="14"/>
                    </a:lnTo>
                    <a:lnTo>
                      <a:pt x="8" y="14"/>
                    </a:lnTo>
                    <a:lnTo>
                      <a:pt x="8" y="11"/>
                    </a:lnTo>
                    <a:lnTo>
                      <a:pt x="8" y="9"/>
                    </a:lnTo>
                    <a:lnTo>
                      <a:pt x="10" y="9"/>
                    </a:lnTo>
                    <a:lnTo>
                      <a:pt x="48" y="9"/>
                    </a:lnTo>
                    <a:lnTo>
                      <a:pt x="52" y="5"/>
                    </a:lnTo>
                    <a:lnTo>
                      <a:pt x="56" y="1"/>
                    </a:lnTo>
                    <a:lnTo>
                      <a:pt x="59" y="1"/>
                    </a:lnTo>
                    <a:lnTo>
                      <a:pt x="63" y="0"/>
                    </a:lnTo>
                    <a:lnTo>
                      <a:pt x="67" y="0"/>
                    </a:lnTo>
                    <a:lnTo>
                      <a:pt x="70" y="1"/>
                    </a:lnTo>
                    <a:lnTo>
                      <a:pt x="73" y="1"/>
                    </a:lnTo>
                    <a:lnTo>
                      <a:pt x="77" y="7"/>
                    </a:lnTo>
                    <a:lnTo>
                      <a:pt x="86" y="7"/>
                    </a:lnTo>
                    <a:lnTo>
                      <a:pt x="88" y="7"/>
                    </a:lnTo>
                    <a:lnTo>
                      <a:pt x="90" y="11"/>
                    </a:lnTo>
                    <a:lnTo>
                      <a:pt x="93" y="14"/>
                    </a:lnTo>
                    <a:lnTo>
                      <a:pt x="98" y="14"/>
                    </a:lnTo>
                    <a:lnTo>
                      <a:pt x="106" y="10"/>
                    </a:lnTo>
                    <a:lnTo>
                      <a:pt x="108" y="9"/>
                    </a:lnTo>
                    <a:lnTo>
                      <a:pt x="110" y="9"/>
                    </a:lnTo>
                    <a:lnTo>
                      <a:pt x="113" y="10"/>
                    </a:lnTo>
                    <a:lnTo>
                      <a:pt x="115" y="10"/>
                    </a:lnTo>
                    <a:lnTo>
                      <a:pt x="117" y="10"/>
                    </a:lnTo>
                    <a:lnTo>
                      <a:pt x="117" y="14"/>
                    </a:lnTo>
                    <a:lnTo>
                      <a:pt x="117" y="16"/>
                    </a:lnTo>
                    <a:lnTo>
                      <a:pt x="113" y="19"/>
                    </a:lnTo>
                    <a:lnTo>
                      <a:pt x="106" y="21"/>
                    </a:lnTo>
                    <a:lnTo>
                      <a:pt x="102" y="22"/>
                    </a:lnTo>
                    <a:lnTo>
                      <a:pt x="99" y="21"/>
                    </a:lnTo>
                    <a:lnTo>
                      <a:pt x="93" y="21"/>
                    </a:lnTo>
                    <a:lnTo>
                      <a:pt x="88" y="19"/>
                    </a:lnTo>
                    <a:lnTo>
                      <a:pt x="83" y="19"/>
                    </a:lnTo>
                    <a:lnTo>
                      <a:pt x="77" y="15"/>
                    </a:lnTo>
                    <a:lnTo>
                      <a:pt x="72" y="14"/>
                    </a:lnTo>
                    <a:lnTo>
                      <a:pt x="70" y="11"/>
                    </a:lnTo>
                    <a:lnTo>
                      <a:pt x="65" y="10"/>
                    </a:lnTo>
                    <a:lnTo>
                      <a:pt x="63" y="11"/>
                    </a:lnTo>
                    <a:lnTo>
                      <a:pt x="60" y="15"/>
                    </a:lnTo>
                    <a:lnTo>
                      <a:pt x="54" y="17"/>
                    </a:lnTo>
                    <a:lnTo>
                      <a:pt x="45" y="18"/>
                    </a:lnTo>
                    <a:lnTo>
                      <a:pt x="43" y="17"/>
                    </a:lnTo>
                    <a:lnTo>
                      <a:pt x="40" y="18"/>
                    </a:lnTo>
                    <a:lnTo>
                      <a:pt x="38" y="22"/>
                    </a:lnTo>
                    <a:lnTo>
                      <a:pt x="38" y="24"/>
                    </a:lnTo>
                    <a:lnTo>
                      <a:pt x="31"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7" name="Freeform 43"/>
              <p:cNvSpPr>
                <a:spLocks/>
              </p:cNvSpPr>
              <p:nvPr/>
            </p:nvSpPr>
            <p:spPr bwMode="auto">
              <a:xfrm>
                <a:off x="581" y="1961"/>
                <a:ext cx="126" cy="33"/>
              </a:xfrm>
              <a:custGeom>
                <a:avLst/>
                <a:gdLst>
                  <a:gd name="T0" fmla="*/ 4059 w 117"/>
                  <a:gd name="T1" fmla="*/ 1531 h 31"/>
                  <a:gd name="T2" fmla="*/ 5 w 117"/>
                  <a:gd name="T3" fmla="*/ 1630 h 31"/>
                  <a:gd name="T4" fmla="*/ 1 w 117"/>
                  <a:gd name="T5" fmla="*/ 1883 h 31"/>
                  <a:gd name="T6" fmla="*/ 0 w 117"/>
                  <a:gd name="T7" fmla="*/ 1883 h 31"/>
                  <a:gd name="T8" fmla="*/ 0 w 117"/>
                  <a:gd name="T9" fmla="*/ 1769 h 31"/>
                  <a:gd name="T10" fmla="*/ 0 w 117"/>
                  <a:gd name="T11" fmla="*/ 1351 h 31"/>
                  <a:gd name="T12" fmla="*/ 0 w 117"/>
                  <a:gd name="T13" fmla="*/ 1052 h 31"/>
                  <a:gd name="T14" fmla="*/ 1 w 117"/>
                  <a:gd name="T15" fmla="*/ 988 h 31"/>
                  <a:gd name="T16" fmla="*/ 4 w 117"/>
                  <a:gd name="T17" fmla="*/ 819 h 31"/>
                  <a:gd name="T18" fmla="*/ 5 w 117"/>
                  <a:gd name="T19" fmla="*/ 819 h 31"/>
                  <a:gd name="T20" fmla="*/ 1134 w 117"/>
                  <a:gd name="T21" fmla="*/ 819 h 31"/>
                  <a:gd name="T22" fmla="*/ 1134 w 117"/>
                  <a:gd name="T23" fmla="*/ 678 h 31"/>
                  <a:gd name="T24" fmla="*/ 1134 w 117"/>
                  <a:gd name="T25" fmla="*/ 598 h 31"/>
                  <a:gd name="T26" fmla="*/ 1315 w 117"/>
                  <a:gd name="T27" fmla="*/ 598 h 31"/>
                  <a:gd name="T28" fmla="*/ 6331 w 117"/>
                  <a:gd name="T29" fmla="*/ 598 h 31"/>
                  <a:gd name="T30" fmla="*/ 6818 w 117"/>
                  <a:gd name="T31" fmla="*/ 5 h 31"/>
                  <a:gd name="T32" fmla="*/ 7342 w 117"/>
                  <a:gd name="T33" fmla="*/ 1 h 31"/>
                  <a:gd name="T34" fmla="*/ 7901 w 117"/>
                  <a:gd name="T35" fmla="*/ 1 h 31"/>
                  <a:gd name="T36" fmla="*/ 8490 w 117"/>
                  <a:gd name="T37" fmla="*/ 0 h 31"/>
                  <a:gd name="T38" fmla="*/ 9025 w 117"/>
                  <a:gd name="T39" fmla="*/ 0 h 31"/>
                  <a:gd name="T40" fmla="*/ 9170 w 117"/>
                  <a:gd name="T41" fmla="*/ 1 h 31"/>
                  <a:gd name="T42" fmla="*/ 9846 w 117"/>
                  <a:gd name="T43" fmla="*/ 1 h 31"/>
                  <a:gd name="T44" fmla="*/ 10193 w 117"/>
                  <a:gd name="T45" fmla="*/ 7 h 31"/>
                  <a:gd name="T46" fmla="*/ 11446 w 117"/>
                  <a:gd name="T47" fmla="*/ 7 h 31"/>
                  <a:gd name="T48" fmla="*/ 11673 w 117"/>
                  <a:gd name="T49" fmla="*/ 7 h 31"/>
                  <a:gd name="T50" fmla="*/ 12139 w 117"/>
                  <a:gd name="T51" fmla="*/ 678 h 31"/>
                  <a:gd name="T52" fmla="*/ 12326 w 117"/>
                  <a:gd name="T53" fmla="*/ 819 h 31"/>
                  <a:gd name="T54" fmla="*/ 13091 w 117"/>
                  <a:gd name="T55" fmla="*/ 819 h 31"/>
                  <a:gd name="T56" fmla="*/ 14098 w 117"/>
                  <a:gd name="T57" fmla="*/ 637 h 31"/>
                  <a:gd name="T58" fmla="*/ 14295 w 117"/>
                  <a:gd name="T59" fmla="*/ 598 h 31"/>
                  <a:gd name="T60" fmla="*/ 14579 w 117"/>
                  <a:gd name="T61" fmla="*/ 598 h 31"/>
                  <a:gd name="T62" fmla="*/ 15180 w 117"/>
                  <a:gd name="T63" fmla="*/ 637 h 31"/>
                  <a:gd name="T64" fmla="*/ 15359 w 117"/>
                  <a:gd name="T65" fmla="*/ 637 h 31"/>
                  <a:gd name="T66" fmla="*/ 15405 w 117"/>
                  <a:gd name="T67" fmla="*/ 637 h 31"/>
                  <a:gd name="T68" fmla="*/ 15405 w 117"/>
                  <a:gd name="T69" fmla="*/ 819 h 31"/>
                  <a:gd name="T70" fmla="*/ 15405 w 117"/>
                  <a:gd name="T71" fmla="*/ 928 h 31"/>
                  <a:gd name="T72" fmla="*/ 15180 w 117"/>
                  <a:gd name="T73" fmla="*/ 1120 h 31"/>
                  <a:gd name="T74" fmla="*/ 14098 w 117"/>
                  <a:gd name="T75" fmla="*/ 1269 h 31"/>
                  <a:gd name="T76" fmla="*/ 13538 w 117"/>
                  <a:gd name="T77" fmla="*/ 1351 h 31"/>
                  <a:gd name="T78" fmla="*/ 13243 w 117"/>
                  <a:gd name="T79" fmla="*/ 1269 h 31"/>
                  <a:gd name="T80" fmla="*/ 12326 w 117"/>
                  <a:gd name="T81" fmla="*/ 1269 h 31"/>
                  <a:gd name="T82" fmla="*/ 11673 w 117"/>
                  <a:gd name="T83" fmla="*/ 1120 h 31"/>
                  <a:gd name="T84" fmla="*/ 10977 w 117"/>
                  <a:gd name="T85" fmla="*/ 1120 h 31"/>
                  <a:gd name="T86" fmla="*/ 10193 w 117"/>
                  <a:gd name="T87" fmla="*/ 872 h 31"/>
                  <a:gd name="T88" fmla="*/ 9719 w 117"/>
                  <a:gd name="T89" fmla="*/ 819 h 31"/>
                  <a:gd name="T90" fmla="*/ 9170 w 117"/>
                  <a:gd name="T91" fmla="*/ 678 h 31"/>
                  <a:gd name="T92" fmla="*/ 8515 w 117"/>
                  <a:gd name="T93" fmla="*/ 637 h 31"/>
                  <a:gd name="T94" fmla="*/ 8490 w 117"/>
                  <a:gd name="T95" fmla="*/ 678 h 31"/>
                  <a:gd name="T96" fmla="*/ 7907 w 117"/>
                  <a:gd name="T97" fmla="*/ 872 h 31"/>
                  <a:gd name="T98" fmla="*/ 7225 w 117"/>
                  <a:gd name="T99" fmla="*/ 988 h 31"/>
                  <a:gd name="T100" fmla="*/ 5879 w 117"/>
                  <a:gd name="T101" fmla="*/ 1052 h 31"/>
                  <a:gd name="T102" fmla="*/ 5785 w 117"/>
                  <a:gd name="T103" fmla="*/ 988 h 31"/>
                  <a:gd name="T104" fmla="*/ 5372 w 117"/>
                  <a:gd name="T105" fmla="*/ 1052 h 31"/>
                  <a:gd name="T106" fmla="*/ 5064 w 117"/>
                  <a:gd name="T107" fmla="*/ 1351 h 31"/>
                  <a:gd name="T108" fmla="*/ 5064 w 117"/>
                  <a:gd name="T109" fmla="*/ 1531 h 31"/>
                  <a:gd name="T110" fmla="*/ 4059 w 117"/>
                  <a:gd name="T111" fmla="*/ 1531 h 3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7"/>
                  <a:gd name="T169" fmla="*/ 0 h 31"/>
                  <a:gd name="T170" fmla="*/ 117 w 117"/>
                  <a:gd name="T171" fmla="*/ 31 h 3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7" h="31">
                    <a:moveTo>
                      <a:pt x="31" y="24"/>
                    </a:moveTo>
                    <a:lnTo>
                      <a:pt x="5" y="26"/>
                    </a:lnTo>
                    <a:lnTo>
                      <a:pt x="1" y="31"/>
                    </a:lnTo>
                    <a:lnTo>
                      <a:pt x="0" y="31"/>
                    </a:lnTo>
                    <a:lnTo>
                      <a:pt x="0" y="29"/>
                    </a:lnTo>
                    <a:lnTo>
                      <a:pt x="0" y="22"/>
                    </a:lnTo>
                    <a:lnTo>
                      <a:pt x="0" y="18"/>
                    </a:lnTo>
                    <a:lnTo>
                      <a:pt x="1" y="17"/>
                    </a:lnTo>
                    <a:lnTo>
                      <a:pt x="4" y="14"/>
                    </a:lnTo>
                    <a:lnTo>
                      <a:pt x="5" y="14"/>
                    </a:lnTo>
                    <a:lnTo>
                      <a:pt x="8" y="14"/>
                    </a:lnTo>
                    <a:lnTo>
                      <a:pt x="8" y="11"/>
                    </a:lnTo>
                    <a:lnTo>
                      <a:pt x="8" y="9"/>
                    </a:lnTo>
                    <a:lnTo>
                      <a:pt x="10" y="9"/>
                    </a:lnTo>
                    <a:lnTo>
                      <a:pt x="48" y="9"/>
                    </a:lnTo>
                    <a:lnTo>
                      <a:pt x="52" y="5"/>
                    </a:lnTo>
                    <a:lnTo>
                      <a:pt x="56" y="1"/>
                    </a:lnTo>
                    <a:lnTo>
                      <a:pt x="59" y="1"/>
                    </a:lnTo>
                    <a:lnTo>
                      <a:pt x="63" y="0"/>
                    </a:lnTo>
                    <a:lnTo>
                      <a:pt x="67" y="0"/>
                    </a:lnTo>
                    <a:lnTo>
                      <a:pt x="70" y="1"/>
                    </a:lnTo>
                    <a:lnTo>
                      <a:pt x="73" y="1"/>
                    </a:lnTo>
                    <a:lnTo>
                      <a:pt x="77" y="7"/>
                    </a:lnTo>
                    <a:lnTo>
                      <a:pt x="86" y="7"/>
                    </a:lnTo>
                    <a:lnTo>
                      <a:pt x="88" y="7"/>
                    </a:lnTo>
                    <a:lnTo>
                      <a:pt x="90" y="11"/>
                    </a:lnTo>
                    <a:lnTo>
                      <a:pt x="93" y="14"/>
                    </a:lnTo>
                    <a:lnTo>
                      <a:pt x="98" y="14"/>
                    </a:lnTo>
                    <a:lnTo>
                      <a:pt x="106" y="10"/>
                    </a:lnTo>
                    <a:lnTo>
                      <a:pt x="108" y="9"/>
                    </a:lnTo>
                    <a:lnTo>
                      <a:pt x="110" y="9"/>
                    </a:lnTo>
                    <a:lnTo>
                      <a:pt x="113" y="10"/>
                    </a:lnTo>
                    <a:lnTo>
                      <a:pt x="115" y="10"/>
                    </a:lnTo>
                    <a:lnTo>
                      <a:pt x="117" y="10"/>
                    </a:lnTo>
                    <a:lnTo>
                      <a:pt x="117" y="14"/>
                    </a:lnTo>
                    <a:lnTo>
                      <a:pt x="117" y="16"/>
                    </a:lnTo>
                    <a:lnTo>
                      <a:pt x="113" y="19"/>
                    </a:lnTo>
                    <a:lnTo>
                      <a:pt x="106" y="21"/>
                    </a:lnTo>
                    <a:lnTo>
                      <a:pt x="102" y="22"/>
                    </a:lnTo>
                    <a:lnTo>
                      <a:pt x="99" y="21"/>
                    </a:lnTo>
                    <a:lnTo>
                      <a:pt x="93" y="21"/>
                    </a:lnTo>
                    <a:lnTo>
                      <a:pt x="88" y="19"/>
                    </a:lnTo>
                    <a:lnTo>
                      <a:pt x="83" y="19"/>
                    </a:lnTo>
                    <a:lnTo>
                      <a:pt x="77" y="15"/>
                    </a:lnTo>
                    <a:lnTo>
                      <a:pt x="72" y="14"/>
                    </a:lnTo>
                    <a:lnTo>
                      <a:pt x="70" y="11"/>
                    </a:lnTo>
                    <a:lnTo>
                      <a:pt x="65" y="10"/>
                    </a:lnTo>
                    <a:lnTo>
                      <a:pt x="63" y="11"/>
                    </a:lnTo>
                    <a:lnTo>
                      <a:pt x="60" y="15"/>
                    </a:lnTo>
                    <a:lnTo>
                      <a:pt x="54" y="17"/>
                    </a:lnTo>
                    <a:lnTo>
                      <a:pt x="45" y="18"/>
                    </a:lnTo>
                    <a:lnTo>
                      <a:pt x="43" y="17"/>
                    </a:lnTo>
                    <a:lnTo>
                      <a:pt x="40" y="18"/>
                    </a:lnTo>
                    <a:lnTo>
                      <a:pt x="38" y="22"/>
                    </a:lnTo>
                    <a:lnTo>
                      <a:pt x="38" y="24"/>
                    </a:lnTo>
                    <a:lnTo>
                      <a:pt x="31" y="24"/>
                    </a:lnTo>
                    <a:close/>
                  </a:path>
                </a:pathLst>
              </a:custGeom>
              <a:solidFill>
                <a:srgbClr val="D99694"/>
              </a:solidFill>
              <a:ln w="7938">
                <a:solidFill>
                  <a:srgbClr val="1C1329"/>
                </a:solidFill>
                <a:miter lim="800000"/>
                <a:headEnd/>
                <a:tailEnd/>
              </a:ln>
            </p:spPr>
            <p:txBody>
              <a:bodyPr/>
              <a:lstStyle/>
              <a:p>
                <a:endParaRPr lang="en-US"/>
              </a:p>
            </p:txBody>
          </p:sp>
          <p:sp>
            <p:nvSpPr>
              <p:cNvPr id="258" name="Freeform 44"/>
              <p:cNvSpPr>
                <a:spLocks/>
              </p:cNvSpPr>
              <p:nvPr/>
            </p:nvSpPr>
            <p:spPr bwMode="auto">
              <a:xfrm>
                <a:off x="581" y="2006"/>
                <a:ext cx="132" cy="72"/>
              </a:xfrm>
              <a:custGeom>
                <a:avLst/>
                <a:gdLst>
                  <a:gd name="T0" fmla="*/ 7884 w 123"/>
                  <a:gd name="T1" fmla="*/ 2739 h 68"/>
                  <a:gd name="T2" fmla="*/ 7412 w 123"/>
                  <a:gd name="T3" fmla="*/ 2843 h 68"/>
                  <a:gd name="T4" fmla="*/ 6907 w 123"/>
                  <a:gd name="T5" fmla="*/ 2933 h 68"/>
                  <a:gd name="T6" fmla="*/ 6907 w 123"/>
                  <a:gd name="T7" fmla="*/ 2770 h 68"/>
                  <a:gd name="T8" fmla="*/ 7120 w 123"/>
                  <a:gd name="T9" fmla="*/ 2739 h 68"/>
                  <a:gd name="T10" fmla="*/ 6436 w 123"/>
                  <a:gd name="T11" fmla="*/ 2739 h 68"/>
                  <a:gd name="T12" fmla="*/ 5943 w 123"/>
                  <a:gd name="T13" fmla="*/ 2739 h 68"/>
                  <a:gd name="T14" fmla="*/ 5761 w 123"/>
                  <a:gd name="T15" fmla="*/ 2536 h 68"/>
                  <a:gd name="T16" fmla="*/ 5588 w 123"/>
                  <a:gd name="T17" fmla="*/ 2334 h 68"/>
                  <a:gd name="T18" fmla="*/ 5821 w 123"/>
                  <a:gd name="T19" fmla="*/ 2017 h 68"/>
                  <a:gd name="T20" fmla="*/ 5424 w 123"/>
                  <a:gd name="T21" fmla="*/ 1697 h 68"/>
                  <a:gd name="T22" fmla="*/ 5943 w 123"/>
                  <a:gd name="T23" fmla="*/ 1514 h 68"/>
                  <a:gd name="T24" fmla="*/ 6247 w 123"/>
                  <a:gd name="T25" fmla="*/ 1514 h 68"/>
                  <a:gd name="T26" fmla="*/ 7884 w 123"/>
                  <a:gd name="T27" fmla="*/ 1432 h 68"/>
                  <a:gd name="T28" fmla="*/ 7884 w 123"/>
                  <a:gd name="T29" fmla="*/ 1277 h 68"/>
                  <a:gd name="T30" fmla="*/ 5943 w 123"/>
                  <a:gd name="T31" fmla="*/ 1352 h 68"/>
                  <a:gd name="T32" fmla="*/ 5538 w 123"/>
                  <a:gd name="T33" fmla="*/ 1432 h 68"/>
                  <a:gd name="T34" fmla="*/ 4343 w 123"/>
                  <a:gd name="T35" fmla="*/ 1697 h 68"/>
                  <a:gd name="T36" fmla="*/ 3890 w 123"/>
                  <a:gd name="T37" fmla="*/ 1697 h 68"/>
                  <a:gd name="T38" fmla="*/ 3514 w 123"/>
                  <a:gd name="T39" fmla="*/ 1697 h 68"/>
                  <a:gd name="T40" fmla="*/ 3514 w 123"/>
                  <a:gd name="T41" fmla="*/ 1352 h 68"/>
                  <a:gd name="T42" fmla="*/ 3051 w 123"/>
                  <a:gd name="T43" fmla="*/ 1432 h 68"/>
                  <a:gd name="T44" fmla="*/ 2373 w 123"/>
                  <a:gd name="T45" fmla="*/ 1352 h 68"/>
                  <a:gd name="T46" fmla="*/ 2143 w 123"/>
                  <a:gd name="T47" fmla="*/ 1276 h 68"/>
                  <a:gd name="T48" fmla="*/ 1997 w 123"/>
                  <a:gd name="T49" fmla="*/ 907 h 68"/>
                  <a:gd name="T50" fmla="*/ 4 w 123"/>
                  <a:gd name="T51" fmla="*/ 764 h 68"/>
                  <a:gd name="T52" fmla="*/ 0 w 123"/>
                  <a:gd name="T53" fmla="*/ 574 h 68"/>
                  <a:gd name="T54" fmla="*/ 1 w 123"/>
                  <a:gd name="T55" fmla="*/ 484 h 68"/>
                  <a:gd name="T56" fmla="*/ 3 w 123"/>
                  <a:gd name="T57" fmla="*/ 512 h 68"/>
                  <a:gd name="T58" fmla="*/ 6 w 123"/>
                  <a:gd name="T59" fmla="*/ 574 h 68"/>
                  <a:gd name="T60" fmla="*/ 1135 w 123"/>
                  <a:gd name="T61" fmla="*/ 574 h 68"/>
                  <a:gd name="T62" fmla="*/ 1997 w 123"/>
                  <a:gd name="T63" fmla="*/ 457 h 68"/>
                  <a:gd name="T64" fmla="*/ 2300 w 123"/>
                  <a:gd name="T65" fmla="*/ 432 h 68"/>
                  <a:gd name="T66" fmla="*/ 4343 w 123"/>
                  <a:gd name="T67" fmla="*/ 432 h 68"/>
                  <a:gd name="T68" fmla="*/ 5160 w 123"/>
                  <a:gd name="T69" fmla="*/ 8 h 68"/>
                  <a:gd name="T70" fmla="*/ 5943 w 123"/>
                  <a:gd name="T71" fmla="*/ 4 h 68"/>
                  <a:gd name="T72" fmla="*/ 6845 w 123"/>
                  <a:gd name="T73" fmla="*/ 0 h 68"/>
                  <a:gd name="T74" fmla="*/ 8557 w 123"/>
                  <a:gd name="T75" fmla="*/ 0 h 68"/>
                  <a:gd name="T76" fmla="*/ 8892 w 123"/>
                  <a:gd name="T77" fmla="*/ 0 h 68"/>
                  <a:gd name="T78" fmla="*/ 12527 w 123"/>
                  <a:gd name="T79" fmla="*/ 0 h 68"/>
                  <a:gd name="T80" fmla="*/ 12527 w 123"/>
                  <a:gd name="T81" fmla="*/ 4 h 68"/>
                  <a:gd name="T82" fmla="*/ 13067 w 123"/>
                  <a:gd name="T83" fmla="*/ 432 h 68"/>
                  <a:gd name="T84" fmla="*/ 13067 w 123"/>
                  <a:gd name="T85" fmla="*/ 512 h 68"/>
                  <a:gd name="T86" fmla="*/ 12657 w 123"/>
                  <a:gd name="T87" fmla="*/ 608 h 68"/>
                  <a:gd name="T88" fmla="*/ 12464 w 123"/>
                  <a:gd name="T89" fmla="*/ 682 h 68"/>
                  <a:gd name="T90" fmla="*/ 12176 w 123"/>
                  <a:gd name="T91" fmla="*/ 682 h 68"/>
                  <a:gd name="T92" fmla="*/ 12043 w 123"/>
                  <a:gd name="T93" fmla="*/ 722 h 68"/>
                  <a:gd name="T94" fmla="*/ 11794 w 123"/>
                  <a:gd name="T95" fmla="*/ 809 h 68"/>
                  <a:gd name="T96" fmla="*/ 12180 w 123"/>
                  <a:gd name="T97" fmla="*/ 907 h 68"/>
                  <a:gd name="T98" fmla="*/ 12464 w 123"/>
                  <a:gd name="T99" fmla="*/ 1076 h 68"/>
                  <a:gd name="T100" fmla="*/ 12527 w 123"/>
                  <a:gd name="T101" fmla="*/ 1697 h 68"/>
                  <a:gd name="T102" fmla="*/ 12043 w 123"/>
                  <a:gd name="T103" fmla="*/ 1697 h 68"/>
                  <a:gd name="T104" fmla="*/ 11794 w 123"/>
                  <a:gd name="T105" fmla="*/ 1699 h 68"/>
                  <a:gd name="T106" fmla="*/ 10241 w 123"/>
                  <a:gd name="T107" fmla="*/ 1699 h 68"/>
                  <a:gd name="T108" fmla="*/ 9161 w 123"/>
                  <a:gd name="T109" fmla="*/ 2015 h 68"/>
                  <a:gd name="T110" fmla="*/ 8553 w 123"/>
                  <a:gd name="T111" fmla="*/ 2136 h 68"/>
                  <a:gd name="T112" fmla="*/ 8286 w 123"/>
                  <a:gd name="T113" fmla="*/ 2334 h 68"/>
                  <a:gd name="T114" fmla="*/ 7954 w 123"/>
                  <a:gd name="T115" fmla="*/ 2683 h 68"/>
                  <a:gd name="T116" fmla="*/ 7884 w 123"/>
                  <a:gd name="T117" fmla="*/ 2739 h 6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3"/>
                  <a:gd name="T178" fmla="*/ 0 h 68"/>
                  <a:gd name="T179" fmla="*/ 123 w 123"/>
                  <a:gd name="T180" fmla="*/ 68 h 6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3" h="68">
                    <a:moveTo>
                      <a:pt x="74" y="63"/>
                    </a:moveTo>
                    <a:lnTo>
                      <a:pt x="70" y="66"/>
                    </a:lnTo>
                    <a:lnTo>
                      <a:pt x="65" y="68"/>
                    </a:lnTo>
                    <a:lnTo>
                      <a:pt x="65" y="64"/>
                    </a:lnTo>
                    <a:lnTo>
                      <a:pt x="67" y="63"/>
                    </a:lnTo>
                    <a:lnTo>
                      <a:pt x="61" y="63"/>
                    </a:lnTo>
                    <a:lnTo>
                      <a:pt x="56" y="63"/>
                    </a:lnTo>
                    <a:lnTo>
                      <a:pt x="54" y="59"/>
                    </a:lnTo>
                    <a:lnTo>
                      <a:pt x="53" y="54"/>
                    </a:lnTo>
                    <a:lnTo>
                      <a:pt x="55" y="47"/>
                    </a:lnTo>
                    <a:lnTo>
                      <a:pt x="51" y="39"/>
                    </a:lnTo>
                    <a:lnTo>
                      <a:pt x="56" y="35"/>
                    </a:lnTo>
                    <a:lnTo>
                      <a:pt x="59" y="35"/>
                    </a:lnTo>
                    <a:lnTo>
                      <a:pt x="74" y="34"/>
                    </a:lnTo>
                    <a:lnTo>
                      <a:pt x="74" y="30"/>
                    </a:lnTo>
                    <a:lnTo>
                      <a:pt x="56" y="32"/>
                    </a:lnTo>
                    <a:lnTo>
                      <a:pt x="52" y="34"/>
                    </a:lnTo>
                    <a:lnTo>
                      <a:pt x="41" y="39"/>
                    </a:lnTo>
                    <a:lnTo>
                      <a:pt x="36" y="39"/>
                    </a:lnTo>
                    <a:lnTo>
                      <a:pt x="33" y="39"/>
                    </a:lnTo>
                    <a:lnTo>
                      <a:pt x="33" y="32"/>
                    </a:lnTo>
                    <a:lnTo>
                      <a:pt x="29" y="34"/>
                    </a:lnTo>
                    <a:lnTo>
                      <a:pt x="22" y="32"/>
                    </a:lnTo>
                    <a:lnTo>
                      <a:pt x="20" y="29"/>
                    </a:lnTo>
                    <a:lnTo>
                      <a:pt x="19" y="22"/>
                    </a:lnTo>
                    <a:lnTo>
                      <a:pt x="4" y="19"/>
                    </a:lnTo>
                    <a:lnTo>
                      <a:pt x="0" y="14"/>
                    </a:lnTo>
                    <a:lnTo>
                      <a:pt x="1" y="11"/>
                    </a:lnTo>
                    <a:lnTo>
                      <a:pt x="3" y="12"/>
                    </a:lnTo>
                    <a:lnTo>
                      <a:pt x="6" y="14"/>
                    </a:lnTo>
                    <a:lnTo>
                      <a:pt x="11" y="14"/>
                    </a:lnTo>
                    <a:lnTo>
                      <a:pt x="19" y="10"/>
                    </a:lnTo>
                    <a:lnTo>
                      <a:pt x="21" y="9"/>
                    </a:lnTo>
                    <a:lnTo>
                      <a:pt x="41" y="9"/>
                    </a:lnTo>
                    <a:lnTo>
                      <a:pt x="48" y="8"/>
                    </a:lnTo>
                    <a:lnTo>
                      <a:pt x="56" y="4"/>
                    </a:lnTo>
                    <a:lnTo>
                      <a:pt x="64" y="0"/>
                    </a:lnTo>
                    <a:lnTo>
                      <a:pt x="82" y="0"/>
                    </a:lnTo>
                    <a:lnTo>
                      <a:pt x="84" y="0"/>
                    </a:lnTo>
                    <a:lnTo>
                      <a:pt x="119" y="0"/>
                    </a:lnTo>
                    <a:lnTo>
                      <a:pt x="119" y="4"/>
                    </a:lnTo>
                    <a:lnTo>
                      <a:pt x="123" y="9"/>
                    </a:lnTo>
                    <a:lnTo>
                      <a:pt x="123" y="12"/>
                    </a:lnTo>
                    <a:lnTo>
                      <a:pt x="120" y="15"/>
                    </a:lnTo>
                    <a:lnTo>
                      <a:pt x="118" y="17"/>
                    </a:lnTo>
                    <a:lnTo>
                      <a:pt x="115" y="17"/>
                    </a:lnTo>
                    <a:lnTo>
                      <a:pt x="113" y="18"/>
                    </a:lnTo>
                    <a:lnTo>
                      <a:pt x="112" y="20"/>
                    </a:lnTo>
                    <a:lnTo>
                      <a:pt x="116" y="22"/>
                    </a:lnTo>
                    <a:lnTo>
                      <a:pt x="118" y="25"/>
                    </a:lnTo>
                    <a:lnTo>
                      <a:pt x="119" y="39"/>
                    </a:lnTo>
                    <a:lnTo>
                      <a:pt x="113" y="39"/>
                    </a:lnTo>
                    <a:lnTo>
                      <a:pt x="112" y="40"/>
                    </a:lnTo>
                    <a:lnTo>
                      <a:pt x="97" y="40"/>
                    </a:lnTo>
                    <a:lnTo>
                      <a:pt x="86" y="46"/>
                    </a:lnTo>
                    <a:lnTo>
                      <a:pt x="81" y="50"/>
                    </a:lnTo>
                    <a:lnTo>
                      <a:pt x="78" y="54"/>
                    </a:lnTo>
                    <a:lnTo>
                      <a:pt x="75" y="61"/>
                    </a:lnTo>
                    <a:lnTo>
                      <a:pt x="74" y="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9" name="Freeform 45"/>
              <p:cNvSpPr>
                <a:spLocks/>
              </p:cNvSpPr>
              <p:nvPr/>
            </p:nvSpPr>
            <p:spPr bwMode="auto">
              <a:xfrm>
                <a:off x="581" y="2006"/>
                <a:ext cx="132" cy="72"/>
              </a:xfrm>
              <a:custGeom>
                <a:avLst/>
                <a:gdLst>
                  <a:gd name="T0" fmla="*/ 7884 w 123"/>
                  <a:gd name="T1" fmla="*/ 2739 h 68"/>
                  <a:gd name="T2" fmla="*/ 7412 w 123"/>
                  <a:gd name="T3" fmla="*/ 2843 h 68"/>
                  <a:gd name="T4" fmla="*/ 6907 w 123"/>
                  <a:gd name="T5" fmla="*/ 2933 h 68"/>
                  <a:gd name="T6" fmla="*/ 6907 w 123"/>
                  <a:gd name="T7" fmla="*/ 2770 h 68"/>
                  <a:gd name="T8" fmla="*/ 7120 w 123"/>
                  <a:gd name="T9" fmla="*/ 2739 h 68"/>
                  <a:gd name="T10" fmla="*/ 6436 w 123"/>
                  <a:gd name="T11" fmla="*/ 2739 h 68"/>
                  <a:gd name="T12" fmla="*/ 5943 w 123"/>
                  <a:gd name="T13" fmla="*/ 2739 h 68"/>
                  <a:gd name="T14" fmla="*/ 5761 w 123"/>
                  <a:gd name="T15" fmla="*/ 2536 h 68"/>
                  <a:gd name="T16" fmla="*/ 5588 w 123"/>
                  <a:gd name="T17" fmla="*/ 2334 h 68"/>
                  <a:gd name="T18" fmla="*/ 5821 w 123"/>
                  <a:gd name="T19" fmla="*/ 2017 h 68"/>
                  <a:gd name="T20" fmla="*/ 5424 w 123"/>
                  <a:gd name="T21" fmla="*/ 1697 h 68"/>
                  <a:gd name="T22" fmla="*/ 5943 w 123"/>
                  <a:gd name="T23" fmla="*/ 1514 h 68"/>
                  <a:gd name="T24" fmla="*/ 6247 w 123"/>
                  <a:gd name="T25" fmla="*/ 1514 h 68"/>
                  <a:gd name="T26" fmla="*/ 7884 w 123"/>
                  <a:gd name="T27" fmla="*/ 1432 h 68"/>
                  <a:gd name="T28" fmla="*/ 7884 w 123"/>
                  <a:gd name="T29" fmla="*/ 1277 h 68"/>
                  <a:gd name="T30" fmla="*/ 5943 w 123"/>
                  <a:gd name="T31" fmla="*/ 1352 h 68"/>
                  <a:gd name="T32" fmla="*/ 5538 w 123"/>
                  <a:gd name="T33" fmla="*/ 1432 h 68"/>
                  <a:gd name="T34" fmla="*/ 4343 w 123"/>
                  <a:gd name="T35" fmla="*/ 1697 h 68"/>
                  <a:gd name="T36" fmla="*/ 3890 w 123"/>
                  <a:gd name="T37" fmla="*/ 1697 h 68"/>
                  <a:gd name="T38" fmla="*/ 3514 w 123"/>
                  <a:gd name="T39" fmla="*/ 1697 h 68"/>
                  <a:gd name="T40" fmla="*/ 3514 w 123"/>
                  <a:gd name="T41" fmla="*/ 1352 h 68"/>
                  <a:gd name="T42" fmla="*/ 3051 w 123"/>
                  <a:gd name="T43" fmla="*/ 1432 h 68"/>
                  <a:gd name="T44" fmla="*/ 2373 w 123"/>
                  <a:gd name="T45" fmla="*/ 1352 h 68"/>
                  <a:gd name="T46" fmla="*/ 2143 w 123"/>
                  <a:gd name="T47" fmla="*/ 1276 h 68"/>
                  <a:gd name="T48" fmla="*/ 1997 w 123"/>
                  <a:gd name="T49" fmla="*/ 907 h 68"/>
                  <a:gd name="T50" fmla="*/ 4 w 123"/>
                  <a:gd name="T51" fmla="*/ 764 h 68"/>
                  <a:gd name="T52" fmla="*/ 0 w 123"/>
                  <a:gd name="T53" fmla="*/ 574 h 68"/>
                  <a:gd name="T54" fmla="*/ 1 w 123"/>
                  <a:gd name="T55" fmla="*/ 484 h 68"/>
                  <a:gd name="T56" fmla="*/ 3 w 123"/>
                  <a:gd name="T57" fmla="*/ 512 h 68"/>
                  <a:gd name="T58" fmla="*/ 6 w 123"/>
                  <a:gd name="T59" fmla="*/ 574 h 68"/>
                  <a:gd name="T60" fmla="*/ 1135 w 123"/>
                  <a:gd name="T61" fmla="*/ 574 h 68"/>
                  <a:gd name="T62" fmla="*/ 1997 w 123"/>
                  <a:gd name="T63" fmla="*/ 457 h 68"/>
                  <a:gd name="T64" fmla="*/ 2300 w 123"/>
                  <a:gd name="T65" fmla="*/ 432 h 68"/>
                  <a:gd name="T66" fmla="*/ 4343 w 123"/>
                  <a:gd name="T67" fmla="*/ 432 h 68"/>
                  <a:gd name="T68" fmla="*/ 5160 w 123"/>
                  <a:gd name="T69" fmla="*/ 8 h 68"/>
                  <a:gd name="T70" fmla="*/ 5943 w 123"/>
                  <a:gd name="T71" fmla="*/ 4 h 68"/>
                  <a:gd name="T72" fmla="*/ 6845 w 123"/>
                  <a:gd name="T73" fmla="*/ 0 h 68"/>
                  <a:gd name="T74" fmla="*/ 8557 w 123"/>
                  <a:gd name="T75" fmla="*/ 0 h 68"/>
                  <a:gd name="T76" fmla="*/ 8892 w 123"/>
                  <a:gd name="T77" fmla="*/ 0 h 68"/>
                  <a:gd name="T78" fmla="*/ 12527 w 123"/>
                  <a:gd name="T79" fmla="*/ 0 h 68"/>
                  <a:gd name="T80" fmla="*/ 12527 w 123"/>
                  <a:gd name="T81" fmla="*/ 4 h 68"/>
                  <a:gd name="T82" fmla="*/ 13067 w 123"/>
                  <a:gd name="T83" fmla="*/ 432 h 68"/>
                  <a:gd name="T84" fmla="*/ 13067 w 123"/>
                  <a:gd name="T85" fmla="*/ 512 h 68"/>
                  <a:gd name="T86" fmla="*/ 12657 w 123"/>
                  <a:gd name="T87" fmla="*/ 608 h 68"/>
                  <a:gd name="T88" fmla="*/ 12464 w 123"/>
                  <a:gd name="T89" fmla="*/ 682 h 68"/>
                  <a:gd name="T90" fmla="*/ 12176 w 123"/>
                  <a:gd name="T91" fmla="*/ 682 h 68"/>
                  <a:gd name="T92" fmla="*/ 12043 w 123"/>
                  <a:gd name="T93" fmla="*/ 722 h 68"/>
                  <a:gd name="T94" fmla="*/ 11794 w 123"/>
                  <a:gd name="T95" fmla="*/ 809 h 68"/>
                  <a:gd name="T96" fmla="*/ 12180 w 123"/>
                  <a:gd name="T97" fmla="*/ 907 h 68"/>
                  <a:gd name="T98" fmla="*/ 12464 w 123"/>
                  <a:gd name="T99" fmla="*/ 1076 h 68"/>
                  <a:gd name="T100" fmla="*/ 12527 w 123"/>
                  <a:gd name="T101" fmla="*/ 1697 h 68"/>
                  <a:gd name="T102" fmla="*/ 12043 w 123"/>
                  <a:gd name="T103" fmla="*/ 1697 h 68"/>
                  <a:gd name="T104" fmla="*/ 11794 w 123"/>
                  <a:gd name="T105" fmla="*/ 1699 h 68"/>
                  <a:gd name="T106" fmla="*/ 10241 w 123"/>
                  <a:gd name="T107" fmla="*/ 1699 h 68"/>
                  <a:gd name="T108" fmla="*/ 9161 w 123"/>
                  <a:gd name="T109" fmla="*/ 2015 h 68"/>
                  <a:gd name="T110" fmla="*/ 8553 w 123"/>
                  <a:gd name="T111" fmla="*/ 2136 h 68"/>
                  <a:gd name="T112" fmla="*/ 8286 w 123"/>
                  <a:gd name="T113" fmla="*/ 2334 h 68"/>
                  <a:gd name="T114" fmla="*/ 7954 w 123"/>
                  <a:gd name="T115" fmla="*/ 2683 h 68"/>
                  <a:gd name="T116" fmla="*/ 7884 w 123"/>
                  <a:gd name="T117" fmla="*/ 2739 h 6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3"/>
                  <a:gd name="T178" fmla="*/ 0 h 68"/>
                  <a:gd name="T179" fmla="*/ 123 w 123"/>
                  <a:gd name="T180" fmla="*/ 68 h 6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3" h="68">
                    <a:moveTo>
                      <a:pt x="74" y="63"/>
                    </a:moveTo>
                    <a:lnTo>
                      <a:pt x="70" y="66"/>
                    </a:lnTo>
                    <a:lnTo>
                      <a:pt x="65" y="68"/>
                    </a:lnTo>
                    <a:lnTo>
                      <a:pt x="65" y="64"/>
                    </a:lnTo>
                    <a:lnTo>
                      <a:pt x="67" y="63"/>
                    </a:lnTo>
                    <a:lnTo>
                      <a:pt x="61" y="63"/>
                    </a:lnTo>
                    <a:lnTo>
                      <a:pt x="56" y="63"/>
                    </a:lnTo>
                    <a:lnTo>
                      <a:pt x="54" y="59"/>
                    </a:lnTo>
                    <a:lnTo>
                      <a:pt x="53" y="54"/>
                    </a:lnTo>
                    <a:lnTo>
                      <a:pt x="55" y="47"/>
                    </a:lnTo>
                    <a:lnTo>
                      <a:pt x="51" y="39"/>
                    </a:lnTo>
                    <a:lnTo>
                      <a:pt x="56" y="35"/>
                    </a:lnTo>
                    <a:lnTo>
                      <a:pt x="59" y="35"/>
                    </a:lnTo>
                    <a:lnTo>
                      <a:pt x="74" y="34"/>
                    </a:lnTo>
                    <a:lnTo>
                      <a:pt x="74" y="30"/>
                    </a:lnTo>
                    <a:lnTo>
                      <a:pt x="56" y="32"/>
                    </a:lnTo>
                    <a:lnTo>
                      <a:pt x="52" y="34"/>
                    </a:lnTo>
                    <a:lnTo>
                      <a:pt x="41" y="39"/>
                    </a:lnTo>
                    <a:lnTo>
                      <a:pt x="36" y="39"/>
                    </a:lnTo>
                    <a:lnTo>
                      <a:pt x="33" y="39"/>
                    </a:lnTo>
                    <a:lnTo>
                      <a:pt x="33" y="32"/>
                    </a:lnTo>
                    <a:lnTo>
                      <a:pt x="29" y="34"/>
                    </a:lnTo>
                    <a:lnTo>
                      <a:pt x="22" y="32"/>
                    </a:lnTo>
                    <a:lnTo>
                      <a:pt x="20" y="29"/>
                    </a:lnTo>
                    <a:lnTo>
                      <a:pt x="19" y="22"/>
                    </a:lnTo>
                    <a:lnTo>
                      <a:pt x="4" y="19"/>
                    </a:lnTo>
                    <a:lnTo>
                      <a:pt x="0" y="14"/>
                    </a:lnTo>
                    <a:lnTo>
                      <a:pt x="1" y="11"/>
                    </a:lnTo>
                    <a:lnTo>
                      <a:pt x="3" y="12"/>
                    </a:lnTo>
                    <a:lnTo>
                      <a:pt x="6" y="14"/>
                    </a:lnTo>
                    <a:lnTo>
                      <a:pt x="11" y="14"/>
                    </a:lnTo>
                    <a:lnTo>
                      <a:pt x="19" y="10"/>
                    </a:lnTo>
                    <a:lnTo>
                      <a:pt x="21" y="9"/>
                    </a:lnTo>
                    <a:lnTo>
                      <a:pt x="41" y="9"/>
                    </a:lnTo>
                    <a:lnTo>
                      <a:pt x="48" y="8"/>
                    </a:lnTo>
                    <a:lnTo>
                      <a:pt x="56" y="4"/>
                    </a:lnTo>
                    <a:lnTo>
                      <a:pt x="64" y="0"/>
                    </a:lnTo>
                    <a:lnTo>
                      <a:pt x="82" y="0"/>
                    </a:lnTo>
                    <a:lnTo>
                      <a:pt x="84" y="0"/>
                    </a:lnTo>
                    <a:lnTo>
                      <a:pt x="119" y="0"/>
                    </a:lnTo>
                    <a:lnTo>
                      <a:pt x="119" y="4"/>
                    </a:lnTo>
                    <a:lnTo>
                      <a:pt x="123" y="9"/>
                    </a:lnTo>
                    <a:lnTo>
                      <a:pt x="123" y="12"/>
                    </a:lnTo>
                    <a:lnTo>
                      <a:pt x="120" y="15"/>
                    </a:lnTo>
                    <a:lnTo>
                      <a:pt x="118" y="17"/>
                    </a:lnTo>
                    <a:lnTo>
                      <a:pt x="115" y="17"/>
                    </a:lnTo>
                    <a:lnTo>
                      <a:pt x="113" y="18"/>
                    </a:lnTo>
                    <a:lnTo>
                      <a:pt x="112" y="20"/>
                    </a:lnTo>
                    <a:lnTo>
                      <a:pt x="116" y="22"/>
                    </a:lnTo>
                    <a:lnTo>
                      <a:pt x="118" y="25"/>
                    </a:lnTo>
                    <a:lnTo>
                      <a:pt x="119" y="39"/>
                    </a:lnTo>
                    <a:lnTo>
                      <a:pt x="113" y="39"/>
                    </a:lnTo>
                    <a:lnTo>
                      <a:pt x="112" y="40"/>
                    </a:lnTo>
                    <a:lnTo>
                      <a:pt x="97" y="40"/>
                    </a:lnTo>
                    <a:lnTo>
                      <a:pt x="86" y="46"/>
                    </a:lnTo>
                    <a:lnTo>
                      <a:pt x="81" y="50"/>
                    </a:lnTo>
                    <a:lnTo>
                      <a:pt x="78" y="54"/>
                    </a:lnTo>
                    <a:lnTo>
                      <a:pt x="75" y="61"/>
                    </a:lnTo>
                    <a:lnTo>
                      <a:pt x="74" y="63"/>
                    </a:lnTo>
                    <a:close/>
                  </a:path>
                </a:pathLst>
              </a:custGeom>
              <a:solidFill>
                <a:srgbClr val="D99694"/>
              </a:solidFill>
              <a:ln w="7938">
                <a:solidFill>
                  <a:srgbClr val="1C1329"/>
                </a:solidFill>
                <a:miter lim="800000"/>
                <a:headEnd/>
                <a:tailEnd/>
              </a:ln>
            </p:spPr>
            <p:txBody>
              <a:bodyPr/>
              <a:lstStyle/>
              <a:p>
                <a:endParaRPr lang="en-US"/>
              </a:p>
            </p:txBody>
          </p:sp>
          <p:sp>
            <p:nvSpPr>
              <p:cNvPr id="260" name="Freeform 46"/>
              <p:cNvSpPr>
                <a:spLocks/>
              </p:cNvSpPr>
              <p:nvPr/>
            </p:nvSpPr>
            <p:spPr bwMode="auto">
              <a:xfrm>
                <a:off x="1062" y="1915"/>
                <a:ext cx="314" cy="221"/>
              </a:xfrm>
              <a:custGeom>
                <a:avLst/>
                <a:gdLst>
                  <a:gd name="T0" fmla="*/ 28279 w 293"/>
                  <a:gd name="T1" fmla="*/ 2492 h 211"/>
                  <a:gd name="T2" fmla="*/ 27652 w 293"/>
                  <a:gd name="T3" fmla="*/ 2610 h 211"/>
                  <a:gd name="T4" fmla="*/ 26838 w 293"/>
                  <a:gd name="T5" fmla="*/ 2842 h 211"/>
                  <a:gd name="T6" fmla="*/ 25568 w 293"/>
                  <a:gd name="T7" fmla="*/ 2865 h 211"/>
                  <a:gd name="T8" fmla="*/ 24292 w 293"/>
                  <a:gd name="T9" fmla="*/ 2842 h 211"/>
                  <a:gd name="T10" fmla="*/ 23368 w 293"/>
                  <a:gd name="T11" fmla="*/ 3052 h 211"/>
                  <a:gd name="T12" fmla="*/ 23089 w 293"/>
                  <a:gd name="T13" fmla="*/ 3197 h 211"/>
                  <a:gd name="T14" fmla="*/ 22460 w 293"/>
                  <a:gd name="T15" fmla="*/ 3263 h 211"/>
                  <a:gd name="T16" fmla="*/ 21151 w 293"/>
                  <a:gd name="T17" fmla="*/ 3292 h 211"/>
                  <a:gd name="T18" fmla="*/ 18566 w 293"/>
                  <a:gd name="T19" fmla="*/ 3142 h 211"/>
                  <a:gd name="T20" fmla="*/ 16310 w 293"/>
                  <a:gd name="T21" fmla="*/ 3292 h 211"/>
                  <a:gd name="T22" fmla="*/ 11555 w 293"/>
                  <a:gd name="T23" fmla="*/ 3263 h 211"/>
                  <a:gd name="T24" fmla="*/ 8866 w 293"/>
                  <a:gd name="T25" fmla="*/ 3263 h 211"/>
                  <a:gd name="T26" fmla="*/ 8787 w 293"/>
                  <a:gd name="T27" fmla="*/ 3610 h 211"/>
                  <a:gd name="T28" fmla="*/ 9207 w 293"/>
                  <a:gd name="T29" fmla="*/ 3781 h 211"/>
                  <a:gd name="T30" fmla="*/ 9207 w 293"/>
                  <a:gd name="T31" fmla="*/ 4237 h 211"/>
                  <a:gd name="T32" fmla="*/ 9216 w 293"/>
                  <a:gd name="T33" fmla="*/ 4468 h 211"/>
                  <a:gd name="T34" fmla="*/ 8326 w 293"/>
                  <a:gd name="T35" fmla="*/ 4312 h 211"/>
                  <a:gd name="T36" fmla="*/ 7651 w 293"/>
                  <a:gd name="T37" fmla="*/ 4114 h 211"/>
                  <a:gd name="T38" fmla="*/ 6312 w 293"/>
                  <a:gd name="T39" fmla="*/ 4114 h 211"/>
                  <a:gd name="T40" fmla="*/ 4438 w 293"/>
                  <a:gd name="T41" fmla="*/ 4149 h 211"/>
                  <a:gd name="T42" fmla="*/ 3262 w 293"/>
                  <a:gd name="T43" fmla="*/ 4312 h 211"/>
                  <a:gd name="T44" fmla="*/ 2394 w 293"/>
                  <a:gd name="T45" fmla="*/ 4237 h 211"/>
                  <a:gd name="T46" fmla="*/ 2085 w 293"/>
                  <a:gd name="T47" fmla="*/ 4266 h 211"/>
                  <a:gd name="T48" fmla="*/ 1377 w 293"/>
                  <a:gd name="T49" fmla="*/ 4211 h 211"/>
                  <a:gd name="T50" fmla="*/ 974 w 293"/>
                  <a:gd name="T51" fmla="*/ 4045 h 211"/>
                  <a:gd name="T52" fmla="*/ 5 w 293"/>
                  <a:gd name="T53" fmla="*/ 3931 h 211"/>
                  <a:gd name="T54" fmla="*/ 3 w 293"/>
                  <a:gd name="T55" fmla="*/ 3782 h 211"/>
                  <a:gd name="T56" fmla="*/ 0 w 293"/>
                  <a:gd name="T57" fmla="*/ 3610 h 211"/>
                  <a:gd name="T58" fmla="*/ 791 w 293"/>
                  <a:gd name="T59" fmla="*/ 3001 h 211"/>
                  <a:gd name="T60" fmla="*/ 1199 w 293"/>
                  <a:gd name="T61" fmla="*/ 2611 h 211"/>
                  <a:gd name="T62" fmla="*/ 3606 w 293"/>
                  <a:gd name="T63" fmla="*/ 2206 h 211"/>
                  <a:gd name="T64" fmla="*/ 4612 w 293"/>
                  <a:gd name="T65" fmla="*/ 1554 h 211"/>
                  <a:gd name="T66" fmla="*/ 5853 w 293"/>
                  <a:gd name="T67" fmla="*/ 1365 h 211"/>
                  <a:gd name="T68" fmla="*/ 10182 w 293"/>
                  <a:gd name="T69" fmla="*/ 1134 h 211"/>
                  <a:gd name="T70" fmla="*/ 14831 w 293"/>
                  <a:gd name="T71" fmla="*/ 350 h 211"/>
                  <a:gd name="T72" fmla="*/ 17557 w 293"/>
                  <a:gd name="T73" fmla="*/ 0 h 211"/>
                  <a:gd name="T74" fmla="*/ 19736 w 293"/>
                  <a:gd name="T75" fmla="*/ 265 h 211"/>
                  <a:gd name="T76" fmla="*/ 20288 w 293"/>
                  <a:gd name="T77" fmla="*/ 484 h 211"/>
                  <a:gd name="T78" fmla="*/ 20347 w 293"/>
                  <a:gd name="T79" fmla="*/ 805 h 211"/>
                  <a:gd name="T80" fmla="*/ 22976 w 293"/>
                  <a:gd name="T81" fmla="*/ 1340 h 211"/>
                  <a:gd name="T82" fmla="*/ 24292 w 293"/>
                  <a:gd name="T83" fmla="*/ 1854 h 211"/>
                  <a:gd name="T84" fmla="*/ 25722 w 293"/>
                  <a:gd name="T85" fmla="*/ 1942 h 211"/>
                  <a:gd name="T86" fmla="*/ 26760 w 293"/>
                  <a:gd name="T87" fmla="*/ 1854 h 211"/>
                  <a:gd name="T88" fmla="*/ 27644 w 293"/>
                  <a:gd name="T89" fmla="*/ 2070 h 211"/>
                  <a:gd name="T90" fmla="*/ 27009 w 293"/>
                  <a:gd name="T91" fmla="*/ 2106 h 211"/>
                  <a:gd name="T92" fmla="*/ 27422 w 293"/>
                  <a:gd name="T93" fmla="*/ 2311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3"/>
                  <a:gd name="T142" fmla="*/ 0 h 211"/>
                  <a:gd name="T143" fmla="*/ 293 w 293"/>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3" h="211">
                    <a:moveTo>
                      <a:pt x="285" y="109"/>
                    </a:moveTo>
                    <a:lnTo>
                      <a:pt x="291" y="117"/>
                    </a:lnTo>
                    <a:lnTo>
                      <a:pt x="293" y="117"/>
                    </a:lnTo>
                    <a:lnTo>
                      <a:pt x="291" y="121"/>
                    </a:lnTo>
                    <a:lnTo>
                      <a:pt x="288" y="123"/>
                    </a:lnTo>
                    <a:lnTo>
                      <a:pt x="289" y="124"/>
                    </a:lnTo>
                    <a:lnTo>
                      <a:pt x="287" y="127"/>
                    </a:lnTo>
                    <a:lnTo>
                      <a:pt x="279" y="134"/>
                    </a:lnTo>
                    <a:lnTo>
                      <a:pt x="275" y="136"/>
                    </a:lnTo>
                    <a:lnTo>
                      <a:pt x="270" y="134"/>
                    </a:lnTo>
                    <a:lnTo>
                      <a:pt x="265" y="136"/>
                    </a:lnTo>
                    <a:lnTo>
                      <a:pt x="259" y="133"/>
                    </a:lnTo>
                    <a:lnTo>
                      <a:pt x="255" y="133"/>
                    </a:lnTo>
                    <a:lnTo>
                      <a:pt x="253" y="134"/>
                    </a:lnTo>
                    <a:lnTo>
                      <a:pt x="248" y="143"/>
                    </a:lnTo>
                    <a:lnTo>
                      <a:pt x="245" y="143"/>
                    </a:lnTo>
                    <a:lnTo>
                      <a:pt x="243" y="143"/>
                    </a:lnTo>
                    <a:lnTo>
                      <a:pt x="243" y="145"/>
                    </a:lnTo>
                    <a:lnTo>
                      <a:pt x="240" y="147"/>
                    </a:lnTo>
                    <a:lnTo>
                      <a:pt x="240" y="150"/>
                    </a:lnTo>
                    <a:lnTo>
                      <a:pt x="237" y="150"/>
                    </a:lnTo>
                    <a:lnTo>
                      <a:pt x="234" y="153"/>
                    </a:lnTo>
                    <a:lnTo>
                      <a:pt x="233" y="153"/>
                    </a:lnTo>
                    <a:lnTo>
                      <a:pt x="223" y="153"/>
                    </a:lnTo>
                    <a:lnTo>
                      <a:pt x="222" y="155"/>
                    </a:lnTo>
                    <a:lnTo>
                      <a:pt x="220" y="156"/>
                    </a:lnTo>
                    <a:lnTo>
                      <a:pt x="216" y="152"/>
                    </a:lnTo>
                    <a:lnTo>
                      <a:pt x="194" y="148"/>
                    </a:lnTo>
                    <a:lnTo>
                      <a:pt x="192" y="148"/>
                    </a:lnTo>
                    <a:lnTo>
                      <a:pt x="181" y="149"/>
                    </a:lnTo>
                    <a:lnTo>
                      <a:pt x="172" y="155"/>
                    </a:lnTo>
                    <a:lnTo>
                      <a:pt x="169" y="156"/>
                    </a:lnTo>
                    <a:lnTo>
                      <a:pt x="157" y="156"/>
                    </a:lnTo>
                    <a:lnTo>
                      <a:pt x="139" y="153"/>
                    </a:lnTo>
                    <a:lnTo>
                      <a:pt x="120" y="153"/>
                    </a:lnTo>
                    <a:lnTo>
                      <a:pt x="111" y="152"/>
                    </a:lnTo>
                    <a:lnTo>
                      <a:pt x="104" y="152"/>
                    </a:lnTo>
                    <a:lnTo>
                      <a:pt x="92" y="153"/>
                    </a:lnTo>
                    <a:lnTo>
                      <a:pt x="88" y="159"/>
                    </a:lnTo>
                    <a:lnTo>
                      <a:pt x="88" y="164"/>
                    </a:lnTo>
                    <a:lnTo>
                      <a:pt x="91" y="170"/>
                    </a:lnTo>
                    <a:lnTo>
                      <a:pt x="93" y="172"/>
                    </a:lnTo>
                    <a:lnTo>
                      <a:pt x="92" y="177"/>
                    </a:lnTo>
                    <a:lnTo>
                      <a:pt x="95" y="178"/>
                    </a:lnTo>
                    <a:lnTo>
                      <a:pt x="94" y="187"/>
                    </a:lnTo>
                    <a:lnTo>
                      <a:pt x="96" y="193"/>
                    </a:lnTo>
                    <a:lnTo>
                      <a:pt x="95" y="200"/>
                    </a:lnTo>
                    <a:lnTo>
                      <a:pt x="96" y="204"/>
                    </a:lnTo>
                    <a:lnTo>
                      <a:pt x="98" y="210"/>
                    </a:lnTo>
                    <a:lnTo>
                      <a:pt x="96" y="211"/>
                    </a:lnTo>
                    <a:lnTo>
                      <a:pt x="93" y="211"/>
                    </a:lnTo>
                    <a:lnTo>
                      <a:pt x="91" y="210"/>
                    </a:lnTo>
                    <a:lnTo>
                      <a:pt x="87" y="203"/>
                    </a:lnTo>
                    <a:lnTo>
                      <a:pt x="86" y="200"/>
                    </a:lnTo>
                    <a:lnTo>
                      <a:pt x="82" y="198"/>
                    </a:lnTo>
                    <a:lnTo>
                      <a:pt x="79" y="193"/>
                    </a:lnTo>
                    <a:lnTo>
                      <a:pt x="78" y="193"/>
                    </a:lnTo>
                    <a:lnTo>
                      <a:pt x="75" y="195"/>
                    </a:lnTo>
                    <a:lnTo>
                      <a:pt x="66" y="193"/>
                    </a:lnTo>
                    <a:lnTo>
                      <a:pt x="61" y="191"/>
                    </a:lnTo>
                    <a:lnTo>
                      <a:pt x="55" y="194"/>
                    </a:lnTo>
                    <a:lnTo>
                      <a:pt x="46" y="196"/>
                    </a:lnTo>
                    <a:lnTo>
                      <a:pt x="40" y="198"/>
                    </a:lnTo>
                    <a:lnTo>
                      <a:pt x="37" y="198"/>
                    </a:lnTo>
                    <a:lnTo>
                      <a:pt x="34" y="203"/>
                    </a:lnTo>
                    <a:lnTo>
                      <a:pt x="33" y="205"/>
                    </a:lnTo>
                    <a:lnTo>
                      <a:pt x="27" y="203"/>
                    </a:lnTo>
                    <a:lnTo>
                      <a:pt x="25" y="200"/>
                    </a:lnTo>
                    <a:lnTo>
                      <a:pt x="24" y="200"/>
                    </a:lnTo>
                    <a:lnTo>
                      <a:pt x="24" y="201"/>
                    </a:lnTo>
                    <a:lnTo>
                      <a:pt x="21" y="201"/>
                    </a:lnTo>
                    <a:lnTo>
                      <a:pt x="21" y="203"/>
                    </a:lnTo>
                    <a:lnTo>
                      <a:pt x="15" y="200"/>
                    </a:lnTo>
                    <a:lnTo>
                      <a:pt x="15" y="197"/>
                    </a:lnTo>
                    <a:lnTo>
                      <a:pt x="12" y="195"/>
                    </a:lnTo>
                    <a:lnTo>
                      <a:pt x="10" y="195"/>
                    </a:lnTo>
                    <a:lnTo>
                      <a:pt x="10" y="191"/>
                    </a:lnTo>
                    <a:lnTo>
                      <a:pt x="10" y="189"/>
                    </a:lnTo>
                    <a:lnTo>
                      <a:pt x="7" y="188"/>
                    </a:lnTo>
                    <a:lnTo>
                      <a:pt x="5" y="185"/>
                    </a:lnTo>
                    <a:lnTo>
                      <a:pt x="3" y="184"/>
                    </a:lnTo>
                    <a:lnTo>
                      <a:pt x="3" y="182"/>
                    </a:lnTo>
                    <a:lnTo>
                      <a:pt x="3" y="179"/>
                    </a:lnTo>
                    <a:lnTo>
                      <a:pt x="2" y="178"/>
                    </a:lnTo>
                    <a:lnTo>
                      <a:pt x="0" y="178"/>
                    </a:lnTo>
                    <a:lnTo>
                      <a:pt x="0" y="170"/>
                    </a:lnTo>
                    <a:lnTo>
                      <a:pt x="0" y="160"/>
                    </a:lnTo>
                    <a:lnTo>
                      <a:pt x="0" y="153"/>
                    </a:lnTo>
                    <a:lnTo>
                      <a:pt x="7" y="142"/>
                    </a:lnTo>
                    <a:lnTo>
                      <a:pt x="7" y="134"/>
                    </a:lnTo>
                    <a:lnTo>
                      <a:pt x="11" y="127"/>
                    </a:lnTo>
                    <a:lnTo>
                      <a:pt x="13" y="124"/>
                    </a:lnTo>
                    <a:lnTo>
                      <a:pt x="20" y="119"/>
                    </a:lnTo>
                    <a:lnTo>
                      <a:pt x="31" y="111"/>
                    </a:lnTo>
                    <a:lnTo>
                      <a:pt x="37" y="104"/>
                    </a:lnTo>
                    <a:lnTo>
                      <a:pt x="41" y="91"/>
                    </a:lnTo>
                    <a:lnTo>
                      <a:pt x="44" y="81"/>
                    </a:lnTo>
                    <a:lnTo>
                      <a:pt x="48" y="73"/>
                    </a:lnTo>
                    <a:lnTo>
                      <a:pt x="51" y="69"/>
                    </a:lnTo>
                    <a:lnTo>
                      <a:pt x="58" y="65"/>
                    </a:lnTo>
                    <a:lnTo>
                      <a:pt x="61" y="65"/>
                    </a:lnTo>
                    <a:lnTo>
                      <a:pt x="70" y="63"/>
                    </a:lnTo>
                    <a:lnTo>
                      <a:pt x="79" y="61"/>
                    </a:lnTo>
                    <a:lnTo>
                      <a:pt x="106" y="53"/>
                    </a:lnTo>
                    <a:lnTo>
                      <a:pt x="118" y="44"/>
                    </a:lnTo>
                    <a:lnTo>
                      <a:pt x="127" y="34"/>
                    </a:lnTo>
                    <a:lnTo>
                      <a:pt x="153" y="17"/>
                    </a:lnTo>
                    <a:lnTo>
                      <a:pt x="164" y="8"/>
                    </a:lnTo>
                    <a:lnTo>
                      <a:pt x="169" y="5"/>
                    </a:lnTo>
                    <a:lnTo>
                      <a:pt x="183" y="0"/>
                    </a:lnTo>
                    <a:lnTo>
                      <a:pt x="207" y="0"/>
                    </a:lnTo>
                    <a:lnTo>
                      <a:pt x="205" y="3"/>
                    </a:lnTo>
                    <a:lnTo>
                      <a:pt x="205" y="11"/>
                    </a:lnTo>
                    <a:lnTo>
                      <a:pt x="202" y="18"/>
                    </a:lnTo>
                    <a:lnTo>
                      <a:pt x="204" y="18"/>
                    </a:lnTo>
                    <a:lnTo>
                      <a:pt x="211" y="24"/>
                    </a:lnTo>
                    <a:lnTo>
                      <a:pt x="212" y="27"/>
                    </a:lnTo>
                    <a:lnTo>
                      <a:pt x="212" y="33"/>
                    </a:lnTo>
                    <a:lnTo>
                      <a:pt x="212" y="38"/>
                    </a:lnTo>
                    <a:lnTo>
                      <a:pt x="222" y="47"/>
                    </a:lnTo>
                    <a:lnTo>
                      <a:pt x="233" y="58"/>
                    </a:lnTo>
                    <a:lnTo>
                      <a:pt x="238" y="63"/>
                    </a:lnTo>
                    <a:lnTo>
                      <a:pt x="243" y="73"/>
                    </a:lnTo>
                    <a:lnTo>
                      <a:pt x="245" y="78"/>
                    </a:lnTo>
                    <a:lnTo>
                      <a:pt x="253" y="87"/>
                    </a:lnTo>
                    <a:lnTo>
                      <a:pt x="257" y="89"/>
                    </a:lnTo>
                    <a:lnTo>
                      <a:pt x="265" y="91"/>
                    </a:lnTo>
                    <a:lnTo>
                      <a:pt x="267" y="91"/>
                    </a:lnTo>
                    <a:lnTo>
                      <a:pt x="270" y="91"/>
                    </a:lnTo>
                    <a:lnTo>
                      <a:pt x="275" y="87"/>
                    </a:lnTo>
                    <a:lnTo>
                      <a:pt x="278" y="87"/>
                    </a:lnTo>
                    <a:lnTo>
                      <a:pt x="281" y="88"/>
                    </a:lnTo>
                    <a:lnTo>
                      <a:pt x="286" y="96"/>
                    </a:lnTo>
                    <a:lnTo>
                      <a:pt x="287" y="97"/>
                    </a:lnTo>
                    <a:lnTo>
                      <a:pt x="286" y="99"/>
                    </a:lnTo>
                    <a:lnTo>
                      <a:pt x="282" y="98"/>
                    </a:lnTo>
                    <a:lnTo>
                      <a:pt x="280" y="99"/>
                    </a:lnTo>
                    <a:lnTo>
                      <a:pt x="279" y="101"/>
                    </a:lnTo>
                    <a:lnTo>
                      <a:pt x="280" y="104"/>
                    </a:lnTo>
                    <a:lnTo>
                      <a:pt x="285" y="109"/>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1" name="Freeform 47"/>
              <p:cNvSpPr>
                <a:spLocks/>
              </p:cNvSpPr>
              <p:nvPr/>
            </p:nvSpPr>
            <p:spPr bwMode="auto">
              <a:xfrm>
                <a:off x="1062" y="1915"/>
                <a:ext cx="314" cy="221"/>
              </a:xfrm>
              <a:custGeom>
                <a:avLst/>
                <a:gdLst>
                  <a:gd name="T0" fmla="*/ 28279 w 293"/>
                  <a:gd name="T1" fmla="*/ 2492 h 211"/>
                  <a:gd name="T2" fmla="*/ 27652 w 293"/>
                  <a:gd name="T3" fmla="*/ 2610 h 211"/>
                  <a:gd name="T4" fmla="*/ 26838 w 293"/>
                  <a:gd name="T5" fmla="*/ 2842 h 211"/>
                  <a:gd name="T6" fmla="*/ 25568 w 293"/>
                  <a:gd name="T7" fmla="*/ 2865 h 211"/>
                  <a:gd name="T8" fmla="*/ 24292 w 293"/>
                  <a:gd name="T9" fmla="*/ 2842 h 211"/>
                  <a:gd name="T10" fmla="*/ 23368 w 293"/>
                  <a:gd name="T11" fmla="*/ 3052 h 211"/>
                  <a:gd name="T12" fmla="*/ 23089 w 293"/>
                  <a:gd name="T13" fmla="*/ 3197 h 211"/>
                  <a:gd name="T14" fmla="*/ 22460 w 293"/>
                  <a:gd name="T15" fmla="*/ 3263 h 211"/>
                  <a:gd name="T16" fmla="*/ 21151 w 293"/>
                  <a:gd name="T17" fmla="*/ 3292 h 211"/>
                  <a:gd name="T18" fmla="*/ 18566 w 293"/>
                  <a:gd name="T19" fmla="*/ 3142 h 211"/>
                  <a:gd name="T20" fmla="*/ 16310 w 293"/>
                  <a:gd name="T21" fmla="*/ 3292 h 211"/>
                  <a:gd name="T22" fmla="*/ 11555 w 293"/>
                  <a:gd name="T23" fmla="*/ 3263 h 211"/>
                  <a:gd name="T24" fmla="*/ 8866 w 293"/>
                  <a:gd name="T25" fmla="*/ 3263 h 211"/>
                  <a:gd name="T26" fmla="*/ 8787 w 293"/>
                  <a:gd name="T27" fmla="*/ 3610 h 211"/>
                  <a:gd name="T28" fmla="*/ 9207 w 293"/>
                  <a:gd name="T29" fmla="*/ 3781 h 211"/>
                  <a:gd name="T30" fmla="*/ 9207 w 293"/>
                  <a:gd name="T31" fmla="*/ 4237 h 211"/>
                  <a:gd name="T32" fmla="*/ 9216 w 293"/>
                  <a:gd name="T33" fmla="*/ 4468 h 211"/>
                  <a:gd name="T34" fmla="*/ 8326 w 293"/>
                  <a:gd name="T35" fmla="*/ 4312 h 211"/>
                  <a:gd name="T36" fmla="*/ 7651 w 293"/>
                  <a:gd name="T37" fmla="*/ 4114 h 211"/>
                  <a:gd name="T38" fmla="*/ 6312 w 293"/>
                  <a:gd name="T39" fmla="*/ 4114 h 211"/>
                  <a:gd name="T40" fmla="*/ 4438 w 293"/>
                  <a:gd name="T41" fmla="*/ 4149 h 211"/>
                  <a:gd name="T42" fmla="*/ 3262 w 293"/>
                  <a:gd name="T43" fmla="*/ 4312 h 211"/>
                  <a:gd name="T44" fmla="*/ 2394 w 293"/>
                  <a:gd name="T45" fmla="*/ 4237 h 211"/>
                  <a:gd name="T46" fmla="*/ 2085 w 293"/>
                  <a:gd name="T47" fmla="*/ 4266 h 211"/>
                  <a:gd name="T48" fmla="*/ 1377 w 293"/>
                  <a:gd name="T49" fmla="*/ 4211 h 211"/>
                  <a:gd name="T50" fmla="*/ 974 w 293"/>
                  <a:gd name="T51" fmla="*/ 4045 h 211"/>
                  <a:gd name="T52" fmla="*/ 5 w 293"/>
                  <a:gd name="T53" fmla="*/ 3931 h 211"/>
                  <a:gd name="T54" fmla="*/ 3 w 293"/>
                  <a:gd name="T55" fmla="*/ 3782 h 211"/>
                  <a:gd name="T56" fmla="*/ 0 w 293"/>
                  <a:gd name="T57" fmla="*/ 3610 h 211"/>
                  <a:gd name="T58" fmla="*/ 791 w 293"/>
                  <a:gd name="T59" fmla="*/ 3001 h 211"/>
                  <a:gd name="T60" fmla="*/ 1199 w 293"/>
                  <a:gd name="T61" fmla="*/ 2611 h 211"/>
                  <a:gd name="T62" fmla="*/ 3606 w 293"/>
                  <a:gd name="T63" fmla="*/ 2206 h 211"/>
                  <a:gd name="T64" fmla="*/ 4612 w 293"/>
                  <a:gd name="T65" fmla="*/ 1554 h 211"/>
                  <a:gd name="T66" fmla="*/ 5853 w 293"/>
                  <a:gd name="T67" fmla="*/ 1365 h 211"/>
                  <a:gd name="T68" fmla="*/ 10182 w 293"/>
                  <a:gd name="T69" fmla="*/ 1134 h 211"/>
                  <a:gd name="T70" fmla="*/ 14831 w 293"/>
                  <a:gd name="T71" fmla="*/ 350 h 211"/>
                  <a:gd name="T72" fmla="*/ 17557 w 293"/>
                  <a:gd name="T73" fmla="*/ 0 h 211"/>
                  <a:gd name="T74" fmla="*/ 19736 w 293"/>
                  <a:gd name="T75" fmla="*/ 265 h 211"/>
                  <a:gd name="T76" fmla="*/ 20288 w 293"/>
                  <a:gd name="T77" fmla="*/ 484 h 211"/>
                  <a:gd name="T78" fmla="*/ 20347 w 293"/>
                  <a:gd name="T79" fmla="*/ 805 h 211"/>
                  <a:gd name="T80" fmla="*/ 22976 w 293"/>
                  <a:gd name="T81" fmla="*/ 1340 h 211"/>
                  <a:gd name="T82" fmla="*/ 24292 w 293"/>
                  <a:gd name="T83" fmla="*/ 1854 h 211"/>
                  <a:gd name="T84" fmla="*/ 25722 w 293"/>
                  <a:gd name="T85" fmla="*/ 1942 h 211"/>
                  <a:gd name="T86" fmla="*/ 26760 w 293"/>
                  <a:gd name="T87" fmla="*/ 1854 h 211"/>
                  <a:gd name="T88" fmla="*/ 27644 w 293"/>
                  <a:gd name="T89" fmla="*/ 2070 h 211"/>
                  <a:gd name="T90" fmla="*/ 27009 w 293"/>
                  <a:gd name="T91" fmla="*/ 2106 h 211"/>
                  <a:gd name="T92" fmla="*/ 27422 w 293"/>
                  <a:gd name="T93" fmla="*/ 2311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3"/>
                  <a:gd name="T142" fmla="*/ 0 h 211"/>
                  <a:gd name="T143" fmla="*/ 293 w 293"/>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3" h="211">
                    <a:moveTo>
                      <a:pt x="285" y="109"/>
                    </a:moveTo>
                    <a:lnTo>
                      <a:pt x="291" y="117"/>
                    </a:lnTo>
                    <a:lnTo>
                      <a:pt x="293" y="117"/>
                    </a:lnTo>
                    <a:lnTo>
                      <a:pt x="291" y="121"/>
                    </a:lnTo>
                    <a:lnTo>
                      <a:pt x="288" y="123"/>
                    </a:lnTo>
                    <a:lnTo>
                      <a:pt x="289" y="124"/>
                    </a:lnTo>
                    <a:lnTo>
                      <a:pt x="287" y="127"/>
                    </a:lnTo>
                    <a:lnTo>
                      <a:pt x="279" y="134"/>
                    </a:lnTo>
                    <a:lnTo>
                      <a:pt x="275" y="136"/>
                    </a:lnTo>
                    <a:lnTo>
                      <a:pt x="270" y="134"/>
                    </a:lnTo>
                    <a:lnTo>
                      <a:pt x="265" y="136"/>
                    </a:lnTo>
                    <a:lnTo>
                      <a:pt x="259" y="133"/>
                    </a:lnTo>
                    <a:lnTo>
                      <a:pt x="255" y="133"/>
                    </a:lnTo>
                    <a:lnTo>
                      <a:pt x="253" y="134"/>
                    </a:lnTo>
                    <a:lnTo>
                      <a:pt x="248" y="143"/>
                    </a:lnTo>
                    <a:lnTo>
                      <a:pt x="245" y="143"/>
                    </a:lnTo>
                    <a:lnTo>
                      <a:pt x="243" y="143"/>
                    </a:lnTo>
                    <a:lnTo>
                      <a:pt x="243" y="145"/>
                    </a:lnTo>
                    <a:lnTo>
                      <a:pt x="240" y="147"/>
                    </a:lnTo>
                    <a:lnTo>
                      <a:pt x="240" y="150"/>
                    </a:lnTo>
                    <a:lnTo>
                      <a:pt x="237" y="150"/>
                    </a:lnTo>
                    <a:lnTo>
                      <a:pt x="234" y="153"/>
                    </a:lnTo>
                    <a:lnTo>
                      <a:pt x="233" y="153"/>
                    </a:lnTo>
                    <a:lnTo>
                      <a:pt x="223" y="153"/>
                    </a:lnTo>
                    <a:lnTo>
                      <a:pt x="222" y="155"/>
                    </a:lnTo>
                    <a:lnTo>
                      <a:pt x="220" y="156"/>
                    </a:lnTo>
                    <a:lnTo>
                      <a:pt x="216" y="152"/>
                    </a:lnTo>
                    <a:lnTo>
                      <a:pt x="194" y="148"/>
                    </a:lnTo>
                    <a:lnTo>
                      <a:pt x="192" y="148"/>
                    </a:lnTo>
                    <a:lnTo>
                      <a:pt x="181" y="149"/>
                    </a:lnTo>
                    <a:lnTo>
                      <a:pt x="172" y="155"/>
                    </a:lnTo>
                    <a:lnTo>
                      <a:pt x="169" y="156"/>
                    </a:lnTo>
                    <a:lnTo>
                      <a:pt x="157" y="156"/>
                    </a:lnTo>
                    <a:lnTo>
                      <a:pt x="139" y="153"/>
                    </a:lnTo>
                    <a:lnTo>
                      <a:pt x="120" y="153"/>
                    </a:lnTo>
                    <a:lnTo>
                      <a:pt x="111" y="152"/>
                    </a:lnTo>
                    <a:lnTo>
                      <a:pt x="104" y="152"/>
                    </a:lnTo>
                    <a:lnTo>
                      <a:pt x="92" y="153"/>
                    </a:lnTo>
                    <a:lnTo>
                      <a:pt x="88" y="159"/>
                    </a:lnTo>
                    <a:lnTo>
                      <a:pt x="88" y="164"/>
                    </a:lnTo>
                    <a:lnTo>
                      <a:pt x="91" y="170"/>
                    </a:lnTo>
                    <a:lnTo>
                      <a:pt x="93" y="172"/>
                    </a:lnTo>
                    <a:lnTo>
                      <a:pt x="92" y="177"/>
                    </a:lnTo>
                    <a:lnTo>
                      <a:pt x="95" y="178"/>
                    </a:lnTo>
                    <a:lnTo>
                      <a:pt x="94" y="187"/>
                    </a:lnTo>
                    <a:lnTo>
                      <a:pt x="96" y="193"/>
                    </a:lnTo>
                    <a:lnTo>
                      <a:pt x="95" y="200"/>
                    </a:lnTo>
                    <a:lnTo>
                      <a:pt x="96" y="204"/>
                    </a:lnTo>
                    <a:lnTo>
                      <a:pt x="98" y="210"/>
                    </a:lnTo>
                    <a:lnTo>
                      <a:pt x="96" y="211"/>
                    </a:lnTo>
                    <a:lnTo>
                      <a:pt x="93" y="211"/>
                    </a:lnTo>
                    <a:lnTo>
                      <a:pt x="91" y="210"/>
                    </a:lnTo>
                    <a:lnTo>
                      <a:pt x="87" y="203"/>
                    </a:lnTo>
                    <a:lnTo>
                      <a:pt x="86" y="200"/>
                    </a:lnTo>
                    <a:lnTo>
                      <a:pt x="82" y="198"/>
                    </a:lnTo>
                    <a:lnTo>
                      <a:pt x="79" y="193"/>
                    </a:lnTo>
                    <a:lnTo>
                      <a:pt x="78" y="193"/>
                    </a:lnTo>
                    <a:lnTo>
                      <a:pt x="75" y="195"/>
                    </a:lnTo>
                    <a:lnTo>
                      <a:pt x="66" y="193"/>
                    </a:lnTo>
                    <a:lnTo>
                      <a:pt x="61" y="191"/>
                    </a:lnTo>
                    <a:lnTo>
                      <a:pt x="55" y="194"/>
                    </a:lnTo>
                    <a:lnTo>
                      <a:pt x="46" y="196"/>
                    </a:lnTo>
                    <a:lnTo>
                      <a:pt x="40" y="198"/>
                    </a:lnTo>
                    <a:lnTo>
                      <a:pt x="37" y="198"/>
                    </a:lnTo>
                    <a:lnTo>
                      <a:pt x="34" y="203"/>
                    </a:lnTo>
                    <a:lnTo>
                      <a:pt x="33" y="205"/>
                    </a:lnTo>
                    <a:lnTo>
                      <a:pt x="27" y="203"/>
                    </a:lnTo>
                    <a:lnTo>
                      <a:pt x="25" y="200"/>
                    </a:lnTo>
                    <a:lnTo>
                      <a:pt x="24" y="200"/>
                    </a:lnTo>
                    <a:lnTo>
                      <a:pt x="24" y="201"/>
                    </a:lnTo>
                    <a:lnTo>
                      <a:pt x="21" y="201"/>
                    </a:lnTo>
                    <a:lnTo>
                      <a:pt x="21" y="203"/>
                    </a:lnTo>
                    <a:lnTo>
                      <a:pt x="15" y="200"/>
                    </a:lnTo>
                    <a:lnTo>
                      <a:pt x="15" y="197"/>
                    </a:lnTo>
                    <a:lnTo>
                      <a:pt x="12" y="195"/>
                    </a:lnTo>
                    <a:lnTo>
                      <a:pt x="10" y="195"/>
                    </a:lnTo>
                    <a:lnTo>
                      <a:pt x="10" y="191"/>
                    </a:lnTo>
                    <a:lnTo>
                      <a:pt x="10" y="189"/>
                    </a:lnTo>
                    <a:lnTo>
                      <a:pt x="7" y="188"/>
                    </a:lnTo>
                    <a:lnTo>
                      <a:pt x="5" y="185"/>
                    </a:lnTo>
                    <a:lnTo>
                      <a:pt x="3" y="184"/>
                    </a:lnTo>
                    <a:lnTo>
                      <a:pt x="3" y="182"/>
                    </a:lnTo>
                    <a:lnTo>
                      <a:pt x="3" y="179"/>
                    </a:lnTo>
                    <a:lnTo>
                      <a:pt x="2" y="178"/>
                    </a:lnTo>
                    <a:lnTo>
                      <a:pt x="0" y="178"/>
                    </a:lnTo>
                    <a:lnTo>
                      <a:pt x="0" y="170"/>
                    </a:lnTo>
                    <a:lnTo>
                      <a:pt x="0" y="160"/>
                    </a:lnTo>
                    <a:lnTo>
                      <a:pt x="0" y="153"/>
                    </a:lnTo>
                    <a:lnTo>
                      <a:pt x="7" y="142"/>
                    </a:lnTo>
                    <a:lnTo>
                      <a:pt x="7" y="134"/>
                    </a:lnTo>
                    <a:lnTo>
                      <a:pt x="11" y="127"/>
                    </a:lnTo>
                    <a:lnTo>
                      <a:pt x="13" y="124"/>
                    </a:lnTo>
                    <a:lnTo>
                      <a:pt x="20" y="119"/>
                    </a:lnTo>
                    <a:lnTo>
                      <a:pt x="31" y="111"/>
                    </a:lnTo>
                    <a:lnTo>
                      <a:pt x="37" y="104"/>
                    </a:lnTo>
                    <a:lnTo>
                      <a:pt x="41" y="91"/>
                    </a:lnTo>
                    <a:lnTo>
                      <a:pt x="44" y="81"/>
                    </a:lnTo>
                    <a:lnTo>
                      <a:pt x="48" y="73"/>
                    </a:lnTo>
                    <a:lnTo>
                      <a:pt x="51" y="69"/>
                    </a:lnTo>
                    <a:lnTo>
                      <a:pt x="58" y="65"/>
                    </a:lnTo>
                    <a:lnTo>
                      <a:pt x="61" y="65"/>
                    </a:lnTo>
                    <a:lnTo>
                      <a:pt x="70" y="63"/>
                    </a:lnTo>
                    <a:lnTo>
                      <a:pt x="79" y="61"/>
                    </a:lnTo>
                    <a:lnTo>
                      <a:pt x="106" y="53"/>
                    </a:lnTo>
                    <a:lnTo>
                      <a:pt x="118" y="44"/>
                    </a:lnTo>
                    <a:lnTo>
                      <a:pt x="127" y="34"/>
                    </a:lnTo>
                    <a:lnTo>
                      <a:pt x="153" y="17"/>
                    </a:lnTo>
                    <a:lnTo>
                      <a:pt x="164" y="8"/>
                    </a:lnTo>
                    <a:lnTo>
                      <a:pt x="169" y="5"/>
                    </a:lnTo>
                    <a:lnTo>
                      <a:pt x="183" y="0"/>
                    </a:lnTo>
                    <a:lnTo>
                      <a:pt x="207" y="0"/>
                    </a:lnTo>
                    <a:lnTo>
                      <a:pt x="205" y="3"/>
                    </a:lnTo>
                    <a:lnTo>
                      <a:pt x="205" y="11"/>
                    </a:lnTo>
                    <a:lnTo>
                      <a:pt x="202" y="18"/>
                    </a:lnTo>
                    <a:lnTo>
                      <a:pt x="204" y="18"/>
                    </a:lnTo>
                    <a:lnTo>
                      <a:pt x="211" y="24"/>
                    </a:lnTo>
                    <a:lnTo>
                      <a:pt x="212" y="27"/>
                    </a:lnTo>
                    <a:lnTo>
                      <a:pt x="212" y="33"/>
                    </a:lnTo>
                    <a:lnTo>
                      <a:pt x="212" y="38"/>
                    </a:lnTo>
                    <a:lnTo>
                      <a:pt x="222" y="47"/>
                    </a:lnTo>
                    <a:lnTo>
                      <a:pt x="233" y="58"/>
                    </a:lnTo>
                    <a:lnTo>
                      <a:pt x="238" y="63"/>
                    </a:lnTo>
                    <a:lnTo>
                      <a:pt x="243" y="73"/>
                    </a:lnTo>
                    <a:lnTo>
                      <a:pt x="245" y="78"/>
                    </a:lnTo>
                    <a:lnTo>
                      <a:pt x="253" y="87"/>
                    </a:lnTo>
                    <a:lnTo>
                      <a:pt x="257" y="89"/>
                    </a:lnTo>
                    <a:lnTo>
                      <a:pt x="265" y="91"/>
                    </a:lnTo>
                    <a:lnTo>
                      <a:pt x="267" y="91"/>
                    </a:lnTo>
                    <a:lnTo>
                      <a:pt x="270" y="91"/>
                    </a:lnTo>
                    <a:lnTo>
                      <a:pt x="275" y="87"/>
                    </a:lnTo>
                    <a:lnTo>
                      <a:pt x="278" y="87"/>
                    </a:lnTo>
                    <a:lnTo>
                      <a:pt x="281" y="88"/>
                    </a:lnTo>
                    <a:lnTo>
                      <a:pt x="286" y="96"/>
                    </a:lnTo>
                    <a:lnTo>
                      <a:pt x="287" y="97"/>
                    </a:lnTo>
                    <a:lnTo>
                      <a:pt x="286" y="99"/>
                    </a:lnTo>
                    <a:lnTo>
                      <a:pt x="282" y="98"/>
                    </a:lnTo>
                    <a:lnTo>
                      <a:pt x="280" y="99"/>
                    </a:lnTo>
                    <a:lnTo>
                      <a:pt x="279" y="101"/>
                    </a:lnTo>
                    <a:lnTo>
                      <a:pt x="280" y="104"/>
                    </a:lnTo>
                    <a:lnTo>
                      <a:pt x="285" y="109"/>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2" name="Freeform 48"/>
              <p:cNvSpPr>
                <a:spLocks/>
              </p:cNvSpPr>
              <p:nvPr/>
            </p:nvSpPr>
            <p:spPr bwMode="auto">
              <a:xfrm>
                <a:off x="652" y="2006"/>
                <a:ext cx="306" cy="223"/>
              </a:xfrm>
              <a:custGeom>
                <a:avLst/>
                <a:gdLst>
                  <a:gd name="T0" fmla="*/ 5627 w 286"/>
                  <a:gd name="T1" fmla="*/ 3771 h 212"/>
                  <a:gd name="T2" fmla="*/ 4471 w 286"/>
                  <a:gd name="T3" fmla="*/ 3247 h 212"/>
                  <a:gd name="T4" fmla="*/ 2126 w 286"/>
                  <a:gd name="T5" fmla="*/ 2738 h 212"/>
                  <a:gd name="T6" fmla="*/ 1076 w 286"/>
                  <a:gd name="T7" fmla="*/ 1954 h 212"/>
                  <a:gd name="T8" fmla="*/ 4 w 286"/>
                  <a:gd name="T9" fmla="*/ 2127 h 212"/>
                  <a:gd name="T10" fmla="*/ 879 w 286"/>
                  <a:gd name="T11" fmla="*/ 1682 h 212"/>
                  <a:gd name="T12" fmla="*/ 3906 w 286"/>
                  <a:gd name="T13" fmla="*/ 1107 h 212"/>
                  <a:gd name="T14" fmla="*/ 3906 w 286"/>
                  <a:gd name="T15" fmla="*/ 526 h 212"/>
                  <a:gd name="T16" fmla="*/ 4915 w 286"/>
                  <a:gd name="T17" fmla="*/ 352 h 212"/>
                  <a:gd name="T18" fmla="*/ 5828 w 286"/>
                  <a:gd name="T19" fmla="*/ 2 h 212"/>
                  <a:gd name="T20" fmla="*/ 7276 w 286"/>
                  <a:gd name="T21" fmla="*/ 9 h 212"/>
                  <a:gd name="T22" fmla="*/ 8743 w 286"/>
                  <a:gd name="T23" fmla="*/ 352 h 212"/>
                  <a:gd name="T24" fmla="*/ 10624 w 286"/>
                  <a:gd name="T25" fmla="*/ 335 h 212"/>
                  <a:gd name="T26" fmla="*/ 12550 w 286"/>
                  <a:gd name="T27" fmla="*/ 318 h 212"/>
                  <a:gd name="T28" fmla="*/ 12327 w 286"/>
                  <a:gd name="T29" fmla="*/ 644 h 212"/>
                  <a:gd name="T30" fmla="*/ 13959 w 286"/>
                  <a:gd name="T31" fmla="*/ 475 h 212"/>
                  <a:gd name="T32" fmla="*/ 15218 w 286"/>
                  <a:gd name="T33" fmla="*/ 582 h 212"/>
                  <a:gd name="T34" fmla="*/ 17096 w 286"/>
                  <a:gd name="T35" fmla="*/ 582 h 212"/>
                  <a:gd name="T36" fmla="*/ 19305 w 286"/>
                  <a:gd name="T37" fmla="*/ 389 h 212"/>
                  <a:gd name="T38" fmla="*/ 19786 w 286"/>
                  <a:gd name="T39" fmla="*/ 318 h 212"/>
                  <a:gd name="T40" fmla="*/ 20329 w 286"/>
                  <a:gd name="T41" fmla="*/ 475 h 212"/>
                  <a:gd name="T42" fmla="*/ 20809 w 286"/>
                  <a:gd name="T43" fmla="*/ 677 h 212"/>
                  <a:gd name="T44" fmla="*/ 21554 w 286"/>
                  <a:gd name="T45" fmla="*/ 1288 h 212"/>
                  <a:gd name="T46" fmla="*/ 22264 w 286"/>
                  <a:gd name="T47" fmla="*/ 1520 h 212"/>
                  <a:gd name="T48" fmla="*/ 21522 w 286"/>
                  <a:gd name="T49" fmla="*/ 1745 h 212"/>
                  <a:gd name="T50" fmla="*/ 22522 w 286"/>
                  <a:gd name="T51" fmla="*/ 1766 h 212"/>
                  <a:gd name="T52" fmla="*/ 23456 w 286"/>
                  <a:gd name="T53" fmla="*/ 2521 h 212"/>
                  <a:gd name="T54" fmla="*/ 23456 w 286"/>
                  <a:gd name="T55" fmla="*/ 2880 h 212"/>
                  <a:gd name="T56" fmla="*/ 23159 w 286"/>
                  <a:gd name="T57" fmla="*/ 3504 h 212"/>
                  <a:gd name="T58" fmla="*/ 24619 w 286"/>
                  <a:gd name="T59" fmla="*/ 3912 h 212"/>
                  <a:gd name="T60" fmla="*/ 24011 w 286"/>
                  <a:gd name="T61" fmla="*/ 4290 h 212"/>
                  <a:gd name="T62" fmla="*/ 24643 w 286"/>
                  <a:gd name="T63" fmla="*/ 4554 h 212"/>
                  <a:gd name="T64" fmla="*/ 24011 w 286"/>
                  <a:gd name="T65" fmla="*/ 4625 h 212"/>
                  <a:gd name="T66" fmla="*/ 23027 w 286"/>
                  <a:gd name="T67" fmla="*/ 4625 h 212"/>
                  <a:gd name="T68" fmla="*/ 23644 w 286"/>
                  <a:gd name="T69" fmla="*/ 4865 h 212"/>
                  <a:gd name="T70" fmla="*/ 23596 w 286"/>
                  <a:gd name="T71" fmla="*/ 5082 h 212"/>
                  <a:gd name="T72" fmla="*/ 22264 w 286"/>
                  <a:gd name="T73" fmla="*/ 5558 h 212"/>
                  <a:gd name="T74" fmla="*/ 21170 w 286"/>
                  <a:gd name="T75" fmla="*/ 5654 h 212"/>
                  <a:gd name="T76" fmla="*/ 19942 w 286"/>
                  <a:gd name="T77" fmla="*/ 5956 h 212"/>
                  <a:gd name="T78" fmla="*/ 18800 w 286"/>
                  <a:gd name="T79" fmla="*/ 5846 h 212"/>
                  <a:gd name="T80" fmla="*/ 19305 w 286"/>
                  <a:gd name="T81" fmla="*/ 5311 h 212"/>
                  <a:gd name="T82" fmla="*/ 18246 w 286"/>
                  <a:gd name="T83" fmla="*/ 4625 h 212"/>
                  <a:gd name="T84" fmla="*/ 17186 w 286"/>
                  <a:gd name="T85" fmla="*/ 4618 h 212"/>
                  <a:gd name="T86" fmla="*/ 16154 w 286"/>
                  <a:gd name="T87" fmla="*/ 4625 h 212"/>
                  <a:gd name="T88" fmla="*/ 15350 w 286"/>
                  <a:gd name="T89" fmla="*/ 4625 h 212"/>
                  <a:gd name="T90" fmla="*/ 15218 w 286"/>
                  <a:gd name="T91" fmla="*/ 4338 h 212"/>
                  <a:gd name="T92" fmla="*/ 14896 w 286"/>
                  <a:gd name="T93" fmla="*/ 3912 h 212"/>
                  <a:gd name="T94" fmla="*/ 14896 w 286"/>
                  <a:gd name="T95" fmla="*/ 3677 h 212"/>
                  <a:gd name="T96" fmla="*/ 14032 w 286"/>
                  <a:gd name="T97" fmla="*/ 3369 h 212"/>
                  <a:gd name="T98" fmla="*/ 12965 w 286"/>
                  <a:gd name="T99" fmla="*/ 3011 h 212"/>
                  <a:gd name="T100" fmla="*/ 9844 w 286"/>
                  <a:gd name="T101" fmla="*/ 3080 h 212"/>
                  <a:gd name="T102" fmla="*/ 8743 w 286"/>
                  <a:gd name="T103" fmla="*/ 3203 h 212"/>
                  <a:gd name="T104" fmla="*/ 7679 w 286"/>
                  <a:gd name="T105" fmla="*/ 3708 h 2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6"/>
                  <a:gd name="T160" fmla="*/ 0 h 212"/>
                  <a:gd name="T161" fmla="*/ 286 w 286"/>
                  <a:gd name="T162" fmla="*/ 212 h 2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6" h="212">
                    <a:moveTo>
                      <a:pt x="79" y="139"/>
                    </a:moveTo>
                    <a:lnTo>
                      <a:pt x="74" y="139"/>
                    </a:lnTo>
                    <a:lnTo>
                      <a:pt x="70" y="139"/>
                    </a:lnTo>
                    <a:lnTo>
                      <a:pt x="68" y="138"/>
                    </a:lnTo>
                    <a:lnTo>
                      <a:pt x="65" y="134"/>
                    </a:lnTo>
                    <a:lnTo>
                      <a:pt x="63" y="131"/>
                    </a:lnTo>
                    <a:lnTo>
                      <a:pt x="61" y="128"/>
                    </a:lnTo>
                    <a:lnTo>
                      <a:pt x="58" y="124"/>
                    </a:lnTo>
                    <a:lnTo>
                      <a:pt x="52" y="123"/>
                    </a:lnTo>
                    <a:lnTo>
                      <a:pt x="52" y="116"/>
                    </a:lnTo>
                    <a:lnTo>
                      <a:pt x="47" y="109"/>
                    </a:lnTo>
                    <a:lnTo>
                      <a:pt x="39" y="106"/>
                    </a:lnTo>
                    <a:lnTo>
                      <a:pt x="34" y="102"/>
                    </a:lnTo>
                    <a:lnTo>
                      <a:pt x="29" y="100"/>
                    </a:lnTo>
                    <a:lnTo>
                      <a:pt x="25" y="97"/>
                    </a:lnTo>
                    <a:lnTo>
                      <a:pt x="22" y="88"/>
                    </a:lnTo>
                    <a:lnTo>
                      <a:pt x="22" y="80"/>
                    </a:lnTo>
                    <a:lnTo>
                      <a:pt x="20" y="78"/>
                    </a:lnTo>
                    <a:lnTo>
                      <a:pt x="15" y="78"/>
                    </a:lnTo>
                    <a:lnTo>
                      <a:pt x="13" y="69"/>
                    </a:lnTo>
                    <a:lnTo>
                      <a:pt x="13" y="68"/>
                    </a:lnTo>
                    <a:lnTo>
                      <a:pt x="10" y="69"/>
                    </a:lnTo>
                    <a:lnTo>
                      <a:pt x="7" y="75"/>
                    </a:lnTo>
                    <a:lnTo>
                      <a:pt x="6" y="75"/>
                    </a:lnTo>
                    <a:lnTo>
                      <a:pt x="4" y="75"/>
                    </a:lnTo>
                    <a:lnTo>
                      <a:pt x="1" y="73"/>
                    </a:lnTo>
                    <a:lnTo>
                      <a:pt x="0" y="68"/>
                    </a:lnTo>
                    <a:lnTo>
                      <a:pt x="4" y="66"/>
                    </a:lnTo>
                    <a:lnTo>
                      <a:pt x="8" y="63"/>
                    </a:lnTo>
                    <a:lnTo>
                      <a:pt x="10" y="61"/>
                    </a:lnTo>
                    <a:lnTo>
                      <a:pt x="13" y="55"/>
                    </a:lnTo>
                    <a:lnTo>
                      <a:pt x="15" y="50"/>
                    </a:lnTo>
                    <a:lnTo>
                      <a:pt x="20" y="46"/>
                    </a:lnTo>
                    <a:lnTo>
                      <a:pt x="32" y="40"/>
                    </a:lnTo>
                    <a:lnTo>
                      <a:pt x="46" y="40"/>
                    </a:lnTo>
                    <a:lnTo>
                      <a:pt x="48" y="39"/>
                    </a:lnTo>
                    <a:lnTo>
                      <a:pt x="54" y="39"/>
                    </a:lnTo>
                    <a:lnTo>
                      <a:pt x="52" y="25"/>
                    </a:lnTo>
                    <a:lnTo>
                      <a:pt x="51" y="22"/>
                    </a:lnTo>
                    <a:lnTo>
                      <a:pt x="46" y="20"/>
                    </a:lnTo>
                    <a:lnTo>
                      <a:pt x="47" y="18"/>
                    </a:lnTo>
                    <a:lnTo>
                      <a:pt x="49" y="17"/>
                    </a:lnTo>
                    <a:lnTo>
                      <a:pt x="52" y="17"/>
                    </a:lnTo>
                    <a:lnTo>
                      <a:pt x="55" y="15"/>
                    </a:lnTo>
                    <a:lnTo>
                      <a:pt x="57" y="12"/>
                    </a:lnTo>
                    <a:lnTo>
                      <a:pt x="57" y="9"/>
                    </a:lnTo>
                    <a:lnTo>
                      <a:pt x="54" y="4"/>
                    </a:lnTo>
                    <a:lnTo>
                      <a:pt x="54" y="0"/>
                    </a:lnTo>
                    <a:lnTo>
                      <a:pt x="64" y="0"/>
                    </a:lnTo>
                    <a:lnTo>
                      <a:pt x="67" y="2"/>
                    </a:lnTo>
                    <a:lnTo>
                      <a:pt x="72" y="1"/>
                    </a:lnTo>
                    <a:lnTo>
                      <a:pt x="77" y="2"/>
                    </a:lnTo>
                    <a:lnTo>
                      <a:pt x="79" y="4"/>
                    </a:lnTo>
                    <a:lnTo>
                      <a:pt x="79" y="9"/>
                    </a:lnTo>
                    <a:lnTo>
                      <a:pt x="84" y="9"/>
                    </a:lnTo>
                    <a:lnTo>
                      <a:pt x="85" y="7"/>
                    </a:lnTo>
                    <a:lnTo>
                      <a:pt x="86" y="7"/>
                    </a:lnTo>
                    <a:lnTo>
                      <a:pt x="90" y="10"/>
                    </a:lnTo>
                    <a:lnTo>
                      <a:pt x="95" y="10"/>
                    </a:lnTo>
                    <a:lnTo>
                      <a:pt x="101" y="12"/>
                    </a:lnTo>
                    <a:lnTo>
                      <a:pt x="103" y="11"/>
                    </a:lnTo>
                    <a:lnTo>
                      <a:pt x="106" y="14"/>
                    </a:lnTo>
                    <a:lnTo>
                      <a:pt x="111" y="14"/>
                    </a:lnTo>
                    <a:lnTo>
                      <a:pt x="116" y="11"/>
                    </a:lnTo>
                    <a:lnTo>
                      <a:pt x="122" y="11"/>
                    </a:lnTo>
                    <a:lnTo>
                      <a:pt x="124" y="11"/>
                    </a:lnTo>
                    <a:lnTo>
                      <a:pt x="131" y="12"/>
                    </a:lnTo>
                    <a:lnTo>
                      <a:pt x="134" y="11"/>
                    </a:lnTo>
                    <a:lnTo>
                      <a:pt x="139" y="10"/>
                    </a:lnTo>
                    <a:lnTo>
                      <a:pt x="146" y="10"/>
                    </a:lnTo>
                    <a:lnTo>
                      <a:pt x="143" y="12"/>
                    </a:lnTo>
                    <a:lnTo>
                      <a:pt x="143" y="14"/>
                    </a:lnTo>
                    <a:lnTo>
                      <a:pt x="141" y="18"/>
                    </a:lnTo>
                    <a:lnTo>
                      <a:pt x="140" y="20"/>
                    </a:lnTo>
                    <a:lnTo>
                      <a:pt x="143" y="24"/>
                    </a:lnTo>
                    <a:lnTo>
                      <a:pt x="147" y="25"/>
                    </a:lnTo>
                    <a:lnTo>
                      <a:pt x="150" y="25"/>
                    </a:lnTo>
                    <a:lnTo>
                      <a:pt x="153" y="22"/>
                    </a:lnTo>
                    <a:lnTo>
                      <a:pt x="158" y="19"/>
                    </a:lnTo>
                    <a:lnTo>
                      <a:pt x="161" y="18"/>
                    </a:lnTo>
                    <a:lnTo>
                      <a:pt x="163" y="20"/>
                    </a:lnTo>
                    <a:lnTo>
                      <a:pt x="169" y="29"/>
                    </a:lnTo>
                    <a:lnTo>
                      <a:pt x="172" y="29"/>
                    </a:lnTo>
                    <a:lnTo>
                      <a:pt x="175" y="27"/>
                    </a:lnTo>
                    <a:lnTo>
                      <a:pt x="176" y="22"/>
                    </a:lnTo>
                    <a:lnTo>
                      <a:pt x="181" y="22"/>
                    </a:lnTo>
                    <a:lnTo>
                      <a:pt x="184" y="18"/>
                    </a:lnTo>
                    <a:lnTo>
                      <a:pt x="185" y="18"/>
                    </a:lnTo>
                    <a:lnTo>
                      <a:pt x="191" y="19"/>
                    </a:lnTo>
                    <a:lnTo>
                      <a:pt x="197" y="22"/>
                    </a:lnTo>
                    <a:lnTo>
                      <a:pt x="208" y="25"/>
                    </a:lnTo>
                    <a:lnTo>
                      <a:pt x="209" y="22"/>
                    </a:lnTo>
                    <a:lnTo>
                      <a:pt x="210" y="19"/>
                    </a:lnTo>
                    <a:lnTo>
                      <a:pt x="219" y="15"/>
                    </a:lnTo>
                    <a:lnTo>
                      <a:pt x="222" y="14"/>
                    </a:lnTo>
                    <a:lnTo>
                      <a:pt x="222" y="8"/>
                    </a:lnTo>
                    <a:lnTo>
                      <a:pt x="222" y="7"/>
                    </a:lnTo>
                    <a:lnTo>
                      <a:pt x="224" y="7"/>
                    </a:lnTo>
                    <a:lnTo>
                      <a:pt x="229" y="10"/>
                    </a:lnTo>
                    <a:lnTo>
                      <a:pt x="232" y="8"/>
                    </a:lnTo>
                    <a:lnTo>
                      <a:pt x="233" y="8"/>
                    </a:lnTo>
                    <a:lnTo>
                      <a:pt x="237" y="9"/>
                    </a:lnTo>
                    <a:lnTo>
                      <a:pt x="237" y="10"/>
                    </a:lnTo>
                    <a:lnTo>
                      <a:pt x="235" y="18"/>
                    </a:lnTo>
                    <a:lnTo>
                      <a:pt x="237" y="19"/>
                    </a:lnTo>
                    <a:lnTo>
                      <a:pt x="239" y="19"/>
                    </a:lnTo>
                    <a:lnTo>
                      <a:pt x="240" y="20"/>
                    </a:lnTo>
                    <a:lnTo>
                      <a:pt x="240" y="24"/>
                    </a:lnTo>
                    <a:lnTo>
                      <a:pt x="240" y="25"/>
                    </a:lnTo>
                    <a:lnTo>
                      <a:pt x="242" y="29"/>
                    </a:lnTo>
                    <a:lnTo>
                      <a:pt x="242" y="40"/>
                    </a:lnTo>
                    <a:lnTo>
                      <a:pt x="244" y="40"/>
                    </a:lnTo>
                    <a:lnTo>
                      <a:pt x="247" y="39"/>
                    </a:lnTo>
                    <a:lnTo>
                      <a:pt x="250" y="46"/>
                    </a:lnTo>
                    <a:lnTo>
                      <a:pt x="252" y="47"/>
                    </a:lnTo>
                    <a:lnTo>
                      <a:pt x="255" y="50"/>
                    </a:lnTo>
                    <a:lnTo>
                      <a:pt x="259" y="50"/>
                    </a:lnTo>
                    <a:lnTo>
                      <a:pt x="259" y="55"/>
                    </a:lnTo>
                    <a:lnTo>
                      <a:pt x="257" y="55"/>
                    </a:lnTo>
                    <a:lnTo>
                      <a:pt x="256" y="56"/>
                    </a:lnTo>
                    <a:lnTo>
                      <a:pt x="252" y="56"/>
                    </a:lnTo>
                    <a:lnTo>
                      <a:pt x="252" y="60"/>
                    </a:lnTo>
                    <a:lnTo>
                      <a:pt x="249" y="61"/>
                    </a:lnTo>
                    <a:lnTo>
                      <a:pt x="248" y="62"/>
                    </a:lnTo>
                    <a:lnTo>
                      <a:pt x="248" y="68"/>
                    </a:lnTo>
                    <a:lnTo>
                      <a:pt x="250" y="68"/>
                    </a:lnTo>
                    <a:lnTo>
                      <a:pt x="254" y="62"/>
                    </a:lnTo>
                    <a:lnTo>
                      <a:pt x="257" y="62"/>
                    </a:lnTo>
                    <a:lnTo>
                      <a:pt x="261" y="63"/>
                    </a:lnTo>
                    <a:lnTo>
                      <a:pt x="261" y="66"/>
                    </a:lnTo>
                    <a:lnTo>
                      <a:pt x="261" y="82"/>
                    </a:lnTo>
                    <a:lnTo>
                      <a:pt x="265" y="87"/>
                    </a:lnTo>
                    <a:lnTo>
                      <a:pt x="268" y="87"/>
                    </a:lnTo>
                    <a:lnTo>
                      <a:pt x="270" y="90"/>
                    </a:lnTo>
                    <a:lnTo>
                      <a:pt x="274" y="92"/>
                    </a:lnTo>
                    <a:lnTo>
                      <a:pt x="274" y="93"/>
                    </a:lnTo>
                    <a:lnTo>
                      <a:pt x="274" y="97"/>
                    </a:lnTo>
                    <a:lnTo>
                      <a:pt x="274" y="98"/>
                    </a:lnTo>
                    <a:lnTo>
                      <a:pt x="270" y="102"/>
                    </a:lnTo>
                    <a:lnTo>
                      <a:pt x="270" y="104"/>
                    </a:lnTo>
                    <a:lnTo>
                      <a:pt x="267" y="106"/>
                    </a:lnTo>
                    <a:lnTo>
                      <a:pt x="268" y="111"/>
                    </a:lnTo>
                    <a:lnTo>
                      <a:pt x="268" y="124"/>
                    </a:lnTo>
                    <a:lnTo>
                      <a:pt x="274" y="128"/>
                    </a:lnTo>
                    <a:lnTo>
                      <a:pt x="278" y="128"/>
                    </a:lnTo>
                    <a:lnTo>
                      <a:pt x="278" y="138"/>
                    </a:lnTo>
                    <a:lnTo>
                      <a:pt x="280" y="136"/>
                    </a:lnTo>
                    <a:lnTo>
                      <a:pt x="283" y="139"/>
                    </a:lnTo>
                    <a:lnTo>
                      <a:pt x="283" y="141"/>
                    </a:lnTo>
                    <a:lnTo>
                      <a:pt x="282" y="142"/>
                    </a:lnTo>
                    <a:lnTo>
                      <a:pt x="278" y="145"/>
                    </a:lnTo>
                    <a:lnTo>
                      <a:pt x="277" y="151"/>
                    </a:lnTo>
                    <a:lnTo>
                      <a:pt x="278" y="151"/>
                    </a:lnTo>
                    <a:lnTo>
                      <a:pt x="280" y="152"/>
                    </a:lnTo>
                    <a:lnTo>
                      <a:pt x="282" y="152"/>
                    </a:lnTo>
                    <a:lnTo>
                      <a:pt x="282" y="156"/>
                    </a:lnTo>
                    <a:lnTo>
                      <a:pt x="285" y="159"/>
                    </a:lnTo>
                    <a:lnTo>
                      <a:pt x="285" y="162"/>
                    </a:lnTo>
                    <a:lnTo>
                      <a:pt x="286" y="168"/>
                    </a:lnTo>
                    <a:lnTo>
                      <a:pt x="285" y="168"/>
                    </a:lnTo>
                    <a:lnTo>
                      <a:pt x="282" y="165"/>
                    </a:lnTo>
                    <a:lnTo>
                      <a:pt x="280" y="165"/>
                    </a:lnTo>
                    <a:lnTo>
                      <a:pt x="278" y="165"/>
                    </a:lnTo>
                    <a:lnTo>
                      <a:pt x="277" y="162"/>
                    </a:lnTo>
                    <a:lnTo>
                      <a:pt x="270" y="161"/>
                    </a:lnTo>
                    <a:lnTo>
                      <a:pt x="264" y="164"/>
                    </a:lnTo>
                    <a:lnTo>
                      <a:pt x="264" y="165"/>
                    </a:lnTo>
                    <a:lnTo>
                      <a:pt x="265" y="165"/>
                    </a:lnTo>
                    <a:lnTo>
                      <a:pt x="267" y="168"/>
                    </a:lnTo>
                    <a:lnTo>
                      <a:pt x="264" y="171"/>
                    </a:lnTo>
                    <a:lnTo>
                      <a:pt x="265" y="174"/>
                    </a:lnTo>
                    <a:lnTo>
                      <a:pt x="271" y="172"/>
                    </a:lnTo>
                    <a:lnTo>
                      <a:pt x="273" y="174"/>
                    </a:lnTo>
                    <a:lnTo>
                      <a:pt x="273" y="176"/>
                    </a:lnTo>
                    <a:lnTo>
                      <a:pt x="273" y="177"/>
                    </a:lnTo>
                    <a:lnTo>
                      <a:pt x="274" y="177"/>
                    </a:lnTo>
                    <a:lnTo>
                      <a:pt x="274" y="179"/>
                    </a:lnTo>
                    <a:lnTo>
                      <a:pt x="272" y="181"/>
                    </a:lnTo>
                    <a:lnTo>
                      <a:pt x="271" y="186"/>
                    </a:lnTo>
                    <a:lnTo>
                      <a:pt x="271" y="189"/>
                    </a:lnTo>
                    <a:lnTo>
                      <a:pt x="267" y="196"/>
                    </a:lnTo>
                    <a:lnTo>
                      <a:pt x="267" y="197"/>
                    </a:lnTo>
                    <a:lnTo>
                      <a:pt x="257" y="197"/>
                    </a:lnTo>
                    <a:lnTo>
                      <a:pt x="255" y="199"/>
                    </a:lnTo>
                    <a:lnTo>
                      <a:pt x="252" y="194"/>
                    </a:lnTo>
                    <a:lnTo>
                      <a:pt x="248" y="194"/>
                    </a:lnTo>
                    <a:lnTo>
                      <a:pt x="245" y="197"/>
                    </a:lnTo>
                    <a:lnTo>
                      <a:pt x="245" y="201"/>
                    </a:lnTo>
                    <a:lnTo>
                      <a:pt x="242" y="206"/>
                    </a:lnTo>
                    <a:lnTo>
                      <a:pt x="242" y="209"/>
                    </a:lnTo>
                    <a:lnTo>
                      <a:pt x="237" y="209"/>
                    </a:lnTo>
                    <a:lnTo>
                      <a:pt x="234" y="212"/>
                    </a:lnTo>
                    <a:lnTo>
                      <a:pt x="230" y="212"/>
                    </a:lnTo>
                    <a:lnTo>
                      <a:pt x="227" y="207"/>
                    </a:lnTo>
                    <a:lnTo>
                      <a:pt x="224" y="204"/>
                    </a:lnTo>
                    <a:lnTo>
                      <a:pt x="223" y="203"/>
                    </a:lnTo>
                    <a:lnTo>
                      <a:pt x="219" y="206"/>
                    </a:lnTo>
                    <a:lnTo>
                      <a:pt x="217" y="207"/>
                    </a:lnTo>
                    <a:lnTo>
                      <a:pt x="216" y="206"/>
                    </a:lnTo>
                    <a:lnTo>
                      <a:pt x="216" y="203"/>
                    </a:lnTo>
                    <a:lnTo>
                      <a:pt x="219" y="202"/>
                    </a:lnTo>
                    <a:lnTo>
                      <a:pt x="220" y="199"/>
                    </a:lnTo>
                    <a:lnTo>
                      <a:pt x="222" y="189"/>
                    </a:lnTo>
                    <a:lnTo>
                      <a:pt x="219" y="187"/>
                    </a:lnTo>
                    <a:lnTo>
                      <a:pt x="219" y="177"/>
                    </a:lnTo>
                    <a:lnTo>
                      <a:pt x="216" y="174"/>
                    </a:lnTo>
                    <a:lnTo>
                      <a:pt x="216" y="168"/>
                    </a:lnTo>
                    <a:lnTo>
                      <a:pt x="210" y="165"/>
                    </a:lnTo>
                    <a:lnTo>
                      <a:pt x="208" y="162"/>
                    </a:lnTo>
                    <a:lnTo>
                      <a:pt x="208" y="161"/>
                    </a:lnTo>
                    <a:lnTo>
                      <a:pt x="207" y="160"/>
                    </a:lnTo>
                    <a:lnTo>
                      <a:pt x="201" y="162"/>
                    </a:lnTo>
                    <a:lnTo>
                      <a:pt x="199" y="164"/>
                    </a:lnTo>
                    <a:lnTo>
                      <a:pt x="197" y="164"/>
                    </a:lnTo>
                    <a:lnTo>
                      <a:pt x="194" y="161"/>
                    </a:lnTo>
                    <a:lnTo>
                      <a:pt x="191" y="160"/>
                    </a:lnTo>
                    <a:lnTo>
                      <a:pt x="188" y="161"/>
                    </a:lnTo>
                    <a:lnTo>
                      <a:pt x="187" y="165"/>
                    </a:lnTo>
                    <a:lnTo>
                      <a:pt x="184" y="165"/>
                    </a:lnTo>
                    <a:lnTo>
                      <a:pt x="184" y="164"/>
                    </a:lnTo>
                    <a:lnTo>
                      <a:pt x="184" y="161"/>
                    </a:lnTo>
                    <a:lnTo>
                      <a:pt x="182" y="161"/>
                    </a:lnTo>
                    <a:lnTo>
                      <a:pt x="178" y="165"/>
                    </a:lnTo>
                    <a:lnTo>
                      <a:pt x="170" y="168"/>
                    </a:lnTo>
                    <a:lnTo>
                      <a:pt x="170" y="167"/>
                    </a:lnTo>
                    <a:lnTo>
                      <a:pt x="171" y="162"/>
                    </a:lnTo>
                    <a:lnTo>
                      <a:pt x="173" y="155"/>
                    </a:lnTo>
                    <a:lnTo>
                      <a:pt x="176" y="155"/>
                    </a:lnTo>
                    <a:lnTo>
                      <a:pt x="176" y="153"/>
                    </a:lnTo>
                    <a:lnTo>
                      <a:pt x="175" y="145"/>
                    </a:lnTo>
                    <a:lnTo>
                      <a:pt x="175" y="143"/>
                    </a:lnTo>
                    <a:lnTo>
                      <a:pt x="172" y="141"/>
                    </a:lnTo>
                    <a:lnTo>
                      <a:pt x="171" y="139"/>
                    </a:lnTo>
                    <a:lnTo>
                      <a:pt x="170" y="136"/>
                    </a:lnTo>
                    <a:lnTo>
                      <a:pt x="171" y="134"/>
                    </a:lnTo>
                    <a:lnTo>
                      <a:pt x="170" y="131"/>
                    </a:lnTo>
                    <a:lnTo>
                      <a:pt x="171" y="131"/>
                    </a:lnTo>
                    <a:lnTo>
                      <a:pt x="171" y="129"/>
                    </a:lnTo>
                    <a:lnTo>
                      <a:pt x="169" y="128"/>
                    </a:lnTo>
                    <a:lnTo>
                      <a:pt x="165" y="126"/>
                    </a:lnTo>
                    <a:lnTo>
                      <a:pt x="163" y="124"/>
                    </a:lnTo>
                    <a:lnTo>
                      <a:pt x="165" y="123"/>
                    </a:lnTo>
                    <a:lnTo>
                      <a:pt x="163" y="120"/>
                    </a:lnTo>
                    <a:lnTo>
                      <a:pt x="161" y="118"/>
                    </a:lnTo>
                    <a:lnTo>
                      <a:pt x="158" y="116"/>
                    </a:lnTo>
                    <a:lnTo>
                      <a:pt x="156" y="113"/>
                    </a:lnTo>
                    <a:lnTo>
                      <a:pt x="151" y="110"/>
                    </a:lnTo>
                    <a:lnTo>
                      <a:pt x="149" y="106"/>
                    </a:lnTo>
                    <a:lnTo>
                      <a:pt x="140" y="104"/>
                    </a:lnTo>
                    <a:lnTo>
                      <a:pt x="122" y="104"/>
                    </a:lnTo>
                    <a:lnTo>
                      <a:pt x="122" y="108"/>
                    </a:lnTo>
                    <a:lnTo>
                      <a:pt x="118" y="108"/>
                    </a:lnTo>
                    <a:lnTo>
                      <a:pt x="113" y="109"/>
                    </a:lnTo>
                    <a:lnTo>
                      <a:pt x="111" y="110"/>
                    </a:lnTo>
                    <a:lnTo>
                      <a:pt x="109" y="108"/>
                    </a:lnTo>
                    <a:lnTo>
                      <a:pt x="102" y="108"/>
                    </a:lnTo>
                    <a:lnTo>
                      <a:pt x="100" y="109"/>
                    </a:lnTo>
                    <a:lnTo>
                      <a:pt x="101" y="114"/>
                    </a:lnTo>
                    <a:lnTo>
                      <a:pt x="97" y="120"/>
                    </a:lnTo>
                    <a:lnTo>
                      <a:pt x="94" y="124"/>
                    </a:lnTo>
                    <a:lnTo>
                      <a:pt x="90" y="128"/>
                    </a:lnTo>
                    <a:lnTo>
                      <a:pt x="90" y="129"/>
                    </a:lnTo>
                    <a:lnTo>
                      <a:pt x="89" y="131"/>
                    </a:lnTo>
                    <a:lnTo>
                      <a:pt x="85" y="131"/>
                    </a:lnTo>
                    <a:lnTo>
                      <a:pt x="82" y="139"/>
                    </a:lnTo>
                    <a:lnTo>
                      <a:pt x="80" y="139"/>
                    </a:lnTo>
                    <a:lnTo>
                      <a:pt x="79" y="139"/>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3" name="Freeform 49"/>
              <p:cNvSpPr>
                <a:spLocks/>
              </p:cNvSpPr>
              <p:nvPr/>
            </p:nvSpPr>
            <p:spPr bwMode="auto">
              <a:xfrm>
                <a:off x="652" y="2006"/>
                <a:ext cx="306" cy="223"/>
              </a:xfrm>
              <a:custGeom>
                <a:avLst/>
                <a:gdLst>
                  <a:gd name="T0" fmla="*/ 5627 w 286"/>
                  <a:gd name="T1" fmla="*/ 3771 h 212"/>
                  <a:gd name="T2" fmla="*/ 4471 w 286"/>
                  <a:gd name="T3" fmla="*/ 3247 h 212"/>
                  <a:gd name="T4" fmla="*/ 2126 w 286"/>
                  <a:gd name="T5" fmla="*/ 2738 h 212"/>
                  <a:gd name="T6" fmla="*/ 1076 w 286"/>
                  <a:gd name="T7" fmla="*/ 1954 h 212"/>
                  <a:gd name="T8" fmla="*/ 4 w 286"/>
                  <a:gd name="T9" fmla="*/ 2127 h 212"/>
                  <a:gd name="T10" fmla="*/ 879 w 286"/>
                  <a:gd name="T11" fmla="*/ 1682 h 212"/>
                  <a:gd name="T12" fmla="*/ 3906 w 286"/>
                  <a:gd name="T13" fmla="*/ 1107 h 212"/>
                  <a:gd name="T14" fmla="*/ 3906 w 286"/>
                  <a:gd name="T15" fmla="*/ 526 h 212"/>
                  <a:gd name="T16" fmla="*/ 4915 w 286"/>
                  <a:gd name="T17" fmla="*/ 352 h 212"/>
                  <a:gd name="T18" fmla="*/ 5828 w 286"/>
                  <a:gd name="T19" fmla="*/ 2 h 212"/>
                  <a:gd name="T20" fmla="*/ 7276 w 286"/>
                  <a:gd name="T21" fmla="*/ 9 h 212"/>
                  <a:gd name="T22" fmla="*/ 8743 w 286"/>
                  <a:gd name="T23" fmla="*/ 352 h 212"/>
                  <a:gd name="T24" fmla="*/ 10624 w 286"/>
                  <a:gd name="T25" fmla="*/ 335 h 212"/>
                  <a:gd name="T26" fmla="*/ 12550 w 286"/>
                  <a:gd name="T27" fmla="*/ 318 h 212"/>
                  <a:gd name="T28" fmla="*/ 12327 w 286"/>
                  <a:gd name="T29" fmla="*/ 644 h 212"/>
                  <a:gd name="T30" fmla="*/ 13959 w 286"/>
                  <a:gd name="T31" fmla="*/ 475 h 212"/>
                  <a:gd name="T32" fmla="*/ 15218 w 286"/>
                  <a:gd name="T33" fmla="*/ 582 h 212"/>
                  <a:gd name="T34" fmla="*/ 17096 w 286"/>
                  <a:gd name="T35" fmla="*/ 582 h 212"/>
                  <a:gd name="T36" fmla="*/ 19305 w 286"/>
                  <a:gd name="T37" fmla="*/ 389 h 212"/>
                  <a:gd name="T38" fmla="*/ 19786 w 286"/>
                  <a:gd name="T39" fmla="*/ 318 h 212"/>
                  <a:gd name="T40" fmla="*/ 20329 w 286"/>
                  <a:gd name="T41" fmla="*/ 475 h 212"/>
                  <a:gd name="T42" fmla="*/ 20809 w 286"/>
                  <a:gd name="T43" fmla="*/ 677 h 212"/>
                  <a:gd name="T44" fmla="*/ 21554 w 286"/>
                  <a:gd name="T45" fmla="*/ 1288 h 212"/>
                  <a:gd name="T46" fmla="*/ 22264 w 286"/>
                  <a:gd name="T47" fmla="*/ 1520 h 212"/>
                  <a:gd name="T48" fmla="*/ 21522 w 286"/>
                  <a:gd name="T49" fmla="*/ 1745 h 212"/>
                  <a:gd name="T50" fmla="*/ 22522 w 286"/>
                  <a:gd name="T51" fmla="*/ 1766 h 212"/>
                  <a:gd name="T52" fmla="*/ 23456 w 286"/>
                  <a:gd name="T53" fmla="*/ 2521 h 212"/>
                  <a:gd name="T54" fmla="*/ 23456 w 286"/>
                  <a:gd name="T55" fmla="*/ 2880 h 212"/>
                  <a:gd name="T56" fmla="*/ 23159 w 286"/>
                  <a:gd name="T57" fmla="*/ 3504 h 212"/>
                  <a:gd name="T58" fmla="*/ 24619 w 286"/>
                  <a:gd name="T59" fmla="*/ 3912 h 212"/>
                  <a:gd name="T60" fmla="*/ 24011 w 286"/>
                  <a:gd name="T61" fmla="*/ 4290 h 212"/>
                  <a:gd name="T62" fmla="*/ 24643 w 286"/>
                  <a:gd name="T63" fmla="*/ 4554 h 212"/>
                  <a:gd name="T64" fmla="*/ 24011 w 286"/>
                  <a:gd name="T65" fmla="*/ 4625 h 212"/>
                  <a:gd name="T66" fmla="*/ 23027 w 286"/>
                  <a:gd name="T67" fmla="*/ 4625 h 212"/>
                  <a:gd name="T68" fmla="*/ 23644 w 286"/>
                  <a:gd name="T69" fmla="*/ 4865 h 212"/>
                  <a:gd name="T70" fmla="*/ 23596 w 286"/>
                  <a:gd name="T71" fmla="*/ 5082 h 212"/>
                  <a:gd name="T72" fmla="*/ 22264 w 286"/>
                  <a:gd name="T73" fmla="*/ 5558 h 212"/>
                  <a:gd name="T74" fmla="*/ 21170 w 286"/>
                  <a:gd name="T75" fmla="*/ 5654 h 212"/>
                  <a:gd name="T76" fmla="*/ 19942 w 286"/>
                  <a:gd name="T77" fmla="*/ 5956 h 212"/>
                  <a:gd name="T78" fmla="*/ 18800 w 286"/>
                  <a:gd name="T79" fmla="*/ 5846 h 212"/>
                  <a:gd name="T80" fmla="*/ 19305 w 286"/>
                  <a:gd name="T81" fmla="*/ 5311 h 212"/>
                  <a:gd name="T82" fmla="*/ 18246 w 286"/>
                  <a:gd name="T83" fmla="*/ 4625 h 212"/>
                  <a:gd name="T84" fmla="*/ 17186 w 286"/>
                  <a:gd name="T85" fmla="*/ 4618 h 212"/>
                  <a:gd name="T86" fmla="*/ 16154 w 286"/>
                  <a:gd name="T87" fmla="*/ 4625 h 212"/>
                  <a:gd name="T88" fmla="*/ 15350 w 286"/>
                  <a:gd name="T89" fmla="*/ 4625 h 212"/>
                  <a:gd name="T90" fmla="*/ 15218 w 286"/>
                  <a:gd name="T91" fmla="*/ 4338 h 212"/>
                  <a:gd name="T92" fmla="*/ 14896 w 286"/>
                  <a:gd name="T93" fmla="*/ 3912 h 212"/>
                  <a:gd name="T94" fmla="*/ 14896 w 286"/>
                  <a:gd name="T95" fmla="*/ 3677 h 212"/>
                  <a:gd name="T96" fmla="*/ 14032 w 286"/>
                  <a:gd name="T97" fmla="*/ 3369 h 212"/>
                  <a:gd name="T98" fmla="*/ 12965 w 286"/>
                  <a:gd name="T99" fmla="*/ 3011 h 212"/>
                  <a:gd name="T100" fmla="*/ 9844 w 286"/>
                  <a:gd name="T101" fmla="*/ 3080 h 212"/>
                  <a:gd name="T102" fmla="*/ 8743 w 286"/>
                  <a:gd name="T103" fmla="*/ 3203 h 212"/>
                  <a:gd name="T104" fmla="*/ 7679 w 286"/>
                  <a:gd name="T105" fmla="*/ 3708 h 2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6"/>
                  <a:gd name="T160" fmla="*/ 0 h 212"/>
                  <a:gd name="T161" fmla="*/ 286 w 286"/>
                  <a:gd name="T162" fmla="*/ 212 h 2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6" h="212">
                    <a:moveTo>
                      <a:pt x="79" y="139"/>
                    </a:moveTo>
                    <a:lnTo>
                      <a:pt x="74" y="139"/>
                    </a:lnTo>
                    <a:lnTo>
                      <a:pt x="70" y="139"/>
                    </a:lnTo>
                    <a:lnTo>
                      <a:pt x="68" y="138"/>
                    </a:lnTo>
                    <a:lnTo>
                      <a:pt x="65" y="134"/>
                    </a:lnTo>
                    <a:lnTo>
                      <a:pt x="63" y="131"/>
                    </a:lnTo>
                    <a:lnTo>
                      <a:pt x="61" y="128"/>
                    </a:lnTo>
                    <a:lnTo>
                      <a:pt x="58" y="124"/>
                    </a:lnTo>
                    <a:lnTo>
                      <a:pt x="52" y="123"/>
                    </a:lnTo>
                    <a:lnTo>
                      <a:pt x="52" y="116"/>
                    </a:lnTo>
                    <a:lnTo>
                      <a:pt x="47" y="109"/>
                    </a:lnTo>
                    <a:lnTo>
                      <a:pt x="39" y="106"/>
                    </a:lnTo>
                    <a:lnTo>
                      <a:pt x="34" y="102"/>
                    </a:lnTo>
                    <a:lnTo>
                      <a:pt x="29" y="100"/>
                    </a:lnTo>
                    <a:lnTo>
                      <a:pt x="25" y="97"/>
                    </a:lnTo>
                    <a:lnTo>
                      <a:pt x="22" y="88"/>
                    </a:lnTo>
                    <a:lnTo>
                      <a:pt x="22" y="80"/>
                    </a:lnTo>
                    <a:lnTo>
                      <a:pt x="20" y="78"/>
                    </a:lnTo>
                    <a:lnTo>
                      <a:pt x="15" y="78"/>
                    </a:lnTo>
                    <a:lnTo>
                      <a:pt x="13" y="69"/>
                    </a:lnTo>
                    <a:lnTo>
                      <a:pt x="13" y="68"/>
                    </a:lnTo>
                    <a:lnTo>
                      <a:pt x="10" y="69"/>
                    </a:lnTo>
                    <a:lnTo>
                      <a:pt x="7" y="75"/>
                    </a:lnTo>
                    <a:lnTo>
                      <a:pt x="6" y="75"/>
                    </a:lnTo>
                    <a:lnTo>
                      <a:pt x="4" y="75"/>
                    </a:lnTo>
                    <a:lnTo>
                      <a:pt x="1" y="73"/>
                    </a:lnTo>
                    <a:lnTo>
                      <a:pt x="0" y="68"/>
                    </a:lnTo>
                    <a:lnTo>
                      <a:pt x="4" y="66"/>
                    </a:lnTo>
                    <a:lnTo>
                      <a:pt x="8" y="63"/>
                    </a:lnTo>
                    <a:lnTo>
                      <a:pt x="10" y="61"/>
                    </a:lnTo>
                    <a:lnTo>
                      <a:pt x="13" y="55"/>
                    </a:lnTo>
                    <a:lnTo>
                      <a:pt x="15" y="50"/>
                    </a:lnTo>
                    <a:lnTo>
                      <a:pt x="20" y="46"/>
                    </a:lnTo>
                    <a:lnTo>
                      <a:pt x="32" y="40"/>
                    </a:lnTo>
                    <a:lnTo>
                      <a:pt x="46" y="40"/>
                    </a:lnTo>
                    <a:lnTo>
                      <a:pt x="48" y="39"/>
                    </a:lnTo>
                    <a:lnTo>
                      <a:pt x="54" y="39"/>
                    </a:lnTo>
                    <a:lnTo>
                      <a:pt x="52" y="25"/>
                    </a:lnTo>
                    <a:lnTo>
                      <a:pt x="51" y="22"/>
                    </a:lnTo>
                    <a:lnTo>
                      <a:pt x="46" y="20"/>
                    </a:lnTo>
                    <a:lnTo>
                      <a:pt x="47" y="18"/>
                    </a:lnTo>
                    <a:lnTo>
                      <a:pt x="49" y="17"/>
                    </a:lnTo>
                    <a:lnTo>
                      <a:pt x="52" y="17"/>
                    </a:lnTo>
                    <a:lnTo>
                      <a:pt x="55" y="15"/>
                    </a:lnTo>
                    <a:lnTo>
                      <a:pt x="57" y="12"/>
                    </a:lnTo>
                    <a:lnTo>
                      <a:pt x="57" y="9"/>
                    </a:lnTo>
                    <a:lnTo>
                      <a:pt x="54" y="4"/>
                    </a:lnTo>
                    <a:lnTo>
                      <a:pt x="54" y="0"/>
                    </a:lnTo>
                    <a:lnTo>
                      <a:pt x="64" y="0"/>
                    </a:lnTo>
                    <a:lnTo>
                      <a:pt x="67" y="2"/>
                    </a:lnTo>
                    <a:lnTo>
                      <a:pt x="72" y="1"/>
                    </a:lnTo>
                    <a:lnTo>
                      <a:pt x="77" y="2"/>
                    </a:lnTo>
                    <a:lnTo>
                      <a:pt x="79" y="4"/>
                    </a:lnTo>
                    <a:lnTo>
                      <a:pt x="79" y="9"/>
                    </a:lnTo>
                    <a:lnTo>
                      <a:pt x="84" y="9"/>
                    </a:lnTo>
                    <a:lnTo>
                      <a:pt x="85" y="7"/>
                    </a:lnTo>
                    <a:lnTo>
                      <a:pt x="86" y="7"/>
                    </a:lnTo>
                    <a:lnTo>
                      <a:pt x="90" y="10"/>
                    </a:lnTo>
                    <a:lnTo>
                      <a:pt x="95" y="10"/>
                    </a:lnTo>
                    <a:lnTo>
                      <a:pt x="101" y="12"/>
                    </a:lnTo>
                    <a:lnTo>
                      <a:pt x="103" y="11"/>
                    </a:lnTo>
                    <a:lnTo>
                      <a:pt x="106" y="14"/>
                    </a:lnTo>
                    <a:lnTo>
                      <a:pt x="111" y="14"/>
                    </a:lnTo>
                    <a:lnTo>
                      <a:pt x="116" y="11"/>
                    </a:lnTo>
                    <a:lnTo>
                      <a:pt x="122" y="11"/>
                    </a:lnTo>
                    <a:lnTo>
                      <a:pt x="124" y="11"/>
                    </a:lnTo>
                    <a:lnTo>
                      <a:pt x="131" y="12"/>
                    </a:lnTo>
                    <a:lnTo>
                      <a:pt x="134" y="11"/>
                    </a:lnTo>
                    <a:lnTo>
                      <a:pt x="139" y="10"/>
                    </a:lnTo>
                    <a:lnTo>
                      <a:pt x="146" y="10"/>
                    </a:lnTo>
                    <a:lnTo>
                      <a:pt x="143" y="12"/>
                    </a:lnTo>
                    <a:lnTo>
                      <a:pt x="143" y="14"/>
                    </a:lnTo>
                    <a:lnTo>
                      <a:pt x="141" y="18"/>
                    </a:lnTo>
                    <a:lnTo>
                      <a:pt x="140" y="20"/>
                    </a:lnTo>
                    <a:lnTo>
                      <a:pt x="143" y="24"/>
                    </a:lnTo>
                    <a:lnTo>
                      <a:pt x="147" y="25"/>
                    </a:lnTo>
                    <a:lnTo>
                      <a:pt x="150" y="25"/>
                    </a:lnTo>
                    <a:lnTo>
                      <a:pt x="153" y="22"/>
                    </a:lnTo>
                    <a:lnTo>
                      <a:pt x="158" y="19"/>
                    </a:lnTo>
                    <a:lnTo>
                      <a:pt x="161" y="18"/>
                    </a:lnTo>
                    <a:lnTo>
                      <a:pt x="163" y="20"/>
                    </a:lnTo>
                    <a:lnTo>
                      <a:pt x="169" y="29"/>
                    </a:lnTo>
                    <a:lnTo>
                      <a:pt x="172" y="29"/>
                    </a:lnTo>
                    <a:lnTo>
                      <a:pt x="175" y="27"/>
                    </a:lnTo>
                    <a:lnTo>
                      <a:pt x="176" y="22"/>
                    </a:lnTo>
                    <a:lnTo>
                      <a:pt x="181" y="22"/>
                    </a:lnTo>
                    <a:lnTo>
                      <a:pt x="184" y="18"/>
                    </a:lnTo>
                    <a:lnTo>
                      <a:pt x="185" y="18"/>
                    </a:lnTo>
                    <a:lnTo>
                      <a:pt x="191" y="19"/>
                    </a:lnTo>
                    <a:lnTo>
                      <a:pt x="197" y="22"/>
                    </a:lnTo>
                    <a:lnTo>
                      <a:pt x="208" y="25"/>
                    </a:lnTo>
                    <a:lnTo>
                      <a:pt x="209" y="22"/>
                    </a:lnTo>
                    <a:lnTo>
                      <a:pt x="210" y="19"/>
                    </a:lnTo>
                    <a:lnTo>
                      <a:pt x="219" y="15"/>
                    </a:lnTo>
                    <a:lnTo>
                      <a:pt x="222" y="14"/>
                    </a:lnTo>
                    <a:lnTo>
                      <a:pt x="222" y="8"/>
                    </a:lnTo>
                    <a:lnTo>
                      <a:pt x="222" y="7"/>
                    </a:lnTo>
                    <a:lnTo>
                      <a:pt x="224" y="7"/>
                    </a:lnTo>
                    <a:lnTo>
                      <a:pt x="229" y="10"/>
                    </a:lnTo>
                    <a:lnTo>
                      <a:pt x="232" y="8"/>
                    </a:lnTo>
                    <a:lnTo>
                      <a:pt x="233" y="8"/>
                    </a:lnTo>
                    <a:lnTo>
                      <a:pt x="237" y="9"/>
                    </a:lnTo>
                    <a:lnTo>
                      <a:pt x="237" y="10"/>
                    </a:lnTo>
                    <a:lnTo>
                      <a:pt x="235" y="18"/>
                    </a:lnTo>
                    <a:lnTo>
                      <a:pt x="237" y="19"/>
                    </a:lnTo>
                    <a:lnTo>
                      <a:pt x="239" y="19"/>
                    </a:lnTo>
                    <a:lnTo>
                      <a:pt x="240" y="20"/>
                    </a:lnTo>
                    <a:lnTo>
                      <a:pt x="240" y="24"/>
                    </a:lnTo>
                    <a:lnTo>
                      <a:pt x="240" y="25"/>
                    </a:lnTo>
                    <a:lnTo>
                      <a:pt x="242" y="29"/>
                    </a:lnTo>
                    <a:lnTo>
                      <a:pt x="242" y="40"/>
                    </a:lnTo>
                    <a:lnTo>
                      <a:pt x="244" y="40"/>
                    </a:lnTo>
                    <a:lnTo>
                      <a:pt x="247" y="39"/>
                    </a:lnTo>
                    <a:lnTo>
                      <a:pt x="250" y="46"/>
                    </a:lnTo>
                    <a:lnTo>
                      <a:pt x="252" y="47"/>
                    </a:lnTo>
                    <a:lnTo>
                      <a:pt x="255" y="50"/>
                    </a:lnTo>
                    <a:lnTo>
                      <a:pt x="259" y="50"/>
                    </a:lnTo>
                    <a:lnTo>
                      <a:pt x="259" y="55"/>
                    </a:lnTo>
                    <a:lnTo>
                      <a:pt x="257" y="55"/>
                    </a:lnTo>
                    <a:lnTo>
                      <a:pt x="256" y="56"/>
                    </a:lnTo>
                    <a:lnTo>
                      <a:pt x="252" y="56"/>
                    </a:lnTo>
                    <a:lnTo>
                      <a:pt x="252" y="60"/>
                    </a:lnTo>
                    <a:lnTo>
                      <a:pt x="249" y="61"/>
                    </a:lnTo>
                    <a:lnTo>
                      <a:pt x="248" y="62"/>
                    </a:lnTo>
                    <a:lnTo>
                      <a:pt x="248" y="68"/>
                    </a:lnTo>
                    <a:lnTo>
                      <a:pt x="250" y="68"/>
                    </a:lnTo>
                    <a:lnTo>
                      <a:pt x="254" y="62"/>
                    </a:lnTo>
                    <a:lnTo>
                      <a:pt x="257" y="62"/>
                    </a:lnTo>
                    <a:lnTo>
                      <a:pt x="261" y="63"/>
                    </a:lnTo>
                    <a:lnTo>
                      <a:pt x="261" y="66"/>
                    </a:lnTo>
                    <a:lnTo>
                      <a:pt x="261" y="82"/>
                    </a:lnTo>
                    <a:lnTo>
                      <a:pt x="265" y="87"/>
                    </a:lnTo>
                    <a:lnTo>
                      <a:pt x="268" y="87"/>
                    </a:lnTo>
                    <a:lnTo>
                      <a:pt x="270" y="90"/>
                    </a:lnTo>
                    <a:lnTo>
                      <a:pt x="274" y="92"/>
                    </a:lnTo>
                    <a:lnTo>
                      <a:pt x="274" y="93"/>
                    </a:lnTo>
                    <a:lnTo>
                      <a:pt x="274" y="97"/>
                    </a:lnTo>
                    <a:lnTo>
                      <a:pt x="274" y="98"/>
                    </a:lnTo>
                    <a:lnTo>
                      <a:pt x="270" y="102"/>
                    </a:lnTo>
                    <a:lnTo>
                      <a:pt x="270" y="104"/>
                    </a:lnTo>
                    <a:lnTo>
                      <a:pt x="267" y="106"/>
                    </a:lnTo>
                    <a:lnTo>
                      <a:pt x="268" y="111"/>
                    </a:lnTo>
                    <a:lnTo>
                      <a:pt x="268" y="124"/>
                    </a:lnTo>
                    <a:lnTo>
                      <a:pt x="274" y="128"/>
                    </a:lnTo>
                    <a:lnTo>
                      <a:pt x="278" y="128"/>
                    </a:lnTo>
                    <a:lnTo>
                      <a:pt x="278" y="138"/>
                    </a:lnTo>
                    <a:lnTo>
                      <a:pt x="280" y="136"/>
                    </a:lnTo>
                    <a:lnTo>
                      <a:pt x="283" y="139"/>
                    </a:lnTo>
                    <a:lnTo>
                      <a:pt x="283" y="141"/>
                    </a:lnTo>
                    <a:lnTo>
                      <a:pt x="282" y="142"/>
                    </a:lnTo>
                    <a:lnTo>
                      <a:pt x="278" y="145"/>
                    </a:lnTo>
                    <a:lnTo>
                      <a:pt x="277" y="151"/>
                    </a:lnTo>
                    <a:lnTo>
                      <a:pt x="278" y="151"/>
                    </a:lnTo>
                    <a:lnTo>
                      <a:pt x="280" y="152"/>
                    </a:lnTo>
                    <a:lnTo>
                      <a:pt x="282" y="152"/>
                    </a:lnTo>
                    <a:lnTo>
                      <a:pt x="282" y="156"/>
                    </a:lnTo>
                    <a:lnTo>
                      <a:pt x="285" y="159"/>
                    </a:lnTo>
                    <a:lnTo>
                      <a:pt x="285" y="162"/>
                    </a:lnTo>
                    <a:lnTo>
                      <a:pt x="286" y="168"/>
                    </a:lnTo>
                    <a:lnTo>
                      <a:pt x="285" y="168"/>
                    </a:lnTo>
                    <a:lnTo>
                      <a:pt x="282" y="165"/>
                    </a:lnTo>
                    <a:lnTo>
                      <a:pt x="280" y="165"/>
                    </a:lnTo>
                    <a:lnTo>
                      <a:pt x="278" y="165"/>
                    </a:lnTo>
                    <a:lnTo>
                      <a:pt x="277" y="162"/>
                    </a:lnTo>
                    <a:lnTo>
                      <a:pt x="270" y="161"/>
                    </a:lnTo>
                    <a:lnTo>
                      <a:pt x="264" y="164"/>
                    </a:lnTo>
                    <a:lnTo>
                      <a:pt x="264" y="165"/>
                    </a:lnTo>
                    <a:lnTo>
                      <a:pt x="265" y="165"/>
                    </a:lnTo>
                    <a:lnTo>
                      <a:pt x="267" y="168"/>
                    </a:lnTo>
                    <a:lnTo>
                      <a:pt x="264" y="171"/>
                    </a:lnTo>
                    <a:lnTo>
                      <a:pt x="265" y="174"/>
                    </a:lnTo>
                    <a:lnTo>
                      <a:pt x="271" y="172"/>
                    </a:lnTo>
                    <a:lnTo>
                      <a:pt x="273" y="174"/>
                    </a:lnTo>
                    <a:lnTo>
                      <a:pt x="273" y="176"/>
                    </a:lnTo>
                    <a:lnTo>
                      <a:pt x="273" y="177"/>
                    </a:lnTo>
                    <a:lnTo>
                      <a:pt x="274" y="177"/>
                    </a:lnTo>
                    <a:lnTo>
                      <a:pt x="274" y="179"/>
                    </a:lnTo>
                    <a:lnTo>
                      <a:pt x="272" y="181"/>
                    </a:lnTo>
                    <a:lnTo>
                      <a:pt x="271" y="186"/>
                    </a:lnTo>
                    <a:lnTo>
                      <a:pt x="271" y="189"/>
                    </a:lnTo>
                    <a:lnTo>
                      <a:pt x="267" y="196"/>
                    </a:lnTo>
                    <a:lnTo>
                      <a:pt x="267" y="197"/>
                    </a:lnTo>
                    <a:lnTo>
                      <a:pt x="257" y="197"/>
                    </a:lnTo>
                    <a:lnTo>
                      <a:pt x="255" y="199"/>
                    </a:lnTo>
                    <a:lnTo>
                      <a:pt x="252" y="194"/>
                    </a:lnTo>
                    <a:lnTo>
                      <a:pt x="248" y="194"/>
                    </a:lnTo>
                    <a:lnTo>
                      <a:pt x="245" y="197"/>
                    </a:lnTo>
                    <a:lnTo>
                      <a:pt x="245" y="201"/>
                    </a:lnTo>
                    <a:lnTo>
                      <a:pt x="242" y="206"/>
                    </a:lnTo>
                    <a:lnTo>
                      <a:pt x="242" y="209"/>
                    </a:lnTo>
                    <a:lnTo>
                      <a:pt x="237" y="209"/>
                    </a:lnTo>
                    <a:lnTo>
                      <a:pt x="234" y="212"/>
                    </a:lnTo>
                    <a:lnTo>
                      <a:pt x="230" y="212"/>
                    </a:lnTo>
                    <a:lnTo>
                      <a:pt x="227" y="207"/>
                    </a:lnTo>
                    <a:lnTo>
                      <a:pt x="224" y="204"/>
                    </a:lnTo>
                    <a:lnTo>
                      <a:pt x="223" y="203"/>
                    </a:lnTo>
                    <a:lnTo>
                      <a:pt x="219" y="206"/>
                    </a:lnTo>
                    <a:lnTo>
                      <a:pt x="217" y="207"/>
                    </a:lnTo>
                    <a:lnTo>
                      <a:pt x="216" y="206"/>
                    </a:lnTo>
                    <a:lnTo>
                      <a:pt x="216" y="203"/>
                    </a:lnTo>
                    <a:lnTo>
                      <a:pt x="219" y="202"/>
                    </a:lnTo>
                    <a:lnTo>
                      <a:pt x="220" y="199"/>
                    </a:lnTo>
                    <a:lnTo>
                      <a:pt x="222" y="189"/>
                    </a:lnTo>
                    <a:lnTo>
                      <a:pt x="219" y="187"/>
                    </a:lnTo>
                    <a:lnTo>
                      <a:pt x="219" y="177"/>
                    </a:lnTo>
                    <a:lnTo>
                      <a:pt x="216" y="174"/>
                    </a:lnTo>
                    <a:lnTo>
                      <a:pt x="216" y="168"/>
                    </a:lnTo>
                    <a:lnTo>
                      <a:pt x="210" y="165"/>
                    </a:lnTo>
                    <a:lnTo>
                      <a:pt x="208" y="162"/>
                    </a:lnTo>
                    <a:lnTo>
                      <a:pt x="208" y="161"/>
                    </a:lnTo>
                    <a:lnTo>
                      <a:pt x="207" y="160"/>
                    </a:lnTo>
                    <a:lnTo>
                      <a:pt x="201" y="162"/>
                    </a:lnTo>
                    <a:lnTo>
                      <a:pt x="199" y="164"/>
                    </a:lnTo>
                    <a:lnTo>
                      <a:pt x="197" y="164"/>
                    </a:lnTo>
                    <a:lnTo>
                      <a:pt x="194" y="161"/>
                    </a:lnTo>
                    <a:lnTo>
                      <a:pt x="191" y="160"/>
                    </a:lnTo>
                    <a:lnTo>
                      <a:pt x="188" y="161"/>
                    </a:lnTo>
                    <a:lnTo>
                      <a:pt x="187" y="165"/>
                    </a:lnTo>
                    <a:lnTo>
                      <a:pt x="184" y="165"/>
                    </a:lnTo>
                    <a:lnTo>
                      <a:pt x="184" y="164"/>
                    </a:lnTo>
                    <a:lnTo>
                      <a:pt x="184" y="161"/>
                    </a:lnTo>
                    <a:lnTo>
                      <a:pt x="182" y="161"/>
                    </a:lnTo>
                    <a:lnTo>
                      <a:pt x="178" y="165"/>
                    </a:lnTo>
                    <a:lnTo>
                      <a:pt x="170" y="168"/>
                    </a:lnTo>
                    <a:lnTo>
                      <a:pt x="170" y="167"/>
                    </a:lnTo>
                    <a:lnTo>
                      <a:pt x="171" y="162"/>
                    </a:lnTo>
                    <a:lnTo>
                      <a:pt x="173" y="155"/>
                    </a:lnTo>
                    <a:lnTo>
                      <a:pt x="176" y="155"/>
                    </a:lnTo>
                    <a:lnTo>
                      <a:pt x="176" y="153"/>
                    </a:lnTo>
                    <a:lnTo>
                      <a:pt x="175" y="145"/>
                    </a:lnTo>
                    <a:lnTo>
                      <a:pt x="175" y="143"/>
                    </a:lnTo>
                    <a:lnTo>
                      <a:pt x="172" y="141"/>
                    </a:lnTo>
                    <a:lnTo>
                      <a:pt x="171" y="139"/>
                    </a:lnTo>
                    <a:lnTo>
                      <a:pt x="170" y="136"/>
                    </a:lnTo>
                    <a:lnTo>
                      <a:pt x="171" y="134"/>
                    </a:lnTo>
                    <a:lnTo>
                      <a:pt x="170" y="131"/>
                    </a:lnTo>
                    <a:lnTo>
                      <a:pt x="171" y="131"/>
                    </a:lnTo>
                    <a:lnTo>
                      <a:pt x="171" y="129"/>
                    </a:lnTo>
                    <a:lnTo>
                      <a:pt x="169" y="128"/>
                    </a:lnTo>
                    <a:lnTo>
                      <a:pt x="165" y="126"/>
                    </a:lnTo>
                    <a:lnTo>
                      <a:pt x="163" y="124"/>
                    </a:lnTo>
                    <a:lnTo>
                      <a:pt x="165" y="123"/>
                    </a:lnTo>
                    <a:lnTo>
                      <a:pt x="163" y="120"/>
                    </a:lnTo>
                    <a:lnTo>
                      <a:pt x="161" y="118"/>
                    </a:lnTo>
                    <a:lnTo>
                      <a:pt x="158" y="116"/>
                    </a:lnTo>
                    <a:lnTo>
                      <a:pt x="156" y="113"/>
                    </a:lnTo>
                    <a:lnTo>
                      <a:pt x="151" y="110"/>
                    </a:lnTo>
                    <a:lnTo>
                      <a:pt x="149" y="106"/>
                    </a:lnTo>
                    <a:lnTo>
                      <a:pt x="140" y="104"/>
                    </a:lnTo>
                    <a:lnTo>
                      <a:pt x="122" y="104"/>
                    </a:lnTo>
                    <a:lnTo>
                      <a:pt x="122" y="108"/>
                    </a:lnTo>
                    <a:lnTo>
                      <a:pt x="118" y="108"/>
                    </a:lnTo>
                    <a:lnTo>
                      <a:pt x="113" y="109"/>
                    </a:lnTo>
                    <a:lnTo>
                      <a:pt x="111" y="110"/>
                    </a:lnTo>
                    <a:lnTo>
                      <a:pt x="109" y="108"/>
                    </a:lnTo>
                    <a:lnTo>
                      <a:pt x="102" y="108"/>
                    </a:lnTo>
                    <a:lnTo>
                      <a:pt x="100" y="109"/>
                    </a:lnTo>
                    <a:lnTo>
                      <a:pt x="101" y="114"/>
                    </a:lnTo>
                    <a:lnTo>
                      <a:pt x="97" y="120"/>
                    </a:lnTo>
                    <a:lnTo>
                      <a:pt x="94" y="124"/>
                    </a:lnTo>
                    <a:lnTo>
                      <a:pt x="90" y="128"/>
                    </a:lnTo>
                    <a:lnTo>
                      <a:pt x="90" y="129"/>
                    </a:lnTo>
                    <a:lnTo>
                      <a:pt x="89" y="131"/>
                    </a:lnTo>
                    <a:lnTo>
                      <a:pt x="85" y="131"/>
                    </a:lnTo>
                    <a:lnTo>
                      <a:pt x="82" y="139"/>
                    </a:lnTo>
                    <a:lnTo>
                      <a:pt x="80" y="139"/>
                    </a:lnTo>
                    <a:lnTo>
                      <a:pt x="79" y="139"/>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4" name="Freeform 50"/>
              <p:cNvSpPr>
                <a:spLocks/>
              </p:cNvSpPr>
              <p:nvPr/>
            </p:nvSpPr>
            <p:spPr bwMode="auto">
              <a:xfrm>
                <a:off x="725" y="2117"/>
                <a:ext cx="125" cy="121"/>
              </a:xfrm>
              <a:custGeom>
                <a:avLst/>
                <a:gdLst>
                  <a:gd name="T0" fmla="*/ 5638 w 117"/>
                  <a:gd name="T1" fmla="*/ 3283 h 115"/>
                  <a:gd name="T2" fmla="*/ 4999 w 117"/>
                  <a:gd name="T3" fmla="*/ 3233 h 115"/>
                  <a:gd name="T4" fmla="*/ 2855 w 117"/>
                  <a:gd name="T5" fmla="*/ 2909 h 115"/>
                  <a:gd name="T6" fmla="*/ 2501 w 117"/>
                  <a:gd name="T7" fmla="*/ 2659 h 115"/>
                  <a:gd name="T8" fmla="*/ 1291 w 117"/>
                  <a:gd name="T9" fmla="*/ 2345 h 115"/>
                  <a:gd name="T10" fmla="*/ 1291 w 117"/>
                  <a:gd name="T11" fmla="*/ 2229 h 115"/>
                  <a:gd name="T12" fmla="*/ 1059 w 117"/>
                  <a:gd name="T13" fmla="*/ 2118 h 115"/>
                  <a:gd name="T14" fmla="*/ 7 w 117"/>
                  <a:gd name="T15" fmla="*/ 2013 h 115"/>
                  <a:gd name="T16" fmla="*/ 4 w 117"/>
                  <a:gd name="T17" fmla="*/ 1683 h 115"/>
                  <a:gd name="T18" fmla="*/ 7 w 117"/>
                  <a:gd name="T19" fmla="*/ 1695 h 115"/>
                  <a:gd name="T20" fmla="*/ 761 w 117"/>
                  <a:gd name="T21" fmla="*/ 1683 h 115"/>
                  <a:gd name="T22" fmla="*/ 6 w 117"/>
                  <a:gd name="T23" fmla="*/ 1611 h 115"/>
                  <a:gd name="T24" fmla="*/ 4 w 117"/>
                  <a:gd name="T25" fmla="*/ 1410 h 115"/>
                  <a:gd name="T26" fmla="*/ 4 w 117"/>
                  <a:gd name="T27" fmla="*/ 1211 h 115"/>
                  <a:gd name="T28" fmla="*/ 0 w 117"/>
                  <a:gd name="T29" fmla="*/ 1072 h 115"/>
                  <a:gd name="T30" fmla="*/ 6 w 117"/>
                  <a:gd name="T31" fmla="*/ 988 h 115"/>
                  <a:gd name="T32" fmla="*/ 928 w 117"/>
                  <a:gd name="T33" fmla="*/ 988 h 115"/>
                  <a:gd name="T34" fmla="*/ 1291 w 117"/>
                  <a:gd name="T35" fmla="*/ 766 h 115"/>
                  <a:gd name="T36" fmla="*/ 1797 w 117"/>
                  <a:gd name="T37" fmla="*/ 658 h 115"/>
                  <a:gd name="T38" fmla="*/ 2051 w 117"/>
                  <a:gd name="T39" fmla="*/ 537 h 115"/>
                  <a:gd name="T40" fmla="*/ 2501 w 117"/>
                  <a:gd name="T41" fmla="*/ 321 h 115"/>
                  <a:gd name="T42" fmla="*/ 2672 w 117"/>
                  <a:gd name="T43" fmla="*/ 3 h 115"/>
                  <a:gd name="T44" fmla="*/ 3362 w 117"/>
                  <a:gd name="T45" fmla="*/ 6 h 115"/>
                  <a:gd name="T46" fmla="*/ 3838 w 117"/>
                  <a:gd name="T47" fmla="*/ 3 h 115"/>
                  <a:gd name="T48" fmla="*/ 4246 w 117"/>
                  <a:gd name="T49" fmla="*/ 0 h 115"/>
                  <a:gd name="T50" fmla="*/ 6357 w 117"/>
                  <a:gd name="T51" fmla="*/ 1 h 115"/>
                  <a:gd name="T52" fmla="*/ 6792 w 117"/>
                  <a:gd name="T53" fmla="*/ 7 h 115"/>
                  <a:gd name="T54" fmla="*/ 7251 w 117"/>
                  <a:gd name="T55" fmla="*/ 375 h 115"/>
                  <a:gd name="T56" fmla="*/ 7434 w 117"/>
                  <a:gd name="T57" fmla="*/ 485 h 115"/>
                  <a:gd name="T58" fmla="*/ 7434 w 117"/>
                  <a:gd name="T59" fmla="*/ 565 h 115"/>
                  <a:gd name="T60" fmla="*/ 7958 w 117"/>
                  <a:gd name="T61" fmla="*/ 658 h 115"/>
                  <a:gd name="T62" fmla="*/ 7942 w 117"/>
                  <a:gd name="T63" fmla="*/ 766 h 115"/>
                  <a:gd name="T64" fmla="*/ 7942 w 117"/>
                  <a:gd name="T65" fmla="*/ 920 h 115"/>
                  <a:gd name="T66" fmla="*/ 7958 w 117"/>
                  <a:gd name="T67" fmla="*/ 1019 h 115"/>
                  <a:gd name="T68" fmla="*/ 8282 w 117"/>
                  <a:gd name="T69" fmla="*/ 1128 h 115"/>
                  <a:gd name="T70" fmla="*/ 8385 w 117"/>
                  <a:gd name="T71" fmla="*/ 1410 h 115"/>
                  <a:gd name="T72" fmla="*/ 7958 w 117"/>
                  <a:gd name="T73" fmla="*/ 1611 h 115"/>
                  <a:gd name="T74" fmla="*/ 7942 w 117"/>
                  <a:gd name="T75" fmla="*/ 1818 h 115"/>
                  <a:gd name="T76" fmla="*/ 8848 w 117"/>
                  <a:gd name="T77" fmla="*/ 1611 h 115"/>
                  <a:gd name="T78" fmla="*/ 8958 w 117"/>
                  <a:gd name="T79" fmla="*/ 1683 h 115"/>
                  <a:gd name="T80" fmla="*/ 8958 w 117"/>
                  <a:gd name="T81" fmla="*/ 1863 h 115"/>
                  <a:gd name="T82" fmla="*/ 9281 w 117"/>
                  <a:gd name="T83" fmla="*/ 1960 h 115"/>
                  <a:gd name="T84" fmla="*/ 8282 w 117"/>
                  <a:gd name="T85" fmla="*/ 2062 h 115"/>
                  <a:gd name="T86" fmla="*/ 8269 w 117"/>
                  <a:gd name="T87" fmla="*/ 2419 h 115"/>
                  <a:gd name="T88" fmla="*/ 7942 w 117"/>
                  <a:gd name="T89" fmla="*/ 2527 h 115"/>
                  <a:gd name="T90" fmla="*/ 7434 w 117"/>
                  <a:gd name="T91" fmla="*/ 2678 h 115"/>
                  <a:gd name="T92" fmla="*/ 6781 w 117"/>
                  <a:gd name="T93" fmla="*/ 2909 h 115"/>
                  <a:gd name="T94" fmla="*/ 6313 w 117"/>
                  <a:gd name="T95" fmla="*/ 2944 h 115"/>
                  <a:gd name="T96" fmla="*/ 6096 w 117"/>
                  <a:gd name="T97" fmla="*/ 3073 h 115"/>
                  <a:gd name="T98" fmla="*/ 5941 w 117"/>
                  <a:gd name="T99" fmla="*/ 3233 h 11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7"/>
                  <a:gd name="T151" fmla="*/ 0 h 115"/>
                  <a:gd name="T152" fmla="*/ 117 w 117"/>
                  <a:gd name="T153" fmla="*/ 115 h 11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7" h="115">
                    <a:moveTo>
                      <a:pt x="75" y="113"/>
                    </a:moveTo>
                    <a:lnTo>
                      <a:pt x="72" y="115"/>
                    </a:lnTo>
                    <a:lnTo>
                      <a:pt x="71" y="115"/>
                    </a:lnTo>
                    <a:lnTo>
                      <a:pt x="64" y="113"/>
                    </a:lnTo>
                    <a:lnTo>
                      <a:pt x="43" y="101"/>
                    </a:lnTo>
                    <a:lnTo>
                      <a:pt x="36" y="101"/>
                    </a:lnTo>
                    <a:lnTo>
                      <a:pt x="36" y="97"/>
                    </a:lnTo>
                    <a:lnTo>
                      <a:pt x="32" y="93"/>
                    </a:lnTo>
                    <a:lnTo>
                      <a:pt x="22" y="85"/>
                    </a:lnTo>
                    <a:lnTo>
                      <a:pt x="17" y="82"/>
                    </a:lnTo>
                    <a:lnTo>
                      <a:pt x="16" y="81"/>
                    </a:lnTo>
                    <a:lnTo>
                      <a:pt x="17" y="78"/>
                    </a:lnTo>
                    <a:lnTo>
                      <a:pt x="16" y="75"/>
                    </a:lnTo>
                    <a:lnTo>
                      <a:pt x="14" y="74"/>
                    </a:lnTo>
                    <a:lnTo>
                      <a:pt x="11" y="70"/>
                    </a:lnTo>
                    <a:lnTo>
                      <a:pt x="7" y="70"/>
                    </a:lnTo>
                    <a:lnTo>
                      <a:pt x="4" y="65"/>
                    </a:lnTo>
                    <a:lnTo>
                      <a:pt x="4" y="59"/>
                    </a:lnTo>
                    <a:lnTo>
                      <a:pt x="6" y="59"/>
                    </a:lnTo>
                    <a:lnTo>
                      <a:pt x="7" y="60"/>
                    </a:lnTo>
                    <a:lnTo>
                      <a:pt x="9" y="60"/>
                    </a:lnTo>
                    <a:lnTo>
                      <a:pt x="9" y="59"/>
                    </a:lnTo>
                    <a:lnTo>
                      <a:pt x="7" y="57"/>
                    </a:lnTo>
                    <a:lnTo>
                      <a:pt x="6" y="57"/>
                    </a:lnTo>
                    <a:lnTo>
                      <a:pt x="4" y="54"/>
                    </a:lnTo>
                    <a:lnTo>
                      <a:pt x="4" y="49"/>
                    </a:lnTo>
                    <a:lnTo>
                      <a:pt x="4" y="45"/>
                    </a:lnTo>
                    <a:lnTo>
                      <a:pt x="4" y="43"/>
                    </a:lnTo>
                    <a:lnTo>
                      <a:pt x="0" y="40"/>
                    </a:lnTo>
                    <a:lnTo>
                      <a:pt x="0" y="38"/>
                    </a:lnTo>
                    <a:lnTo>
                      <a:pt x="2" y="33"/>
                    </a:lnTo>
                    <a:lnTo>
                      <a:pt x="6" y="35"/>
                    </a:lnTo>
                    <a:lnTo>
                      <a:pt x="11" y="35"/>
                    </a:lnTo>
                    <a:lnTo>
                      <a:pt x="12" y="35"/>
                    </a:lnTo>
                    <a:lnTo>
                      <a:pt x="14" y="33"/>
                    </a:lnTo>
                    <a:lnTo>
                      <a:pt x="17" y="27"/>
                    </a:lnTo>
                    <a:lnTo>
                      <a:pt x="21" y="26"/>
                    </a:lnTo>
                    <a:lnTo>
                      <a:pt x="22" y="24"/>
                    </a:lnTo>
                    <a:lnTo>
                      <a:pt x="22" y="23"/>
                    </a:lnTo>
                    <a:lnTo>
                      <a:pt x="26" y="20"/>
                    </a:lnTo>
                    <a:lnTo>
                      <a:pt x="29" y="16"/>
                    </a:lnTo>
                    <a:lnTo>
                      <a:pt x="32" y="10"/>
                    </a:lnTo>
                    <a:lnTo>
                      <a:pt x="32" y="4"/>
                    </a:lnTo>
                    <a:lnTo>
                      <a:pt x="34" y="3"/>
                    </a:lnTo>
                    <a:lnTo>
                      <a:pt x="41" y="3"/>
                    </a:lnTo>
                    <a:lnTo>
                      <a:pt x="43" y="6"/>
                    </a:lnTo>
                    <a:lnTo>
                      <a:pt x="45" y="4"/>
                    </a:lnTo>
                    <a:lnTo>
                      <a:pt x="49" y="3"/>
                    </a:lnTo>
                    <a:lnTo>
                      <a:pt x="53" y="3"/>
                    </a:lnTo>
                    <a:lnTo>
                      <a:pt x="53" y="0"/>
                    </a:lnTo>
                    <a:lnTo>
                      <a:pt x="71" y="0"/>
                    </a:lnTo>
                    <a:lnTo>
                      <a:pt x="81" y="1"/>
                    </a:lnTo>
                    <a:lnTo>
                      <a:pt x="82" y="6"/>
                    </a:lnTo>
                    <a:lnTo>
                      <a:pt x="87" y="7"/>
                    </a:lnTo>
                    <a:lnTo>
                      <a:pt x="89" y="11"/>
                    </a:lnTo>
                    <a:lnTo>
                      <a:pt x="92" y="13"/>
                    </a:lnTo>
                    <a:lnTo>
                      <a:pt x="94" y="16"/>
                    </a:lnTo>
                    <a:lnTo>
                      <a:pt x="95" y="18"/>
                    </a:lnTo>
                    <a:lnTo>
                      <a:pt x="94" y="20"/>
                    </a:lnTo>
                    <a:lnTo>
                      <a:pt x="95" y="21"/>
                    </a:lnTo>
                    <a:lnTo>
                      <a:pt x="99" y="23"/>
                    </a:lnTo>
                    <a:lnTo>
                      <a:pt x="102" y="24"/>
                    </a:lnTo>
                    <a:lnTo>
                      <a:pt x="102" y="26"/>
                    </a:lnTo>
                    <a:lnTo>
                      <a:pt x="101" y="27"/>
                    </a:lnTo>
                    <a:lnTo>
                      <a:pt x="102" y="30"/>
                    </a:lnTo>
                    <a:lnTo>
                      <a:pt x="101" y="32"/>
                    </a:lnTo>
                    <a:lnTo>
                      <a:pt x="102" y="35"/>
                    </a:lnTo>
                    <a:lnTo>
                      <a:pt x="102" y="36"/>
                    </a:lnTo>
                    <a:lnTo>
                      <a:pt x="106" y="38"/>
                    </a:lnTo>
                    <a:lnTo>
                      <a:pt x="106" y="40"/>
                    </a:lnTo>
                    <a:lnTo>
                      <a:pt x="107" y="49"/>
                    </a:lnTo>
                    <a:lnTo>
                      <a:pt x="104" y="50"/>
                    </a:lnTo>
                    <a:lnTo>
                      <a:pt x="102" y="57"/>
                    </a:lnTo>
                    <a:lnTo>
                      <a:pt x="101" y="62"/>
                    </a:lnTo>
                    <a:lnTo>
                      <a:pt x="101" y="64"/>
                    </a:lnTo>
                    <a:lnTo>
                      <a:pt x="109" y="60"/>
                    </a:lnTo>
                    <a:lnTo>
                      <a:pt x="113" y="57"/>
                    </a:lnTo>
                    <a:lnTo>
                      <a:pt x="114" y="57"/>
                    </a:lnTo>
                    <a:lnTo>
                      <a:pt x="114" y="59"/>
                    </a:lnTo>
                    <a:lnTo>
                      <a:pt x="114" y="60"/>
                    </a:lnTo>
                    <a:lnTo>
                      <a:pt x="114" y="65"/>
                    </a:lnTo>
                    <a:lnTo>
                      <a:pt x="117" y="67"/>
                    </a:lnTo>
                    <a:lnTo>
                      <a:pt x="117" y="68"/>
                    </a:lnTo>
                    <a:lnTo>
                      <a:pt x="109" y="69"/>
                    </a:lnTo>
                    <a:lnTo>
                      <a:pt x="106" y="72"/>
                    </a:lnTo>
                    <a:lnTo>
                      <a:pt x="104" y="74"/>
                    </a:lnTo>
                    <a:lnTo>
                      <a:pt x="104" y="85"/>
                    </a:lnTo>
                    <a:lnTo>
                      <a:pt x="102" y="85"/>
                    </a:lnTo>
                    <a:lnTo>
                      <a:pt x="101" y="88"/>
                    </a:lnTo>
                    <a:lnTo>
                      <a:pt x="97" y="90"/>
                    </a:lnTo>
                    <a:lnTo>
                      <a:pt x="95" y="94"/>
                    </a:lnTo>
                    <a:lnTo>
                      <a:pt x="91" y="95"/>
                    </a:lnTo>
                    <a:lnTo>
                      <a:pt x="85" y="101"/>
                    </a:lnTo>
                    <a:lnTo>
                      <a:pt x="82" y="103"/>
                    </a:lnTo>
                    <a:lnTo>
                      <a:pt x="79" y="103"/>
                    </a:lnTo>
                    <a:lnTo>
                      <a:pt x="78" y="105"/>
                    </a:lnTo>
                    <a:lnTo>
                      <a:pt x="78" y="107"/>
                    </a:lnTo>
                    <a:lnTo>
                      <a:pt x="77" y="108"/>
                    </a:lnTo>
                    <a:lnTo>
                      <a:pt x="75" y="113"/>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5" name="Freeform 51"/>
              <p:cNvSpPr>
                <a:spLocks/>
              </p:cNvSpPr>
              <p:nvPr/>
            </p:nvSpPr>
            <p:spPr bwMode="auto">
              <a:xfrm>
                <a:off x="725" y="2117"/>
                <a:ext cx="125" cy="121"/>
              </a:xfrm>
              <a:custGeom>
                <a:avLst/>
                <a:gdLst>
                  <a:gd name="T0" fmla="*/ 5638 w 117"/>
                  <a:gd name="T1" fmla="*/ 3283 h 115"/>
                  <a:gd name="T2" fmla="*/ 4999 w 117"/>
                  <a:gd name="T3" fmla="*/ 3233 h 115"/>
                  <a:gd name="T4" fmla="*/ 2855 w 117"/>
                  <a:gd name="T5" fmla="*/ 2909 h 115"/>
                  <a:gd name="T6" fmla="*/ 2501 w 117"/>
                  <a:gd name="T7" fmla="*/ 2659 h 115"/>
                  <a:gd name="T8" fmla="*/ 1291 w 117"/>
                  <a:gd name="T9" fmla="*/ 2345 h 115"/>
                  <a:gd name="T10" fmla="*/ 1291 w 117"/>
                  <a:gd name="T11" fmla="*/ 2229 h 115"/>
                  <a:gd name="T12" fmla="*/ 1059 w 117"/>
                  <a:gd name="T13" fmla="*/ 2118 h 115"/>
                  <a:gd name="T14" fmla="*/ 7 w 117"/>
                  <a:gd name="T15" fmla="*/ 2013 h 115"/>
                  <a:gd name="T16" fmla="*/ 4 w 117"/>
                  <a:gd name="T17" fmla="*/ 1683 h 115"/>
                  <a:gd name="T18" fmla="*/ 7 w 117"/>
                  <a:gd name="T19" fmla="*/ 1695 h 115"/>
                  <a:gd name="T20" fmla="*/ 761 w 117"/>
                  <a:gd name="T21" fmla="*/ 1683 h 115"/>
                  <a:gd name="T22" fmla="*/ 6 w 117"/>
                  <a:gd name="T23" fmla="*/ 1611 h 115"/>
                  <a:gd name="T24" fmla="*/ 4 w 117"/>
                  <a:gd name="T25" fmla="*/ 1410 h 115"/>
                  <a:gd name="T26" fmla="*/ 4 w 117"/>
                  <a:gd name="T27" fmla="*/ 1211 h 115"/>
                  <a:gd name="T28" fmla="*/ 0 w 117"/>
                  <a:gd name="T29" fmla="*/ 1072 h 115"/>
                  <a:gd name="T30" fmla="*/ 6 w 117"/>
                  <a:gd name="T31" fmla="*/ 988 h 115"/>
                  <a:gd name="T32" fmla="*/ 928 w 117"/>
                  <a:gd name="T33" fmla="*/ 988 h 115"/>
                  <a:gd name="T34" fmla="*/ 1291 w 117"/>
                  <a:gd name="T35" fmla="*/ 766 h 115"/>
                  <a:gd name="T36" fmla="*/ 1797 w 117"/>
                  <a:gd name="T37" fmla="*/ 658 h 115"/>
                  <a:gd name="T38" fmla="*/ 2051 w 117"/>
                  <a:gd name="T39" fmla="*/ 537 h 115"/>
                  <a:gd name="T40" fmla="*/ 2501 w 117"/>
                  <a:gd name="T41" fmla="*/ 321 h 115"/>
                  <a:gd name="T42" fmla="*/ 2672 w 117"/>
                  <a:gd name="T43" fmla="*/ 3 h 115"/>
                  <a:gd name="T44" fmla="*/ 3362 w 117"/>
                  <a:gd name="T45" fmla="*/ 6 h 115"/>
                  <a:gd name="T46" fmla="*/ 3838 w 117"/>
                  <a:gd name="T47" fmla="*/ 3 h 115"/>
                  <a:gd name="T48" fmla="*/ 4246 w 117"/>
                  <a:gd name="T49" fmla="*/ 0 h 115"/>
                  <a:gd name="T50" fmla="*/ 6357 w 117"/>
                  <a:gd name="T51" fmla="*/ 1 h 115"/>
                  <a:gd name="T52" fmla="*/ 6792 w 117"/>
                  <a:gd name="T53" fmla="*/ 7 h 115"/>
                  <a:gd name="T54" fmla="*/ 7251 w 117"/>
                  <a:gd name="T55" fmla="*/ 375 h 115"/>
                  <a:gd name="T56" fmla="*/ 7434 w 117"/>
                  <a:gd name="T57" fmla="*/ 485 h 115"/>
                  <a:gd name="T58" fmla="*/ 7434 w 117"/>
                  <a:gd name="T59" fmla="*/ 565 h 115"/>
                  <a:gd name="T60" fmla="*/ 7958 w 117"/>
                  <a:gd name="T61" fmla="*/ 658 h 115"/>
                  <a:gd name="T62" fmla="*/ 7942 w 117"/>
                  <a:gd name="T63" fmla="*/ 766 h 115"/>
                  <a:gd name="T64" fmla="*/ 7942 w 117"/>
                  <a:gd name="T65" fmla="*/ 920 h 115"/>
                  <a:gd name="T66" fmla="*/ 7958 w 117"/>
                  <a:gd name="T67" fmla="*/ 1019 h 115"/>
                  <a:gd name="T68" fmla="*/ 8282 w 117"/>
                  <a:gd name="T69" fmla="*/ 1128 h 115"/>
                  <a:gd name="T70" fmla="*/ 8385 w 117"/>
                  <a:gd name="T71" fmla="*/ 1410 h 115"/>
                  <a:gd name="T72" fmla="*/ 7958 w 117"/>
                  <a:gd name="T73" fmla="*/ 1611 h 115"/>
                  <a:gd name="T74" fmla="*/ 7942 w 117"/>
                  <a:gd name="T75" fmla="*/ 1818 h 115"/>
                  <a:gd name="T76" fmla="*/ 8848 w 117"/>
                  <a:gd name="T77" fmla="*/ 1611 h 115"/>
                  <a:gd name="T78" fmla="*/ 8958 w 117"/>
                  <a:gd name="T79" fmla="*/ 1683 h 115"/>
                  <a:gd name="T80" fmla="*/ 8958 w 117"/>
                  <a:gd name="T81" fmla="*/ 1863 h 115"/>
                  <a:gd name="T82" fmla="*/ 9281 w 117"/>
                  <a:gd name="T83" fmla="*/ 1960 h 115"/>
                  <a:gd name="T84" fmla="*/ 8282 w 117"/>
                  <a:gd name="T85" fmla="*/ 2062 h 115"/>
                  <a:gd name="T86" fmla="*/ 8269 w 117"/>
                  <a:gd name="T87" fmla="*/ 2419 h 115"/>
                  <a:gd name="T88" fmla="*/ 7942 w 117"/>
                  <a:gd name="T89" fmla="*/ 2527 h 115"/>
                  <a:gd name="T90" fmla="*/ 7434 w 117"/>
                  <a:gd name="T91" fmla="*/ 2678 h 115"/>
                  <a:gd name="T92" fmla="*/ 6781 w 117"/>
                  <a:gd name="T93" fmla="*/ 2909 h 115"/>
                  <a:gd name="T94" fmla="*/ 6313 w 117"/>
                  <a:gd name="T95" fmla="*/ 2944 h 115"/>
                  <a:gd name="T96" fmla="*/ 6096 w 117"/>
                  <a:gd name="T97" fmla="*/ 3073 h 115"/>
                  <a:gd name="T98" fmla="*/ 5941 w 117"/>
                  <a:gd name="T99" fmla="*/ 3233 h 11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7"/>
                  <a:gd name="T151" fmla="*/ 0 h 115"/>
                  <a:gd name="T152" fmla="*/ 117 w 117"/>
                  <a:gd name="T153" fmla="*/ 115 h 11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7" h="115">
                    <a:moveTo>
                      <a:pt x="75" y="113"/>
                    </a:moveTo>
                    <a:lnTo>
                      <a:pt x="72" y="115"/>
                    </a:lnTo>
                    <a:lnTo>
                      <a:pt x="71" y="115"/>
                    </a:lnTo>
                    <a:lnTo>
                      <a:pt x="64" y="113"/>
                    </a:lnTo>
                    <a:lnTo>
                      <a:pt x="43" y="101"/>
                    </a:lnTo>
                    <a:lnTo>
                      <a:pt x="36" y="101"/>
                    </a:lnTo>
                    <a:lnTo>
                      <a:pt x="36" y="97"/>
                    </a:lnTo>
                    <a:lnTo>
                      <a:pt x="32" y="93"/>
                    </a:lnTo>
                    <a:lnTo>
                      <a:pt x="22" y="85"/>
                    </a:lnTo>
                    <a:lnTo>
                      <a:pt x="17" y="82"/>
                    </a:lnTo>
                    <a:lnTo>
                      <a:pt x="16" y="81"/>
                    </a:lnTo>
                    <a:lnTo>
                      <a:pt x="17" y="78"/>
                    </a:lnTo>
                    <a:lnTo>
                      <a:pt x="16" y="75"/>
                    </a:lnTo>
                    <a:lnTo>
                      <a:pt x="14" y="74"/>
                    </a:lnTo>
                    <a:lnTo>
                      <a:pt x="11" y="70"/>
                    </a:lnTo>
                    <a:lnTo>
                      <a:pt x="7" y="70"/>
                    </a:lnTo>
                    <a:lnTo>
                      <a:pt x="4" y="65"/>
                    </a:lnTo>
                    <a:lnTo>
                      <a:pt x="4" y="59"/>
                    </a:lnTo>
                    <a:lnTo>
                      <a:pt x="6" y="59"/>
                    </a:lnTo>
                    <a:lnTo>
                      <a:pt x="7" y="60"/>
                    </a:lnTo>
                    <a:lnTo>
                      <a:pt x="9" y="60"/>
                    </a:lnTo>
                    <a:lnTo>
                      <a:pt x="9" y="59"/>
                    </a:lnTo>
                    <a:lnTo>
                      <a:pt x="7" y="57"/>
                    </a:lnTo>
                    <a:lnTo>
                      <a:pt x="6" y="57"/>
                    </a:lnTo>
                    <a:lnTo>
                      <a:pt x="4" y="54"/>
                    </a:lnTo>
                    <a:lnTo>
                      <a:pt x="4" y="49"/>
                    </a:lnTo>
                    <a:lnTo>
                      <a:pt x="4" y="45"/>
                    </a:lnTo>
                    <a:lnTo>
                      <a:pt x="4" y="43"/>
                    </a:lnTo>
                    <a:lnTo>
                      <a:pt x="0" y="40"/>
                    </a:lnTo>
                    <a:lnTo>
                      <a:pt x="0" y="38"/>
                    </a:lnTo>
                    <a:lnTo>
                      <a:pt x="2" y="33"/>
                    </a:lnTo>
                    <a:lnTo>
                      <a:pt x="6" y="35"/>
                    </a:lnTo>
                    <a:lnTo>
                      <a:pt x="11" y="35"/>
                    </a:lnTo>
                    <a:lnTo>
                      <a:pt x="12" y="35"/>
                    </a:lnTo>
                    <a:lnTo>
                      <a:pt x="14" y="33"/>
                    </a:lnTo>
                    <a:lnTo>
                      <a:pt x="17" y="27"/>
                    </a:lnTo>
                    <a:lnTo>
                      <a:pt x="21" y="26"/>
                    </a:lnTo>
                    <a:lnTo>
                      <a:pt x="22" y="24"/>
                    </a:lnTo>
                    <a:lnTo>
                      <a:pt x="22" y="23"/>
                    </a:lnTo>
                    <a:lnTo>
                      <a:pt x="26" y="20"/>
                    </a:lnTo>
                    <a:lnTo>
                      <a:pt x="29" y="16"/>
                    </a:lnTo>
                    <a:lnTo>
                      <a:pt x="32" y="10"/>
                    </a:lnTo>
                    <a:lnTo>
                      <a:pt x="32" y="4"/>
                    </a:lnTo>
                    <a:lnTo>
                      <a:pt x="34" y="3"/>
                    </a:lnTo>
                    <a:lnTo>
                      <a:pt x="41" y="3"/>
                    </a:lnTo>
                    <a:lnTo>
                      <a:pt x="43" y="6"/>
                    </a:lnTo>
                    <a:lnTo>
                      <a:pt x="45" y="4"/>
                    </a:lnTo>
                    <a:lnTo>
                      <a:pt x="49" y="3"/>
                    </a:lnTo>
                    <a:lnTo>
                      <a:pt x="53" y="3"/>
                    </a:lnTo>
                    <a:lnTo>
                      <a:pt x="53" y="0"/>
                    </a:lnTo>
                    <a:lnTo>
                      <a:pt x="71" y="0"/>
                    </a:lnTo>
                    <a:lnTo>
                      <a:pt x="81" y="1"/>
                    </a:lnTo>
                    <a:lnTo>
                      <a:pt x="82" y="6"/>
                    </a:lnTo>
                    <a:lnTo>
                      <a:pt x="87" y="7"/>
                    </a:lnTo>
                    <a:lnTo>
                      <a:pt x="89" y="11"/>
                    </a:lnTo>
                    <a:lnTo>
                      <a:pt x="92" y="13"/>
                    </a:lnTo>
                    <a:lnTo>
                      <a:pt x="94" y="16"/>
                    </a:lnTo>
                    <a:lnTo>
                      <a:pt x="95" y="18"/>
                    </a:lnTo>
                    <a:lnTo>
                      <a:pt x="94" y="20"/>
                    </a:lnTo>
                    <a:lnTo>
                      <a:pt x="95" y="21"/>
                    </a:lnTo>
                    <a:lnTo>
                      <a:pt x="99" y="23"/>
                    </a:lnTo>
                    <a:lnTo>
                      <a:pt x="102" y="24"/>
                    </a:lnTo>
                    <a:lnTo>
                      <a:pt x="102" y="26"/>
                    </a:lnTo>
                    <a:lnTo>
                      <a:pt x="101" y="27"/>
                    </a:lnTo>
                    <a:lnTo>
                      <a:pt x="102" y="30"/>
                    </a:lnTo>
                    <a:lnTo>
                      <a:pt x="101" y="32"/>
                    </a:lnTo>
                    <a:lnTo>
                      <a:pt x="102" y="35"/>
                    </a:lnTo>
                    <a:lnTo>
                      <a:pt x="102" y="36"/>
                    </a:lnTo>
                    <a:lnTo>
                      <a:pt x="106" y="38"/>
                    </a:lnTo>
                    <a:lnTo>
                      <a:pt x="106" y="40"/>
                    </a:lnTo>
                    <a:lnTo>
                      <a:pt x="107" y="49"/>
                    </a:lnTo>
                    <a:lnTo>
                      <a:pt x="104" y="50"/>
                    </a:lnTo>
                    <a:lnTo>
                      <a:pt x="102" y="57"/>
                    </a:lnTo>
                    <a:lnTo>
                      <a:pt x="101" y="62"/>
                    </a:lnTo>
                    <a:lnTo>
                      <a:pt x="101" y="64"/>
                    </a:lnTo>
                    <a:lnTo>
                      <a:pt x="109" y="60"/>
                    </a:lnTo>
                    <a:lnTo>
                      <a:pt x="113" y="57"/>
                    </a:lnTo>
                    <a:lnTo>
                      <a:pt x="114" y="57"/>
                    </a:lnTo>
                    <a:lnTo>
                      <a:pt x="114" y="59"/>
                    </a:lnTo>
                    <a:lnTo>
                      <a:pt x="114" y="60"/>
                    </a:lnTo>
                    <a:lnTo>
                      <a:pt x="114" y="65"/>
                    </a:lnTo>
                    <a:lnTo>
                      <a:pt x="117" y="67"/>
                    </a:lnTo>
                    <a:lnTo>
                      <a:pt x="117" y="68"/>
                    </a:lnTo>
                    <a:lnTo>
                      <a:pt x="109" y="69"/>
                    </a:lnTo>
                    <a:lnTo>
                      <a:pt x="106" y="72"/>
                    </a:lnTo>
                    <a:lnTo>
                      <a:pt x="104" y="74"/>
                    </a:lnTo>
                    <a:lnTo>
                      <a:pt x="104" y="85"/>
                    </a:lnTo>
                    <a:lnTo>
                      <a:pt x="102" y="85"/>
                    </a:lnTo>
                    <a:lnTo>
                      <a:pt x="101" y="88"/>
                    </a:lnTo>
                    <a:lnTo>
                      <a:pt x="97" y="90"/>
                    </a:lnTo>
                    <a:lnTo>
                      <a:pt x="95" y="94"/>
                    </a:lnTo>
                    <a:lnTo>
                      <a:pt x="91" y="95"/>
                    </a:lnTo>
                    <a:lnTo>
                      <a:pt x="85" y="101"/>
                    </a:lnTo>
                    <a:lnTo>
                      <a:pt x="82" y="103"/>
                    </a:lnTo>
                    <a:lnTo>
                      <a:pt x="79" y="103"/>
                    </a:lnTo>
                    <a:lnTo>
                      <a:pt x="78" y="105"/>
                    </a:lnTo>
                    <a:lnTo>
                      <a:pt x="78" y="107"/>
                    </a:lnTo>
                    <a:lnTo>
                      <a:pt x="77" y="108"/>
                    </a:lnTo>
                    <a:lnTo>
                      <a:pt x="75" y="113"/>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6" name="Freeform 52"/>
              <p:cNvSpPr>
                <a:spLocks/>
              </p:cNvSpPr>
              <p:nvPr/>
            </p:nvSpPr>
            <p:spPr bwMode="auto">
              <a:xfrm>
                <a:off x="922" y="2087"/>
                <a:ext cx="255" cy="256"/>
              </a:xfrm>
              <a:custGeom>
                <a:avLst/>
                <a:gdLst>
                  <a:gd name="T0" fmla="*/ 315 w 238"/>
                  <a:gd name="T1" fmla="*/ 292 h 247"/>
                  <a:gd name="T2" fmla="*/ 235 w 238"/>
                  <a:gd name="T3" fmla="*/ 285 h 247"/>
                  <a:gd name="T4" fmla="*/ 144 w 238"/>
                  <a:gd name="T5" fmla="*/ 301 h 247"/>
                  <a:gd name="T6" fmla="*/ 62 w 238"/>
                  <a:gd name="T7" fmla="*/ 327 h 247"/>
                  <a:gd name="T8" fmla="*/ 61 w 238"/>
                  <a:gd name="T9" fmla="*/ 289 h 247"/>
                  <a:gd name="T10" fmla="*/ 66 w 238"/>
                  <a:gd name="T11" fmla="*/ 277 h 247"/>
                  <a:gd name="T12" fmla="*/ 71 w 238"/>
                  <a:gd name="T13" fmla="*/ 264 h 247"/>
                  <a:gd name="T14" fmla="*/ 61 w 238"/>
                  <a:gd name="T15" fmla="*/ 251 h 247"/>
                  <a:gd name="T16" fmla="*/ 45 w 238"/>
                  <a:gd name="T17" fmla="*/ 237 h 247"/>
                  <a:gd name="T18" fmla="*/ 35 w 238"/>
                  <a:gd name="T19" fmla="*/ 224 h 247"/>
                  <a:gd name="T20" fmla="*/ 13 w 238"/>
                  <a:gd name="T21" fmla="*/ 219 h 247"/>
                  <a:gd name="T22" fmla="*/ 1 w 238"/>
                  <a:gd name="T23" fmla="*/ 216 h 247"/>
                  <a:gd name="T24" fmla="*/ 15 w 238"/>
                  <a:gd name="T25" fmla="*/ 200 h 247"/>
                  <a:gd name="T26" fmla="*/ 14 w 238"/>
                  <a:gd name="T27" fmla="*/ 176 h 247"/>
                  <a:gd name="T28" fmla="*/ 6 w 238"/>
                  <a:gd name="T29" fmla="*/ 160 h 247"/>
                  <a:gd name="T30" fmla="*/ 31 w 238"/>
                  <a:gd name="T31" fmla="*/ 145 h 247"/>
                  <a:gd name="T32" fmla="*/ 34 w 238"/>
                  <a:gd name="T33" fmla="*/ 134 h 247"/>
                  <a:gd name="T34" fmla="*/ 20 w 238"/>
                  <a:gd name="T35" fmla="*/ 130 h 247"/>
                  <a:gd name="T36" fmla="*/ 19 w 238"/>
                  <a:gd name="T37" fmla="*/ 116 h 247"/>
                  <a:gd name="T38" fmla="*/ 41 w 238"/>
                  <a:gd name="T39" fmla="*/ 116 h 247"/>
                  <a:gd name="T40" fmla="*/ 51 w 238"/>
                  <a:gd name="T41" fmla="*/ 122 h 247"/>
                  <a:gd name="T42" fmla="*/ 47 w 238"/>
                  <a:gd name="T43" fmla="*/ 101 h 247"/>
                  <a:gd name="T44" fmla="*/ 41 w 238"/>
                  <a:gd name="T45" fmla="*/ 91 h 247"/>
                  <a:gd name="T46" fmla="*/ 44 w 238"/>
                  <a:gd name="T47" fmla="*/ 79 h 247"/>
                  <a:gd name="T48" fmla="*/ 25 w 238"/>
                  <a:gd name="T49" fmla="*/ 64 h 247"/>
                  <a:gd name="T50" fmla="*/ 27 w 238"/>
                  <a:gd name="T51" fmla="*/ 33 h 247"/>
                  <a:gd name="T52" fmla="*/ 45 w 238"/>
                  <a:gd name="T53" fmla="*/ 21 h 247"/>
                  <a:gd name="T54" fmla="*/ 57 w 238"/>
                  <a:gd name="T55" fmla="*/ 17 h 247"/>
                  <a:gd name="T56" fmla="*/ 71 w 238"/>
                  <a:gd name="T57" fmla="*/ 24 h 247"/>
                  <a:gd name="T58" fmla="*/ 81 w 238"/>
                  <a:gd name="T59" fmla="*/ 25 h 247"/>
                  <a:gd name="T60" fmla="*/ 92 w 238"/>
                  <a:gd name="T61" fmla="*/ 21 h 247"/>
                  <a:gd name="T62" fmla="*/ 110 w 238"/>
                  <a:gd name="T63" fmla="*/ 7 h 247"/>
                  <a:gd name="T64" fmla="*/ 122 w 238"/>
                  <a:gd name="T65" fmla="*/ 5 h 247"/>
                  <a:gd name="T66" fmla="*/ 135 w 238"/>
                  <a:gd name="T67" fmla="*/ 0 h 247"/>
                  <a:gd name="T68" fmla="*/ 140 w 238"/>
                  <a:gd name="T69" fmla="*/ 21 h 247"/>
                  <a:gd name="T70" fmla="*/ 158 w 238"/>
                  <a:gd name="T71" fmla="*/ 21 h 247"/>
                  <a:gd name="T72" fmla="*/ 177 w 238"/>
                  <a:gd name="T73" fmla="*/ 17 h 247"/>
                  <a:gd name="T74" fmla="*/ 199 w 238"/>
                  <a:gd name="T75" fmla="*/ 21 h 247"/>
                  <a:gd name="T76" fmla="*/ 205 w 238"/>
                  <a:gd name="T77" fmla="*/ 27 h 247"/>
                  <a:gd name="T78" fmla="*/ 210 w 238"/>
                  <a:gd name="T79" fmla="*/ 43 h 247"/>
                  <a:gd name="T80" fmla="*/ 227 w 238"/>
                  <a:gd name="T81" fmla="*/ 52 h 247"/>
                  <a:gd name="T82" fmla="*/ 236 w 238"/>
                  <a:gd name="T83" fmla="*/ 48 h 247"/>
                  <a:gd name="T84" fmla="*/ 254 w 238"/>
                  <a:gd name="T85" fmla="*/ 47 h 247"/>
                  <a:gd name="T86" fmla="*/ 290 w 238"/>
                  <a:gd name="T87" fmla="*/ 37 h 247"/>
                  <a:gd name="T88" fmla="*/ 320 w 238"/>
                  <a:gd name="T89" fmla="*/ 47 h 247"/>
                  <a:gd name="T90" fmla="*/ 338 w 238"/>
                  <a:gd name="T91" fmla="*/ 64 h 247"/>
                  <a:gd name="T92" fmla="*/ 343 w 238"/>
                  <a:gd name="T93" fmla="*/ 70 h 247"/>
                  <a:gd name="T94" fmla="*/ 347 w 238"/>
                  <a:gd name="T95" fmla="*/ 82 h 247"/>
                  <a:gd name="T96" fmla="*/ 354 w 238"/>
                  <a:gd name="T97" fmla="*/ 128 h 247"/>
                  <a:gd name="T98" fmla="*/ 342 w 238"/>
                  <a:gd name="T99" fmla="*/ 138 h 247"/>
                  <a:gd name="T100" fmla="*/ 331 w 238"/>
                  <a:gd name="T101" fmla="*/ 179 h 247"/>
                  <a:gd name="T102" fmla="*/ 315 w 238"/>
                  <a:gd name="T103" fmla="*/ 212 h 247"/>
                  <a:gd name="T104" fmla="*/ 332 w 238"/>
                  <a:gd name="T105" fmla="*/ 256 h 247"/>
                  <a:gd name="T106" fmla="*/ 343 w 238"/>
                  <a:gd name="T107" fmla="*/ 282 h 24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8"/>
                  <a:gd name="T163" fmla="*/ 0 h 247"/>
                  <a:gd name="T164" fmla="*/ 238 w 238"/>
                  <a:gd name="T165" fmla="*/ 247 h 24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8" h="247">
                    <a:moveTo>
                      <a:pt x="215" y="213"/>
                    </a:moveTo>
                    <a:lnTo>
                      <a:pt x="212" y="219"/>
                    </a:lnTo>
                    <a:lnTo>
                      <a:pt x="210" y="219"/>
                    </a:lnTo>
                    <a:lnTo>
                      <a:pt x="208" y="219"/>
                    </a:lnTo>
                    <a:lnTo>
                      <a:pt x="193" y="216"/>
                    </a:lnTo>
                    <a:lnTo>
                      <a:pt x="181" y="213"/>
                    </a:lnTo>
                    <a:lnTo>
                      <a:pt x="169" y="213"/>
                    </a:lnTo>
                    <a:lnTo>
                      <a:pt x="154" y="215"/>
                    </a:lnTo>
                    <a:lnTo>
                      <a:pt x="146" y="216"/>
                    </a:lnTo>
                    <a:lnTo>
                      <a:pt x="122" y="221"/>
                    </a:lnTo>
                    <a:lnTo>
                      <a:pt x="113" y="222"/>
                    </a:lnTo>
                    <a:lnTo>
                      <a:pt x="95" y="226"/>
                    </a:lnTo>
                    <a:lnTo>
                      <a:pt x="85" y="231"/>
                    </a:lnTo>
                    <a:lnTo>
                      <a:pt x="68" y="238"/>
                    </a:lnTo>
                    <a:lnTo>
                      <a:pt x="51" y="247"/>
                    </a:lnTo>
                    <a:lnTo>
                      <a:pt x="41" y="246"/>
                    </a:lnTo>
                    <a:lnTo>
                      <a:pt x="40" y="243"/>
                    </a:lnTo>
                    <a:lnTo>
                      <a:pt x="40" y="225"/>
                    </a:lnTo>
                    <a:lnTo>
                      <a:pt x="41" y="222"/>
                    </a:lnTo>
                    <a:lnTo>
                      <a:pt x="40" y="217"/>
                    </a:lnTo>
                    <a:lnTo>
                      <a:pt x="41" y="216"/>
                    </a:lnTo>
                    <a:lnTo>
                      <a:pt x="42" y="216"/>
                    </a:lnTo>
                    <a:lnTo>
                      <a:pt x="42" y="210"/>
                    </a:lnTo>
                    <a:lnTo>
                      <a:pt x="44" y="208"/>
                    </a:lnTo>
                    <a:lnTo>
                      <a:pt x="47" y="208"/>
                    </a:lnTo>
                    <a:lnTo>
                      <a:pt x="47" y="207"/>
                    </a:lnTo>
                    <a:lnTo>
                      <a:pt x="46" y="203"/>
                    </a:lnTo>
                    <a:lnTo>
                      <a:pt x="47" y="198"/>
                    </a:lnTo>
                    <a:lnTo>
                      <a:pt x="46" y="195"/>
                    </a:lnTo>
                    <a:lnTo>
                      <a:pt x="44" y="192"/>
                    </a:lnTo>
                    <a:lnTo>
                      <a:pt x="44" y="187"/>
                    </a:lnTo>
                    <a:lnTo>
                      <a:pt x="40" y="188"/>
                    </a:lnTo>
                    <a:lnTo>
                      <a:pt x="36" y="185"/>
                    </a:lnTo>
                    <a:lnTo>
                      <a:pt x="32" y="184"/>
                    </a:lnTo>
                    <a:lnTo>
                      <a:pt x="32" y="182"/>
                    </a:lnTo>
                    <a:lnTo>
                      <a:pt x="30" y="178"/>
                    </a:lnTo>
                    <a:lnTo>
                      <a:pt x="27" y="177"/>
                    </a:lnTo>
                    <a:lnTo>
                      <a:pt x="27" y="174"/>
                    </a:lnTo>
                    <a:lnTo>
                      <a:pt x="24" y="169"/>
                    </a:lnTo>
                    <a:lnTo>
                      <a:pt x="23" y="169"/>
                    </a:lnTo>
                    <a:lnTo>
                      <a:pt x="16" y="169"/>
                    </a:lnTo>
                    <a:lnTo>
                      <a:pt x="10" y="166"/>
                    </a:lnTo>
                    <a:lnTo>
                      <a:pt x="8" y="166"/>
                    </a:lnTo>
                    <a:lnTo>
                      <a:pt x="7" y="165"/>
                    </a:lnTo>
                    <a:lnTo>
                      <a:pt x="6" y="164"/>
                    </a:lnTo>
                    <a:lnTo>
                      <a:pt x="4" y="164"/>
                    </a:lnTo>
                    <a:lnTo>
                      <a:pt x="3" y="162"/>
                    </a:lnTo>
                    <a:lnTo>
                      <a:pt x="1" y="162"/>
                    </a:lnTo>
                    <a:lnTo>
                      <a:pt x="0" y="161"/>
                    </a:lnTo>
                    <a:lnTo>
                      <a:pt x="4" y="158"/>
                    </a:lnTo>
                    <a:lnTo>
                      <a:pt x="9" y="152"/>
                    </a:lnTo>
                    <a:lnTo>
                      <a:pt x="9" y="151"/>
                    </a:lnTo>
                    <a:lnTo>
                      <a:pt x="13" y="139"/>
                    </a:lnTo>
                    <a:lnTo>
                      <a:pt x="9" y="137"/>
                    </a:lnTo>
                    <a:lnTo>
                      <a:pt x="9" y="135"/>
                    </a:lnTo>
                    <a:lnTo>
                      <a:pt x="8" y="133"/>
                    </a:lnTo>
                    <a:lnTo>
                      <a:pt x="6" y="133"/>
                    </a:lnTo>
                    <a:lnTo>
                      <a:pt x="4" y="126"/>
                    </a:lnTo>
                    <a:lnTo>
                      <a:pt x="4" y="123"/>
                    </a:lnTo>
                    <a:lnTo>
                      <a:pt x="6" y="121"/>
                    </a:lnTo>
                    <a:lnTo>
                      <a:pt x="16" y="121"/>
                    </a:lnTo>
                    <a:lnTo>
                      <a:pt x="16" y="120"/>
                    </a:lnTo>
                    <a:lnTo>
                      <a:pt x="20" y="114"/>
                    </a:lnTo>
                    <a:lnTo>
                      <a:pt x="20" y="109"/>
                    </a:lnTo>
                    <a:lnTo>
                      <a:pt x="20" y="104"/>
                    </a:lnTo>
                    <a:lnTo>
                      <a:pt x="23" y="103"/>
                    </a:lnTo>
                    <a:lnTo>
                      <a:pt x="23" y="101"/>
                    </a:lnTo>
                    <a:lnTo>
                      <a:pt x="22" y="101"/>
                    </a:lnTo>
                    <a:lnTo>
                      <a:pt x="22" y="99"/>
                    </a:lnTo>
                    <a:lnTo>
                      <a:pt x="22" y="98"/>
                    </a:lnTo>
                    <a:lnTo>
                      <a:pt x="20" y="96"/>
                    </a:lnTo>
                    <a:lnTo>
                      <a:pt x="14" y="98"/>
                    </a:lnTo>
                    <a:lnTo>
                      <a:pt x="13" y="96"/>
                    </a:lnTo>
                    <a:lnTo>
                      <a:pt x="15" y="92"/>
                    </a:lnTo>
                    <a:lnTo>
                      <a:pt x="14" y="88"/>
                    </a:lnTo>
                    <a:lnTo>
                      <a:pt x="13" y="88"/>
                    </a:lnTo>
                    <a:lnTo>
                      <a:pt x="18" y="85"/>
                    </a:lnTo>
                    <a:lnTo>
                      <a:pt x="25" y="86"/>
                    </a:lnTo>
                    <a:lnTo>
                      <a:pt x="27" y="88"/>
                    </a:lnTo>
                    <a:lnTo>
                      <a:pt x="29" y="88"/>
                    </a:lnTo>
                    <a:lnTo>
                      <a:pt x="31" y="88"/>
                    </a:lnTo>
                    <a:lnTo>
                      <a:pt x="33" y="92"/>
                    </a:lnTo>
                    <a:lnTo>
                      <a:pt x="34" y="92"/>
                    </a:lnTo>
                    <a:lnTo>
                      <a:pt x="33" y="86"/>
                    </a:lnTo>
                    <a:lnTo>
                      <a:pt x="33" y="83"/>
                    </a:lnTo>
                    <a:lnTo>
                      <a:pt x="31" y="81"/>
                    </a:lnTo>
                    <a:lnTo>
                      <a:pt x="31" y="76"/>
                    </a:lnTo>
                    <a:lnTo>
                      <a:pt x="29" y="76"/>
                    </a:lnTo>
                    <a:lnTo>
                      <a:pt x="26" y="75"/>
                    </a:lnTo>
                    <a:lnTo>
                      <a:pt x="25" y="75"/>
                    </a:lnTo>
                    <a:lnTo>
                      <a:pt x="27" y="69"/>
                    </a:lnTo>
                    <a:lnTo>
                      <a:pt x="30" y="66"/>
                    </a:lnTo>
                    <a:lnTo>
                      <a:pt x="32" y="65"/>
                    </a:lnTo>
                    <a:lnTo>
                      <a:pt x="32" y="63"/>
                    </a:lnTo>
                    <a:lnTo>
                      <a:pt x="29" y="60"/>
                    </a:lnTo>
                    <a:lnTo>
                      <a:pt x="26" y="62"/>
                    </a:lnTo>
                    <a:lnTo>
                      <a:pt x="27" y="52"/>
                    </a:lnTo>
                    <a:lnTo>
                      <a:pt x="23" y="52"/>
                    </a:lnTo>
                    <a:lnTo>
                      <a:pt x="17" y="48"/>
                    </a:lnTo>
                    <a:lnTo>
                      <a:pt x="17" y="35"/>
                    </a:lnTo>
                    <a:lnTo>
                      <a:pt x="16" y="30"/>
                    </a:lnTo>
                    <a:lnTo>
                      <a:pt x="18" y="28"/>
                    </a:lnTo>
                    <a:lnTo>
                      <a:pt x="18" y="26"/>
                    </a:lnTo>
                    <a:lnTo>
                      <a:pt x="23" y="21"/>
                    </a:lnTo>
                    <a:lnTo>
                      <a:pt x="27" y="19"/>
                    </a:lnTo>
                    <a:lnTo>
                      <a:pt x="30" y="15"/>
                    </a:lnTo>
                    <a:lnTo>
                      <a:pt x="31" y="14"/>
                    </a:lnTo>
                    <a:lnTo>
                      <a:pt x="32" y="11"/>
                    </a:lnTo>
                    <a:lnTo>
                      <a:pt x="34" y="11"/>
                    </a:lnTo>
                    <a:lnTo>
                      <a:pt x="37" y="11"/>
                    </a:lnTo>
                    <a:lnTo>
                      <a:pt x="40" y="9"/>
                    </a:lnTo>
                    <a:lnTo>
                      <a:pt x="42" y="10"/>
                    </a:lnTo>
                    <a:lnTo>
                      <a:pt x="46" y="14"/>
                    </a:lnTo>
                    <a:lnTo>
                      <a:pt x="47" y="18"/>
                    </a:lnTo>
                    <a:lnTo>
                      <a:pt x="47" y="17"/>
                    </a:lnTo>
                    <a:lnTo>
                      <a:pt x="49" y="15"/>
                    </a:lnTo>
                    <a:lnTo>
                      <a:pt x="51" y="15"/>
                    </a:lnTo>
                    <a:lnTo>
                      <a:pt x="54" y="19"/>
                    </a:lnTo>
                    <a:lnTo>
                      <a:pt x="57" y="21"/>
                    </a:lnTo>
                    <a:lnTo>
                      <a:pt x="59" y="21"/>
                    </a:lnTo>
                    <a:lnTo>
                      <a:pt x="61" y="18"/>
                    </a:lnTo>
                    <a:lnTo>
                      <a:pt x="61" y="15"/>
                    </a:lnTo>
                    <a:lnTo>
                      <a:pt x="65" y="14"/>
                    </a:lnTo>
                    <a:lnTo>
                      <a:pt x="73" y="14"/>
                    </a:lnTo>
                    <a:lnTo>
                      <a:pt x="74" y="11"/>
                    </a:lnTo>
                    <a:lnTo>
                      <a:pt x="73" y="7"/>
                    </a:lnTo>
                    <a:lnTo>
                      <a:pt x="73" y="4"/>
                    </a:lnTo>
                    <a:lnTo>
                      <a:pt x="74" y="2"/>
                    </a:lnTo>
                    <a:lnTo>
                      <a:pt x="77" y="2"/>
                    </a:lnTo>
                    <a:lnTo>
                      <a:pt x="80" y="5"/>
                    </a:lnTo>
                    <a:lnTo>
                      <a:pt x="81" y="5"/>
                    </a:lnTo>
                    <a:lnTo>
                      <a:pt x="84" y="0"/>
                    </a:lnTo>
                    <a:lnTo>
                      <a:pt x="88" y="0"/>
                    </a:lnTo>
                    <a:lnTo>
                      <a:pt x="90" y="0"/>
                    </a:lnTo>
                    <a:lnTo>
                      <a:pt x="91" y="0"/>
                    </a:lnTo>
                    <a:lnTo>
                      <a:pt x="91" y="5"/>
                    </a:lnTo>
                    <a:lnTo>
                      <a:pt x="92" y="7"/>
                    </a:lnTo>
                    <a:lnTo>
                      <a:pt x="92" y="15"/>
                    </a:lnTo>
                    <a:lnTo>
                      <a:pt x="92" y="18"/>
                    </a:lnTo>
                    <a:lnTo>
                      <a:pt x="99" y="18"/>
                    </a:lnTo>
                    <a:lnTo>
                      <a:pt x="102" y="15"/>
                    </a:lnTo>
                    <a:lnTo>
                      <a:pt x="104" y="15"/>
                    </a:lnTo>
                    <a:lnTo>
                      <a:pt x="106" y="10"/>
                    </a:lnTo>
                    <a:lnTo>
                      <a:pt x="109" y="10"/>
                    </a:lnTo>
                    <a:lnTo>
                      <a:pt x="116" y="10"/>
                    </a:lnTo>
                    <a:lnTo>
                      <a:pt x="117" y="11"/>
                    </a:lnTo>
                    <a:lnTo>
                      <a:pt x="120" y="15"/>
                    </a:lnTo>
                    <a:lnTo>
                      <a:pt x="122" y="15"/>
                    </a:lnTo>
                    <a:lnTo>
                      <a:pt x="130" y="15"/>
                    </a:lnTo>
                    <a:lnTo>
                      <a:pt x="132" y="15"/>
                    </a:lnTo>
                    <a:lnTo>
                      <a:pt x="133" y="15"/>
                    </a:lnTo>
                    <a:lnTo>
                      <a:pt x="133" y="19"/>
                    </a:lnTo>
                    <a:lnTo>
                      <a:pt x="133" y="21"/>
                    </a:lnTo>
                    <a:lnTo>
                      <a:pt x="135" y="21"/>
                    </a:lnTo>
                    <a:lnTo>
                      <a:pt x="137" y="25"/>
                    </a:lnTo>
                    <a:lnTo>
                      <a:pt x="139" y="26"/>
                    </a:lnTo>
                    <a:lnTo>
                      <a:pt x="139" y="28"/>
                    </a:lnTo>
                    <a:lnTo>
                      <a:pt x="139" y="31"/>
                    </a:lnTo>
                    <a:lnTo>
                      <a:pt x="142" y="31"/>
                    </a:lnTo>
                    <a:lnTo>
                      <a:pt x="145" y="34"/>
                    </a:lnTo>
                    <a:lnTo>
                      <a:pt x="145" y="36"/>
                    </a:lnTo>
                    <a:lnTo>
                      <a:pt x="150" y="40"/>
                    </a:lnTo>
                    <a:lnTo>
                      <a:pt x="150" y="38"/>
                    </a:lnTo>
                    <a:lnTo>
                      <a:pt x="154" y="38"/>
                    </a:lnTo>
                    <a:lnTo>
                      <a:pt x="154" y="36"/>
                    </a:lnTo>
                    <a:lnTo>
                      <a:pt x="155" y="36"/>
                    </a:lnTo>
                    <a:lnTo>
                      <a:pt x="157" y="40"/>
                    </a:lnTo>
                    <a:lnTo>
                      <a:pt x="162" y="41"/>
                    </a:lnTo>
                    <a:lnTo>
                      <a:pt x="165" y="40"/>
                    </a:lnTo>
                    <a:lnTo>
                      <a:pt x="167" y="35"/>
                    </a:lnTo>
                    <a:lnTo>
                      <a:pt x="170" y="35"/>
                    </a:lnTo>
                    <a:lnTo>
                      <a:pt x="175" y="33"/>
                    </a:lnTo>
                    <a:lnTo>
                      <a:pt x="185" y="31"/>
                    </a:lnTo>
                    <a:lnTo>
                      <a:pt x="191" y="28"/>
                    </a:lnTo>
                    <a:lnTo>
                      <a:pt x="197" y="30"/>
                    </a:lnTo>
                    <a:lnTo>
                      <a:pt x="204" y="31"/>
                    </a:lnTo>
                    <a:lnTo>
                      <a:pt x="208" y="30"/>
                    </a:lnTo>
                    <a:lnTo>
                      <a:pt x="212" y="35"/>
                    </a:lnTo>
                    <a:lnTo>
                      <a:pt x="215" y="36"/>
                    </a:lnTo>
                    <a:lnTo>
                      <a:pt x="217" y="40"/>
                    </a:lnTo>
                    <a:lnTo>
                      <a:pt x="220" y="47"/>
                    </a:lnTo>
                    <a:lnTo>
                      <a:pt x="223" y="48"/>
                    </a:lnTo>
                    <a:lnTo>
                      <a:pt x="226" y="48"/>
                    </a:lnTo>
                    <a:lnTo>
                      <a:pt x="229" y="47"/>
                    </a:lnTo>
                    <a:lnTo>
                      <a:pt x="229" y="50"/>
                    </a:lnTo>
                    <a:lnTo>
                      <a:pt x="227" y="52"/>
                    </a:lnTo>
                    <a:lnTo>
                      <a:pt x="229" y="57"/>
                    </a:lnTo>
                    <a:lnTo>
                      <a:pt x="226" y="60"/>
                    </a:lnTo>
                    <a:lnTo>
                      <a:pt x="225" y="62"/>
                    </a:lnTo>
                    <a:lnTo>
                      <a:pt x="229" y="62"/>
                    </a:lnTo>
                    <a:lnTo>
                      <a:pt x="230" y="65"/>
                    </a:lnTo>
                    <a:lnTo>
                      <a:pt x="235" y="84"/>
                    </a:lnTo>
                    <a:lnTo>
                      <a:pt x="238" y="94"/>
                    </a:lnTo>
                    <a:lnTo>
                      <a:pt x="233" y="96"/>
                    </a:lnTo>
                    <a:lnTo>
                      <a:pt x="233" y="99"/>
                    </a:lnTo>
                    <a:lnTo>
                      <a:pt x="230" y="99"/>
                    </a:lnTo>
                    <a:lnTo>
                      <a:pt x="229" y="103"/>
                    </a:lnTo>
                    <a:lnTo>
                      <a:pt x="226" y="104"/>
                    </a:lnTo>
                    <a:lnTo>
                      <a:pt x="224" y="111"/>
                    </a:lnTo>
                    <a:lnTo>
                      <a:pt x="219" y="120"/>
                    </a:lnTo>
                    <a:lnTo>
                      <a:pt x="218" y="126"/>
                    </a:lnTo>
                    <a:lnTo>
                      <a:pt x="218" y="134"/>
                    </a:lnTo>
                    <a:lnTo>
                      <a:pt x="215" y="137"/>
                    </a:lnTo>
                    <a:lnTo>
                      <a:pt x="212" y="142"/>
                    </a:lnTo>
                    <a:lnTo>
                      <a:pt x="208" y="147"/>
                    </a:lnTo>
                    <a:lnTo>
                      <a:pt x="208" y="159"/>
                    </a:lnTo>
                    <a:lnTo>
                      <a:pt x="208" y="165"/>
                    </a:lnTo>
                    <a:lnTo>
                      <a:pt x="213" y="178"/>
                    </a:lnTo>
                    <a:lnTo>
                      <a:pt x="215" y="190"/>
                    </a:lnTo>
                    <a:lnTo>
                      <a:pt x="219" y="193"/>
                    </a:lnTo>
                    <a:lnTo>
                      <a:pt x="224" y="195"/>
                    </a:lnTo>
                    <a:lnTo>
                      <a:pt x="226" y="195"/>
                    </a:lnTo>
                    <a:lnTo>
                      <a:pt x="227" y="203"/>
                    </a:lnTo>
                    <a:lnTo>
                      <a:pt x="227" y="213"/>
                    </a:lnTo>
                    <a:lnTo>
                      <a:pt x="223" y="215"/>
                    </a:lnTo>
                    <a:lnTo>
                      <a:pt x="220" y="213"/>
                    </a:lnTo>
                    <a:lnTo>
                      <a:pt x="215" y="213"/>
                    </a:lnTo>
                    <a:close/>
                  </a:path>
                </a:pathLst>
              </a:custGeom>
              <a:solidFill>
                <a:srgbClr val="DA9797"/>
              </a:solidFill>
              <a:ln>
                <a:noFill/>
              </a:ln>
              <a:extLst/>
            </p:spPr>
            <p:txBody>
              <a:bodyPr/>
              <a:lstStyle/>
              <a:p>
                <a:pPr>
                  <a:defRPr/>
                </a:pPr>
                <a:endParaRPr lang="en-US">
                  <a:latin typeface="Arial" panose="020B0604020202020204" pitchFamily="34" charset="0"/>
                  <a:ea typeface="ＭＳ Ｐゴシック" panose="020B0600070205080204" pitchFamily="34" charset="-128"/>
                  <a:cs typeface="+mn-cs"/>
                </a:endParaRPr>
              </a:p>
            </p:txBody>
          </p:sp>
          <p:sp>
            <p:nvSpPr>
              <p:cNvPr id="267" name="Freeform 53"/>
              <p:cNvSpPr>
                <a:spLocks/>
              </p:cNvSpPr>
              <p:nvPr/>
            </p:nvSpPr>
            <p:spPr bwMode="auto">
              <a:xfrm>
                <a:off x="922" y="2087"/>
                <a:ext cx="255" cy="259"/>
              </a:xfrm>
              <a:custGeom>
                <a:avLst/>
                <a:gdLst>
                  <a:gd name="T0" fmla="*/ 19851 w 238"/>
                  <a:gd name="T1" fmla="*/ 5029 h 247"/>
                  <a:gd name="T2" fmla="*/ 14734 w 238"/>
                  <a:gd name="T3" fmla="*/ 4903 h 247"/>
                  <a:gd name="T4" fmla="*/ 9090 w 238"/>
                  <a:gd name="T5" fmla="*/ 5187 h 247"/>
                  <a:gd name="T6" fmla="*/ 3852 w 238"/>
                  <a:gd name="T7" fmla="*/ 5615 h 247"/>
                  <a:gd name="T8" fmla="*/ 3838 w 238"/>
                  <a:gd name="T9" fmla="*/ 4989 h 247"/>
                  <a:gd name="T10" fmla="*/ 4127 w 238"/>
                  <a:gd name="T11" fmla="*/ 4768 h 247"/>
                  <a:gd name="T12" fmla="*/ 4422 w 238"/>
                  <a:gd name="T13" fmla="*/ 4547 h 247"/>
                  <a:gd name="T14" fmla="*/ 3838 w 238"/>
                  <a:gd name="T15" fmla="*/ 4328 h 247"/>
                  <a:gd name="T16" fmla="*/ 2822 w 238"/>
                  <a:gd name="T17" fmla="*/ 4092 h 247"/>
                  <a:gd name="T18" fmla="*/ 2217 w 238"/>
                  <a:gd name="T19" fmla="*/ 3841 h 247"/>
                  <a:gd name="T20" fmla="*/ 788 w 238"/>
                  <a:gd name="T21" fmla="*/ 3783 h 247"/>
                  <a:gd name="T22" fmla="*/ 1 w 238"/>
                  <a:gd name="T23" fmla="*/ 3721 h 247"/>
                  <a:gd name="T24" fmla="*/ 904 w 238"/>
                  <a:gd name="T25" fmla="*/ 3447 h 247"/>
                  <a:gd name="T26" fmla="*/ 844 w 238"/>
                  <a:gd name="T27" fmla="*/ 3025 h 247"/>
                  <a:gd name="T28" fmla="*/ 6 w 238"/>
                  <a:gd name="T29" fmla="*/ 2751 h 247"/>
                  <a:gd name="T30" fmla="*/ 1931 w 238"/>
                  <a:gd name="T31" fmla="*/ 2496 h 247"/>
                  <a:gd name="T32" fmla="*/ 2141 w 238"/>
                  <a:gd name="T33" fmla="*/ 2336 h 247"/>
                  <a:gd name="T34" fmla="*/ 1276 w 238"/>
                  <a:gd name="T35" fmla="*/ 2246 h 247"/>
                  <a:gd name="T36" fmla="*/ 1191 w 238"/>
                  <a:gd name="T37" fmla="*/ 2027 h 247"/>
                  <a:gd name="T38" fmla="*/ 2545 w 238"/>
                  <a:gd name="T39" fmla="*/ 2027 h 247"/>
                  <a:gd name="T40" fmla="*/ 3240 w 238"/>
                  <a:gd name="T41" fmla="*/ 2125 h 247"/>
                  <a:gd name="T42" fmla="*/ 2922 w 238"/>
                  <a:gd name="T43" fmla="*/ 1758 h 247"/>
                  <a:gd name="T44" fmla="*/ 2545 w 238"/>
                  <a:gd name="T45" fmla="*/ 1557 h 247"/>
                  <a:gd name="T46" fmla="*/ 2727 w 238"/>
                  <a:gd name="T47" fmla="*/ 1350 h 247"/>
                  <a:gd name="T48" fmla="*/ 1570 w 238"/>
                  <a:gd name="T49" fmla="*/ 1102 h 247"/>
                  <a:gd name="T50" fmla="*/ 1682 w 238"/>
                  <a:gd name="T51" fmla="*/ 573 h 247"/>
                  <a:gd name="T52" fmla="*/ 2822 w 238"/>
                  <a:gd name="T53" fmla="*/ 340 h 247"/>
                  <a:gd name="T54" fmla="*/ 3582 w 238"/>
                  <a:gd name="T55" fmla="*/ 281 h 247"/>
                  <a:gd name="T56" fmla="*/ 4422 w 238"/>
                  <a:gd name="T57" fmla="*/ 392 h 247"/>
                  <a:gd name="T58" fmla="*/ 5076 w 238"/>
                  <a:gd name="T59" fmla="*/ 411 h 247"/>
                  <a:gd name="T60" fmla="*/ 5806 w 238"/>
                  <a:gd name="T61" fmla="*/ 340 h 247"/>
                  <a:gd name="T62" fmla="*/ 6921 w 238"/>
                  <a:gd name="T63" fmla="*/ 7 h 247"/>
                  <a:gd name="T64" fmla="*/ 7651 w 238"/>
                  <a:gd name="T65" fmla="*/ 5 h 247"/>
                  <a:gd name="T66" fmla="*/ 8513 w 238"/>
                  <a:gd name="T67" fmla="*/ 0 h 247"/>
                  <a:gd name="T68" fmla="*/ 8784 w 238"/>
                  <a:gd name="T69" fmla="*/ 340 h 247"/>
                  <a:gd name="T70" fmla="*/ 9958 w 238"/>
                  <a:gd name="T71" fmla="*/ 340 h 247"/>
                  <a:gd name="T72" fmla="*/ 11180 w 238"/>
                  <a:gd name="T73" fmla="*/ 281 h 247"/>
                  <a:gd name="T74" fmla="*/ 12450 w 238"/>
                  <a:gd name="T75" fmla="*/ 340 h 247"/>
                  <a:gd name="T76" fmla="*/ 12879 w 238"/>
                  <a:gd name="T77" fmla="*/ 452 h 247"/>
                  <a:gd name="T78" fmla="*/ 13151 w 238"/>
                  <a:gd name="T79" fmla="*/ 727 h 247"/>
                  <a:gd name="T80" fmla="*/ 14237 w 238"/>
                  <a:gd name="T81" fmla="*/ 912 h 247"/>
                  <a:gd name="T82" fmla="*/ 14785 w 238"/>
                  <a:gd name="T83" fmla="*/ 830 h 247"/>
                  <a:gd name="T84" fmla="*/ 15932 w 238"/>
                  <a:gd name="T85" fmla="*/ 799 h 247"/>
                  <a:gd name="T86" fmla="*/ 18185 w 238"/>
                  <a:gd name="T87" fmla="*/ 630 h 247"/>
                  <a:gd name="T88" fmla="*/ 20102 w 238"/>
                  <a:gd name="T89" fmla="*/ 799 h 247"/>
                  <a:gd name="T90" fmla="*/ 21269 w 238"/>
                  <a:gd name="T91" fmla="*/ 1102 h 247"/>
                  <a:gd name="T92" fmla="*/ 21538 w 238"/>
                  <a:gd name="T93" fmla="*/ 1212 h 247"/>
                  <a:gd name="T94" fmla="*/ 21857 w 238"/>
                  <a:gd name="T95" fmla="*/ 1413 h 247"/>
                  <a:gd name="T96" fmla="*/ 22197 w 238"/>
                  <a:gd name="T97" fmla="*/ 2228 h 247"/>
                  <a:gd name="T98" fmla="*/ 21468 w 238"/>
                  <a:gd name="T99" fmla="*/ 2380 h 247"/>
                  <a:gd name="T100" fmla="*/ 20760 w 238"/>
                  <a:gd name="T101" fmla="*/ 3105 h 247"/>
                  <a:gd name="T102" fmla="*/ 19851 w 238"/>
                  <a:gd name="T103" fmla="*/ 3648 h 247"/>
                  <a:gd name="T104" fmla="*/ 20803 w 238"/>
                  <a:gd name="T105" fmla="*/ 4410 h 247"/>
                  <a:gd name="T106" fmla="*/ 21538 w 238"/>
                  <a:gd name="T107" fmla="*/ 4861 h 24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8"/>
                  <a:gd name="T163" fmla="*/ 0 h 247"/>
                  <a:gd name="T164" fmla="*/ 238 w 238"/>
                  <a:gd name="T165" fmla="*/ 247 h 24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8" h="247">
                    <a:moveTo>
                      <a:pt x="215" y="213"/>
                    </a:moveTo>
                    <a:lnTo>
                      <a:pt x="212" y="219"/>
                    </a:lnTo>
                    <a:lnTo>
                      <a:pt x="210" y="219"/>
                    </a:lnTo>
                    <a:lnTo>
                      <a:pt x="208" y="219"/>
                    </a:lnTo>
                    <a:lnTo>
                      <a:pt x="193" y="216"/>
                    </a:lnTo>
                    <a:lnTo>
                      <a:pt x="181" y="213"/>
                    </a:lnTo>
                    <a:lnTo>
                      <a:pt x="169" y="213"/>
                    </a:lnTo>
                    <a:lnTo>
                      <a:pt x="154" y="215"/>
                    </a:lnTo>
                    <a:lnTo>
                      <a:pt x="146" y="216"/>
                    </a:lnTo>
                    <a:lnTo>
                      <a:pt x="122" y="221"/>
                    </a:lnTo>
                    <a:lnTo>
                      <a:pt x="113" y="222"/>
                    </a:lnTo>
                    <a:lnTo>
                      <a:pt x="95" y="226"/>
                    </a:lnTo>
                    <a:lnTo>
                      <a:pt x="85" y="231"/>
                    </a:lnTo>
                    <a:lnTo>
                      <a:pt x="68" y="238"/>
                    </a:lnTo>
                    <a:lnTo>
                      <a:pt x="51" y="247"/>
                    </a:lnTo>
                    <a:lnTo>
                      <a:pt x="41" y="246"/>
                    </a:lnTo>
                    <a:lnTo>
                      <a:pt x="40" y="243"/>
                    </a:lnTo>
                    <a:lnTo>
                      <a:pt x="40" y="225"/>
                    </a:lnTo>
                    <a:lnTo>
                      <a:pt x="41" y="222"/>
                    </a:lnTo>
                    <a:lnTo>
                      <a:pt x="40" y="217"/>
                    </a:lnTo>
                    <a:lnTo>
                      <a:pt x="41" y="216"/>
                    </a:lnTo>
                    <a:lnTo>
                      <a:pt x="42" y="216"/>
                    </a:lnTo>
                    <a:lnTo>
                      <a:pt x="42" y="210"/>
                    </a:lnTo>
                    <a:lnTo>
                      <a:pt x="44" y="208"/>
                    </a:lnTo>
                    <a:lnTo>
                      <a:pt x="47" y="208"/>
                    </a:lnTo>
                    <a:lnTo>
                      <a:pt x="47" y="207"/>
                    </a:lnTo>
                    <a:lnTo>
                      <a:pt x="46" y="203"/>
                    </a:lnTo>
                    <a:lnTo>
                      <a:pt x="47" y="198"/>
                    </a:lnTo>
                    <a:lnTo>
                      <a:pt x="46" y="195"/>
                    </a:lnTo>
                    <a:lnTo>
                      <a:pt x="44" y="192"/>
                    </a:lnTo>
                    <a:lnTo>
                      <a:pt x="44" y="187"/>
                    </a:lnTo>
                    <a:lnTo>
                      <a:pt x="40" y="188"/>
                    </a:lnTo>
                    <a:lnTo>
                      <a:pt x="36" y="185"/>
                    </a:lnTo>
                    <a:lnTo>
                      <a:pt x="32" y="184"/>
                    </a:lnTo>
                    <a:lnTo>
                      <a:pt x="32" y="182"/>
                    </a:lnTo>
                    <a:lnTo>
                      <a:pt x="30" y="178"/>
                    </a:lnTo>
                    <a:lnTo>
                      <a:pt x="27" y="177"/>
                    </a:lnTo>
                    <a:lnTo>
                      <a:pt x="27" y="174"/>
                    </a:lnTo>
                    <a:lnTo>
                      <a:pt x="24" y="169"/>
                    </a:lnTo>
                    <a:lnTo>
                      <a:pt x="23" y="169"/>
                    </a:lnTo>
                    <a:lnTo>
                      <a:pt x="16" y="169"/>
                    </a:lnTo>
                    <a:lnTo>
                      <a:pt x="10" y="166"/>
                    </a:lnTo>
                    <a:lnTo>
                      <a:pt x="8" y="166"/>
                    </a:lnTo>
                    <a:lnTo>
                      <a:pt x="7" y="165"/>
                    </a:lnTo>
                    <a:lnTo>
                      <a:pt x="6" y="164"/>
                    </a:lnTo>
                    <a:lnTo>
                      <a:pt x="4" y="164"/>
                    </a:lnTo>
                    <a:lnTo>
                      <a:pt x="3" y="162"/>
                    </a:lnTo>
                    <a:lnTo>
                      <a:pt x="1" y="162"/>
                    </a:lnTo>
                    <a:lnTo>
                      <a:pt x="0" y="161"/>
                    </a:lnTo>
                    <a:lnTo>
                      <a:pt x="4" y="158"/>
                    </a:lnTo>
                    <a:lnTo>
                      <a:pt x="9" y="152"/>
                    </a:lnTo>
                    <a:lnTo>
                      <a:pt x="9" y="151"/>
                    </a:lnTo>
                    <a:lnTo>
                      <a:pt x="13" y="139"/>
                    </a:lnTo>
                    <a:lnTo>
                      <a:pt x="9" y="137"/>
                    </a:lnTo>
                    <a:lnTo>
                      <a:pt x="9" y="135"/>
                    </a:lnTo>
                    <a:lnTo>
                      <a:pt x="8" y="133"/>
                    </a:lnTo>
                    <a:lnTo>
                      <a:pt x="6" y="133"/>
                    </a:lnTo>
                    <a:lnTo>
                      <a:pt x="4" y="126"/>
                    </a:lnTo>
                    <a:lnTo>
                      <a:pt x="4" y="123"/>
                    </a:lnTo>
                    <a:lnTo>
                      <a:pt x="6" y="121"/>
                    </a:lnTo>
                    <a:lnTo>
                      <a:pt x="16" y="121"/>
                    </a:lnTo>
                    <a:lnTo>
                      <a:pt x="16" y="120"/>
                    </a:lnTo>
                    <a:lnTo>
                      <a:pt x="20" y="114"/>
                    </a:lnTo>
                    <a:lnTo>
                      <a:pt x="20" y="109"/>
                    </a:lnTo>
                    <a:lnTo>
                      <a:pt x="20" y="104"/>
                    </a:lnTo>
                    <a:lnTo>
                      <a:pt x="23" y="103"/>
                    </a:lnTo>
                    <a:lnTo>
                      <a:pt x="23" y="101"/>
                    </a:lnTo>
                    <a:lnTo>
                      <a:pt x="22" y="101"/>
                    </a:lnTo>
                    <a:lnTo>
                      <a:pt x="22" y="99"/>
                    </a:lnTo>
                    <a:lnTo>
                      <a:pt x="22" y="98"/>
                    </a:lnTo>
                    <a:lnTo>
                      <a:pt x="20" y="96"/>
                    </a:lnTo>
                    <a:lnTo>
                      <a:pt x="14" y="98"/>
                    </a:lnTo>
                    <a:lnTo>
                      <a:pt x="13" y="96"/>
                    </a:lnTo>
                    <a:lnTo>
                      <a:pt x="15" y="92"/>
                    </a:lnTo>
                    <a:lnTo>
                      <a:pt x="14" y="88"/>
                    </a:lnTo>
                    <a:lnTo>
                      <a:pt x="13" y="88"/>
                    </a:lnTo>
                    <a:lnTo>
                      <a:pt x="18" y="85"/>
                    </a:lnTo>
                    <a:lnTo>
                      <a:pt x="25" y="86"/>
                    </a:lnTo>
                    <a:lnTo>
                      <a:pt x="27" y="88"/>
                    </a:lnTo>
                    <a:lnTo>
                      <a:pt x="29" y="88"/>
                    </a:lnTo>
                    <a:lnTo>
                      <a:pt x="31" y="88"/>
                    </a:lnTo>
                    <a:lnTo>
                      <a:pt x="33" y="92"/>
                    </a:lnTo>
                    <a:lnTo>
                      <a:pt x="34" y="92"/>
                    </a:lnTo>
                    <a:lnTo>
                      <a:pt x="33" y="86"/>
                    </a:lnTo>
                    <a:lnTo>
                      <a:pt x="33" y="83"/>
                    </a:lnTo>
                    <a:lnTo>
                      <a:pt x="31" y="81"/>
                    </a:lnTo>
                    <a:lnTo>
                      <a:pt x="31" y="76"/>
                    </a:lnTo>
                    <a:lnTo>
                      <a:pt x="29" y="76"/>
                    </a:lnTo>
                    <a:lnTo>
                      <a:pt x="26" y="75"/>
                    </a:lnTo>
                    <a:lnTo>
                      <a:pt x="25" y="75"/>
                    </a:lnTo>
                    <a:lnTo>
                      <a:pt x="27" y="69"/>
                    </a:lnTo>
                    <a:lnTo>
                      <a:pt x="30" y="66"/>
                    </a:lnTo>
                    <a:lnTo>
                      <a:pt x="32" y="65"/>
                    </a:lnTo>
                    <a:lnTo>
                      <a:pt x="32" y="63"/>
                    </a:lnTo>
                    <a:lnTo>
                      <a:pt x="29" y="60"/>
                    </a:lnTo>
                    <a:lnTo>
                      <a:pt x="26" y="62"/>
                    </a:lnTo>
                    <a:lnTo>
                      <a:pt x="27" y="52"/>
                    </a:lnTo>
                    <a:lnTo>
                      <a:pt x="23" y="52"/>
                    </a:lnTo>
                    <a:lnTo>
                      <a:pt x="17" y="48"/>
                    </a:lnTo>
                    <a:lnTo>
                      <a:pt x="17" y="35"/>
                    </a:lnTo>
                    <a:lnTo>
                      <a:pt x="16" y="30"/>
                    </a:lnTo>
                    <a:lnTo>
                      <a:pt x="18" y="28"/>
                    </a:lnTo>
                    <a:lnTo>
                      <a:pt x="18" y="26"/>
                    </a:lnTo>
                    <a:lnTo>
                      <a:pt x="23" y="21"/>
                    </a:lnTo>
                    <a:lnTo>
                      <a:pt x="27" y="19"/>
                    </a:lnTo>
                    <a:lnTo>
                      <a:pt x="30" y="15"/>
                    </a:lnTo>
                    <a:lnTo>
                      <a:pt x="31" y="14"/>
                    </a:lnTo>
                    <a:lnTo>
                      <a:pt x="32" y="11"/>
                    </a:lnTo>
                    <a:lnTo>
                      <a:pt x="34" y="11"/>
                    </a:lnTo>
                    <a:lnTo>
                      <a:pt x="37" y="11"/>
                    </a:lnTo>
                    <a:lnTo>
                      <a:pt x="40" y="9"/>
                    </a:lnTo>
                    <a:lnTo>
                      <a:pt x="42" y="10"/>
                    </a:lnTo>
                    <a:lnTo>
                      <a:pt x="46" y="14"/>
                    </a:lnTo>
                    <a:lnTo>
                      <a:pt x="47" y="18"/>
                    </a:lnTo>
                    <a:lnTo>
                      <a:pt x="47" y="17"/>
                    </a:lnTo>
                    <a:lnTo>
                      <a:pt x="49" y="15"/>
                    </a:lnTo>
                    <a:lnTo>
                      <a:pt x="51" y="15"/>
                    </a:lnTo>
                    <a:lnTo>
                      <a:pt x="54" y="19"/>
                    </a:lnTo>
                    <a:lnTo>
                      <a:pt x="57" y="21"/>
                    </a:lnTo>
                    <a:lnTo>
                      <a:pt x="59" y="21"/>
                    </a:lnTo>
                    <a:lnTo>
                      <a:pt x="61" y="18"/>
                    </a:lnTo>
                    <a:lnTo>
                      <a:pt x="61" y="15"/>
                    </a:lnTo>
                    <a:lnTo>
                      <a:pt x="65" y="14"/>
                    </a:lnTo>
                    <a:lnTo>
                      <a:pt x="73" y="14"/>
                    </a:lnTo>
                    <a:lnTo>
                      <a:pt x="74" y="11"/>
                    </a:lnTo>
                    <a:lnTo>
                      <a:pt x="73" y="7"/>
                    </a:lnTo>
                    <a:lnTo>
                      <a:pt x="73" y="4"/>
                    </a:lnTo>
                    <a:lnTo>
                      <a:pt x="74" y="2"/>
                    </a:lnTo>
                    <a:lnTo>
                      <a:pt x="77" y="2"/>
                    </a:lnTo>
                    <a:lnTo>
                      <a:pt x="80" y="5"/>
                    </a:lnTo>
                    <a:lnTo>
                      <a:pt x="81" y="5"/>
                    </a:lnTo>
                    <a:lnTo>
                      <a:pt x="84" y="0"/>
                    </a:lnTo>
                    <a:lnTo>
                      <a:pt x="88" y="0"/>
                    </a:lnTo>
                    <a:lnTo>
                      <a:pt x="90" y="0"/>
                    </a:lnTo>
                    <a:lnTo>
                      <a:pt x="91" y="0"/>
                    </a:lnTo>
                    <a:lnTo>
                      <a:pt x="91" y="5"/>
                    </a:lnTo>
                    <a:lnTo>
                      <a:pt x="92" y="7"/>
                    </a:lnTo>
                    <a:lnTo>
                      <a:pt x="92" y="15"/>
                    </a:lnTo>
                    <a:lnTo>
                      <a:pt x="92" y="18"/>
                    </a:lnTo>
                    <a:lnTo>
                      <a:pt x="99" y="18"/>
                    </a:lnTo>
                    <a:lnTo>
                      <a:pt x="102" y="15"/>
                    </a:lnTo>
                    <a:lnTo>
                      <a:pt x="104" y="15"/>
                    </a:lnTo>
                    <a:lnTo>
                      <a:pt x="106" y="10"/>
                    </a:lnTo>
                    <a:lnTo>
                      <a:pt x="109" y="10"/>
                    </a:lnTo>
                    <a:lnTo>
                      <a:pt x="116" y="10"/>
                    </a:lnTo>
                    <a:lnTo>
                      <a:pt x="117" y="11"/>
                    </a:lnTo>
                    <a:lnTo>
                      <a:pt x="120" y="15"/>
                    </a:lnTo>
                    <a:lnTo>
                      <a:pt x="122" y="15"/>
                    </a:lnTo>
                    <a:lnTo>
                      <a:pt x="130" y="15"/>
                    </a:lnTo>
                    <a:lnTo>
                      <a:pt x="132" y="15"/>
                    </a:lnTo>
                    <a:lnTo>
                      <a:pt x="133" y="15"/>
                    </a:lnTo>
                    <a:lnTo>
                      <a:pt x="133" y="19"/>
                    </a:lnTo>
                    <a:lnTo>
                      <a:pt x="133" y="21"/>
                    </a:lnTo>
                    <a:lnTo>
                      <a:pt x="135" y="21"/>
                    </a:lnTo>
                    <a:lnTo>
                      <a:pt x="137" y="25"/>
                    </a:lnTo>
                    <a:lnTo>
                      <a:pt x="139" y="26"/>
                    </a:lnTo>
                    <a:lnTo>
                      <a:pt x="139" y="28"/>
                    </a:lnTo>
                    <a:lnTo>
                      <a:pt x="139" y="31"/>
                    </a:lnTo>
                    <a:lnTo>
                      <a:pt x="142" y="31"/>
                    </a:lnTo>
                    <a:lnTo>
                      <a:pt x="145" y="34"/>
                    </a:lnTo>
                    <a:lnTo>
                      <a:pt x="145" y="36"/>
                    </a:lnTo>
                    <a:lnTo>
                      <a:pt x="150" y="40"/>
                    </a:lnTo>
                    <a:lnTo>
                      <a:pt x="150" y="38"/>
                    </a:lnTo>
                    <a:lnTo>
                      <a:pt x="154" y="38"/>
                    </a:lnTo>
                    <a:lnTo>
                      <a:pt x="154" y="36"/>
                    </a:lnTo>
                    <a:lnTo>
                      <a:pt x="155" y="36"/>
                    </a:lnTo>
                    <a:lnTo>
                      <a:pt x="157" y="40"/>
                    </a:lnTo>
                    <a:lnTo>
                      <a:pt x="162" y="41"/>
                    </a:lnTo>
                    <a:lnTo>
                      <a:pt x="165" y="40"/>
                    </a:lnTo>
                    <a:lnTo>
                      <a:pt x="167" y="35"/>
                    </a:lnTo>
                    <a:lnTo>
                      <a:pt x="170" y="35"/>
                    </a:lnTo>
                    <a:lnTo>
                      <a:pt x="175" y="33"/>
                    </a:lnTo>
                    <a:lnTo>
                      <a:pt x="185" y="31"/>
                    </a:lnTo>
                    <a:lnTo>
                      <a:pt x="191" y="28"/>
                    </a:lnTo>
                    <a:lnTo>
                      <a:pt x="197" y="30"/>
                    </a:lnTo>
                    <a:lnTo>
                      <a:pt x="204" y="31"/>
                    </a:lnTo>
                    <a:lnTo>
                      <a:pt x="208" y="30"/>
                    </a:lnTo>
                    <a:lnTo>
                      <a:pt x="212" y="35"/>
                    </a:lnTo>
                    <a:lnTo>
                      <a:pt x="215" y="36"/>
                    </a:lnTo>
                    <a:lnTo>
                      <a:pt x="217" y="40"/>
                    </a:lnTo>
                    <a:lnTo>
                      <a:pt x="220" y="47"/>
                    </a:lnTo>
                    <a:lnTo>
                      <a:pt x="223" y="48"/>
                    </a:lnTo>
                    <a:lnTo>
                      <a:pt x="226" y="48"/>
                    </a:lnTo>
                    <a:lnTo>
                      <a:pt x="229" y="47"/>
                    </a:lnTo>
                    <a:lnTo>
                      <a:pt x="229" y="50"/>
                    </a:lnTo>
                    <a:lnTo>
                      <a:pt x="227" y="52"/>
                    </a:lnTo>
                    <a:lnTo>
                      <a:pt x="229" y="57"/>
                    </a:lnTo>
                    <a:lnTo>
                      <a:pt x="226" y="60"/>
                    </a:lnTo>
                    <a:lnTo>
                      <a:pt x="225" y="62"/>
                    </a:lnTo>
                    <a:lnTo>
                      <a:pt x="229" y="62"/>
                    </a:lnTo>
                    <a:lnTo>
                      <a:pt x="230" y="65"/>
                    </a:lnTo>
                    <a:lnTo>
                      <a:pt x="235" y="84"/>
                    </a:lnTo>
                    <a:lnTo>
                      <a:pt x="238" y="94"/>
                    </a:lnTo>
                    <a:lnTo>
                      <a:pt x="233" y="96"/>
                    </a:lnTo>
                    <a:lnTo>
                      <a:pt x="233" y="99"/>
                    </a:lnTo>
                    <a:lnTo>
                      <a:pt x="230" y="99"/>
                    </a:lnTo>
                    <a:lnTo>
                      <a:pt x="229" y="103"/>
                    </a:lnTo>
                    <a:lnTo>
                      <a:pt x="226" y="104"/>
                    </a:lnTo>
                    <a:lnTo>
                      <a:pt x="224" y="111"/>
                    </a:lnTo>
                    <a:lnTo>
                      <a:pt x="219" y="120"/>
                    </a:lnTo>
                    <a:lnTo>
                      <a:pt x="218" y="126"/>
                    </a:lnTo>
                    <a:lnTo>
                      <a:pt x="218" y="134"/>
                    </a:lnTo>
                    <a:lnTo>
                      <a:pt x="215" y="137"/>
                    </a:lnTo>
                    <a:lnTo>
                      <a:pt x="212" y="142"/>
                    </a:lnTo>
                    <a:lnTo>
                      <a:pt x="208" y="147"/>
                    </a:lnTo>
                    <a:lnTo>
                      <a:pt x="208" y="159"/>
                    </a:lnTo>
                    <a:lnTo>
                      <a:pt x="208" y="165"/>
                    </a:lnTo>
                    <a:lnTo>
                      <a:pt x="213" y="178"/>
                    </a:lnTo>
                    <a:lnTo>
                      <a:pt x="215" y="190"/>
                    </a:lnTo>
                    <a:lnTo>
                      <a:pt x="219" y="193"/>
                    </a:lnTo>
                    <a:lnTo>
                      <a:pt x="224" y="195"/>
                    </a:lnTo>
                    <a:lnTo>
                      <a:pt x="226" y="195"/>
                    </a:lnTo>
                    <a:lnTo>
                      <a:pt x="227" y="203"/>
                    </a:lnTo>
                    <a:lnTo>
                      <a:pt x="227" y="213"/>
                    </a:lnTo>
                    <a:lnTo>
                      <a:pt x="223" y="215"/>
                    </a:lnTo>
                    <a:lnTo>
                      <a:pt x="220" y="213"/>
                    </a:lnTo>
                    <a:lnTo>
                      <a:pt x="215" y="213"/>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8" name="Freeform 54"/>
              <p:cNvSpPr>
                <a:spLocks/>
              </p:cNvSpPr>
              <p:nvPr/>
            </p:nvSpPr>
            <p:spPr bwMode="auto">
              <a:xfrm>
                <a:off x="800" y="2176"/>
                <a:ext cx="172" cy="167"/>
              </a:xfrm>
              <a:custGeom>
                <a:avLst/>
                <a:gdLst>
                  <a:gd name="T0" fmla="*/ 12058 w 161"/>
                  <a:gd name="T1" fmla="*/ 3567 h 159"/>
                  <a:gd name="T2" fmla="*/ 10776 w 161"/>
                  <a:gd name="T3" fmla="*/ 3999 h 159"/>
                  <a:gd name="T4" fmla="*/ 10113 w 161"/>
                  <a:gd name="T5" fmla="*/ 3844 h 159"/>
                  <a:gd name="T6" fmla="*/ 9419 w 161"/>
                  <a:gd name="T7" fmla="*/ 3807 h 159"/>
                  <a:gd name="T8" fmla="*/ 8476 w 161"/>
                  <a:gd name="T9" fmla="*/ 3645 h 159"/>
                  <a:gd name="T10" fmla="*/ 7249 w 161"/>
                  <a:gd name="T11" fmla="*/ 3438 h 159"/>
                  <a:gd name="T12" fmla="*/ 5701 w 161"/>
                  <a:gd name="T13" fmla="*/ 3008 h 159"/>
                  <a:gd name="T14" fmla="*/ 3504 w 161"/>
                  <a:gd name="T15" fmla="*/ 2360 h 159"/>
                  <a:gd name="T16" fmla="*/ 2580 w 161"/>
                  <a:gd name="T17" fmla="*/ 2241 h 159"/>
                  <a:gd name="T18" fmla="*/ 1563 w 161"/>
                  <a:gd name="T19" fmla="*/ 1935 h 159"/>
                  <a:gd name="T20" fmla="*/ 861 w 161"/>
                  <a:gd name="T21" fmla="*/ 1824 h 159"/>
                  <a:gd name="T22" fmla="*/ 861 w 161"/>
                  <a:gd name="T23" fmla="*/ 1670 h 159"/>
                  <a:gd name="T24" fmla="*/ 2 w 161"/>
                  <a:gd name="T25" fmla="*/ 1567 h 159"/>
                  <a:gd name="T26" fmla="*/ 2 w 161"/>
                  <a:gd name="T27" fmla="*/ 1514 h 159"/>
                  <a:gd name="T28" fmla="*/ 3 w 161"/>
                  <a:gd name="T29" fmla="*/ 1500 h 159"/>
                  <a:gd name="T30" fmla="*/ 7 w 161"/>
                  <a:gd name="T31" fmla="*/ 1360 h 159"/>
                  <a:gd name="T32" fmla="*/ 754 w 161"/>
                  <a:gd name="T33" fmla="*/ 1295 h 159"/>
                  <a:gd name="T34" fmla="*/ 983 w 161"/>
                  <a:gd name="T35" fmla="*/ 1183 h 159"/>
                  <a:gd name="T36" fmla="*/ 1670 w 161"/>
                  <a:gd name="T37" fmla="*/ 1013 h 159"/>
                  <a:gd name="T38" fmla="*/ 2175 w 161"/>
                  <a:gd name="T39" fmla="*/ 874 h 159"/>
                  <a:gd name="T40" fmla="*/ 2483 w 161"/>
                  <a:gd name="T41" fmla="*/ 754 h 159"/>
                  <a:gd name="T42" fmla="*/ 2756 w 161"/>
                  <a:gd name="T43" fmla="*/ 440 h 159"/>
                  <a:gd name="T44" fmla="*/ 3145 w 161"/>
                  <a:gd name="T45" fmla="*/ 362 h 159"/>
                  <a:gd name="T46" fmla="*/ 3743 w 161"/>
                  <a:gd name="T47" fmla="*/ 312 h 159"/>
                  <a:gd name="T48" fmla="*/ 3504 w 161"/>
                  <a:gd name="T49" fmla="*/ 5 h 159"/>
                  <a:gd name="T50" fmla="*/ 3944 w 161"/>
                  <a:gd name="T51" fmla="*/ 1 h 159"/>
                  <a:gd name="T52" fmla="*/ 4282 w 161"/>
                  <a:gd name="T53" fmla="*/ 1 h 159"/>
                  <a:gd name="T54" fmla="*/ 4676 w 161"/>
                  <a:gd name="T55" fmla="*/ 3 h 159"/>
                  <a:gd name="T56" fmla="*/ 5336 w 161"/>
                  <a:gd name="T57" fmla="*/ 0 h 159"/>
                  <a:gd name="T58" fmla="*/ 5552 w 161"/>
                  <a:gd name="T59" fmla="*/ 2 h 159"/>
                  <a:gd name="T60" fmla="*/ 6091 w 161"/>
                  <a:gd name="T61" fmla="*/ 8 h 159"/>
                  <a:gd name="T62" fmla="*/ 6351 w 161"/>
                  <a:gd name="T63" fmla="*/ 419 h 159"/>
                  <a:gd name="T64" fmla="*/ 6507 w 161"/>
                  <a:gd name="T65" fmla="*/ 754 h 159"/>
                  <a:gd name="T66" fmla="*/ 6351 w 161"/>
                  <a:gd name="T67" fmla="*/ 1064 h 159"/>
                  <a:gd name="T68" fmla="*/ 6091 w 161"/>
                  <a:gd name="T69" fmla="*/ 1126 h 159"/>
                  <a:gd name="T70" fmla="*/ 6351 w 161"/>
                  <a:gd name="T71" fmla="*/ 1126 h 159"/>
                  <a:gd name="T72" fmla="*/ 6784 w 161"/>
                  <a:gd name="T73" fmla="*/ 1118 h 159"/>
                  <a:gd name="T74" fmla="*/ 7248 w 161"/>
                  <a:gd name="T75" fmla="*/ 1295 h 159"/>
                  <a:gd name="T76" fmla="*/ 7743 w 161"/>
                  <a:gd name="T77" fmla="*/ 1243 h 159"/>
                  <a:gd name="T78" fmla="*/ 8253 w 161"/>
                  <a:gd name="T79" fmla="*/ 1126 h 159"/>
                  <a:gd name="T80" fmla="*/ 8294 w 161"/>
                  <a:gd name="T81" fmla="*/ 881 h 159"/>
                  <a:gd name="T82" fmla="*/ 8861 w 161"/>
                  <a:gd name="T83" fmla="*/ 874 h 159"/>
                  <a:gd name="T84" fmla="*/ 9315 w 161"/>
                  <a:gd name="T85" fmla="*/ 1064 h 159"/>
                  <a:gd name="T86" fmla="*/ 9442 w 161"/>
                  <a:gd name="T87" fmla="*/ 1243 h 159"/>
                  <a:gd name="T88" fmla="*/ 9674 w 161"/>
                  <a:gd name="T89" fmla="*/ 1360 h 159"/>
                  <a:gd name="T90" fmla="*/ 9674 w 161"/>
                  <a:gd name="T91" fmla="*/ 1670 h 159"/>
                  <a:gd name="T92" fmla="*/ 9059 w 161"/>
                  <a:gd name="T93" fmla="*/ 1846 h 159"/>
                  <a:gd name="T94" fmla="*/ 8861 w 161"/>
                  <a:gd name="T95" fmla="*/ 2003 h 159"/>
                  <a:gd name="T96" fmla="*/ 9059 w 161"/>
                  <a:gd name="T97" fmla="*/ 2012 h 159"/>
                  <a:gd name="T98" fmla="*/ 9419 w 161"/>
                  <a:gd name="T99" fmla="*/ 2032 h 159"/>
                  <a:gd name="T100" fmla="*/ 9674 w 161"/>
                  <a:gd name="T101" fmla="*/ 2037 h 159"/>
                  <a:gd name="T102" fmla="*/ 10751 w 161"/>
                  <a:gd name="T103" fmla="*/ 2139 h 159"/>
                  <a:gd name="T104" fmla="*/ 11041 w 161"/>
                  <a:gd name="T105" fmla="*/ 2321 h 159"/>
                  <a:gd name="T106" fmla="*/ 11287 w 161"/>
                  <a:gd name="T107" fmla="*/ 2360 h 159"/>
                  <a:gd name="T108" fmla="*/ 11486 w 161"/>
                  <a:gd name="T109" fmla="*/ 2561 h 159"/>
                  <a:gd name="T110" fmla="*/ 12058 w 161"/>
                  <a:gd name="T111" fmla="*/ 2651 h 159"/>
                  <a:gd name="T112" fmla="*/ 12299 w 161"/>
                  <a:gd name="T113" fmla="*/ 2727 h 159"/>
                  <a:gd name="T114" fmla="*/ 12606 w 161"/>
                  <a:gd name="T115" fmla="*/ 2924 h 159"/>
                  <a:gd name="T116" fmla="*/ 12606 w 161"/>
                  <a:gd name="T117" fmla="*/ 3129 h 159"/>
                  <a:gd name="T118" fmla="*/ 12297 w 161"/>
                  <a:gd name="T119" fmla="*/ 3129 h 159"/>
                  <a:gd name="T120" fmla="*/ 12271 w 161"/>
                  <a:gd name="T121" fmla="*/ 3329 h 159"/>
                  <a:gd name="T122" fmla="*/ 12058 w 161"/>
                  <a:gd name="T123" fmla="*/ 3396 h 1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1"/>
                  <a:gd name="T187" fmla="*/ 0 h 159"/>
                  <a:gd name="T188" fmla="*/ 161 w 161"/>
                  <a:gd name="T189" fmla="*/ 159 h 15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1" h="159">
                    <a:moveTo>
                      <a:pt x="154" y="137"/>
                    </a:moveTo>
                    <a:lnTo>
                      <a:pt x="153" y="140"/>
                    </a:lnTo>
                    <a:lnTo>
                      <a:pt x="153" y="159"/>
                    </a:lnTo>
                    <a:lnTo>
                      <a:pt x="138" y="156"/>
                    </a:lnTo>
                    <a:lnTo>
                      <a:pt x="134" y="153"/>
                    </a:lnTo>
                    <a:lnTo>
                      <a:pt x="130" y="151"/>
                    </a:lnTo>
                    <a:lnTo>
                      <a:pt x="127" y="151"/>
                    </a:lnTo>
                    <a:lnTo>
                      <a:pt x="119" y="149"/>
                    </a:lnTo>
                    <a:lnTo>
                      <a:pt x="112" y="146"/>
                    </a:lnTo>
                    <a:lnTo>
                      <a:pt x="108" y="143"/>
                    </a:lnTo>
                    <a:lnTo>
                      <a:pt x="102" y="140"/>
                    </a:lnTo>
                    <a:lnTo>
                      <a:pt x="93" y="134"/>
                    </a:lnTo>
                    <a:lnTo>
                      <a:pt x="85" y="130"/>
                    </a:lnTo>
                    <a:lnTo>
                      <a:pt x="73" y="118"/>
                    </a:lnTo>
                    <a:lnTo>
                      <a:pt x="48" y="97"/>
                    </a:lnTo>
                    <a:lnTo>
                      <a:pt x="45" y="93"/>
                    </a:lnTo>
                    <a:lnTo>
                      <a:pt x="40" y="90"/>
                    </a:lnTo>
                    <a:lnTo>
                      <a:pt x="33" y="88"/>
                    </a:lnTo>
                    <a:lnTo>
                      <a:pt x="25" y="85"/>
                    </a:lnTo>
                    <a:lnTo>
                      <a:pt x="20" y="76"/>
                    </a:lnTo>
                    <a:lnTo>
                      <a:pt x="12" y="72"/>
                    </a:lnTo>
                    <a:lnTo>
                      <a:pt x="11" y="71"/>
                    </a:lnTo>
                    <a:lnTo>
                      <a:pt x="11" y="68"/>
                    </a:lnTo>
                    <a:lnTo>
                      <a:pt x="11" y="66"/>
                    </a:lnTo>
                    <a:lnTo>
                      <a:pt x="3" y="63"/>
                    </a:lnTo>
                    <a:lnTo>
                      <a:pt x="2" y="61"/>
                    </a:lnTo>
                    <a:lnTo>
                      <a:pt x="0" y="61"/>
                    </a:lnTo>
                    <a:lnTo>
                      <a:pt x="2" y="60"/>
                    </a:lnTo>
                    <a:lnTo>
                      <a:pt x="2" y="59"/>
                    </a:lnTo>
                    <a:lnTo>
                      <a:pt x="3" y="59"/>
                    </a:lnTo>
                    <a:lnTo>
                      <a:pt x="6" y="57"/>
                    </a:lnTo>
                    <a:lnTo>
                      <a:pt x="7" y="53"/>
                    </a:lnTo>
                    <a:lnTo>
                      <a:pt x="9" y="52"/>
                    </a:lnTo>
                    <a:lnTo>
                      <a:pt x="9" y="50"/>
                    </a:lnTo>
                    <a:lnTo>
                      <a:pt x="10" y="47"/>
                    </a:lnTo>
                    <a:lnTo>
                      <a:pt x="13" y="47"/>
                    </a:lnTo>
                    <a:lnTo>
                      <a:pt x="16" y="45"/>
                    </a:lnTo>
                    <a:lnTo>
                      <a:pt x="21" y="40"/>
                    </a:lnTo>
                    <a:lnTo>
                      <a:pt x="26" y="39"/>
                    </a:lnTo>
                    <a:lnTo>
                      <a:pt x="28" y="34"/>
                    </a:lnTo>
                    <a:lnTo>
                      <a:pt x="32" y="32"/>
                    </a:lnTo>
                    <a:lnTo>
                      <a:pt x="32" y="29"/>
                    </a:lnTo>
                    <a:lnTo>
                      <a:pt x="35" y="29"/>
                    </a:lnTo>
                    <a:lnTo>
                      <a:pt x="35" y="18"/>
                    </a:lnTo>
                    <a:lnTo>
                      <a:pt x="37" y="17"/>
                    </a:lnTo>
                    <a:lnTo>
                      <a:pt x="40" y="14"/>
                    </a:lnTo>
                    <a:lnTo>
                      <a:pt x="48" y="12"/>
                    </a:lnTo>
                    <a:lnTo>
                      <a:pt x="48" y="11"/>
                    </a:lnTo>
                    <a:lnTo>
                      <a:pt x="45" y="9"/>
                    </a:lnTo>
                    <a:lnTo>
                      <a:pt x="45" y="5"/>
                    </a:lnTo>
                    <a:lnTo>
                      <a:pt x="48" y="5"/>
                    </a:lnTo>
                    <a:lnTo>
                      <a:pt x="50" y="1"/>
                    </a:lnTo>
                    <a:lnTo>
                      <a:pt x="53" y="0"/>
                    </a:lnTo>
                    <a:lnTo>
                      <a:pt x="55" y="1"/>
                    </a:lnTo>
                    <a:lnTo>
                      <a:pt x="59" y="3"/>
                    </a:lnTo>
                    <a:lnTo>
                      <a:pt x="60" y="3"/>
                    </a:lnTo>
                    <a:lnTo>
                      <a:pt x="63" y="2"/>
                    </a:lnTo>
                    <a:lnTo>
                      <a:pt x="68" y="0"/>
                    </a:lnTo>
                    <a:lnTo>
                      <a:pt x="70" y="1"/>
                    </a:lnTo>
                    <a:lnTo>
                      <a:pt x="70" y="2"/>
                    </a:lnTo>
                    <a:lnTo>
                      <a:pt x="71" y="4"/>
                    </a:lnTo>
                    <a:lnTo>
                      <a:pt x="78" y="8"/>
                    </a:lnTo>
                    <a:lnTo>
                      <a:pt x="78" y="14"/>
                    </a:lnTo>
                    <a:lnTo>
                      <a:pt x="81" y="17"/>
                    </a:lnTo>
                    <a:lnTo>
                      <a:pt x="81" y="27"/>
                    </a:lnTo>
                    <a:lnTo>
                      <a:pt x="83" y="29"/>
                    </a:lnTo>
                    <a:lnTo>
                      <a:pt x="81" y="39"/>
                    </a:lnTo>
                    <a:lnTo>
                      <a:pt x="81" y="42"/>
                    </a:lnTo>
                    <a:lnTo>
                      <a:pt x="78" y="43"/>
                    </a:lnTo>
                    <a:lnTo>
                      <a:pt x="78" y="45"/>
                    </a:lnTo>
                    <a:lnTo>
                      <a:pt x="78" y="46"/>
                    </a:lnTo>
                    <a:lnTo>
                      <a:pt x="81" y="45"/>
                    </a:lnTo>
                    <a:lnTo>
                      <a:pt x="85" y="43"/>
                    </a:lnTo>
                    <a:lnTo>
                      <a:pt x="86" y="44"/>
                    </a:lnTo>
                    <a:lnTo>
                      <a:pt x="89" y="46"/>
                    </a:lnTo>
                    <a:lnTo>
                      <a:pt x="92" y="50"/>
                    </a:lnTo>
                    <a:lnTo>
                      <a:pt x="96" y="50"/>
                    </a:lnTo>
                    <a:lnTo>
                      <a:pt x="98" y="49"/>
                    </a:lnTo>
                    <a:lnTo>
                      <a:pt x="104" y="49"/>
                    </a:lnTo>
                    <a:lnTo>
                      <a:pt x="104" y="45"/>
                    </a:lnTo>
                    <a:lnTo>
                      <a:pt x="107" y="40"/>
                    </a:lnTo>
                    <a:lnTo>
                      <a:pt x="107" y="35"/>
                    </a:lnTo>
                    <a:lnTo>
                      <a:pt x="109" y="34"/>
                    </a:lnTo>
                    <a:lnTo>
                      <a:pt x="114" y="34"/>
                    </a:lnTo>
                    <a:lnTo>
                      <a:pt x="116" y="39"/>
                    </a:lnTo>
                    <a:lnTo>
                      <a:pt x="118" y="42"/>
                    </a:lnTo>
                    <a:lnTo>
                      <a:pt x="119" y="49"/>
                    </a:lnTo>
                    <a:lnTo>
                      <a:pt x="121" y="49"/>
                    </a:lnTo>
                    <a:lnTo>
                      <a:pt x="123" y="50"/>
                    </a:lnTo>
                    <a:lnTo>
                      <a:pt x="123" y="53"/>
                    </a:lnTo>
                    <a:lnTo>
                      <a:pt x="126" y="54"/>
                    </a:lnTo>
                    <a:lnTo>
                      <a:pt x="123" y="66"/>
                    </a:lnTo>
                    <a:lnTo>
                      <a:pt x="123" y="68"/>
                    </a:lnTo>
                    <a:lnTo>
                      <a:pt x="116" y="73"/>
                    </a:lnTo>
                    <a:lnTo>
                      <a:pt x="112" y="76"/>
                    </a:lnTo>
                    <a:lnTo>
                      <a:pt x="114" y="78"/>
                    </a:lnTo>
                    <a:lnTo>
                      <a:pt x="115" y="78"/>
                    </a:lnTo>
                    <a:lnTo>
                      <a:pt x="116" y="79"/>
                    </a:lnTo>
                    <a:lnTo>
                      <a:pt x="119" y="79"/>
                    </a:lnTo>
                    <a:lnTo>
                      <a:pt x="119" y="80"/>
                    </a:lnTo>
                    <a:lnTo>
                      <a:pt x="121" y="81"/>
                    </a:lnTo>
                    <a:lnTo>
                      <a:pt x="123" y="81"/>
                    </a:lnTo>
                    <a:lnTo>
                      <a:pt x="129" y="85"/>
                    </a:lnTo>
                    <a:lnTo>
                      <a:pt x="136" y="85"/>
                    </a:lnTo>
                    <a:lnTo>
                      <a:pt x="137" y="85"/>
                    </a:lnTo>
                    <a:lnTo>
                      <a:pt x="140" y="90"/>
                    </a:lnTo>
                    <a:lnTo>
                      <a:pt x="140" y="93"/>
                    </a:lnTo>
                    <a:lnTo>
                      <a:pt x="143" y="93"/>
                    </a:lnTo>
                    <a:lnTo>
                      <a:pt x="145" y="97"/>
                    </a:lnTo>
                    <a:lnTo>
                      <a:pt x="145" y="100"/>
                    </a:lnTo>
                    <a:lnTo>
                      <a:pt x="150" y="101"/>
                    </a:lnTo>
                    <a:lnTo>
                      <a:pt x="153" y="104"/>
                    </a:lnTo>
                    <a:lnTo>
                      <a:pt x="157" y="103"/>
                    </a:lnTo>
                    <a:lnTo>
                      <a:pt x="157" y="107"/>
                    </a:lnTo>
                    <a:lnTo>
                      <a:pt x="159" y="110"/>
                    </a:lnTo>
                    <a:lnTo>
                      <a:pt x="161" y="114"/>
                    </a:lnTo>
                    <a:lnTo>
                      <a:pt x="159" y="118"/>
                    </a:lnTo>
                    <a:lnTo>
                      <a:pt x="161" y="123"/>
                    </a:lnTo>
                    <a:lnTo>
                      <a:pt x="156" y="123"/>
                    </a:lnTo>
                    <a:lnTo>
                      <a:pt x="155" y="126"/>
                    </a:lnTo>
                    <a:lnTo>
                      <a:pt x="155" y="131"/>
                    </a:lnTo>
                    <a:lnTo>
                      <a:pt x="154" y="131"/>
                    </a:lnTo>
                    <a:lnTo>
                      <a:pt x="153" y="133"/>
                    </a:lnTo>
                    <a:lnTo>
                      <a:pt x="154" y="137"/>
                    </a:lnTo>
                    <a:close/>
                  </a:path>
                </a:pathLst>
              </a:custGeom>
              <a:solidFill>
                <a:srgbClr val="95373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 name="Freeform 55"/>
              <p:cNvSpPr>
                <a:spLocks/>
              </p:cNvSpPr>
              <p:nvPr/>
            </p:nvSpPr>
            <p:spPr bwMode="auto">
              <a:xfrm>
                <a:off x="800" y="2176"/>
                <a:ext cx="172" cy="167"/>
              </a:xfrm>
              <a:custGeom>
                <a:avLst/>
                <a:gdLst>
                  <a:gd name="T0" fmla="*/ 12058 w 161"/>
                  <a:gd name="T1" fmla="*/ 3567 h 159"/>
                  <a:gd name="T2" fmla="*/ 10776 w 161"/>
                  <a:gd name="T3" fmla="*/ 3999 h 159"/>
                  <a:gd name="T4" fmla="*/ 10113 w 161"/>
                  <a:gd name="T5" fmla="*/ 3844 h 159"/>
                  <a:gd name="T6" fmla="*/ 9419 w 161"/>
                  <a:gd name="T7" fmla="*/ 3807 h 159"/>
                  <a:gd name="T8" fmla="*/ 8476 w 161"/>
                  <a:gd name="T9" fmla="*/ 3645 h 159"/>
                  <a:gd name="T10" fmla="*/ 7249 w 161"/>
                  <a:gd name="T11" fmla="*/ 3438 h 159"/>
                  <a:gd name="T12" fmla="*/ 5701 w 161"/>
                  <a:gd name="T13" fmla="*/ 3008 h 159"/>
                  <a:gd name="T14" fmla="*/ 3504 w 161"/>
                  <a:gd name="T15" fmla="*/ 2360 h 159"/>
                  <a:gd name="T16" fmla="*/ 2580 w 161"/>
                  <a:gd name="T17" fmla="*/ 2241 h 159"/>
                  <a:gd name="T18" fmla="*/ 1563 w 161"/>
                  <a:gd name="T19" fmla="*/ 1935 h 159"/>
                  <a:gd name="T20" fmla="*/ 861 w 161"/>
                  <a:gd name="T21" fmla="*/ 1824 h 159"/>
                  <a:gd name="T22" fmla="*/ 861 w 161"/>
                  <a:gd name="T23" fmla="*/ 1670 h 159"/>
                  <a:gd name="T24" fmla="*/ 2 w 161"/>
                  <a:gd name="T25" fmla="*/ 1567 h 159"/>
                  <a:gd name="T26" fmla="*/ 2 w 161"/>
                  <a:gd name="T27" fmla="*/ 1514 h 159"/>
                  <a:gd name="T28" fmla="*/ 3 w 161"/>
                  <a:gd name="T29" fmla="*/ 1500 h 159"/>
                  <a:gd name="T30" fmla="*/ 7 w 161"/>
                  <a:gd name="T31" fmla="*/ 1360 h 159"/>
                  <a:gd name="T32" fmla="*/ 754 w 161"/>
                  <a:gd name="T33" fmla="*/ 1295 h 159"/>
                  <a:gd name="T34" fmla="*/ 983 w 161"/>
                  <a:gd name="T35" fmla="*/ 1183 h 159"/>
                  <a:gd name="T36" fmla="*/ 1670 w 161"/>
                  <a:gd name="T37" fmla="*/ 1013 h 159"/>
                  <a:gd name="T38" fmla="*/ 2175 w 161"/>
                  <a:gd name="T39" fmla="*/ 874 h 159"/>
                  <a:gd name="T40" fmla="*/ 2483 w 161"/>
                  <a:gd name="T41" fmla="*/ 754 h 159"/>
                  <a:gd name="T42" fmla="*/ 2756 w 161"/>
                  <a:gd name="T43" fmla="*/ 440 h 159"/>
                  <a:gd name="T44" fmla="*/ 3145 w 161"/>
                  <a:gd name="T45" fmla="*/ 362 h 159"/>
                  <a:gd name="T46" fmla="*/ 3743 w 161"/>
                  <a:gd name="T47" fmla="*/ 312 h 159"/>
                  <a:gd name="T48" fmla="*/ 3504 w 161"/>
                  <a:gd name="T49" fmla="*/ 5 h 159"/>
                  <a:gd name="T50" fmla="*/ 3944 w 161"/>
                  <a:gd name="T51" fmla="*/ 1 h 159"/>
                  <a:gd name="T52" fmla="*/ 4282 w 161"/>
                  <a:gd name="T53" fmla="*/ 1 h 159"/>
                  <a:gd name="T54" fmla="*/ 4676 w 161"/>
                  <a:gd name="T55" fmla="*/ 3 h 159"/>
                  <a:gd name="T56" fmla="*/ 5336 w 161"/>
                  <a:gd name="T57" fmla="*/ 0 h 159"/>
                  <a:gd name="T58" fmla="*/ 5552 w 161"/>
                  <a:gd name="T59" fmla="*/ 2 h 159"/>
                  <a:gd name="T60" fmla="*/ 6091 w 161"/>
                  <a:gd name="T61" fmla="*/ 8 h 159"/>
                  <a:gd name="T62" fmla="*/ 6351 w 161"/>
                  <a:gd name="T63" fmla="*/ 419 h 159"/>
                  <a:gd name="T64" fmla="*/ 6507 w 161"/>
                  <a:gd name="T65" fmla="*/ 754 h 159"/>
                  <a:gd name="T66" fmla="*/ 6351 w 161"/>
                  <a:gd name="T67" fmla="*/ 1064 h 159"/>
                  <a:gd name="T68" fmla="*/ 6091 w 161"/>
                  <a:gd name="T69" fmla="*/ 1126 h 159"/>
                  <a:gd name="T70" fmla="*/ 6351 w 161"/>
                  <a:gd name="T71" fmla="*/ 1126 h 159"/>
                  <a:gd name="T72" fmla="*/ 6784 w 161"/>
                  <a:gd name="T73" fmla="*/ 1118 h 159"/>
                  <a:gd name="T74" fmla="*/ 7248 w 161"/>
                  <a:gd name="T75" fmla="*/ 1295 h 159"/>
                  <a:gd name="T76" fmla="*/ 7743 w 161"/>
                  <a:gd name="T77" fmla="*/ 1243 h 159"/>
                  <a:gd name="T78" fmla="*/ 8253 w 161"/>
                  <a:gd name="T79" fmla="*/ 1126 h 159"/>
                  <a:gd name="T80" fmla="*/ 8294 w 161"/>
                  <a:gd name="T81" fmla="*/ 881 h 159"/>
                  <a:gd name="T82" fmla="*/ 8861 w 161"/>
                  <a:gd name="T83" fmla="*/ 874 h 159"/>
                  <a:gd name="T84" fmla="*/ 9315 w 161"/>
                  <a:gd name="T85" fmla="*/ 1064 h 159"/>
                  <a:gd name="T86" fmla="*/ 9442 w 161"/>
                  <a:gd name="T87" fmla="*/ 1243 h 159"/>
                  <a:gd name="T88" fmla="*/ 9674 w 161"/>
                  <a:gd name="T89" fmla="*/ 1360 h 159"/>
                  <a:gd name="T90" fmla="*/ 9674 w 161"/>
                  <a:gd name="T91" fmla="*/ 1670 h 159"/>
                  <a:gd name="T92" fmla="*/ 9059 w 161"/>
                  <a:gd name="T93" fmla="*/ 1846 h 159"/>
                  <a:gd name="T94" fmla="*/ 8861 w 161"/>
                  <a:gd name="T95" fmla="*/ 2003 h 159"/>
                  <a:gd name="T96" fmla="*/ 9059 w 161"/>
                  <a:gd name="T97" fmla="*/ 2012 h 159"/>
                  <a:gd name="T98" fmla="*/ 9419 w 161"/>
                  <a:gd name="T99" fmla="*/ 2032 h 159"/>
                  <a:gd name="T100" fmla="*/ 9674 w 161"/>
                  <a:gd name="T101" fmla="*/ 2037 h 159"/>
                  <a:gd name="T102" fmla="*/ 10751 w 161"/>
                  <a:gd name="T103" fmla="*/ 2139 h 159"/>
                  <a:gd name="T104" fmla="*/ 11041 w 161"/>
                  <a:gd name="T105" fmla="*/ 2321 h 159"/>
                  <a:gd name="T106" fmla="*/ 11287 w 161"/>
                  <a:gd name="T107" fmla="*/ 2360 h 159"/>
                  <a:gd name="T108" fmla="*/ 11486 w 161"/>
                  <a:gd name="T109" fmla="*/ 2561 h 159"/>
                  <a:gd name="T110" fmla="*/ 12058 w 161"/>
                  <a:gd name="T111" fmla="*/ 2651 h 159"/>
                  <a:gd name="T112" fmla="*/ 12299 w 161"/>
                  <a:gd name="T113" fmla="*/ 2727 h 159"/>
                  <a:gd name="T114" fmla="*/ 12606 w 161"/>
                  <a:gd name="T115" fmla="*/ 2924 h 159"/>
                  <a:gd name="T116" fmla="*/ 12606 w 161"/>
                  <a:gd name="T117" fmla="*/ 3129 h 159"/>
                  <a:gd name="T118" fmla="*/ 12297 w 161"/>
                  <a:gd name="T119" fmla="*/ 3129 h 159"/>
                  <a:gd name="T120" fmla="*/ 12271 w 161"/>
                  <a:gd name="T121" fmla="*/ 3329 h 159"/>
                  <a:gd name="T122" fmla="*/ 12058 w 161"/>
                  <a:gd name="T123" fmla="*/ 3396 h 1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1"/>
                  <a:gd name="T187" fmla="*/ 0 h 159"/>
                  <a:gd name="T188" fmla="*/ 161 w 161"/>
                  <a:gd name="T189" fmla="*/ 159 h 15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1" h="159">
                    <a:moveTo>
                      <a:pt x="154" y="137"/>
                    </a:moveTo>
                    <a:lnTo>
                      <a:pt x="153" y="140"/>
                    </a:lnTo>
                    <a:lnTo>
                      <a:pt x="153" y="159"/>
                    </a:lnTo>
                    <a:lnTo>
                      <a:pt x="138" y="156"/>
                    </a:lnTo>
                    <a:lnTo>
                      <a:pt x="134" y="153"/>
                    </a:lnTo>
                    <a:lnTo>
                      <a:pt x="130" y="151"/>
                    </a:lnTo>
                    <a:lnTo>
                      <a:pt x="127" y="151"/>
                    </a:lnTo>
                    <a:lnTo>
                      <a:pt x="119" y="149"/>
                    </a:lnTo>
                    <a:lnTo>
                      <a:pt x="112" y="146"/>
                    </a:lnTo>
                    <a:lnTo>
                      <a:pt x="108" y="143"/>
                    </a:lnTo>
                    <a:lnTo>
                      <a:pt x="102" y="140"/>
                    </a:lnTo>
                    <a:lnTo>
                      <a:pt x="93" y="134"/>
                    </a:lnTo>
                    <a:lnTo>
                      <a:pt x="85" y="130"/>
                    </a:lnTo>
                    <a:lnTo>
                      <a:pt x="73" y="118"/>
                    </a:lnTo>
                    <a:lnTo>
                      <a:pt x="48" y="97"/>
                    </a:lnTo>
                    <a:lnTo>
                      <a:pt x="45" y="93"/>
                    </a:lnTo>
                    <a:lnTo>
                      <a:pt x="40" y="90"/>
                    </a:lnTo>
                    <a:lnTo>
                      <a:pt x="33" y="88"/>
                    </a:lnTo>
                    <a:lnTo>
                      <a:pt x="25" y="85"/>
                    </a:lnTo>
                    <a:lnTo>
                      <a:pt x="20" y="76"/>
                    </a:lnTo>
                    <a:lnTo>
                      <a:pt x="12" y="72"/>
                    </a:lnTo>
                    <a:lnTo>
                      <a:pt x="11" y="71"/>
                    </a:lnTo>
                    <a:lnTo>
                      <a:pt x="11" y="68"/>
                    </a:lnTo>
                    <a:lnTo>
                      <a:pt x="11" y="66"/>
                    </a:lnTo>
                    <a:lnTo>
                      <a:pt x="3" y="63"/>
                    </a:lnTo>
                    <a:lnTo>
                      <a:pt x="2" y="61"/>
                    </a:lnTo>
                    <a:lnTo>
                      <a:pt x="0" y="61"/>
                    </a:lnTo>
                    <a:lnTo>
                      <a:pt x="2" y="60"/>
                    </a:lnTo>
                    <a:lnTo>
                      <a:pt x="2" y="59"/>
                    </a:lnTo>
                    <a:lnTo>
                      <a:pt x="3" y="59"/>
                    </a:lnTo>
                    <a:lnTo>
                      <a:pt x="6" y="57"/>
                    </a:lnTo>
                    <a:lnTo>
                      <a:pt x="7" y="53"/>
                    </a:lnTo>
                    <a:lnTo>
                      <a:pt x="9" y="52"/>
                    </a:lnTo>
                    <a:lnTo>
                      <a:pt x="9" y="50"/>
                    </a:lnTo>
                    <a:lnTo>
                      <a:pt x="10" y="47"/>
                    </a:lnTo>
                    <a:lnTo>
                      <a:pt x="13" y="47"/>
                    </a:lnTo>
                    <a:lnTo>
                      <a:pt x="16" y="45"/>
                    </a:lnTo>
                    <a:lnTo>
                      <a:pt x="21" y="40"/>
                    </a:lnTo>
                    <a:lnTo>
                      <a:pt x="26" y="39"/>
                    </a:lnTo>
                    <a:lnTo>
                      <a:pt x="28" y="34"/>
                    </a:lnTo>
                    <a:lnTo>
                      <a:pt x="32" y="32"/>
                    </a:lnTo>
                    <a:lnTo>
                      <a:pt x="32" y="29"/>
                    </a:lnTo>
                    <a:lnTo>
                      <a:pt x="35" y="29"/>
                    </a:lnTo>
                    <a:lnTo>
                      <a:pt x="35" y="18"/>
                    </a:lnTo>
                    <a:lnTo>
                      <a:pt x="37" y="17"/>
                    </a:lnTo>
                    <a:lnTo>
                      <a:pt x="40" y="14"/>
                    </a:lnTo>
                    <a:lnTo>
                      <a:pt x="48" y="12"/>
                    </a:lnTo>
                    <a:lnTo>
                      <a:pt x="48" y="11"/>
                    </a:lnTo>
                    <a:lnTo>
                      <a:pt x="45" y="9"/>
                    </a:lnTo>
                    <a:lnTo>
                      <a:pt x="45" y="5"/>
                    </a:lnTo>
                    <a:lnTo>
                      <a:pt x="48" y="5"/>
                    </a:lnTo>
                    <a:lnTo>
                      <a:pt x="50" y="1"/>
                    </a:lnTo>
                    <a:lnTo>
                      <a:pt x="53" y="0"/>
                    </a:lnTo>
                    <a:lnTo>
                      <a:pt x="55" y="1"/>
                    </a:lnTo>
                    <a:lnTo>
                      <a:pt x="59" y="3"/>
                    </a:lnTo>
                    <a:lnTo>
                      <a:pt x="60" y="3"/>
                    </a:lnTo>
                    <a:lnTo>
                      <a:pt x="63" y="2"/>
                    </a:lnTo>
                    <a:lnTo>
                      <a:pt x="68" y="0"/>
                    </a:lnTo>
                    <a:lnTo>
                      <a:pt x="70" y="1"/>
                    </a:lnTo>
                    <a:lnTo>
                      <a:pt x="70" y="2"/>
                    </a:lnTo>
                    <a:lnTo>
                      <a:pt x="71" y="4"/>
                    </a:lnTo>
                    <a:lnTo>
                      <a:pt x="78" y="8"/>
                    </a:lnTo>
                    <a:lnTo>
                      <a:pt x="78" y="14"/>
                    </a:lnTo>
                    <a:lnTo>
                      <a:pt x="81" y="17"/>
                    </a:lnTo>
                    <a:lnTo>
                      <a:pt x="81" y="27"/>
                    </a:lnTo>
                    <a:lnTo>
                      <a:pt x="83" y="29"/>
                    </a:lnTo>
                    <a:lnTo>
                      <a:pt x="81" y="39"/>
                    </a:lnTo>
                    <a:lnTo>
                      <a:pt x="81" y="42"/>
                    </a:lnTo>
                    <a:lnTo>
                      <a:pt x="78" y="43"/>
                    </a:lnTo>
                    <a:lnTo>
                      <a:pt x="78" y="45"/>
                    </a:lnTo>
                    <a:lnTo>
                      <a:pt x="78" y="46"/>
                    </a:lnTo>
                    <a:lnTo>
                      <a:pt x="81" y="45"/>
                    </a:lnTo>
                    <a:lnTo>
                      <a:pt x="85" y="43"/>
                    </a:lnTo>
                    <a:lnTo>
                      <a:pt x="86" y="44"/>
                    </a:lnTo>
                    <a:lnTo>
                      <a:pt x="89" y="46"/>
                    </a:lnTo>
                    <a:lnTo>
                      <a:pt x="92" y="50"/>
                    </a:lnTo>
                    <a:lnTo>
                      <a:pt x="96" y="50"/>
                    </a:lnTo>
                    <a:lnTo>
                      <a:pt x="98" y="49"/>
                    </a:lnTo>
                    <a:lnTo>
                      <a:pt x="104" y="49"/>
                    </a:lnTo>
                    <a:lnTo>
                      <a:pt x="104" y="45"/>
                    </a:lnTo>
                    <a:lnTo>
                      <a:pt x="107" y="40"/>
                    </a:lnTo>
                    <a:lnTo>
                      <a:pt x="107" y="35"/>
                    </a:lnTo>
                    <a:lnTo>
                      <a:pt x="109" y="34"/>
                    </a:lnTo>
                    <a:lnTo>
                      <a:pt x="114" y="34"/>
                    </a:lnTo>
                    <a:lnTo>
                      <a:pt x="116" y="39"/>
                    </a:lnTo>
                    <a:lnTo>
                      <a:pt x="118" y="42"/>
                    </a:lnTo>
                    <a:lnTo>
                      <a:pt x="119" y="49"/>
                    </a:lnTo>
                    <a:lnTo>
                      <a:pt x="121" y="49"/>
                    </a:lnTo>
                    <a:lnTo>
                      <a:pt x="123" y="50"/>
                    </a:lnTo>
                    <a:lnTo>
                      <a:pt x="123" y="53"/>
                    </a:lnTo>
                    <a:lnTo>
                      <a:pt x="126" y="54"/>
                    </a:lnTo>
                    <a:lnTo>
                      <a:pt x="123" y="66"/>
                    </a:lnTo>
                    <a:lnTo>
                      <a:pt x="123" y="68"/>
                    </a:lnTo>
                    <a:lnTo>
                      <a:pt x="116" y="73"/>
                    </a:lnTo>
                    <a:lnTo>
                      <a:pt x="112" y="76"/>
                    </a:lnTo>
                    <a:lnTo>
                      <a:pt x="114" y="78"/>
                    </a:lnTo>
                    <a:lnTo>
                      <a:pt x="115" y="78"/>
                    </a:lnTo>
                    <a:lnTo>
                      <a:pt x="116" y="79"/>
                    </a:lnTo>
                    <a:lnTo>
                      <a:pt x="119" y="79"/>
                    </a:lnTo>
                    <a:lnTo>
                      <a:pt x="119" y="80"/>
                    </a:lnTo>
                    <a:lnTo>
                      <a:pt x="121" y="81"/>
                    </a:lnTo>
                    <a:lnTo>
                      <a:pt x="123" y="81"/>
                    </a:lnTo>
                    <a:lnTo>
                      <a:pt x="129" y="85"/>
                    </a:lnTo>
                    <a:lnTo>
                      <a:pt x="136" y="85"/>
                    </a:lnTo>
                    <a:lnTo>
                      <a:pt x="137" y="85"/>
                    </a:lnTo>
                    <a:lnTo>
                      <a:pt x="140" y="90"/>
                    </a:lnTo>
                    <a:lnTo>
                      <a:pt x="140" y="93"/>
                    </a:lnTo>
                    <a:lnTo>
                      <a:pt x="143" y="93"/>
                    </a:lnTo>
                    <a:lnTo>
                      <a:pt x="145" y="97"/>
                    </a:lnTo>
                    <a:lnTo>
                      <a:pt x="145" y="100"/>
                    </a:lnTo>
                    <a:lnTo>
                      <a:pt x="150" y="101"/>
                    </a:lnTo>
                    <a:lnTo>
                      <a:pt x="153" y="104"/>
                    </a:lnTo>
                    <a:lnTo>
                      <a:pt x="157" y="103"/>
                    </a:lnTo>
                    <a:lnTo>
                      <a:pt x="157" y="107"/>
                    </a:lnTo>
                    <a:lnTo>
                      <a:pt x="159" y="110"/>
                    </a:lnTo>
                    <a:lnTo>
                      <a:pt x="161" y="114"/>
                    </a:lnTo>
                    <a:lnTo>
                      <a:pt x="159" y="118"/>
                    </a:lnTo>
                    <a:lnTo>
                      <a:pt x="161" y="123"/>
                    </a:lnTo>
                    <a:lnTo>
                      <a:pt x="156" y="123"/>
                    </a:lnTo>
                    <a:lnTo>
                      <a:pt x="155" y="126"/>
                    </a:lnTo>
                    <a:lnTo>
                      <a:pt x="155" y="131"/>
                    </a:lnTo>
                    <a:lnTo>
                      <a:pt x="154" y="131"/>
                    </a:lnTo>
                    <a:lnTo>
                      <a:pt x="153" y="133"/>
                    </a:lnTo>
                    <a:lnTo>
                      <a:pt x="154" y="137"/>
                    </a:lnTo>
                    <a:close/>
                  </a:path>
                </a:pathLst>
              </a:custGeom>
              <a:solidFill>
                <a:srgbClr val="9BBB59"/>
              </a:solidFill>
              <a:ln w="7938">
                <a:solidFill>
                  <a:srgbClr val="1C1329"/>
                </a:solidFill>
                <a:miter lim="800000"/>
                <a:headEnd/>
                <a:tailEnd/>
              </a:ln>
            </p:spPr>
            <p:txBody>
              <a:bodyPr/>
              <a:lstStyle/>
              <a:p>
                <a:endParaRPr lang="en-US"/>
              </a:p>
            </p:txBody>
          </p:sp>
          <p:sp>
            <p:nvSpPr>
              <p:cNvPr id="270" name="Freeform 56"/>
              <p:cNvSpPr>
                <a:spLocks/>
              </p:cNvSpPr>
              <p:nvPr/>
            </p:nvSpPr>
            <p:spPr bwMode="auto">
              <a:xfrm>
                <a:off x="1146" y="2071"/>
                <a:ext cx="183" cy="262"/>
              </a:xfrm>
              <a:custGeom>
                <a:avLst/>
                <a:gdLst>
                  <a:gd name="T0" fmla="*/ 14677 w 171"/>
                  <a:gd name="T1" fmla="*/ 5607 h 249"/>
                  <a:gd name="T2" fmla="*/ 14884 w 171"/>
                  <a:gd name="T3" fmla="*/ 5660 h 249"/>
                  <a:gd name="T4" fmla="*/ 13513 w 171"/>
                  <a:gd name="T5" fmla="*/ 5977 h 249"/>
                  <a:gd name="T6" fmla="*/ 12242 w 171"/>
                  <a:gd name="T7" fmla="*/ 5977 h 249"/>
                  <a:gd name="T8" fmla="*/ 11348 w 171"/>
                  <a:gd name="T9" fmla="*/ 6055 h 249"/>
                  <a:gd name="T10" fmla="*/ 8405 w 171"/>
                  <a:gd name="T11" fmla="*/ 6594 h 249"/>
                  <a:gd name="T12" fmla="*/ 5906 w 171"/>
                  <a:gd name="T13" fmla="*/ 6826 h 249"/>
                  <a:gd name="T14" fmla="*/ 4190 w 171"/>
                  <a:gd name="T15" fmla="*/ 7197 h 249"/>
                  <a:gd name="T16" fmla="*/ 4 w 171"/>
                  <a:gd name="T17" fmla="*/ 6704 h 249"/>
                  <a:gd name="T18" fmla="*/ 1013 w 171"/>
                  <a:gd name="T19" fmla="*/ 6594 h 249"/>
                  <a:gd name="T20" fmla="*/ 1628 w 171"/>
                  <a:gd name="T21" fmla="*/ 6594 h 249"/>
                  <a:gd name="T22" fmla="*/ 1521 w 171"/>
                  <a:gd name="T23" fmla="*/ 6055 h 249"/>
                  <a:gd name="T24" fmla="*/ 885 w 171"/>
                  <a:gd name="T25" fmla="*/ 5977 h 249"/>
                  <a:gd name="T26" fmla="*/ 5 w 171"/>
                  <a:gd name="T27" fmla="*/ 5580 h 249"/>
                  <a:gd name="T28" fmla="*/ 0 w 171"/>
                  <a:gd name="T29" fmla="*/ 5040 h 249"/>
                  <a:gd name="T30" fmla="*/ 4 w 171"/>
                  <a:gd name="T31" fmla="*/ 4552 h 249"/>
                  <a:gd name="T32" fmla="*/ 885 w 171"/>
                  <a:gd name="T33" fmla="*/ 4326 h 249"/>
                  <a:gd name="T34" fmla="*/ 885 w 171"/>
                  <a:gd name="T35" fmla="*/ 3907 h 249"/>
                  <a:gd name="T36" fmla="*/ 1521 w 171"/>
                  <a:gd name="T37" fmla="*/ 3414 h 249"/>
                  <a:gd name="T38" fmla="*/ 1995 w 171"/>
                  <a:gd name="T39" fmla="*/ 3271 h 249"/>
                  <a:gd name="T40" fmla="*/ 2160 w 171"/>
                  <a:gd name="T41" fmla="*/ 3190 h 249"/>
                  <a:gd name="T42" fmla="*/ 2312 w 171"/>
                  <a:gd name="T43" fmla="*/ 2873 h 249"/>
                  <a:gd name="T44" fmla="*/ 1742 w 171"/>
                  <a:gd name="T45" fmla="*/ 2228 h 249"/>
                  <a:gd name="T46" fmla="*/ 1521 w 171"/>
                  <a:gd name="T47" fmla="*/ 2160 h 249"/>
                  <a:gd name="T48" fmla="*/ 1628 w 171"/>
                  <a:gd name="T49" fmla="*/ 1916 h 249"/>
                  <a:gd name="T50" fmla="*/ 1742 w 171"/>
                  <a:gd name="T51" fmla="*/ 1775 h 249"/>
                  <a:gd name="T52" fmla="*/ 1421 w 171"/>
                  <a:gd name="T53" fmla="*/ 1485 h 249"/>
                  <a:gd name="T54" fmla="*/ 1241 w 171"/>
                  <a:gd name="T55" fmla="*/ 1094 h 249"/>
                  <a:gd name="T56" fmla="*/ 1160 w 171"/>
                  <a:gd name="T57" fmla="*/ 848 h 249"/>
                  <a:gd name="T58" fmla="*/ 1013 w 171"/>
                  <a:gd name="T59" fmla="*/ 594 h 249"/>
                  <a:gd name="T60" fmla="*/ 885 w 171"/>
                  <a:gd name="T61" fmla="*/ 321 h 249"/>
                  <a:gd name="T62" fmla="*/ 2160 w 171"/>
                  <a:gd name="T63" fmla="*/ 4 h 249"/>
                  <a:gd name="T64" fmla="*/ 3658 w 171"/>
                  <a:gd name="T65" fmla="*/ 4 h 249"/>
                  <a:gd name="T66" fmla="*/ 6961 w 171"/>
                  <a:gd name="T67" fmla="*/ 8 h 249"/>
                  <a:gd name="T68" fmla="*/ 8257 w 171"/>
                  <a:gd name="T69" fmla="*/ 7 h 249"/>
                  <a:gd name="T70" fmla="*/ 9988 w 171"/>
                  <a:gd name="T71" fmla="*/ 0 h 249"/>
                  <a:gd name="T72" fmla="*/ 10120 w 171"/>
                  <a:gd name="T73" fmla="*/ 2 h 249"/>
                  <a:gd name="T74" fmla="*/ 10753 w 171"/>
                  <a:gd name="T75" fmla="*/ 4 h 249"/>
                  <a:gd name="T76" fmla="*/ 10604 w 171"/>
                  <a:gd name="T77" fmla="*/ 321 h 249"/>
                  <a:gd name="T78" fmla="*/ 10282 w 171"/>
                  <a:gd name="T79" fmla="*/ 510 h 249"/>
                  <a:gd name="T80" fmla="*/ 11191 w 171"/>
                  <a:gd name="T81" fmla="*/ 766 h 249"/>
                  <a:gd name="T82" fmla="*/ 11776 w 171"/>
                  <a:gd name="T83" fmla="*/ 1039 h 249"/>
                  <a:gd name="T84" fmla="*/ 12242 w 171"/>
                  <a:gd name="T85" fmla="*/ 1775 h 249"/>
                  <a:gd name="T86" fmla="*/ 12455 w 171"/>
                  <a:gd name="T87" fmla="*/ 2016 h 249"/>
                  <a:gd name="T88" fmla="*/ 12627 w 171"/>
                  <a:gd name="T89" fmla="*/ 2955 h 249"/>
                  <a:gd name="T90" fmla="*/ 12628 w 171"/>
                  <a:gd name="T91" fmla="*/ 4170 h 249"/>
                  <a:gd name="T92" fmla="*/ 13101 w 171"/>
                  <a:gd name="T93" fmla="*/ 4814 h 249"/>
                  <a:gd name="T94" fmla="*/ 13715 w 171"/>
                  <a:gd name="T95" fmla="*/ 5292 h 24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1"/>
                  <a:gd name="T145" fmla="*/ 0 h 249"/>
                  <a:gd name="T146" fmla="*/ 171 w 171"/>
                  <a:gd name="T147" fmla="*/ 249 h 24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1" h="249">
                    <a:moveTo>
                      <a:pt x="156" y="182"/>
                    </a:moveTo>
                    <a:lnTo>
                      <a:pt x="167" y="195"/>
                    </a:lnTo>
                    <a:lnTo>
                      <a:pt x="171" y="197"/>
                    </a:lnTo>
                    <a:lnTo>
                      <a:pt x="168" y="197"/>
                    </a:lnTo>
                    <a:lnTo>
                      <a:pt x="160" y="208"/>
                    </a:lnTo>
                    <a:lnTo>
                      <a:pt x="154" y="208"/>
                    </a:lnTo>
                    <a:lnTo>
                      <a:pt x="151" y="207"/>
                    </a:lnTo>
                    <a:lnTo>
                      <a:pt x="138" y="208"/>
                    </a:lnTo>
                    <a:lnTo>
                      <a:pt x="132" y="208"/>
                    </a:lnTo>
                    <a:lnTo>
                      <a:pt x="128" y="211"/>
                    </a:lnTo>
                    <a:lnTo>
                      <a:pt x="117" y="217"/>
                    </a:lnTo>
                    <a:lnTo>
                      <a:pt x="96" y="229"/>
                    </a:lnTo>
                    <a:lnTo>
                      <a:pt x="73" y="234"/>
                    </a:lnTo>
                    <a:lnTo>
                      <a:pt x="67" y="236"/>
                    </a:lnTo>
                    <a:lnTo>
                      <a:pt x="62" y="241"/>
                    </a:lnTo>
                    <a:lnTo>
                      <a:pt x="47" y="249"/>
                    </a:lnTo>
                    <a:lnTo>
                      <a:pt x="29" y="241"/>
                    </a:lnTo>
                    <a:lnTo>
                      <a:pt x="4" y="234"/>
                    </a:lnTo>
                    <a:lnTo>
                      <a:pt x="7" y="229"/>
                    </a:lnTo>
                    <a:lnTo>
                      <a:pt x="12" y="229"/>
                    </a:lnTo>
                    <a:lnTo>
                      <a:pt x="15" y="230"/>
                    </a:lnTo>
                    <a:lnTo>
                      <a:pt x="19" y="229"/>
                    </a:lnTo>
                    <a:lnTo>
                      <a:pt x="19" y="218"/>
                    </a:lnTo>
                    <a:lnTo>
                      <a:pt x="18" y="211"/>
                    </a:lnTo>
                    <a:lnTo>
                      <a:pt x="15" y="210"/>
                    </a:lnTo>
                    <a:lnTo>
                      <a:pt x="10" y="208"/>
                    </a:lnTo>
                    <a:lnTo>
                      <a:pt x="7" y="205"/>
                    </a:lnTo>
                    <a:lnTo>
                      <a:pt x="5" y="193"/>
                    </a:lnTo>
                    <a:lnTo>
                      <a:pt x="0" y="180"/>
                    </a:lnTo>
                    <a:lnTo>
                      <a:pt x="0" y="174"/>
                    </a:lnTo>
                    <a:lnTo>
                      <a:pt x="0" y="162"/>
                    </a:lnTo>
                    <a:lnTo>
                      <a:pt x="4" y="157"/>
                    </a:lnTo>
                    <a:lnTo>
                      <a:pt x="7" y="152"/>
                    </a:lnTo>
                    <a:lnTo>
                      <a:pt x="10" y="149"/>
                    </a:lnTo>
                    <a:lnTo>
                      <a:pt x="10" y="141"/>
                    </a:lnTo>
                    <a:lnTo>
                      <a:pt x="10" y="135"/>
                    </a:lnTo>
                    <a:lnTo>
                      <a:pt x="15" y="126"/>
                    </a:lnTo>
                    <a:lnTo>
                      <a:pt x="18" y="119"/>
                    </a:lnTo>
                    <a:lnTo>
                      <a:pt x="20" y="119"/>
                    </a:lnTo>
                    <a:lnTo>
                      <a:pt x="22" y="114"/>
                    </a:lnTo>
                    <a:lnTo>
                      <a:pt x="25" y="114"/>
                    </a:lnTo>
                    <a:lnTo>
                      <a:pt x="25" y="111"/>
                    </a:lnTo>
                    <a:lnTo>
                      <a:pt x="29" y="109"/>
                    </a:lnTo>
                    <a:lnTo>
                      <a:pt x="27" y="99"/>
                    </a:lnTo>
                    <a:lnTo>
                      <a:pt x="22" y="80"/>
                    </a:lnTo>
                    <a:lnTo>
                      <a:pt x="20" y="77"/>
                    </a:lnTo>
                    <a:lnTo>
                      <a:pt x="17" y="77"/>
                    </a:lnTo>
                    <a:lnTo>
                      <a:pt x="18" y="75"/>
                    </a:lnTo>
                    <a:lnTo>
                      <a:pt x="21" y="72"/>
                    </a:lnTo>
                    <a:lnTo>
                      <a:pt x="19" y="67"/>
                    </a:lnTo>
                    <a:lnTo>
                      <a:pt x="20" y="65"/>
                    </a:lnTo>
                    <a:lnTo>
                      <a:pt x="20" y="62"/>
                    </a:lnTo>
                    <a:lnTo>
                      <a:pt x="18" y="56"/>
                    </a:lnTo>
                    <a:lnTo>
                      <a:pt x="17" y="52"/>
                    </a:lnTo>
                    <a:lnTo>
                      <a:pt x="18" y="45"/>
                    </a:lnTo>
                    <a:lnTo>
                      <a:pt x="15" y="39"/>
                    </a:lnTo>
                    <a:lnTo>
                      <a:pt x="17" y="30"/>
                    </a:lnTo>
                    <a:lnTo>
                      <a:pt x="14" y="29"/>
                    </a:lnTo>
                    <a:lnTo>
                      <a:pt x="15" y="24"/>
                    </a:lnTo>
                    <a:lnTo>
                      <a:pt x="12" y="22"/>
                    </a:lnTo>
                    <a:lnTo>
                      <a:pt x="10" y="15"/>
                    </a:lnTo>
                    <a:lnTo>
                      <a:pt x="10" y="10"/>
                    </a:lnTo>
                    <a:lnTo>
                      <a:pt x="14" y="4"/>
                    </a:lnTo>
                    <a:lnTo>
                      <a:pt x="25" y="4"/>
                    </a:lnTo>
                    <a:lnTo>
                      <a:pt x="32" y="4"/>
                    </a:lnTo>
                    <a:lnTo>
                      <a:pt x="41" y="4"/>
                    </a:lnTo>
                    <a:lnTo>
                      <a:pt x="60" y="4"/>
                    </a:lnTo>
                    <a:lnTo>
                      <a:pt x="79" y="8"/>
                    </a:lnTo>
                    <a:lnTo>
                      <a:pt x="90" y="8"/>
                    </a:lnTo>
                    <a:lnTo>
                      <a:pt x="93" y="7"/>
                    </a:lnTo>
                    <a:lnTo>
                      <a:pt x="102" y="1"/>
                    </a:lnTo>
                    <a:lnTo>
                      <a:pt x="113" y="0"/>
                    </a:lnTo>
                    <a:lnTo>
                      <a:pt x="113" y="1"/>
                    </a:lnTo>
                    <a:lnTo>
                      <a:pt x="115" y="2"/>
                    </a:lnTo>
                    <a:lnTo>
                      <a:pt x="122" y="2"/>
                    </a:lnTo>
                    <a:lnTo>
                      <a:pt x="122" y="4"/>
                    </a:lnTo>
                    <a:lnTo>
                      <a:pt x="120" y="7"/>
                    </a:lnTo>
                    <a:lnTo>
                      <a:pt x="120" y="10"/>
                    </a:lnTo>
                    <a:lnTo>
                      <a:pt x="117" y="15"/>
                    </a:lnTo>
                    <a:lnTo>
                      <a:pt x="117" y="19"/>
                    </a:lnTo>
                    <a:lnTo>
                      <a:pt x="123" y="22"/>
                    </a:lnTo>
                    <a:lnTo>
                      <a:pt x="127" y="27"/>
                    </a:lnTo>
                    <a:lnTo>
                      <a:pt x="132" y="33"/>
                    </a:lnTo>
                    <a:lnTo>
                      <a:pt x="134" y="36"/>
                    </a:lnTo>
                    <a:lnTo>
                      <a:pt x="137" y="46"/>
                    </a:lnTo>
                    <a:lnTo>
                      <a:pt x="138" y="62"/>
                    </a:lnTo>
                    <a:lnTo>
                      <a:pt x="140" y="65"/>
                    </a:lnTo>
                    <a:lnTo>
                      <a:pt x="142" y="70"/>
                    </a:lnTo>
                    <a:lnTo>
                      <a:pt x="143" y="78"/>
                    </a:lnTo>
                    <a:lnTo>
                      <a:pt x="144" y="103"/>
                    </a:lnTo>
                    <a:lnTo>
                      <a:pt x="147" y="131"/>
                    </a:lnTo>
                    <a:lnTo>
                      <a:pt x="145" y="145"/>
                    </a:lnTo>
                    <a:lnTo>
                      <a:pt x="147" y="161"/>
                    </a:lnTo>
                    <a:lnTo>
                      <a:pt x="148" y="167"/>
                    </a:lnTo>
                    <a:lnTo>
                      <a:pt x="151" y="176"/>
                    </a:lnTo>
                    <a:lnTo>
                      <a:pt x="156" y="182"/>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1" name="Freeform 57"/>
              <p:cNvSpPr>
                <a:spLocks/>
              </p:cNvSpPr>
              <p:nvPr/>
            </p:nvSpPr>
            <p:spPr bwMode="auto">
              <a:xfrm>
                <a:off x="1146" y="2071"/>
                <a:ext cx="183" cy="262"/>
              </a:xfrm>
              <a:custGeom>
                <a:avLst/>
                <a:gdLst>
                  <a:gd name="T0" fmla="*/ 14677 w 171"/>
                  <a:gd name="T1" fmla="*/ 5607 h 249"/>
                  <a:gd name="T2" fmla="*/ 14884 w 171"/>
                  <a:gd name="T3" fmla="*/ 5660 h 249"/>
                  <a:gd name="T4" fmla="*/ 13513 w 171"/>
                  <a:gd name="T5" fmla="*/ 5977 h 249"/>
                  <a:gd name="T6" fmla="*/ 12242 w 171"/>
                  <a:gd name="T7" fmla="*/ 5977 h 249"/>
                  <a:gd name="T8" fmla="*/ 11348 w 171"/>
                  <a:gd name="T9" fmla="*/ 6055 h 249"/>
                  <a:gd name="T10" fmla="*/ 8405 w 171"/>
                  <a:gd name="T11" fmla="*/ 6594 h 249"/>
                  <a:gd name="T12" fmla="*/ 5906 w 171"/>
                  <a:gd name="T13" fmla="*/ 6826 h 249"/>
                  <a:gd name="T14" fmla="*/ 4190 w 171"/>
                  <a:gd name="T15" fmla="*/ 7197 h 249"/>
                  <a:gd name="T16" fmla="*/ 4 w 171"/>
                  <a:gd name="T17" fmla="*/ 6704 h 249"/>
                  <a:gd name="T18" fmla="*/ 1013 w 171"/>
                  <a:gd name="T19" fmla="*/ 6594 h 249"/>
                  <a:gd name="T20" fmla="*/ 1628 w 171"/>
                  <a:gd name="T21" fmla="*/ 6594 h 249"/>
                  <a:gd name="T22" fmla="*/ 1521 w 171"/>
                  <a:gd name="T23" fmla="*/ 6055 h 249"/>
                  <a:gd name="T24" fmla="*/ 885 w 171"/>
                  <a:gd name="T25" fmla="*/ 5977 h 249"/>
                  <a:gd name="T26" fmla="*/ 5 w 171"/>
                  <a:gd name="T27" fmla="*/ 5580 h 249"/>
                  <a:gd name="T28" fmla="*/ 0 w 171"/>
                  <a:gd name="T29" fmla="*/ 5040 h 249"/>
                  <a:gd name="T30" fmla="*/ 4 w 171"/>
                  <a:gd name="T31" fmla="*/ 4552 h 249"/>
                  <a:gd name="T32" fmla="*/ 885 w 171"/>
                  <a:gd name="T33" fmla="*/ 4326 h 249"/>
                  <a:gd name="T34" fmla="*/ 885 w 171"/>
                  <a:gd name="T35" fmla="*/ 3907 h 249"/>
                  <a:gd name="T36" fmla="*/ 1521 w 171"/>
                  <a:gd name="T37" fmla="*/ 3414 h 249"/>
                  <a:gd name="T38" fmla="*/ 1995 w 171"/>
                  <a:gd name="T39" fmla="*/ 3271 h 249"/>
                  <a:gd name="T40" fmla="*/ 2160 w 171"/>
                  <a:gd name="T41" fmla="*/ 3190 h 249"/>
                  <a:gd name="T42" fmla="*/ 2312 w 171"/>
                  <a:gd name="T43" fmla="*/ 2873 h 249"/>
                  <a:gd name="T44" fmla="*/ 1742 w 171"/>
                  <a:gd name="T45" fmla="*/ 2228 h 249"/>
                  <a:gd name="T46" fmla="*/ 1521 w 171"/>
                  <a:gd name="T47" fmla="*/ 2160 h 249"/>
                  <a:gd name="T48" fmla="*/ 1628 w 171"/>
                  <a:gd name="T49" fmla="*/ 1916 h 249"/>
                  <a:gd name="T50" fmla="*/ 1742 w 171"/>
                  <a:gd name="T51" fmla="*/ 1775 h 249"/>
                  <a:gd name="T52" fmla="*/ 1421 w 171"/>
                  <a:gd name="T53" fmla="*/ 1485 h 249"/>
                  <a:gd name="T54" fmla="*/ 1241 w 171"/>
                  <a:gd name="T55" fmla="*/ 1094 h 249"/>
                  <a:gd name="T56" fmla="*/ 1160 w 171"/>
                  <a:gd name="T57" fmla="*/ 848 h 249"/>
                  <a:gd name="T58" fmla="*/ 1013 w 171"/>
                  <a:gd name="T59" fmla="*/ 594 h 249"/>
                  <a:gd name="T60" fmla="*/ 885 w 171"/>
                  <a:gd name="T61" fmla="*/ 321 h 249"/>
                  <a:gd name="T62" fmla="*/ 2160 w 171"/>
                  <a:gd name="T63" fmla="*/ 4 h 249"/>
                  <a:gd name="T64" fmla="*/ 3658 w 171"/>
                  <a:gd name="T65" fmla="*/ 4 h 249"/>
                  <a:gd name="T66" fmla="*/ 6961 w 171"/>
                  <a:gd name="T67" fmla="*/ 8 h 249"/>
                  <a:gd name="T68" fmla="*/ 8257 w 171"/>
                  <a:gd name="T69" fmla="*/ 7 h 249"/>
                  <a:gd name="T70" fmla="*/ 9988 w 171"/>
                  <a:gd name="T71" fmla="*/ 0 h 249"/>
                  <a:gd name="T72" fmla="*/ 10120 w 171"/>
                  <a:gd name="T73" fmla="*/ 2 h 249"/>
                  <a:gd name="T74" fmla="*/ 10753 w 171"/>
                  <a:gd name="T75" fmla="*/ 4 h 249"/>
                  <a:gd name="T76" fmla="*/ 10604 w 171"/>
                  <a:gd name="T77" fmla="*/ 321 h 249"/>
                  <a:gd name="T78" fmla="*/ 10282 w 171"/>
                  <a:gd name="T79" fmla="*/ 510 h 249"/>
                  <a:gd name="T80" fmla="*/ 11191 w 171"/>
                  <a:gd name="T81" fmla="*/ 766 h 249"/>
                  <a:gd name="T82" fmla="*/ 11776 w 171"/>
                  <a:gd name="T83" fmla="*/ 1039 h 249"/>
                  <a:gd name="T84" fmla="*/ 12242 w 171"/>
                  <a:gd name="T85" fmla="*/ 1775 h 249"/>
                  <a:gd name="T86" fmla="*/ 12455 w 171"/>
                  <a:gd name="T87" fmla="*/ 2016 h 249"/>
                  <a:gd name="T88" fmla="*/ 12627 w 171"/>
                  <a:gd name="T89" fmla="*/ 2955 h 249"/>
                  <a:gd name="T90" fmla="*/ 12628 w 171"/>
                  <a:gd name="T91" fmla="*/ 4170 h 249"/>
                  <a:gd name="T92" fmla="*/ 13101 w 171"/>
                  <a:gd name="T93" fmla="*/ 4814 h 249"/>
                  <a:gd name="T94" fmla="*/ 13715 w 171"/>
                  <a:gd name="T95" fmla="*/ 5292 h 24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1"/>
                  <a:gd name="T145" fmla="*/ 0 h 249"/>
                  <a:gd name="T146" fmla="*/ 171 w 171"/>
                  <a:gd name="T147" fmla="*/ 249 h 24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1" h="249">
                    <a:moveTo>
                      <a:pt x="156" y="182"/>
                    </a:moveTo>
                    <a:lnTo>
                      <a:pt x="167" y="195"/>
                    </a:lnTo>
                    <a:lnTo>
                      <a:pt x="171" y="197"/>
                    </a:lnTo>
                    <a:lnTo>
                      <a:pt x="168" y="197"/>
                    </a:lnTo>
                    <a:lnTo>
                      <a:pt x="160" y="208"/>
                    </a:lnTo>
                    <a:lnTo>
                      <a:pt x="154" y="208"/>
                    </a:lnTo>
                    <a:lnTo>
                      <a:pt x="151" y="207"/>
                    </a:lnTo>
                    <a:lnTo>
                      <a:pt x="138" y="208"/>
                    </a:lnTo>
                    <a:lnTo>
                      <a:pt x="132" y="208"/>
                    </a:lnTo>
                    <a:lnTo>
                      <a:pt x="128" y="211"/>
                    </a:lnTo>
                    <a:lnTo>
                      <a:pt x="117" y="217"/>
                    </a:lnTo>
                    <a:lnTo>
                      <a:pt x="96" y="229"/>
                    </a:lnTo>
                    <a:lnTo>
                      <a:pt x="73" y="234"/>
                    </a:lnTo>
                    <a:lnTo>
                      <a:pt x="67" y="236"/>
                    </a:lnTo>
                    <a:lnTo>
                      <a:pt x="62" y="241"/>
                    </a:lnTo>
                    <a:lnTo>
                      <a:pt x="47" y="249"/>
                    </a:lnTo>
                    <a:lnTo>
                      <a:pt x="29" y="241"/>
                    </a:lnTo>
                    <a:lnTo>
                      <a:pt x="4" y="234"/>
                    </a:lnTo>
                    <a:lnTo>
                      <a:pt x="7" y="229"/>
                    </a:lnTo>
                    <a:lnTo>
                      <a:pt x="12" y="229"/>
                    </a:lnTo>
                    <a:lnTo>
                      <a:pt x="15" y="230"/>
                    </a:lnTo>
                    <a:lnTo>
                      <a:pt x="19" y="229"/>
                    </a:lnTo>
                    <a:lnTo>
                      <a:pt x="19" y="218"/>
                    </a:lnTo>
                    <a:lnTo>
                      <a:pt x="18" y="211"/>
                    </a:lnTo>
                    <a:lnTo>
                      <a:pt x="15" y="210"/>
                    </a:lnTo>
                    <a:lnTo>
                      <a:pt x="10" y="208"/>
                    </a:lnTo>
                    <a:lnTo>
                      <a:pt x="7" y="205"/>
                    </a:lnTo>
                    <a:lnTo>
                      <a:pt x="5" y="193"/>
                    </a:lnTo>
                    <a:lnTo>
                      <a:pt x="0" y="180"/>
                    </a:lnTo>
                    <a:lnTo>
                      <a:pt x="0" y="174"/>
                    </a:lnTo>
                    <a:lnTo>
                      <a:pt x="0" y="162"/>
                    </a:lnTo>
                    <a:lnTo>
                      <a:pt x="4" y="157"/>
                    </a:lnTo>
                    <a:lnTo>
                      <a:pt x="7" y="152"/>
                    </a:lnTo>
                    <a:lnTo>
                      <a:pt x="10" y="149"/>
                    </a:lnTo>
                    <a:lnTo>
                      <a:pt x="10" y="141"/>
                    </a:lnTo>
                    <a:lnTo>
                      <a:pt x="10" y="135"/>
                    </a:lnTo>
                    <a:lnTo>
                      <a:pt x="15" y="126"/>
                    </a:lnTo>
                    <a:lnTo>
                      <a:pt x="18" y="119"/>
                    </a:lnTo>
                    <a:lnTo>
                      <a:pt x="20" y="119"/>
                    </a:lnTo>
                    <a:lnTo>
                      <a:pt x="22" y="114"/>
                    </a:lnTo>
                    <a:lnTo>
                      <a:pt x="25" y="114"/>
                    </a:lnTo>
                    <a:lnTo>
                      <a:pt x="25" y="111"/>
                    </a:lnTo>
                    <a:lnTo>
                      <a:pt x="29" y="109"/>
                    </a:lnTo>
                    <a:lnTo>
                      <a:pt x="27" y="99"/>
                    </a:lnTo>
                    <a:lnTo>
                      <a:pt x="22" y="80"/>
                    </a:lnTo>
                    <a:lnTo>
                      <a:pt x="20" y="77"/>
                    </a:lnTo>
                    <a:lnTo>
                      <a:pt x="17" y="77"/>
                    </a:lnTo>
                    <a:lnTo>
                      <a:pt x="18" y="75"/>
                    </a:lnTo>
                    <a:lnTo>
                      <a:pt x="21" y="72"/>
                    </a:lnTo>
                    <a:lnTo>
                      <a:pt x="19" y="67"/>
                    </a:lnTo>
                    <a:lnTo>
                      <a:pt x="20" y="65"/>
                    </a:lnTo>
                    <a:lnTo>
                      <a:pt x="20" y="62"/>
                    </a:lnTo>
                    <a:lnTo>
                      <a:pt x="18" y="56"/>
                    </a:lnTo>
                    <a:lnTo>
                      <a:pt x="17" y="52"/>
                    </a:lnTo>
                    <a:lnTo>
                      <a:pt x="18" y="45"/>
                    </a:lnTo>
                    <a:lnTo>
                      <a:pt x="15" y="39"/>
                    </a:lnTo>
                    <a:lnTo>
                      <a:pt x="17" y="30"/>
                    </a:lnTo>
                    <a:lnTo>
                      <a:pt x="14" y="29"/>
                    </a:lnTo>
                    <a:lnTo>
                      <a:pt x="15" y="24"/>
                    </a:lnTo>
                    <a:lnTo>
                      <a:pt x="12" y="22"/>
                    </a:lnTo>
                    <a:lnTo>
                      <a:pt x="10" y="15"/>
                    </a:lnTo>
                    <a:lnTo>
                      <a:pt x="10" y="10"/>
                    </a:lnTo>
                    <a:lnTo>
                      <a:pt x="14" y="4"/>
                    </a:lnTo>
                    <a:lnTo>
                      <a:pt x="25" y="4"/>
                    </a:lnTo>
                    <a:lnTo>
                      <a:pt x="32" y="4"/>
                    </a:lnTo>
                    <a:lnTo>
                      <a:pt x="41" y="4"/>
                    </a:lnTo>
                    <a:lnTo>
                      <a:pt x="60" y="4"/>
                    </a:lnTo>
                    <a:lnTo>
                      <a:pt x="79" y="8"/>
                    </a:lnTo>
                    <a:lnTo>
                      <a:pt x="90" y="8"/>
                    </a:lnTo>
                    <a:lnTo>
                      <a:pt x="93" y="7"/>
                    </a:lnTo>
                    <a:lnTo>
                      <a:pt x="102" y="1"/>
                    </a:lnTo>
                    <a:lnTo>
                      <a:pt x="113" y="0"/>
                    </a:lnTo>
                    <a:lnTo>
                      <a:pt x="113" y="1"/>
                    </a:lnTo>
                    <a:lnTo>
                      <a:pt x="115" y="2"/>
                    </a:lnTo>
                    <a:lnTo>
                      <a:pt x="122" y="2"/>
                    </a:lnTo>
                    <a:lnTo>
                      <a:pt x="122" y="4"/>
                    </a:lnTo>
                    <a:lnTo>
                      <a:pt x="120" y="7"/>
                    </a:lnTo>
                    <a:lnTo>
                      <a:pt x="120" y="10"/>
                    </a:lnTo>
                    <a:lnTo>
                      <a:pt x="117" y="15"/>
                    </a:lnTo>
                    <a:lnTo>
                      <a:pt x="117" y="19"/>
                    </a:lnTo>
                    <a:lnTo>
                      <a:pt x="123" y="22"/>
                    </a:lnTo>
                    <a:lnTo>
                      <a:pt x="127" y="27"/>
                    </a:lnTo>
                    <a:lnTo>
                      <a:pt x="132" y="33"/>
                    </a:lnTo>
                    <a:lnTo>
                      <a:pt x="134" y="36"/>
                    </a:lnTo>
                    <a:lnTo>
                      <a:pt x="137" y="46"/>
                    </a:lnTo>
                    <a:lnTo>
                      <a:pt x="138" y="62"/>
                    </a:lnTo>
                    <a:lnTo>
                      <a:pt x="140" y="65"/>
                    </a:lnTo>
                    <a:lnTo>
                      <a:pt x="142" y="70"/>
                    </a:lnTo>
                    <a:lnTo>
                      <a:pt x="143" y="78"/>
                    </a:lnTo>
                    <a:lnTo>
                      <a:pt x="144" y="103"/>
                    </a:lnTo>
                    <a:lnTo>
                      <a:pt x="147" y="131"/>
                    </a:lnTo>
                    <a:lnTo>
                      <a:pt x="145" y="145"/>
                    </a:lnTo>
                    <a:lnTo>
                      <a:pt x="147" y="161"/>
                    </a:lnTo>
                    <a:lnTo>
                      <a:pt x="148" y="167"/>
                    </a:lnTo>
                    <a:lnTo>
                      <a:pt x="151" y="176"/>
                    </a:lnTo>
                    <a:lnTo>
                      <a:pt x="156" y="182"/>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2" name="Freeform 58"/>
              <p:cNvSpPr>
                <a:spLocks/>
              </p:cNvSpPr>
              <p:nvPr/>
            </p:nvSpPr>
            <p:spPr bwMode="auto">
              <a:xfrm>
                <a:off x="1269" y="2071"/>
                <a:ext cx="91" cy="207"/>
              </a:xfrm>
              <a:custGeom>
                <a:avLst/>
                <a:gdLst>
                  <a:gd name="T0" fmla="*/ 7204 w 85"/>
                  <a:gd name="T1" fmla="*/ 4899 h 197"/>
                  <a:gd name="T2" fmla="*/ 7706 w 85"/>
                  <a:gd name="T3" fmla="*/ 4941 h 197"/>
                  <a:gd name="T4" fmla="*/ 6285 w 85"/>
                  <a:gd name="T5" fmla="*/ 5037 h 197"/>
                  <a:gd name="T6" fmla="*/ 5122 w 85"/>
                  <a:gd name="T7" fmla="*/ 5172 h 197"/>
                  <a:gd name="T8" fmla="*/ 4895 w 85"/>
                  <a:gd name="T9" fmla="*/ 5116 h 197"/>
                  <a:gd name="T10" fmla="*/ 3747 w 85"/>
                  <a:gd name="T11" fmla="*/ 4774 h 197"/>
                  <a:gd name="T12" fmla="*/ 3400 w 85"/>
                  <a:gd name="T13" fmla="*/ 4624 h 197"/>
                  <a:gd name="T14" fmla="*/ 3053 w 85"/>
                  <a:gd name="T15" fmla="*/ 4382 h 197"/>
                  <a:gd name="T16" fmla="*/ 2967 w 85"/>
                  <a:gd name="T17" fmla="*/ 4223 h 197"/>
                  <a:gd name="T18" fmla="*/ 2852 w 85"/>
                  <a:gd name="T19" fmla="*/ 3801 h 197"/>
                  <a:gd name="T20" fmla="*/ 2967 w 85"/>
                  <a:gd name="T21" fmla="*/ 3442 h 197"/>
                  <a:gd name="T22" fmla="*/ 2664 w 85"/>
                  <a:gd name="T23" fmla="*/ 2688 h 197"/>
                  <a:gd name="T24" fmla="*/ 2588 w 85"/>
                  <a:gd name="T25" fmla="*/ 2052 h 197"/>
                  <a:gd name="T26" fmla="*/ 2488 w 85"/>
                  <a:gd name="T27" fmla="*/ 1859 h 197"/>
                  <a:gd name="T28" fmla="*/ 2324 w 85"/>
                  <a:gd name="T29" fmla="*/ 1694 h 197"/>
                  <a:gd name="T30" fmla="*/ 2109 w 85"/>
                  <a:gd name="T31" fmla="*/ 1612 h 197"/>
                  <a:gd name="T32" fmla="*/ 2109 w 85"/>
                  <a:gd name="T33" fmla="*/ 1197 h 197"/>
                  <a:gd name="T34" fmla="*/ 1769 w 85"/>
                  <a:gd name="T35" fmla="*/ 935 h 197"/>
                  <a:gd name="T36" fmla="*/ 1543 w 85"/>
                  <a:gd name="T37" fmla="*/ 874 h 197"/>
                  <a:gd name="T38" fmla="*/ 1025 w 85"/>
                  <a:gd name="T39" fmla="*/ 695 h 197"/>
                  <a:gd name="T40" fmla="*/ 894 w 85"/>
                  <a:gd name="T41" fmla="*/ 542 h 197"/>
                  <a:gd name="T42" fmla="*/ 3 w 85"/>
                  <a:gd name="T43" fmla="*/ 467 h 197"/>
                  <a:gd name="T44" fmla="*/ 3 w 85"/>
                  <a:gd name="T45" fmla="*/ 384 h 197"/>
                  <a:gd name="T46" fmla="*/ 6 w 85"/>
                  <a:gd name="T47" fmla="*/ 299 h 197"/>
                  <a:gd name="T48" fmla="*/ 6 w 85"/>
                  <a:gd name="T49" fmla="*/ 7 h 197"/>
                  <a:gd name="T50" fmla="*/ 7 w 85"/>
                  <a:gd name="T51" fmla="*/ 4 h 197"/>
                  <a:gd name="T52" fmla="*/ 7 w 85"/>
                  <a:gd name="T53" fmla="*/ 2 h 197"/>
                  <a:gd name="T54" fmla="*/ 1 w 85"/>
                  <a:gd name="T55" fmla="*/ 2 h 197"/>
                  <a:gd name="T56" fmla="*/ 0 w 85"/>
                  <a:gd name="T57" fmla="*/ 1 h 197"/>
                  <a:gd name="T58" fmla="*/ 0 w 85"/>
                  <a:gd name="T59" fmla="*/ 0 h 197"/>
                  <a:gd name="T60" fmla="*/ 1 w 85"/>
                  <a:gd name="T61" fmla="*/ 0 h 197"/>
                  <a:gd name="T62" fmla="*/ 2109 w 85"/>
                  <a:gd name="T63" fmla="*/ 4 h 197"/>
                  <a:gd name="T64" fmla="*/ 2417 w 85"/>
                  <a:gd name="T65" fmla="*/ 8 h 197"/>
                  <a:gd name="T66" fmla="*/ 2588 w 85"/>
                  <a:gd name="T67" fmla="*/ 7 h 197"/>
                  <a:gd name="T68" fmla="*/ 2664 w 85"/>
                  <a:gd name="T69" fmla="*/ 4 h 197"/>
                  <a:gd name="T70" fmla="*/ 3640 w 85"/>
                  <a:gd name="T71" fmla="*/ 5 h 197"/>
                  <a:gd name="T72" fmla="*/ 3747 w 85"/>
                  <a:gd name="T73" fmla="*/ 4 h 197"/>
                  <a:gd name="T74" fmla="*/ 3640 w 85"/>
                  <a:gd name="T75" fmla="*/ 5 h 197"/>
                  <a:gd name="T76" fmla="*/ 3640 w 85"/>
                  <a:gd name="T77" fmla="*/ 314 h 197"/>
                  <a:gd name="T78" fmla="*/ 3400 w 85"/>
                  <a:gd name="T79" fmla="*/ 384 h 197"/>
                  <a:gd name="T80" fmla="*/ 3269 w 85"/>
                  <a:gd name="T81" fmla="*/ 599 h 197"/>
                  <a:gd name="T82" fmla="*/ 3269 w 85"/>
                  <a:gd name="T83" fmla="*/ 806 h 197"/>
                  <a:gd name="T84" fmla="*/ 3640 w 85"/>
                  <a:gd name="T85" fmla="*/ 847 h 197"/>
                  <a:gd name="T86" fmla="*/ 3989 w 85"/>
                  <a:gd name="T87" fmla="*/ 935 h 197"/>
                  <a:gd name="T88" fmla="*/ 4271 w 85"/>
                  <a:gd name="T89" fmla="*/ 935 h 197"/>
                  <a:gd name="T90" fmla="*/ 4572 w 85"/>
                  <a:gd name="T91" fmla="*/ 935 h 197"/>
                  <a:gd name="T92" fmla="*/ 5268 w 85"/>
                  <a:gd name="T93" fmla="*/ 1258 h 197"/>
                  <a:gd name="T94" fmla="*/ 5871 w 85"/>
                  <a:gd name="T95" fmla="*/ 1612 h 197"/>
                  <a:gd name="T96" fmla="*/ 6285 w 85"/>
                  <a:gd name="T97" fmla="*/ 2027 h 197"/>
                  <a:gd name="T98" fmla="*/ 6431 w 85"/>
                  <a:gd name="T99" fmla="*/ 2156 h 197"/>
                  <a:gd name="T100" fmla="*/ 6594 w 85"/>
                  <a:gd name="T101" fmla="*/ 2280 h 197"/>
                  <a:gd name="T102" fmla="*/ 6723 w 85"/>
                  <a:gd name="T103" fmla="*/ 2434 h 197"/>
                  <a:gd name="T104" fmla="*/ 6920 w 85"/>
                  <a:gd name="T105" fmla="*/ 2628 h 197"/>
                  <a:gd name="T106" fmla="*/ 6920 w 85"/>
                  <a:gd name="T107" fmla="*/ 2967 h 197"/>
                  <a:gd name="T108" fmla="*/ 6920 w 85"/>
                  <a:gd name="T109" fmla="*/ 3916 h 197"/>
                  <a:gd name="T110" fmla="*/ 6723 w 85"/>
                  <a:gd name="T111" fmla="*/ 4342 h 197"/>
                  <a:gd name="T112" fmla="*/ 6723 w 85"/>
                  <a:gd name="T113" fmla="*/ 4531 h 197"/>
                  <a:gd name="T114" fmla="*/ 6920 w 85"/>
                  <a:gd name="T115" fmla="*/ 4761 h 197"/>
                  <a:gd name="T116" fmla="*/ 7204 w 85"/>
                  <a:gd name="T117" fmla="*/ 4899 h 19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5"/>
                  <a:gd name="T178" fmla="*/ 0 h 197"/>
                  <a:gd name="T179" fmla="*/ 85 w 85"/>
                  <a:gd name="T180" fmla="*/ 197 h 19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5" h="197">
                    <a:moveTo>
                      <a:pt x="80" y="187"/>
                    </a:moveTo>
                    <a:lnTo>
                      <a:pt x="85" y="188"/>
                    </a:lnTo>
                    <a:lnTo>
                      <a:pt x="70" y="192"/>
                    </a:lnTo>
                    <a:lnTo>
                      <a:pt x="57" y="197"/>
                    </a:lnTo>
                    <a:lnTo>
                      <a:pt x="54" y="195"/>
                    </a:lnTo>
                    <a:lnTo>
                      <a:pt x="42" y="182"/>
                    </a:lnTo>
                    <a:lnTo>
                      <a:pt x="37" y="176"/>
                    </a:lnTo>
                    <a:lnTo>
                      <a:pt x="34" y="167"/>
                    </a:lnTo>
                    <a:lnTo>
                      <a:pt x="33" y="161"/>
                    </a:lnTo>
                    <a:lnTo>
                      <a:pt x="32" y="145"/>
                    </a:lnTo>
                    <a:lnTo>
                      <a:pt x="33" y="131"/>
                    </a:lnTo>
                    <a:lnTo>
                      <a:pt x="30" y="103"/>
                    </a:lnTo>
                    <a:lnTo>
                      <a:pt x="29" y="78"/>
                    </a:lnTo>
                    <a:lnTo>
                      <a:pt x="28" y="70"/>
                    </a:lnTo>
                    <a:lnTo>
                      <a:pt x="26" y="65"/>
                    </a:lnTo>
                    <a:lnTo>
                      <a:pt x="23" y="62"/>
                    </a:lnTo>
                    <a:lnTo>
                      <a:pt x="23" y="46"/>
                    </a:lnTo>
                    <a:lnTo>
                      <a:pt x="20" y="36"/>
                    </a:lnTo>
                    <a:lnTo>
                      <a:pt x="18" y="33"/>
                    </a:lnTo>
                    <a:lnTo>
                      <a:pt x="12" y="27"/>
                    </a:lnTo>
                    <a:lnTo>
                      <a:pt x="10" y="22"/>
                    </a:lnTo>
                    <a:lnTo>
                      <a:pt x="3" y="19"/>
                    </a:lnTo>
                    <a:lnTo>
                      <a:pt x="3" y="15"/>
                    </a:lnTo>
                    <a:lnTo>
                      <a:pt x="6" y="10"/>
                    </a:lnTo>
                    <a:lnTo>
                      <a:pt x="6" y="7"/>
                    </a:lnTo>
                    <a:lnTo>
                      <a:pt x="7" y="4"/>
                    </a:lnTo>
                    <a:lnTo>
                      <a:pt x="7" y="2"/>
                    </a:lnTo>
                    <a:lnTo>
                      <a:pt x="1" y="2"/>
                    </a:lnTo>
                    <a:lnTo>
                      <a:pt x="0" y="1"/>
                    </a:lnTo>
                    <a:lnTo>
                      <a:pt x="0" y="0"/>
                    </a:lnTo>
                    <a:lnTo>
                      <a:pt x="1" y="0"/>
                    </a:lnTo>
                    <a:lnTo>
                      <a:pt x="23" y="4"/>
                    </a:lnTo>
                    <a:lnTo>
                      <a:pt x="27" y="8"/>
                    </a:lnTo>
                    <a:lnTo>
                      <a:pt x="29" y="7"/>
                    </a:lnTo>
                    <a:lnTo>
                      <a:pt x="30" y="4"/>
                    </a:lnTo>
                    <a:lnTo>
                      <a:pt x="40" y="5"/>
                    </a:lnTo>
                    <a:lnTo>
                      <a:pt x="42" y="4"/>
                    </a:lnTo>
                    <a:lnTo>
                      <a:pt x="40" y="5"/>
                    </a:lnTo>
                    <a:lnTo>
                      <a:pt x="40" y="11"/>
                    </a:lnTo>
                    <a:lnTo>
                      <a:pt x="37" y="15"/>
                    </a:lnTo>
                    <a:lnTo>
                      <a:pt x="36" y="24"/>
                    </a:lnTo>
                    <a:lnTo>
                      <a:pt x="36" y="30"/>
                    </a:lnTo>
                    <a:lnTo>
                      <a:pt x="40" y="32"/>
                    </a:lnTo>
                    <a:lnTo>
                      <a:pt x="44" y="36"/>
                    </a:lnTo>
                    <a:lnTo>
                      <a:pt x="47" y="36"/>
                    </a:lnTo>
                    <a:lnTo>
                      <a:pt x="50" y="36"/>
                    </a:lnTo>
                    <a:lnTo>
                      <a:pt x="59" y="48"/>
                    </a:lnTo>
                    <a:lnTo>
                      <a:pt x="65" y="62"/>
                    </a:lnTo>
                    <a:lnTo>
                      <a:pt x="70" y="77"/>
                    </a:lnTo>
                    <a:lnTo>
                      <a:pt x="71" y="82"/>
                    </a:lnTo>
                    <a:lnTo>
                      <a:pt x="73" y="87"/>
                    </a:lnTo>
                    <a:lnTo>
                      <a:pt x="74" y="93"/>
                    </a:lnTo>
                    <a:lnTo>
                      <a:pt x="77" y="100"/>
                    </a:lnTo>
                    <a:lnTo>
                      <a:pt x="77" y="113"/>
                    </a:lnTo>
                    <a:lnTo>
                      <a:pt x="77" y="149"/>
                    </a:lnTo>
                    <a:lnTo>
                      <a:pt x="74" y="166"/>
                    </a:lnTo>
                    <a:lnTo>
                      <a:pt x="74" y="172"/>
                    </a:lnTo>
                    <a:lnTo>
                      <a:pt x="77" y="181"/>
                    </a:lnTo>
                    <a:lnTo>
                      <a:pt x="80" y="187"/>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3" name="Freeform 59"/>
              <p:cNvSpPr>
                <a:spLocks/>
              </p:cNvSpPr>
              <p:nvPr/>
            </p:nvSpPr>
            <p:spPr bwMode="auto">
              <a:xfrm>
                <a:off x="1269" y="2071"/>
                <a:ext cx="91" cy="207"/>
              </a:xfrm>
              <a:custGeom>
                <a:avLst/>
                <a:gdLst>
                  <a:gd name="T0" fmla="*/ 7204 w 85"/>
                  <a:gd name="T1" fmla="*/ 4899 h 197"/>
                  <a:gd name="T2" fmla="*/ 7706 w 85"/>
                  <a:gd name="T3" fmla="*/ 4941 h 197"/>
                  <a:gd name="T4" fmla="*/ 6285 w 85"/>
                  <a:gd name="T5" fmla="*/ 5037 h 197"/>
                  <a:gd name="T6" fmla="*/ 5122 w 85"/>
                  <a:gd name="T7" fmla="*/ 5172 h 197"/>
                  <a:gd name="T8" fmla="*/ 4895 w 85"/>
                  <a:gd name="T9" fmla="*/ 5116 h 197"/>
                  <a:gd name="T10" fmla="*/ 3747 w 85"/>
                  <a:gd name="T11" fmla="*/ 4774 h 197"/>
                  <a:gd name="T12" fmla="*/ 3400 w 85"/>
                  <a:gd name="T13" fmla="*/ 4624 h 197"/>
                  <a:gd name="T14" fmla="*/ 3053 w 85"/>
                  <a:gd name="T15" fmla="*/ 4382 h 197"/>
                  <a:gd name="T16" fmla="*/ 2967 w 85"/>
                  <a:gd name="T17" fmla="*/ 4223 h 197"/>
                  <a:gd name="T18" fmla="*/ 2852 w 85"/>
                  <a:gd name="T19" fmla="*/ 3801 h 197"/>
                  <a:gd name="T20" fmla="*/ 2967 w 85"/>
                  <a:gd name="T21" fmla="*/ 3442 h 197"/>
                  <a:gd name="T22" fmla="*/ 2664 w 85"/>
                  <a:gd name="T23" fmla="*/ 2688 h 197"/>
                  <a:gd name="T24" fmla="*/ 2588 w 85"/>
                  <a:gd name="T25" fmla="*/ 2052 h 197"/>
                  <a:gd name="T26" fmla="*/ 2488 w 85"/>
                  <a:gd name="T27" fmla="*/ 1859 h 197"/>
                  <a:gd name="T28" fmla="*/ 2324 w 85"/>
                  <a:gd name="T29" fmla="*/ 1694 h 197"/>
                  <a:gd name="T30" fmla="*/ 2109 w 85"/>
                  <a:gd name="T31" fmla="*/ 1612 h 197"/>
                  <a:gd name="T32" fmla="*/ 2109 w 85"/>
                  <a:gd name="T33" fmla="*/ 1197 h 197"/>
                  <a:gd name="T34" fmla="*/ 1769 w 85"/>
                  <a:gd name="T35" fmla="*/ 935 h 197"/>
                  <a:gd name="T36" fmla="*/ 1543 w 85"/>
                  <a:gd name="T37" fmla="*/ 874 h 197"/>
                  <a:gd name="T38" fmla="*/ 1025 w 85"/>
                  <a:gd name="T39" fmla="*/ 695 h 197"/>
                  <a:gd name="T40" fmla="*/ 894 w 85"/>
                  <a:gd name="T41" fmla="*/ 542 h 197"/>
                  <a:gd name="T42" fmla="*/ 3 w 85"/>
                  <a:gd name="T43" fmla="*/ 467 h 197"/>
                  <a:gd name="T44" fmla="*/ 3 w 85"/>
                  <a:gd name="T45" fmla="*/ 384 h 197"/>
                  <a:gd name="T46" fmla="*/ 6 w 85"/>
                  <a:gd name="T47" fmla="*/ 299 h 197"/>
                  <a:gd name="T48" fmla="*/ 6 w 85"/>
                  <a:gd name="T49" fmla="*/ 7 h 197"/>
                  <a:gd name="T50" fmla="*/ 7 w 85"/>
                  <a:gd name="T51" fmla="*/ 4 h 197"/>
                  <a:gd name="T52" fmla="*/ 7 w 85"/>
                  <a:gd name="T53" fmla="*/ 2 h 197"/>
                  <a:gd name="T54" fmla="*/ 1 w 85"/>
                  <a:gd name="T55" fmla="*/ 2 h 197"/>
                  <a:gd name="T56" fmla="*/ 0 w 85"/>
                  <a:gd name="T57" fmla="*/ 1 h 197"/>
                  <a:gd name="T58" fmla="*/ 0 w 85"/>
                  <a:gd name="T59" fmla="*/ 0 h 197"/>
                  <a:gd name="T60" fmla="*/ 1 w 85"/>
                  <a:gd name="T61" fmla="*/ 0 h 197"/>
                  <a:gd name="T62" fmla="*/ 2109 w 85"/>
                  <a:gd name="T63" fmla="*/ 4 h 197"/>
                  <a:gd name="T64" fmla="*/ 2417 w 85"/>
                  <a:gd name="T65" fmla="*/ 8 h 197"/>
                  <a:gd name="T66" fmla="*/ 2588 w 85"/>
                  <a:gd name="T67" fmla="*/ 7 h 197"/>
                  <a:gd name="T68" fmla="*/ 2664 w 85"/>
                  <a:gd name="T69" fmla="*/ 4 h 197"/>
                  <a:gd name="T70" fmla="*/ 3640 w 85"/>
                  <a:gd name="T71" fmla="*/ 5 h 197"/>
                  <a:gd name="T72" fmla="*/ 3747 w 85"/>
                  <a:gd name="T73" fmla="*/ 4 h 197"/>
                  <a:gd name="T74" fmla="*/ 3640 w 85"/>
                  <a:gd name="T75" fmla="*/ 5 h 197"/>
                  <a:gd name="T76" fmla="*/ 3640 w 85"/>
                  <a:gd name="T77" fmla="*/ 314 h 197"/>
                  <a:gd name="T78" fmla="*/ 3400 w 85"/>
                  <a:gd name="T79" fmla="*/ 384 h 197"/>
                  <a:gd name="T80" fmla="*/ 3269 w 85"/>
                  <a:gd name="T81" fmla="*/ 599 h 197"/>
                  <a:gd name="T82" fmla="*/ 3269 w 85"/>
                  <a:gd name="T83" fmla="*/ 806 h 197"/>
                  <a:gd name="T84" fmla="*/ 3640 w 85"/>
                  <a:gd name="T85" fmla="*/ 847 h 197"/>
                  <a:gd name="T86" fmla="*/ 3989 w 85"/>
                  <a:gd name="T87" fmla="*/ 935 h 197"/>
                  <a:gd name="T88" fmla="*/ 4271 w 85"/>
                  <a:gd name="T89" fmla="*/ 935 h 197"/>
                  <a:gd name="T90" fmla="*/ 4572 w 85"/>
                  <a:gd name="T91" fmla="*/ 935 h 197"/>
                  <a:gd name="T92" fmla="*/ 5268 w 85"/>
                  <a:gd name="T93" fmla="*/ 1258 h 197"/>
                  <a:gd name="T94" fmla="*/ 5871 w 85"/>
                  <a:gd name="T95" fmla="*/ 1612 h 197"/>
                  <a:gd name="T96" fmla="*/ 6285 w 85"/>
                  <a:gd name="T97" fmla="*/ 2027 h 197"/>
                  <a:gd name="T98" fmla="*/ 6431 w 85"/>
                  <a:gd name="T99" fmla="*/ 2156 h 197"/>
                  <a:gd name="T100" fmla="*/ 6594 w 85"/>
                  <a:gd name="T101" fmla="*/ 2280 h 197"/>
                  <a:gd name="T102" fmla="*/ 6723 w 85"/>
                  <a:gd name="T103" fmla="*/ 2434 h 197"/>
                  <a:gd name="T104" fmla="*/ 6920 w 85"/>
                  <a:gd name="T105" fmla="*/ 2628 h 197"/>
                  <a:gd name="T106" fmla="*/ 6920 w 85"/>
                  <a:gd name="T107" fmla="*/ 2967 h 197"/>
                  <a:gd name="T108" fmla="*/ 6920 w 85"/>
                  <a:gd name="T109" fmla="*/ 3916 h 197"/>
                  <a:gd name="T110" fmla="*/ 6723 w 85"/>
                  <a:gd name="T111" fmla="*/ 4342 h 197"/>
                  <a:gd name="T112" fmla="*/ 6723 w 85"/>
                  <a:gd name="T113" fmla="*/ 4531 h 197"/>
                  <a:gd name="T114" fmla="*/ 6920 w 85"/>
                  <a:gd name="T115" fmla="*/ 4761 h 197"/>
                  <a:gd name="T116" fmla="*/ 7204 w 85"/>
                  <a:gd name="T117" fmla="*/ 4899 h 19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5"/>
                  <a:gd name="T178" fmla="*/ 0 h 197"/>
                  <a:gd name="T179" fmla="*/ 85 w 85"/>
                  <a:gd name="T180" fmla="*/ 197 h 19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5" h="197">
                    <a:moveTo>
                      <a:pt x="80" y="187"/>
                    </a:moveTo>
                    <a:lnTo>
                      <a:pt x="85" y="188"/>
                    </a:lnTo>
                    <a:lnTo>
                      <a:pt x="70" y="192"/>
                    </a:lnTo>
                    <a:lnTo>
                      <a:pt x="57" y="197"/>
                    </a:lnTo>
                    <a:lnTo>
                      <a:pt x="54" y="195"/>
                    </a:lnTo>
                    <a:lnTo>
                      <a:pt x="42" y="182"/>
                    </a:lnTo>
                    <a:lnTo>
                      <a:pt x="37" y="176"/>
                    </a:lnTo>
                    <a:lnTo>
                      <a:pt x="34" y="167"/>
                    </a:lnTo>
                    <a:lnTo>
                      <a:pt x="33" y="161"/>
                    </a:lnTo>
                    <a:lnTo>
                      <a:pt x="32" y="145"/>
                    </a:lnTo>
                    <a:lnTo>
                      <a:pt x="33" y="131"/>
                    </a:lnTo>
                    <a:lnTo>
                      <a:pt x="30" y="103"/>
                    </a:lnTo>
                    <a:lnTo>
                      <a:pt x="29" y="78"/>
                    </a:lnTo>
                    <a:lnTo>
                      <a:pt x="28" y="70"/>
                    </a:lnTo>
                    <a:lnTo>
                      <a:pt x="26" y="65"/>
                    </a:lnTo>
                    <a:lnTo>
                      <a:pt x="23" y="62"/>
                    </a:lnTo>
                    <a:lnTo>
                      <a:pt x="23" y="46"/>
                    </a:lnTo>
                    <a:lnTo>
                      <a:pt x="20" y="36"/>
                    </a:lnTo>
                    <a:lnTo>
                      <a:pt x="18" y="33"/>
                    </a:lnTo>
                    <a:lnTo>
                      <a:pt x="12" y="27"/>
                    </a:lnTo>
                    <a:lnTo>
                      <a:pt x="10" y="22"/>
                    </a:lnTo>
                    <a:lnTo>
                      <a:pt x="3" y="19"/>
                    </a:lnTo>
                    <a:lnTo>
                      <a:pt x="3" y="15"/>
                    </a:lnTo>
                    <a:lnTo>
                      <a:pt x="6" y="10"/>
                    </a:lnTo>
                    <a:lnTo>
                      <a:pt x="6" y="7"/>
                    </a:lnTo>
                    <a:lnTo>
                      <a:pt x="7" y="4"/>
                    </a:lnTo>
                    <a:lnTo>
                      <a:pt x="7" y="2"/>
                    </a:lnTo>
                    <a:lnTo>
                      <a:pt x="1" y="2"/>
                    </a:lnTo>
                    <a:lnTo>
                      <a:pt x="0" y="1"/>
                    </a:lnTo>
                    <a:lnTo>
                      <a:pt x="0" y="0"/>
                    </a:lnTo>
                    <a:lnTo>
                      <a:pt x="1" y="0"/>
                    </a:lnTo>
                    <a:lnTo>
                      <a:pt x="23" y="4"/>
                    </a:lnTo>
                    <a:lnTo>
                      <a:pt x="27" y="8"/>
                    </a:lnTo>
                    <a:lnTo>
                      <a:pt x="29" y="7"/>
                    </a:lnTo>
                    <a:lnTo>
                      <a:pt x="30" y="4"/>
                    </a:lnTo>
                    <a:lnTo>
                      <a:pt x="40" y="5"/>
                    </a:lnTo>
                    <a:lnTo>
                      <a:pt x="42" y="4"/>
                    </a:lnTo>
                    <a:lnTo>
                      <a:pt x="40" y="5"/>
                    </a:lnTo>
                    <a:lnTo>
                      <a:pt x="40" y="11"/>
                    </a:lnTo>
                    <a:lnTo>
                      <a:pt x="37" y="15"/>
                    </a:lnTo>
                    <a:lnTo>
                      <a:pt x="36" y="24"/>
                    </a:lnTo>
                    <a:lnTo>
                      <a:pt x="36" y="30"/>
                    </a:lnTo>
                    <a:lnTo>
                      <a:pt x="40" y="32"/>
                    </a:lnTo>
                    <a:lnTo>
                      <a:pt x="44" y="36"/>
                    </a:lnTo>
                    <a:lnTo>
                      <a:pt x="47" y="36"/>
                    </a:lnTo>
                    <a:lnTo>
                      <a:pt x="50" y="36"/>
                    </a:lnTo>
                    <a:lnTo>
                      <a:pt x="59" y="48"/>
                    </a:lnTo>
                    <a:lnTo>
                      <a:pt x="65" y="62"/>
                    </a:lnTo>
                    <a:lnTo>
                      <a:pt x="70" y="77"/>
                    </a:lnTo>
                    <a:lnTo>
                      <a:pt x="71" y="82"/>
                    </a:lnTo>
                    <a:lnTo>
                      <a:pt x="73" y="87"/>
                    </a:lnTo>
                    <a:lnTo>
                      <a:pt x="74" y="93"/>
                    </a:lnTo>
                    <a:lnTo>
                      <a:pt x="77" y="100"/>
                    </a:lnTo>
                    <a:lnTo>
                      <a:pt x="77" y="113"/>
                    </a:lnTo>
                    <a:lnTo>
                      <a:pt x="77" y="149"/>
                    </a:lnTo>
                    <a:lnTo>
                      <a:pt x="74" y="166"/>
                    </a:lnTo>
                    <a:lnTo>
                      <a:pt x="74" y="172"/>
                    </a:lnTo>
                    <a:lnTo>
                      <a:pt x="77" y="181"/>
                    </a:lnTo>
                    <a:lnTo>
                      <a:pt x="80" y="187"/>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4" name="Freeform 60"/>
              <p:cNvSpPr>
                <a:spLocks/>
              </p:cNvSpPr>
              <p:nvPr/>
            </p:nvSpPr>
            <p:spPr bwMode="auto">
              <a:xfrm>
                <a:off x="1390" y="1962"/>
                <a:ext cx="483" cy="389"/>
              </a:xfrm>
              <a:custGeom>
                <a:avLst/>
                <a:gdLst>
                  <a:gd name="T0" fmla="*/ 17479 w 452"/>
                  <a:gd name="T1" fmla="*/ 9565 h 370"/>
                  <a:gd name="T2" fmla="*/ 16694 w 452"/>
                  <a:gd name="T3" fmla="*/ 9565 h 370"/>
                  <a:gd name="T4" fmla="*/ 14878 w 452"/>
                  <a:gd name="T5" fmla="*/ 9761 h 370"/>
                  <a:gd name="T6" fmla="*/ 13190 w 452"/>
                  <a:gd name="T7" fmla="*/ 9723 h 370"/>
                  <a:gd name="T8" fmla="*/ 12526 w 452"/>
                  <a:gd name="T9" fmla="*/ 9959 h 370"/>
                  <a:gd name="T10" fmla="*/ 11741 w 452"/>
                  <a:gd name="T11" fmla="*/ 9965 h 370"/>
                  <a:gd name="T12" fmla="*/ 10678 w 452"/>
                  <a:gd name="T13" fmla="*/ 9959 h 370"/>
                  <a:gd name="T14" fmla="*/ 9352 w 452"/>
                  <a:gd name="T15" fmla="*/ 9925 h 370"/>
                  <a:gd name="T16" fmla="*/ 8316 w 452"/>
                  <a:gd name="T17" fmla="*/ 9098 h 370"/>
                  <a:gd name="T18" fmla="*/ 8316 w 452"/>
                  <a:gd name="T19" fmla="*/ 8831 h 370"/>
                  <a:gd name="T20" fmla="*/ 7293 w 452"/>
                  <a:gd name="T21" fmla="*/ 8575 h 370"/>
                  <a:gd name="T22" fmla="*/ 6825 w 452"/>
                  <a:gd name="T23" fmla="*/ 8334 h 370"/>
                  <a:gd name="T24" fmla="*/ 4817 w 452"/>
                  <a:gd name="T25" fmla="*/ 7836 h 370"/>
                  <a:gd name="T26" fmla="*/ 0 w 452"/>
                  <a:gd name="T27" fmla="*/ 7827 h 370"/>
                  <a:gd name="T28" fmla="*/ 3 w 452"/>
                  <a:gd name="T29" fmla="*/ 6494 h 370"/>
                  <a:gd name="T30" fmla="*/ 7 w 452"/>
                  <a:gd name="T31" fmla="*/ 5353 h 370"/>
                  <a:gd name="T32" fmla="*/ 1297 w 452"/>
                  <a:gd name="T33" fmla="*/ 4472 h 370"/>
                  <a:gd name="T34" fmla="*/ 2652 w 452"/>
                  <a:gd name="T35" fmla="*/ 3963 h 370"/>
                  <a:gd name="T36" fmla="*/ 2878 w 452"/>
                  <a:gd name="T37" fmla="*/ 3848 h 370"/>
                  <a:gd name="T38" fmla="*/ 2693 w 452"/>
                  <a:gd name="T39" fmla="*/ 3570 h 370"/>
                  <a:gd name="T40" fmla="*/ 3236 w 452"/>
                  <a:gd name="T41" fmla="*/ 3514 h 370"/>
                  <a:gd name="T42" fmla="*/ 3028 w 452"/>
                  <a:gd name="T43" fmla="*/ 2791 h 370"/>
                  <a:gd name="T44" fmla="*/ 2358 w 452"/>
                  <a:gd name="T45" fmla="*/ 2332 h 370"/>
                  <a:gd name="T46" fmla="*/ 2652 w 452"/>
                  <a:gd name="T47" fmla="*/ 1568 h 370"/>
                  <a:gd name="T48" fmla="*/ 3075 w 452"/>
                  <a:gd name="T49" fmla="*/ 1228 h 370"/>
                  <a:gd name="T50" fmla="*/ 4055 w 452"/>
                  <a:gd name="T51" fmla="*/ 823 h 370"/>
                  <a:gd name="T52" fmla="*/ 5287 w 452"/>
                  <a:gd name="T53" fmla="*/ 6 h 370"/>
                  <a:gd name="T54" fmla="*/ 7787 w 452"/>
                  <a:gd name="T55" fmla="*/ 3 h 370"/>
                  <a:gd name="T56" fmla="*/ 11022 w 452"/>
                  <a:gd name="T57" fmla="*/ 370 h 370"/>
                  <a:gd name="T58" fmla="*/ 13029 w 452"/>
                  <a:gd name="T59" fmla="*/ 903 h 370"/>
                  <a:gd name="T60" fmla="*/ 14878 w 452"/>
                  <a:gd name="T61" fmla="*/ 499 h 370"/>
                  <a:gd name="T62" fmla="*/ 16988 w 452"/>
                  <a:gd name="T63" fmla="*/ 641 h 370"/>
                  <a:gd name="T64" fmla="*/ 20298 w 452"/>
                  <a:gd name="T65" fmla="*/ 1103 h 370"/>
                  <a:gd name="T66" fmla="*/ 22755 w 452"/>
                  <a:gd name="T67" fmla="*/ 552 h 370"/>
                  <a:gd name="T68" fmla="*/ 25721 w 452"/>
                  <a:gd name="T69" fmla="*/ 499 h 370"/>
                  <a:gd name="T70" fmla="*/ 27809 w 452"/>
                  <a:gd name="T71" fmla="*/ 430 h 370"/>
                  <a:gd name="T72" fmla="*/ 29219 w 452"/>
                  <a:gd name="T73" fmla="*/ 641 h 370"/>
                  <a:gd name="T74" fmla="*/ 30568 w 452"/>
                  <a:gd name="T75" fmla="*/ 389 h 370"/>
                  <a:gd name="T76" fmla="*/ 31337 w 452"/>
                  <a:gd name="T77" fmla="*/ 303 h 370"/>
                  <a:gd name="T78" fmla="*/ 32147 w 452"/>
                  <a:gd name="T79" fmla="*/ 3 h 370"/>
                  <a:gd name="T80" fmla="*/ 32664 w 452"/>
                  <a:gd name="T81" fmla="*/ 370 h 370"/>
                  <a:gd name="T82" fmla="*/ 33879 w 452"/>
                  <a:gd name="T83" fmla="*/ 823 h 370"/>
                  <a:gd name="T84" fmla="*/ 35032 w 452"/>
                  <a:gd name="T85" fmla="*/ 1418 h 370"/>
                  <a:gd name="T86" fmla="*/ 35836 w 452"/>
                  <a:gd name="T87" fmla="*/ 1563 h 370"/>
                  <a:gd name="T88" fmla="*/ 35942 w 452"/>
                  <a:gd name="T89" fmla="*/ 2227 h 370"/>
                  <a:gd name="T90" fmla="*/ 33879 w 452"/>
                  <a:gd name="T91" fmla="*/ 2603 h 370"/>
                  <a:gd name="T92" fmla="*/ 32863 w 452"/>
                  <a:gd name="T93" fmla="*/ 2995 h 370"/>
                  <a:gd name="T94" fmla="*/ 31754 w 452"/>
                  <a:gd name="T95" fmla="*/ 3884 h 370"/>
                  <a:gd name="T96" fmla="*/ 31246 w 452"/>
                  <a:gd name="T97" fmla="*/ 4843 h 370"/>
                  <a:gd name="T98" fmla="*/ 30855 w 452"/>
                  <a:gd name="T99" fmla="*/ 5250 h 370"/>
                  <a:gd name="T100" fmla="*/ 29219 w 452"/>
                  <a:gd name="T101" fmla="*/ 5917 h 370"/>
                  <a:gd name="T102" fmla="*/ 28042 w 452"/>
                  <a:gd name="T103" fmla="*/ 6743 h 370"/>
                  <a:gd name="T104" fmla="*/ 26774 w 452"/>
                  <a:gd name="T105" fmla="*/ 7691 h 370"/>
                  <a:gd name="T106" fmla="*/ 25056 w 452"/>
                  <a:gd name="T107" fmla="*/ 7547 h 370"/>
                  <a:gd name="T108" fmla="*/ 24768 w 452"/>
                  <a:gd name="T109" fmla="*/ 7445 h 370"/>
                  <a:gd name="T110" fmla="*/ 21943 w 452"/>
                  <a:gd name="T111" fmla="*/ 7332 h 370"/>
                  <a:gd name="T112" fmla="*/ 20728 w 452"/>
                  <a:gd name="T113" fmla="*/ 7600 h 370"/>
                  <a:gd name="T114" fmla="*/ 19395 w 452"/>
                  <a:gd name="T115" fmla="*/ 8105 h 370"/>
                  <a:gd name="T116" fmla="*/ 18460 w 452"/>
                  <a:gd name="T117" fmla="*/ 8979 h 3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2"/>
                  <a:gd name="T178" fmla="*/ 0 h 370"/>
                  <a:gd name="T179" fmla="*/ 452 w 452"/>
                  <a:gd name="T180" fmla="*/ 370 h 3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2" h="370">
                    <a:moveTo>
                      <a:pt x="225" y="341"/>
                    </a:moveTo>
                    <a:lnTo>
                      <a:pt x="220" y="345"/>
                    </a:lnTo>
                    <a:lnTo>
                      <a:pt x="220" y="352"/>
                    </a:lnTo>
                    <a:lnTo>
                      <a:pt x="216" y="347"/>
                    </a:lnTo>
                    <a:lnTo>
                      <a:pt x="213" y="345"/>
                    </a:lnTo>
                    <a:lnTo>
                      <a:pt x="211" y="352"/>
                    </a:lnTo>
                    <a:lnTo>
                      <a:pt x="210" y="360"/>
                    </a:lnTo>
                    <a:lnTo>
                      <a:pt x="194" y="359"/>
                    </a:lnTo>
                    <a:lnTo>
                      <a:pt x="186" y="360"/>
                    </a:lnTo>
                    <a:lnTo>
                      <a:pt x="170" y="353"/>
                    </a:lnTo>
                    <a:lnTo>
                      <a:pt x="167" y="358"/>
                    </a:lnTo>
                    <a:lnTo>
                      <a:pt x="164" y="359"/>
                    </a:lnTo>
                    <a:lnTo>
                      <a:pt x="162" y="363"/>
                    </a:lnTo>
                    <a:lnTo>
                      <a:pt x="158" y="364"/>
                    </a:lnTo>
                    <a:lnTo>
                      <a:pt x="157" y="364"/>
                    </a:lnTo>
                    <a:lnTo>
                      <a:pt x="155" y="366"/>
                    </a:lnTo>
                    <a:lnTo>
                      <a:pt x="151" y="364"/>
                    </a:lnTo>
                    <a:lnTo>
                      <a:pt x="148" y="365"/>
                    </a:lnTo>
                    <a:lnTo>
                      <a:pt x="147" y="364"/>
                    </a:lnTo>
                    <a:lnTo>
                      <a:pt x="134" y="370"/>
                    </a:lnTo>
                    <a:lnTo>
                      <a:pt x="134" y="364"/>
                    </a:lnTo>
                    <a:lnTo>
                      <a:pt x="127" y="364"/>
                    </a:lnTo>
                    <a:lnTo>
                      <a:pt x="126" y="365"/>
                    </a:lnTo>
                    <a:lnTo>
                      <a:pt x="117" y="363"/>
                    </a:lnTo>
                    <a:lnTo>
                      <a:pt x="114" y="357"/>
                    </a:lnTo>
                    <a:lnTo>
                      <a:pt x="106" y="348"/>
                    </a:lnTo>
                    <a:lnTo>
                      <a:pt x="103" y="335"/>
                    </a:lnTo>
                    <a:lnTo>
                      <a:pt x="101" y="327"/>
                    </a:lnTo>
                    <a:lnTo>
                      <a:pt x="106" y="325"/>
                    </a:lnTo>
                    <a:lnTo>
                      <a:pt x="103" y="325"/>
                    </a:lnTo>
                    <a:lnTo>
                      <a:pt x="98" y="322"/>
                    </a:lnTo>
                    <a:lnTo>
                      <a:pt x="96" y="316"/>
                    </a:lnTo>
                    <a:lnTo>
                      <a:pt x="92" y="314"/>
                    </a:lnTo>
                    <a:lnTo>
                      <a:pt x="91" y="309"/>
                    </a:lnTo>
                    <a:lnTo>
                      <a:pt x="89" y="309"/>
                    </a:lnTo>
                    <a:lnTo>
                      <a:pt x="86" y="306"/>
                    </a:lnTo>
                    <a:lnTo>
                      <a:pt x="82" y="297"/>
                    </a:lnTo>
                    <a:lnTo>
                      <a:pt x="66" y="290"/>
                    </a:lnTo>
                    <a:lnTo>
                      <a:pt x="60" y="289"/>
                    </a:lnTo>
                    <a:lnTo>
                      <a:pt x="44" y="286"/>
                    </a:lnTo>
                    <a:lnTo>
                      <a:pt x="3" y="290"/>
                    </a:lnTo>
                    <a:lnTo>
                      <a:pt x="0" y="287"/>
                    </a:lnTo>
                    <a:lnTo>
                      <a:pt x="0" y="259"/>
                    </a:lnTo>
                    <a:lnTo>
                      <a:pt x="0" y="254"/>
                    </a:lnTo>
                    <a:lnTo>
                      <a:pt x="3" y="239"/>
                    </a:lnTo>
                    <a:lnTo>
                      <a:pt x="3" y="218"/>
                    </a:lnTo>
                    <a:lnTo>
                      <a:pt x="3" y="204"/>
                    </a:lnTo>
                    <a:lnTo>
                      <a:pt x="7" y="197"/>
                    </a:lnTo>
                    <a:lnTo>
                      <a:pt x="14" y="182"/>
                    </a:lnTo>
                    <a:lnTo>
                      <a:pt x="15" y="172"/>
                    </a:lnTo>
                    <a:lnTo>
                      <a:pt x="17" y="164"/>
                    </a:lnTo>
                    <a:lnTo>
                      <a:pt x="23" y="157"/>
                    </a:lnTo>
                    <a:lnTo>
                      <a:pt x="33" y="150"/>
                    </a:lnTo>
                    <a:lnTo>
                      <a:pt x="33" y="146"/>
                    </a:lnTo>
                    <a:lnTo>
                      <a:pt x="36" y="145"/>
                    </a:lnTo>
                    <a:lnTo>
                      <a:pt x="36" y="144"/>
                    </a:lnTo>
                    <a:lnTo>
                      <a:pt x="36" y="141"/>
                    </a:lnTo>
                    <a:lnTo>
                      <a:pt x="33" y="138"/>
                    </a:lnTo>
                    <a:lnTo>
                      <a:pt x="33" y="136"/>
                    </a:lnTo>
                    <a:lnTo>
                      <a:pt x="34" y="131"/>
                    </a:lnTo>
                    <a:lnTo>
                      <a:pt x="37" y="129"/>
                    </a:lnTo>
                    <a:lnTo>
                      <a:pt x="39" y="129"/>
                    </a:lnTo>
                    <a:lnTo>
                      <a:pt x="40" y="129"/>
                    </a:lnTo>
                    <a:lnTo>
                      <a:pt x="40" y="116"/>
                    </a:lnTo>
                    <a:lnTo>
                      <a:pt x="38" y="106"/>
                    </a:lnTo>
                    <a:lnTo>
                      <a:pt x="37" y="103"/>
                    </a:lnTo>
                    <a:lnTo>
                      <a:pt x="30" y="96"/>
                    </a:lnTo>
                    <a:lnTo>
                      <a:pt x="29" y="93"/>
                    </a:lnTo>
                    <a:lnTo>
                      <a:pt x="30" y="85"/>
                    </a:lnTo>
                    <a:lnTo>
                      <a:pt x="33" y="82"/>
                    </a:lnTo>
                    <a:lnTo>
                      <a:pt x="33" y="75"/>
                    </a:lnTo>
                    <a:lnTo>
                      <a:pt x="33" y="58"/>
                    </a:lnTo>
                    <a:lnTo>
                      <a:pt x="33" y="52"/>
                    </a:lnTo>
                    <a:lnTo>
                      <a:pt x="34" y="49"/>
                    </a:lnTo>
                    <a:lnTo>
                      <a:pt x="38" y="46"/>
                    </a:lnTo>
                    <a:lnTo>
                      <a:pt x="43" y="44"/>
                    </a:lnTo>
                    <a:lnTo>
                      <a:pt x="46" y="39"/>
                    </a:lnTo>
                    <a:lnTo>
                      <a:pt x="51" y="30"/>
                    </a:lnTo>
                    <a:lnTo>
                      <a:pt x="53" y="17"/>
                    </a:lnTo>
                    <a:lnTo>
                      <a:pt x="55" y="15"/>
                    </a:lnTo>
                    <a:lnTo>
                      <a:pt x="66" y="6"/>
                    </a:lnTo>
                    <a:lnTo>
                      <a:pt x="81" y="3"/>
                    </a:lnTo>
                    <a:lnTo>
                      <a:pt x="92" y="4"/>
                    </a:lnTo>
                    <a:lnTo>
                      <a:pt x="97" y="3"/>
                    </a:lnTo>
                    <a:lnTo>
                      <a:pt x="103" y="0"/>
                    </a:lnTo>
                    <a:lnTo>
                      <a:pt x="113" y="0"/>
                    </a:lnTo>
                    <a:lnTo>
                      <a:pt x="139" y="14"/>
                    </a:lnTo>
                    <a:lnTo>
                      <a:pt x="155" y="27"/>
                    </a:lnTo>
                    <a:lnTo>
                      <a:pt x="160" y="30"/>
                    </a:lnTo>
                    <a:lnTo>
                      <a:pt x="163" y="33"/>
                    </a:lnTo>
                    <a:lnTo>
                      <a:pt x="168" y="33"/>
                    </a:lnTo>
                    <a:lnTo>
                      <a:pt x="175" y="26"/>
                    </a:lnTo>
                    <a:lnTo>
                      <a:pt x="186" y="20"/>
                    </a:lnTo>
                    <a:lnTo>
                      <a:pt x="192" y="19"/>
                    </a:lnTo>
                    <a:lnTo>
                      <a:pt x="201" y="19"/>
                    </a:lnTo>
                    <a:lnTo>
                      <a:pt x="213" y="25"/>
                    </a:lnTo>
                    <a:lnTo>
                      <a:pt x="230" y="35"/>
                    </a:lnTo>
                    <a:lnTo>
                      <a:pt x="237" y="37"/>
                    </a:lnTo>
                    <a:lnTo>
                      <a:pt x="254" y="41"/>
                    </a:lnTo>
                    <a:lnTo>
                      <a:pt x="263" y="39"/>
                    </a:lnTo>
                    <a:lnTo>
                      <a:pt x="275" y="32"/>
                    </a:lnTo>
                    <a:lnTo>
                      <a:pt x="285" y="22"/>
                    </a:lnTo>
                    <a:lnTo>
                      <a:pt x="291" y="20"/>
                    </a:lnTo>
                    <a:lnTo>
                      <a:pt x="310" y="19"/>
                    </a:lnTo>
                    <a:lnTo>
                      <a:pt x="323" y="20"/>
                    </a:lnTo>
                    <a:lnTo>
                      <a:pt x="330" y="17"/>
                    </a:lnTo>
                    <a:lnTo>
                      <a:pt x="344" y="16"/>
                    </a:lnTo>
                    <a:lnTo>
                      <a:pt x="349" y="17"/>
                    </a:lnTo>
                    <a:lnTo>
                      <a:pt x="354" y="20"/>
                    </a:lnTo>
                    <a:lnTo>
                      <a:pt x="361" y="22"/>
                    </a:lnTo>
                    <a:lnTo>
                      <a:pt x="364" y="25"/>
                    </a:lnTo>
                    <a:lnTo>
                      <a:pt x="371" y="24"/>
                    </a:lnTo>
                    <a:lnTo>
                      <a:pt x="377" y="22"/>
                    </a:lnTo>
                    <a:lnTo>
                      <a:pt x="383" y="15"/>
                    </a:lnTo>
                    <a:lnTo>
                      <a:pt x="383" y="14"/>
                    </a:lnTo>
                    <a:lnTo>
                      <a:pt x="388" y="11"/>
                    </a:lnTo>
                    <a:lnTo>
                      <a:pt x="392" y="10"/>
                    </a:lnTo>
                    <a:lnTo>
                      <a:pt x="397" y="10"/>
                    </a:lnTo>
                    <a:lnTo>
                      <a:pt x="402" y="3"/>
                    </a:lnTo>
                    <a:lnTo>
                      <a:pt x="403" y="3"/>
                    </a:lnTo>
                    <a:lnTo>
                      <a:pt x="403" y="0"/>
                    </a:lnTo>
                    <a:lnTo>
                      <a:pt x="406" y="8"/>
                    </a:lnTo>
                    <a:lnTo>
                      <a:pt x="409" y="14"/>
                    </a:lnTo>
                    <a:lnTo>
                      <a:pt x="414" y="20"/>
                    </a:lnTo>
                    <a:lnTo>
                      <a:pt x="422" y="24"/>
                    </a:lnTo>
                    <a:lnTo>
                      <a:pt x="425" y="30"/>
                    </a:lnTo>
                    <a:lnTo>
                      <a:pt x="431" y="46"/>
                    </a:lnTo>
                    <a:lnTo>
                      <a:pt x="438" y="51"/>
                    </a:lnTo>
                    <a:lnTo>
                      <a:pt x="440" y="52"/>
                    </a:lnTo>
                    <a:lnTo>
                      <a:pt x="446" y="55"/>
                    </a:lnTo>
                    <a:lnTo>
                      <a:pt x="448" y="56"/>
                    </a:lnTo>
                    <a:lnTo>
                      <a:pt x="450" y="57"/>
                    </a:lnTo>
                    <a:lnTo>
                      <a:pt x="451" y="61"/>
                    </a:lnTo>
                    <a:lnTo>
                      <a:pt x="451" y="73"/>
                    </a:lnTo>
                    <a:lnTo>
                      <a:pt x="452" y="82"/>
                    </a:lnTo>
                    <a:lnTo>
                      <a:pt x="438" y="92"/>
                    </a:lnTo>
                    <a:lnTo>
                      <a:pt x="437" y="93"/>
                    </a:lnTo>
                    <a:lnTo>
                      <a:pt x="425" y="97"/>
                    </a:lnTo>
                    <a:lnTo>
                      <a:pt x="422" y="99"/>
                    </a:lnTo>
                    <a:lnTo>
                      <a:pt x="416" y="105"/>
                    </a:lnTo>
                    <a:lnTo>
                      <a:pt x="413" y="109"/>
                    </a:lnTo>
                    <a:lnTo>
                      <a:pt x="411" y="114"/>
                    </a:lnTo>
                    <a:lnTo>
                      <a:pt x="406" y="131"/>
                    </a:lnTo>
                    <a:lnTo>
                      <a:pt x="399" y="143"/>
                    </a:lnTo>
                    <a:lnTo>
                      <a:pt x="397" y="150"/>
                    </a:lnTo>
                    <a:lnTo>
                      <a:pt x="396" y="159"/>
                    </a:lnTo>
                    <a:lnTo>
                      <a:pt x="390" y="178"/>
                    </a:lnTo>
                    <a:lnTo>
                      <a:pt x="388" y="186"/>
                    </a:lnTo>
                    <a:lnTo>
                      <a:pt x="388" y="191"/>
                    </a:lnTo>
                    <a:lnTo>
                      <a:pt x="387" y="194"/>
                    </a:lnTo>
                    <a:lnTo>
                      <a:pt x="375" y="198"/>
                    </a:lnTo>
                    <a:lnTo>
                      <a:pt x="368" y="207"/>
                    </a:lnTo>
                    <a:lnTo>
                      <a:pt x="364" y="218"/>
                    </a:lnTo>
                    <a:lnTo>
                      <a:pt x="361" y="229"/>
                    </a:lnTo>
                    <a:lnTo>
                      <a:pt x="359" y="233"/>
                    </a:lnTo>
                    <a:lnTo>
                      <a:pt x="352" y="249"/>
                    </a:lnTo>
                    <a:lnTo>
                      <a:pt x="339" y="271"/>
                    </a:lnTo>
                    <a:lnTo>
                      <a:pt x="339" y="277"/>
                    </a:lnTo>
                    <a:lnTo>
                      <a:pt x="336" y="281"/>
                    </a:lnTo>
                    <a:lnTo>
                      <a:pt x="330" y="284"/>
                    </a:lnTo>
                    <a:lnTo>
                      <a:pt x="321" y="283"/>
                    </a:lnTo>
                    <a:lnTo>
                      <a:pt x="314" y="278"/>
                    </a:lnTo>
                    <a:lnTo>
                      <a:pt x="311" y="277"/>
                    </a:lnTo>
                    <a:lnTo>
                      <a:pt x="311" y="275"/>
                    </a:lnTo>
                    <a:lnTo>
                      <a:pt x="310" y="273"/>
                    </a:lnTo>
                    <a:lnTo>
                      <a:pt x="302" y="266"/>
                    </a:lnTo>
                    <a:lnTo>
                      <a:pt x="291" y="265"/>
                    </a:lnTo>
                    <a:lnTo>
                      <a:pt x="275" y="268"/>
                    </a:lnTo>
                    <a:lnTo>
                      <a:pt x="265" y="268"/>
                    </a:lnTo>
                    <a:lnTo>
                      <a:pt x="263" y="268"/>
                    </a:lnTo>
                    <a:lnTo>
                      <a:pt x="261" y="280"/>
                    </a:lnTo>
                    <a:lnTo>
                      <a:pt x="253" y="283"/>
                    </a:lnTo>
                    <a:lnTo>
                      <a:pt x="248" y="289"/>
                    </a:lnTo>
                    <a:lnTo>
                      <a:pt x="243" y="296"/>
                    </a:lnTo>
                    <a:lnTo>
                      <a:pt x="235" y="307"/>
                    </a:lnTo>
                    <a:lnTo>
                      <a:pt x="233" y="318"/>
                    </a:lnTo>
                    <a:lnTo>
                      <a:pt x="232" y="328"/>
                    </a:lnTo>
                    <a:lnTo>
                      <a:pt x="230" y="334"/>
                    </a:lnTo>
                    <a:lnTo>
                      <a:pt x="225" y="341"/>
                    </a:lnTo>
                    <a:close/>
                  </a:path>
                </a:pathLst>
              </a:custGeom>
              <a:solidFill>
                <a:srgbClr val="1737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5" name="Freeform 61"/>
              <p:cNvSpPr>
                <a:spLocks/>
              </p:cNvSpPr>
              <p:nvPr/>
            </p:nvSpPr>
            <p:spPr bwMode="auto">
              <a:xfrm>
                <a:off x="1390" y="1962"/>
                <a:ext cx="483" cy="389"/>
              </a:xfrm>
              <a:custGeom>
                <a:avLst/>
                <a:gdLst>
                  <a:gd name="T0" fmla="*/ 17479 w 452"/>
                  <a:gd name="T1" fmla="*/ 9565 h 370"/>
                  <a:gd name="T2" fmla="*/ 16694 w 452"/>
                  <a:gd name="T3" fmla="*/ 9565 h 370"/>
                  <a:gd name="T4" fmla="*/ 14878 w 452"/>
                  <a:gd name="T5" fmla="*/ 9761 h 370"/>
                  <a:gd name="T6" fmla="*/ 13190 w 452"/>
                  <a:gd name="T7" fmla="*/ 9723 h 370"/>
                  <a:gd name="T8" fmla="*/ 12526 w 452"/>
                  <a:gd name="T9" fmla="*/ 9959 h 370"/>
                  <a:gd name="T10" fmla="*/ 11741 w 452"/>
                  <a:gd name="T11" fmla="*/ 9965 h 370"/>
                  <a:gd name="T12" fmla="*/ 10678 w 452"/>
                  <a:gd name="T13" fmla="*/ 9959 h 370"/>
                  <a:gd name="T14" fmla="*/ 9352 w 452"/>
                  <a:gd name="T15" fmla="*/ 9925 h 370"/>
                  <a:gd name="T16" fmla="*/ 8316 w 452"/>
                  <a:gd name="T17" fmla="*/ 9098 h 370"/>
                  <a:gd name="T18" fmla="*/ 8316 w 452"/>
                  <a:gd name="T19" fmla="*/ 8831 h 370"/>
                  <a:gd name="T20" fmla="*/ 7293 w 452"/>
                  <a:gd name="T21" fmla="*/ 8575 h 370"/>
                  <a:gd name="T22" fmla="*/ 6825 w 452"/>
                  <a:gd name="T23" fmla="*/ 8334 h 370"/>
                  <a:gd name="T24" fmla="*/ 4817 w 452"/>
                  <a:gd name="T25" fmla="*/ 7836 h 370"/>
                  <a:gd name="T26" fmla="*/ 0 w 452"/>
                  <a:gd name="T27" fmla="*/ 7827 h 370"/>
                  <a:gd name="T28" fmla="*/ 3 w 452"/>
                  <a:gd name="T29" fmla="*/ 6494 h 370"/>
                  <a:gd name="T30" fmla="*/ 7 w 452"/>
                  <a:gd name="T31" fmla="*/ 5353 h 370"/>
                  <a:gd name="T32" fmla="*/ 1297 w 452"/>
                  <a:gd name="T33" fmla="*/ 4472 h 370"/>
                  <a:gd name="T34" fmla="*/ 2652 w 452"/>
                  <a:gd name="T35" fmla="*/ 3963 h 370"/>
                  <a:gd name="T36" fmla="*/ 2878 w 452"/>
                  <a:gd name="T37" fmla="*/ 3848 h 370"/>
                  <a:gd name="T38" fmla="*/ 2693 w 452"/>
                  <a:gd name="T39" fmla="*/ 3570 h 370"/>
                  <a:gd name="T40" fmla="*/ 3236 w 452"/>
                  <a:gd name="T41" fmla="*/ 3514 h 370"/>
                  <a:gd name="T42" fmla="*/ 3028 w 452"/>
                  <a:gd name="T43" fmla="*/ 2791 h 370"/>
                  <a:gd name="T44" fmla="*/ 2358 w 452"/>
                  <a:gd name="T45" fmla="*/ 2332 h 370"/>
                  <a:gd name="T46" fmla="*/ 2652 w 452"/>
                  <a:gd name="T47" fmla="*/ 1568 h 370"/>
                  <a:gd name="T48" fmla="*/ 3075 w 452"/>
                  <a:gd name="T49" fmla="*/ 1228 h 370"/>
                  <a:gd name="T50" fmla="*/ 4055 w 452"/>
                  <a:gd name="T51" fmla="*/ 823 h 370"/>
                  <a:gd name="T52" fmla="*/ 5287 w 452"/>
                  <a:gd name="T53" fmla="*/ 6 h 370"/>
                  <a:gd name="T54" fmla="*/ 7787 w 452"/>
                  <a:gd name="T55" fmla="*/ 3 h 370"/>
                  <a:gd name="T56" fmla="*/ 11022 w 452"/>
                  <a:gd name="T57" fmla="*/ 370 h 370"/>
                  <a:gd name="T58" fmla="*/ 13029 w 452"/>
                  <a:gd name="T59" fmla="*/ 903 h 370"/>
                  <a:gd name="T60" fmla="*/ 14878 w 452"/>
                  <a:gd name="T61" fmla="*/ 499 h 370"/>
                  <a:gd name="T62" fmla="*/ 16988 w 452"/>
                  <a:gd name="T63" fmla="*/ 641 h 370"/>
                  <a:gd name="T64" fmla="*/ 20298 w 452"/>
                  <a:gd name="T65" fmla="*/ 1103 h 370"/>
                  <a:gd name="T66" fmla="*/ 22755 w 452"/>
                  <a:gd name="T67" fmla="*/ 552 h 370"/>
                  <a:gd name="T68" fmla="*/ 25721 w 452"/>
                  <a:gd name="T69" fmla="*/ 499 h 370"/>
                  <a:gd name="T70" fmla="*/ 27809 w 452"/>
                  <a:gd name="T71" fmla="*/ 430 h 370"/>
                  <a:gd name="T72" fmla="*/ 29219 w 452"/>
                  <a:gd name="T73" fmla="*/ 641 h 370"/>
                  <a:gd name="T74" fmla="*/ 30568 w 452"/>
                  <a:gd name="T75" fmla="*/ 389 h 370"/>
                  <a:gd name="T76" fmla="*/ 31337 w 452"/>
                  <a:gd name="T77" fmla="*/ 303 h 370"/>
                  <a:gd name="T78" fmla="*/ 32147 w 452"/>
                  <a:gd name="T79" fmla="*/ 3 h 370"/>
                  <a:gd name="T80" fmla="*/ 32664 w 452"/>
                  <a:gd name="T81" fmla="*/ 370 h 370"/>
                  <a:gd name="T82" fmla="*/ 33879 w 452"/>
                  <a:gd name="T83" fmla="*/ 823 h 370"/>
                  <a:gd name="T84" fmla="*/ 35032 w 452"/>
                  <a:gd name="T85" fmla="*/ 1418 h 370"/>
                  <a:gd name="T86" fmla="*/ 35836 w 452"/>
                  <a:gd name="T87" fmla="*/ 1563 h 370"/>
                  <a:gd name="T88" fmla="*/ 35942 w 452"/>
                  <a:gd name="T89" fmla="*/ 2227 h 370"/>
                  <a:gd name="T90" fmla="*/ 33879 w 452"/>
                  <a:gd name="T91" fmla="*/ 2603 h 370"/>
                  <a:gd name="T92" fmla="*/ 32863 w 452"/>
                  <a:gd name="T93" fmla="*/ 2995 h 370"/>
                  <a:gd name="T94" fmla="*/ 31754 w 452"/>
                  <a:gd name="T95" fmla="*/ 3884 h 370"/>
                  <a:gd name="T96" fmla="*/ 31246 w 452"/>
                  <a:gd name="T97" fmla="*/ 4843 h 370"/>
                  <a:gd name="T98" fmla="*/ 30855 w 452"/>
                  <a:gd name="T99" fmla="*/ 5250 h 370"/>
                  <a:gd name="T100" fmla="*/ 29219 w 452"/>
                  <a:gd name="T101" fmla="*/ 5917 h 370"/>
                  <a:gd name="T102" fmla="*/ 28042 w 452"/>
                  <a:gd name="T103" fmla="*/ 6743 h 370"/>
                  <a:gd name="T104" fmla="*/ 26774 w 452"/>
                  <a:gd name="T105" fmla="*/ 7691 h 370"/>
                  <a:gd name="T106" fmla="*/ 25056 w 452"/>
                  <a:gd name="T107" fmla="*/ 7547 h 370"/>
                  <a:gd name="T108" fmla="*/ 24768 w 452"/>
                  <a:gd name="T109" fmla="*/ 7445 h 370"/>
                  <a:gd name="T110" fmla="*/ 21943 w 452"/>
                  <a:gd name="T111" fmla="*/ 7332 h 370"/>
                  <a:gd name="T112" fmla="*/ 20728 w 452"/>
                  <a:gd name="T113" fmla="*/ 7600 h 370"/>
                  <a:gd name="T114" fmla="*/ 19395 w 452"/>
                  <a:gd name="T115" fmla="*/ 8105 h 370"/>
                  <a:gd name="T116" fmla="*/ 18460 w 452"/>
                  <a:gd name="T117" fmla="*/ 8979 h 3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2"/>
                  <a:gd name="T178" fmla="*/ 0 h 370"/>
                  <a:gd name="T179" fmla="*/ 452 w 452"/>
                  <a:gd name="T180" fmla="*/ 370 h 3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2" h="370">
                    <a:moveTo>
                      <a:pt x="225" y="341"/>
                    </a:moveTo>
                    <a:lnTo>
                      <a:pt x="220" y="345"/>
                    </a:lnTo>
                    <a:lnTo>
                      <a:pt x="220" y="352"/>
                    </a:lnTo>
                    <a:lnTo>
                      <a:pt x="216" y="347"/>
                    </a:lnTo>
                    <a:lnTo>
                      <a:pt x="213" y="345"/>
                    </a:lnTo>
                    <a:lnTo>
                      <a:pt x="211" y="352"/>
                    </a:lnTo>
                    <a:lnTo>
                      <a:pt x="210" y="360"/>
                    </a:lnTo>
                    <a:lnTo>
                      <a:pt x="194" y="359"/>
                    </a:lnTo>
                    <a:lnTo>
                      <a:pt x="186" y="360"/>
                    </a:lnTo>
                    <a:lnTo>
                      <a:pt x="170" y="353"/>
                    </a:lnTo>
                    <a:lnTo>
                      <a:pt x="167" y="358"/>
                    </a:lnTo>
                    <a:lnTo>
                      <a:pt x="164" y="359"/>
                    </a:lnTo>
                    <a:lnTo>
                      <a:pt x="162" y="363"/>
                    </a:lnTo>
                    <a:lnTo>
                      <a:pt x="158" y="364"/>
                    </a:lnTo>
                    <a:lnTo>
                      <a:pt x="157" y="364"/>
                    </a:lnTo>
                    <a:lnTo>
                      <a:pt x="155" y="366"/>
                    </a:lnTo>
                    <a:lnTo>
                      <a:pt x="151" y="364"/>
                    </a:lnTo>
                    <a:lnTo>
                      <a:pt x="148" y="365"/>
                    </a:lnTo>
                    <a:lnTo>
                      <a:pt x="147" y="364"/>
                    </a:lnTo>
                    <a:lnTo>
                      <a:pt x="134" y="370"/>
                    </a:lnTo>
                    <a:lnTo>
                      <a:pt x="134" y="364"/>
                    </a:lnTo>
                    <a:lnTo>
                      <a:pt x="127" y="364"/>
                    </a:lnTo>
                    <a:lnTo>
                      <a:pt x="126" y="365"/>
                    </a:lnTo>
                    <a:lnTo>
                      <a:pt x="117" y="363"/>
                    </a:lnTo>
                    <a:lnTo>
                      <a:pt x="114" y="357"/>
                    </a:lnTo>
                    <a:lnTo>
                      <a:pt x="106" y="348"/>
                    </a:lnTo>
                    <a:lnTo>
                      <a:pt x="103" y="335"/>
                    </a:lnTo>
                    <a:lnTo>
                      <a:pt x="101" y="327"/>
                    </a:lnTo>
                    <a:lnTo>
                      <a:pt x="106" y="325"/>
                    </a:lnTo>
                    <a:lnTo>
                      <a:pt x="103" y="325"/>
                    </a:lnTo>
                    <a:lnTo>
                      <a:pt x="98" y="322"/>
                    </a:lnTo>
                    <a:lnTo>
                      <a:pt x="96" y="316"/>
                    </a:lnTo>
                    <a:lnTo>
                      <a:pt x="92" y="314"/>
                    </a:lnTo>
                    <a:lnTo>
                      <a:pt x="91" y="309"/>
                    </a:lnTo>
                    <a:lnTo>
                      <a:pt x="89" y="309"/>
                    </a:lnTo>
                    <a:lnTo>
                      <a:pt x="86" y="306"/>
                    </a:lnTo>
                    <a:lnTo>
                      <a:pt x="82" y="297"/>
                    </a:lnTo>
                    <a:lnTo>
                      <a:pt x="66" y="290"/>
                    </a:lnTo>
                    <a:lnTo>
                      <a:pt x="60" y="289"/>
                    </a:lnTo>
                    <a:lnTo>
                      <a:pt x="44" y="286"/>
                    </a:lnTo>
                    <a:lnTo>
                      <a:pt x="3" y="290"/>
                    </a:lnTo>
                    <a:lnTo>
                      <a:pt x="0" y="287"/>
                    </a:lnTo>
                    <a:lnTo>
                      <a:pt x="0" y="259"/>
                    </a:lnTo>
                    <a:lnTo>
                      <a:pt x="0" y="254"/>
                    </a:lnTo>
                    <a:lnTo>
                      <a:pt x="3" y="239"/>
                    </a:lnTo>
                    <a:lnTo>
                      <a:pt x="3" y="218"/>
                    </a:lnTo>
                    <a:lnTo>
                      <a:pt x="3" y="204"/>
                    </a:lnTo>
                    <a:lnTo>
                      <a:pt x="7" y="197"/>
                    </a:lnTo>
                    <a:lnTo>
                      <a:pt x="14" y="182"/>
                    </a:lnTo>
                    <a:lnTo>
                      <a:pt x="15" y="172"/>
                    </a:lnTo>
                    <a:lnTo>
                      <a:pt x="17" y="164"/>
                    </a:lnTo>
                    <a:lnTo>
                      <a:pt x="23" y="157"/>
                    </a:lnTo>
                    <a:lnTo>
                      <a:pt x="33" y="150"/>
                    </a:lnTo>
                    <a:lnTo>
                      <a:pt x="33" y="146"/>
                    </a:lnTo>
                    <a:lnTo>
                      <a:pt x="36" y="145"/>
                    </a:lnTo>
                    <a:lnTo>
                      <a:pt x="36" y="144"/>
                    </a:lnTo>
                    <a:lnTo>
                      <a:pt x="36" y="141"/>
                    </a:lnTo>
                    <a:lnTo>
                      <a:pt x="33" y="138"/>
                    </a:lnTo>
                    <a:lnTo>
                      <a:pt x="33" y="136"/>
                    </a:lnTo>
                    <a:lnTo>
                      <a:pt x="34" y="131"/>
                    </a:lnTo>
                    <a:lnTo>
                      <a:pt x="37" y="129"/>
                    </a:lnTo>
                    <a:lnTo>
                      <a:pt x="39" y="129"/>
                    </a:lnTo>
                    <a:lnTo>
                      <a:pt x="40" y="129"/>
                    </a:lnTo>
                    <a:lnTo>
                      <a:pt x="40" y="116"/>
                    </a:lnTo>
                    <a:lnTo>
                      <a:pt x="38" y="106"/>
                    </a:lnTo>
                    <a:lnTo>
                      <a:pt x="37" y="103"/>
                    </a:lnTo>
                    <a:lnTo>
                      <a:pt x="30" y="96"/>
                    </a:lnTo>
                    <a:lnTo>
                      <a:pt x="29" y="93"/>
                    </a:lnTo>
                    <a:lnTo>
                      <a:pt x="30" y="85"/>
                    </a:lnTo>
                    <a:lnTo>
                      <a:pt x="33" y="82"/>
                    </a:lnTo>
                    <a:lnTo>
                      <a:pt x="33" y="75"/>
                    </a:lnTo>
                    <a:lnTo>
                      <a:pt x="33" y="58"/>
                    </a:lnTo>
                    <a:lnTo>
                      <a:pt x="33" y="52"/>
                    </a:lnTo>
                    <a:lnTo>
                      <a:pt x="34" y="49"/>
                    </a:lnTo>
                    <a:lnTo>
                      <a:pt x="38" y="46"/>
                    </a:lnTo>
                    <a:lnTo>
                      <a:pt x="43" y="44"/>
                    </a:lnTo>
                    <a:lnTo>
                      <a:pt x="46" y="39"/>
                    </a:lnTo>
                    <a:lnTo>
                      <a:pt x="51" y="30"/>
                    </a:lnTo>
                    <a:lnTo>
                      <a:pt x="53" y="17"/>
                    </a:lnTo>
                    <a:lnTo>
                      <a:pt x="55" y="15"/>
                    </a:lnTo>
                    <a:lnTo>
                      <a:pt x="66" y="6"/>
                    </a:lnTo>
                    <a:lnTo>
                      <a:pt x="81" y="3"/>
                    </a:lnTo>
                    <a:lnTo>
                      <a:pt x="92" y="4"/>
                    </a:lnTo>
                    <a:lnTo>
                      <a:pt x="97" y="3"/>
                    </a:lnTo>
                    <a:lnTo>
                      <a:pt x="103" y="0"/>
                    </a:lnTo>
                    <a:lnTo>
                      <a:pt x="113" y="0"/>
                    </a:lnTo>
                    <a:lnTo>
                      <a:pt x="139" y="14"/>
                    </a:lnTo>
                    <a:lnTo>
                      <a:pt x="155" y="27"/>
                    </a:lnTo>
                    <a:lnTo>
                      <a:pt x="160" y="30"/>
                    </a:lnTo>
                    <a:lnTo>
                      <a:pt x="163" y="33"/>
                    </a:lnTo>
                    <a:lnTo>
                      <a:pt x="168" y="33"/>
                    </a:lnTo>
                    <a:lnTo>
                      <a:pt x="175" y="26"/>
                    </a:lnTo>
                    <a:lnTo>
                      <a:pt x="186" y="20"/>
                    </a:lnTo>
                    <a:lnTo>
                      <a:pt x="192" y="19"/>
                    </a:lnTo>
                    <a:lnTo>
                      <a:pt x="201" y="19"/>
                    </a:lnTo>
                    <a:lnTo>
                      <a:pt x="213" y="25"/>
                    </a:lnTo>
                    <a:lnTo>
                      <a:pt x="230" y="35"/>
                    </a:lnTo>
                    <a:lnTo>
                      <a:pt x="237" y="37"/>
                    </a:lnTo>
                    <a:lnTo>
                      <a:pt x="254" y="41"/>
                    </a:lnTo>
                    <a:lnTo>
                      <a:pt x="263" y="39"/>
                    </a:lnTo>
                    <a:lnTo>
                      <a:pt x="275" y="32"/>
                    </a:lnTo>
                    <a:lnTo>
                      <a:pt x="285" y="22"/>
                    </a:lnTo>
                    <a:lnTo>
                      <a:pt x="291" y="20"/>
                    </a:lnTo>
                    <a:lnTo>
                      <a:pt x="310" y="19"/>
                    </a:lnTo>
                    <a:lnTo>
                      <a:pt x="323" y="20"/>
                    </a:lnTo>
                    <a:lnTo>
                      <a:pt x="330" y="17"/>
                    </a:lnTo>
                    <a:lnTo>
                      <a:pt x="344" y="16"/>
                    </a:lnTo>
                    <a:lnTo>
                      <a:pt x="349" y="17"/>
                    </a:lnTo>
                    <a:lnTo>
                      <a:pt x="354" y="20"/>
                    </a:lnTo>
                    <a:lnTo>
                      <a:pt x="361" y="22"/>
                    </a:lnTo>
                    <a:lnTo>
                      <a:pt x="364" y="25"/>
                    </a:lnTo>
                    <a:lnTo>
                      <a:pt x="371" y="24"/>
                    </a:lnTo>
                    <a:lnTo>
                      <a:pt x="377" y="22"/>
                    </a:lnTo>
                    <a:lnTo>
                      <a:pt x="383" y="15"/>
                    </a:lnTo>
                    <a:lnTo>
                      <a:pt x="383" y="14"/>
                    </a:lnTo>
                    <a:lnTo>
                      <a:pt x="388" y="11"/>
                    </a:lnTo>
                    <a:lnTo>
                      <a:pt x="392" y="10"/>
                    </a:lnTo>
                    <a:lnTo>
                      <a:pt x="397" y="10"/>
                    </a:lnTo>
                    <a:lnTo>
                      <a:pt x="402" y="3"/>
                    </a:lnTo>
                    <a:lnTo>
                      <a:pt x="403" y="3"/>
                    </a:lnTo>
                    <a:lnTo>
                      <a:pt x="403" y="0"/>
                    </a:lnTo>
                    <a:lnTo>
                      <a:pt x="406" y="8"/>
                    </a:lnTo>
                    <a:lnTo>
                      <a:pt x="409" y="14"/>
                    </a:lnTo>
                    <a:lnTo>
                      <a:pt x="414" y="20"/>
                    </a:lnTo>
                    <a:lnTo>
                      <a:pt x="422" y="24"/>
                    </a:lnTo>
                    <a:lnTo>
                      <a:pt x="425" y="30"/>
                    </a:lnTo>
                    <a:lnTo>
                      <a:pt x="431" y="46"/>
                    </a:lnTo>
                    <a:lnTo>
                      <a:pt x="438" y="51"/>
                    </a:lnTo>
                    <a:lnTo>
                      <a:pt x="440" y="52"/>
                    </a:lnTo>
                    <a:lnTo>
                      <a:pt x="446" y="55"/>
                    </a:lnTo>
                    <a:lnTo>
                      <a:pt x="448" y="56"/>
                    </a:lnTo>
                    <a:lnTo>
                      <a:pt x="450" y="57"/>
                    </a:lnTo>
                    <a:lnTo>
                      <a:pt x="451" y="61"/>
                    </a:lnTo>
                    <a:lnTo>
                      <a:pt x="451" y="73"/>
                    </a:lnTo>
                    <a:lnTo>
                      <a:pt x="452" y="82"/>
                    </a:lnTo>
                    <a:lnTo>
                      <a:pt x="438" y="92"/>
                    </a:lnTo>
                    <a:lnTo>
                      <a:pt x="437" y="93"/>
                    </a:lnTo>
                    <a:lnTo>
                      <a:pt x="425" y="97"/>
                    </a:lnTo>
                    <a:lnTo>
                      <a:pt x="422" y="99"/>
                    </a:lnTo>
                    <a:lnTo>
                      <a:pt x="416" y="105"/>
                    </a:lnTo>
                    <a:lnTo>
                      <a:pt x="413" y="109"/>
                    </a:lnTo>
                    <a:lnTo>
                      <a:pt x="411" y="114"/>
                    </a:lnTo>
                    <a:lnTo>
                      <a:pt x="406" y="131"/>
                    </a:lnTo>
                    <a:lnTo>
                      <a:pt x="399" y="143"/>
                    </a:lnTo>
                    <a:lnTo>
                      <a:pt x="397" y="150"/>
                    </a:lnTo>
                    <a:lnTo>
                      <a:pt x="396" y="159"/>
                    </a:lnTo>
                    <a:lnTo>
                      <a:pt x="390" y="178"/>
                    </a:lnTo>
                    <a:lnTo>
                      <a:pt x="388" y="186"/>
                    </a:lnTo>
                    <a:lnTo>
                      <a:pt x="388" y="191"/>
                    </a:lnTo>
                    <a:lnTo>
                      <a:pt x="387" y="194"/>
                    </a:lnTo>
                    <a:lnTo>
                      <a:pt x="375" y="198"/>
                    </a:lnTo>
                    <a:lnTo>
                      <a:pt x="368" y="207"/>
                    </a:lnTo>
                    <a:lnTo>
                      <a:pt x="364" y="218"/>
                    </a:lnTo>
                    <a:lnTo>
                      <a:pt x="361" y="229"/>
                    </a:lnTo>
                    <a:lnTo>
                      <a:pt x="359" y="233"/>
                    </a:lnTo>
                    <a:lnTo>
                      <a:pt x="352" y="249"/>
                    </a:lnTo>
                    <a:lnTo>
                      <a:pt x="339" y="271"/>
                    </a:lnTo>
                    <a:lnTo>
                      <a:pt x="339" y="277"/>
                    </a:lnTo>
                    <a:lnTo>
                      <a:pt x="336" y="281"/>
                    </a:lnTo>
                    <a:lnTo>
                      <a:pt x="330" y="284"/>
                    </a:lnTo>
                    <a:lnTo>
                      <a:pt x="321" y="283"/>
                    </a:lnTo>
                    <a:lnTo>
                      <a:pt x="314" y="278"/>
                    </a:lnTo>
                    <a:lnTo>
                      <a:pt x="311" y="277"/>
                    </a:lnTo>
                    <a:lnTo>
                      <a:pt x="311" y="275"/>
                    </a:lnTo>
                    <a:lnTo>
                      <a:pt x="310" y="273"/>
                    </a:lnTo>
                    <a:lnTo>
                      <a:pt x="302" y="266"/>
                    </a:lnTo>
                    <a:lnTo>
                      <a:pt x="291" y="265"/>
                    </a:lnTo>
                    <a:lnTo>
                      <a:pt x="275" y="268"/>
                    </a:lnTo>
                    <a:lnTo>
                      <a:pt x="265" y="268"/>
                    </a:lnTo>
                    <a:lnTo>
                      <a:pt x="263" y="268"/>
                    </a:lnTo>
                    <a:lnTo>
                      <a:pt x="261" y="280"/>
                    </a:lnTo>
                    <a:lnTo>
                      <a:pt x="253" y="283"/>
                    </a:lnTo>
                    <a:lnTo>
                      <a:pt x="248" y="289"/>
                    </a:lnTo>
                    <a:lnTo>
                      <a:pt x="243" y="296"/>
                    </a:lnTo>
                    <a:lnTo>
                      <a:pt x="235" y="307"/>
                    </a:lnTo>
                    <a:lnTo>
                      <a:pt x="233" y="318"/>
                    </a:lnTo>
                    <a:lnTo>
                      <a:pt x="232" y="328"/>
                    </a:lnTo>
                    <a:lnTo>
                      <a:pt x="230" y="334"/>
                    </a:lnTo>
                    <a:lnTo>
                      <a:pt x="225" y="341"/>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 name="Freeform 62"/>
              <p:cNvSpPr>
                <a:spLocks/>
              </p:cNvSpPr>
              <p:nvPr/>
            </p:nvSpPr>
            <p:spPr bwMode="auto">
              <a:xfrm>
                <a:off x="1308" y="2021"/>
                <a:ext cx="124" cy="248"/>
              </a:xfrm>
              <a:custGeom>
                <a:avLst/>
                <a:gdLst>
                  <a:gd name="T0" fmla="*/ 6171 w 116"/>
                  <a:gd name="T1" fmla="*/ 6094 h 236"/>
                  <a:gd name="T2" fmla="*/ 3780 w 116"/>
                  <a:gd name="T3" fmla="*/ 6254 h 236"/>
                  <a:gd name="T4" fmla="*/ 3306 w 116"/>
                  <a:gd name="T5" fmla="*/ 6047 h 236"/>
                  <a:gd name="T6" fmla="*/ 3093 w 116"/>
                  <a:gd name="T7" fmla="*/ 5663 h 236"/>
                  <a:gd name="T8" fmla="*/ 3306 w 116"/>
                  <a:gd name="T9" fmla="*/ 4274 h 236"/>
                  <a:gd name="T10" fmla="*/ 3093 w 116"/>
                  <a:gd name="T11" fmla="*/ 3734 h 236"/>
                  <a:gd name="T12" fmla="*/ 2708 w 116"/>
                  <a:gd name="T13" fmla="*/ 3446 h 236"/>
                  <a:gd name="T14" fmla="*/ 2217 w 116"/>
                  <a:gd name="T15" fmla="*/ 2920 h 236"/>
                  <a:gd name="T16" fmla="*/ 996 w 116"/>
                  <a:gd name="T17" fmla="*/ 2204 h 236"/>
                  <a:gd name="T18" fmla="*/ 7 w 116"/>
                  <a:gd name="T19" fmla="*/ 2204 h 236"/>
                  <a:gd name="T20" fmla="*/ 0 w 116"/>
                  <a:gd name="T21" fmla="*/ 2064 h 236"/>
                  <a:gd name="T22" fmla="*/ 0 w 116"/>
                  <a:gd name="T23" fmla="*/ 1693 h 236"/>
                  <a:gd name="T24" fmla="*/ 3 w 116"/>
                  <a:gd name="T25" fmla="*/ 1440 h 236"/>
                  <a:gd name="T26" fmla="*/ 7 w 116"/>
                  <a:gd name="T27" fmla="*/ 1334 h 236"/>
                  <a:gd name="T28" fmla="*/ 816 w 116"/>
                  <a:gd name="T29" fmla="*/ 1241 h 236"/>
                  <a:gd name="T30" fmla="*/ 1065 w 116"/>
                  <a:gd name="T31" fmla="*/ 1124 h 236"/>
                  <a:gd name="T32" fmla="*/ 1390 w 116"/>
                  <a:gd name="T33" fmla="*/ 1124 h 236"/>
                  <a:gd name="T34" fmla="*/ 2072 w 116"/>
                  <a:gd name="T35" fmla="*/ 877 h 236"/>
                  <a:gd name="T36" fmla="*/ 2895 w 116"/>
                  <a:gd name="T37" fmla="*/ 943 h 236"/>
                  <a:gd name="T38" fmla="*/ 3778 w 116"/>
                  <a:gd name="T39" fmla="*/ 943 h 236"/>
                  <a:gd name="T40" fmla="*/ 4727 w 116"/>
                  <a:gd name="T41" fmla="*/ 667 h 236"/>
                  <a:gd name="T42" fmla="*/ 4727 w 116"/>
                  <a:gd name="T43" fmla="*/ 575 h 236"/>
                  <a:gd name="T44" fmla="*/ 5086 w 116"/>
                  <a:gd name="T45" fmla="*/ 427 h 236"/>
                  <a:gd name="T46" fmla="*/ 5437 w 116"/>
                  <a:gd name="T47" fmla="*/ 367 h 236"/>
                  <a:gd name="T48" fmla="*/ 4936 w 116"/>
                  <a:gd name="T49" fmla="*/ 5 h 236"/>
                  <a:gd name="T50" fmla="*/ 6027 w 116"/>
                  <a:gd name="T51" fmla="*/ 3 h 236"/>
                  <a:gd name="T52" fmla="*/ 6641 w 116"/>
                  <a:gd name="T53" fmla="*/ 0 h 236"/>
                  <a:gd name="T54" fmla="*/ 7977 w 116"/>
                  <a:gd name="T55" fmla="*/ 406 h 236"/>
                  <a:gd name="T56" fmla="*/ 8993 w 116"/>
                  <a:gd name="T57" fmla="*/ 667 h 236"/>
                  <a:gd name="T58" fmla="*/ 8429 w 116"/>
                  <a:gd name="T59" fmla="*/ 969 h 236"/>
                  <a:gd name="T60" fmla="*/ 9115 w 116"/>
                  <a:gd name="T61" fmla="*/ 1241 h 236"/>
                  <a:gd name="T62" fmla="*/ 9545 w 116"/>
                  <a:gd name="T63" fmla="*/ 1611 h 236"/>
                  <a:gd name="T64" fmla="*/ 9390 w 116"/>
                  <a:gd name="T65" fmla="*/ 1964 h 236"/>
                  <a:gd name="T66" fmla="*/ 8993 w 116"/>
                  <a:gd name="T67" fmla="*/ 1996 h 236"/>
                  <a:gd name="T68" fmla="*/ 8784 w 116"/>
                  <a:gd name="T69" fmla="*/ 2191 h 236"/>
                  <a:gd name="T70" fmla="*/ 9010 w 116"/>
                  <a:gd name="T71" fmla="*/ 2316 h 236"/>
                  <a:gd name="T72" fmla="*/ 8993 w 116"/>
                  <a:gd name="T73" fmla="*/ 2395 h 236"/>
                  <a:gd name="T74" fmla="*/ 8058 w 116"/>
                  <a:gd name="T75" fmla="*/ 2671 h 236"/>
                  <a:gd name="T76" fmla="*/ 7364 w 116"/>
                  <a:gd name="T77" fmla="*/ 3068 h 236"/>
                  <a:gd name="T78" fmla="*/ 6641 w 116"/>
                  <a:gd name="T79" fmla="*/ 3734 h 236"/>
                  <a:gd name="T80" fmla="*/ 6443 w 116"/>
                  <a:gd name="T81" fmla="*/ 4289 h 236"/>
                  <a:gd name="T82" fmla="*/ 6171 w 116"/>
                  <a:gd name="T83" fmla="*/ 5230 h 2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6"/>
                  <a:gd name="T127" fmla="*/ 0 h 236"/>
                  <a:gd name="T128" fmla="*/ 116 w 116"/>
                  <a:gd name="T129" fmla="*/ 236 h 2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6" h="236">
                    <a:moveTo>
                      <a:pt x="75" y="203"/>
                    </a:moveTo>
                    <a:lnTo>
                      <a:pt x="76" y="231"/>
                    </a:lnTo>
                    <a:lnTo>
                      <a:pt x="78" y="234"/>
                    </a:lnTo>
                    <a:lnTo>
                      <a:pt x="47" y="236"/>
                    </a:lnTo>
                    <a:lnTo>
                      <a:pt x="43" y="235"/>
                    </a:lnTo>
                    <a:lnTo>
                      <a:pt x="40" y="229"/>
                    </a:lnTo>
                    <a:lnTo>
                      <a:pt x="37" y="220"/>
                    </a:lnTo>
                    <a:lnTo>
                      <a:pt x="37" y="214"/>
                    </a:lnTo>
                    <a:lnTo>
                      <a:pt x="40" y="197"/>
                    </a:lnTo>
                    <a:lnTo>
                      <a:pt x="40" y="161"/>
                    </a:lnTo>
                    <a:lnTo>
                      <a:pt x="40" y="148"/>
                    </a:lnTo>
                    <a:lnTo>
                      <a:pt x="37" y="141"/>
                    </a:lnTo>
                    <a:lnTo>
                      <a:pt x="36" y="135"/>
                    </a:lnTo>
                    <a:lnTo>
                      <a:pt x="34" y="130"/>
                    </a:lnTo>
                    <a:lnTo>
                      <a:pt x="32" y="125"/>
                    </a:lnTo>
                    <a:lnTo>
                      <a:pt x="28" y="110"/>
                    </a:lnTo>
                    <a:lnTo>
                      <a:pt x="22" y="96"/>
                    </a:lnTo>
                    <a:lnTo>
                      <a:pt x="13" y="84"/>
                    </a:lnTo>
                    <a:lnTo>
                      <a:pt x="10" y="84"/>
                    </a:lnTo>
                    <a:lnTo>
                      <a:pt x="7" y="84"/>
                    </a:lnTo>
                    <a:lnTo>
                      <a:pt x="3" y="80"/>
                    </a:lnTo>
                    <a:lnTo>
                      <a:pt x="0" y="78"/>
                    </a:lnTo>
                    <a:lnTo>
                      <a:pt x="0" y="72"/>
                    </a:lnTo>
                    <a:lnTo>
                      <a:pt x="0" y="64"/>
                    </a:lnTo>
                    <a:lnTo>
                      <a:pt x="3" y="60"/>
                    </a:lnTo>
                    <a:lnTo>
                      <a:pt x="3" y="54"/>
                    </a:lnTo>
                    <a:lnTo>
                      <a:pt x="5" y="53"/>
                    </a:lnTo>
                    <a:lnTo>
                      <a:pt x="7" y="50"/>
                    </a:lnTo>
                    <a:lnTo>
                      <a:pt x="10" y="50"/>
                    </a:lnTo>
                    <a:lnTo>
                      <a:pt x="10" y="47"/>
                    </a:lnTo>
                    <a:lnTo>
                      <a:pt x="13" y="45"/>
                    </a:lnTo>
                    <a:lnTo>
                      <a:pt x="14" y="43"/>
                    </a:lnTo>
                    <a:lnTo>
                      <a:pt x="15" y="43"/>
                    </a:lnTo>
                    <a:lnTo>
                      <a:pt x="18" y="43"/>
                    </a:lnTo>
                    <a:lnTo>
                      <a:pt x="24" y="35"/>
                    </a:lnTo>
                    <a:lnTo>
                      <a:pt x="25" y="33"/>
                    </a:lnTo>
                    <a:lnTo>
                      <a:pt x="30" y="33"/>
                    </a:lnTo>
                    <a:lnTo>
                      <a:pt x="36" y="36"/>
                    </a:lnTo>
                    <a:lnTo>
                      <a:pt x="41" y="35"/>
                    </a:lnTo>
                    <a:lnTo>
                      <a:pt x="46" y="36"/>
                    </a:lnTo>
                    <a:lnTo>
                      <a:pt x="50" y="35"/>
                    </a:lnTo>
                    <a:lnTo>
                      <a:pt x="58" y="26"/>
                    </a:lnTo>
                    <a:lnTo>
                      <a:pt x="60" y="25"/>
                    </a:lnTo>
                    <a:lnTo>
                      <a:pt x="58" y="23"/>
                    </a:lnTo>
                    <a:lnTo>
                      <a:pt x="61" y="21"/>
                    </a:lnTo>
                    <a:lnTo>
                      <a:pt x="63" y="17"/>
                    </a:lnTo>
                    <a:lnTo>
                      <a:pt x="63" y="16"/>
                    </a:lnTo>
                    <a:lnTo>
                      <a:pt x="67" y="14"/>
                    </a:lnTo>
                    <a:lnTo>
                      <a:pt x="63" y="7"/>
                    </a:lnTo>
                    <a:lnTo>
                      <a:pt x="61" y="5"/>
                    </a:lnTo>
                    <a:lnTo>
                      <a:pt x="70" y="3"/>
                    </a:lnTo>
                    <a:lnTo>
                      <a:pt x="73" y="3"/>
                    </a:lnTo>
                    <a:lnTo>
                      <a:pt x="79" y="0"/>
                    </a:lnTo>
                    <a:lnTo>
                      <a:pt x="82" y="0"/>
                    </a:lnTo>
                    <a:lnTo>
                      <a:pt x="89" y="9"/>
                    </a:lnTo>
                    <a:lnTo>
                      <a:pt x="98" y="16"/>
                    </a:lnTo>
                    <a:lnTo>
                      <a:pt x="103" y="20"/>
                    </a:lnTo>
                    <a:lnTo>
                      <a:pt x="109" y="26"/>
                    </a:lnTo>
                    <a:lnTo>
                      <a:pt x="105" y="29"/>
                    </a:lnTo>
                    <a:lnTo>
                      <a:pt x="104" y="37"/>
                    </a:lnTo>
                    <a:lnTo>
                      <a:pt x="105" y="40"/>
                    </a:lnTo>
                    <a:lnTo>
                      <a:pt x="112" y="47"/>
                    </a:lnTo>
                    <a:lnTo>
                      <a:pt x="113" y="50"/>
                    </a:lnTo>
                    <a:lnTo>
                      <a:pt x="116" y="61"/>
                    </a:lnTo>
                    <a:lnTo>
                      <a:pt x="116" y="73"/>
                    </a:lnTo>
                    <a:lnTo>
                      <a:pt x="115" y="74"/>
                    </a:lnTo>
                    <a:lnTo>
                      <a:pt x="112" y="74"/>
                    </a:lnTo>
                    <a:lnTo>
                      <a:pt x="109" y="76"/>
                    </a:lnTo>
                    <a:lnTo>
                      <a:pt x="108" y="80"/>
                    </a:lnTo>
                    <a:lnTo>
                      <a:pt x="108" y="83"/>
                    </a:lnTo>
                    <a:lnTo>
                      <a:pt x="111" y="86"/>
                    </a:lnTo>
                    <a:lnTo>
                      <a:pt x="111" y="88"/>
                    </a:lnTo>
                    <a:lnTo>
                      <a:pt x="111" y="89"/>
                    </a:lnTo>
                    <a:lnTo>
                      <a:pt x="109" y="90"/>
                    </a:lnTo>
                    <a:lnTo>
                      <a:pt x="109" y="94"/>
                    </a:lnTo>
                    <a:lnTo>
                      <a:pt x="99" y="101"/>
                    </a:lnTo>
                    <a:lnTo>
                      <a:pt x="93" y="109"/>
                    </a:lnTo>
                    <a:lnTo>
                      <a:pt x="90" y="116"/>
                    </a:lnTo>
                    <a:lnTo>
                      <a:pt x="89" y="126"/>
                    </a:lnTo>
                    <a:lnTo>
                      <a:pt x="82" y="141"/>
                    </a:lnTo>
                    <a:lnTo>
                      <a:pt x="79" y="148"/>
                    </a:lnTo>
                    <a:lnTo>
                      <a:pt x="78" y="162"/>
                    </a:lnTo>
                    <a:lnTo>
                      <a:pt x="79" y="183"/>
                    </a:lnTo>
                    <a:lnTo>
                      <a:pt x="76" y="198"/>
                    </a:lnTo>
                    <a:lnTo>
                      <a:pt x="75" y="203"/>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7" name="Freeform 63"/>
              <p:cNvSpPr>
                <a:spLocks/>
              </p:cNvSpPr>
              <p:nvPr/>
            </p:nvSpPr>
            <p:spPr bwMode="auto">
              <a:xfrm>
                <a:off x="1308" y="2021"/>
                <a:ext cx="124" cy="248"/>
              </a:xfrm>
              <a:custGeom>
                <a:avLst/>
                <a:gdLst>
                  <a:gd name="T0" fmla="*/ 6171 w 116"/>
                  <a:gd name="T1" fmla="*/ 6094 h 236"/>
                  <a:gd name="T2" fmla="*/ 3780 w 116"/>
                  <a:gd name="T3" fmla="*/ 6254 h 236"/>
                  <a:gd name="T4" fmla="*/ 3306 w 116"/>
                  <a:gd name="T5" fmla="*/ 6047 h 236"/>
                  <a:gd name="T6" fmla="*/ 3093 w 116"/>
                  <a:gd name="T7" fmla="*/ 5663 h 236"/>
                  <a:gd name="T8" fmla="*/ 3306 w 116"/>
                  <a:gd name="T9" fmla="*/ 4274 h 236"/>
                  <a:gd name="T10" fmla="*/ 3093 w 116"/>
                  <a:gd name="T11" fmla="*/ 3734 h 236"/>
                  <a:gd name="T12" fmla="*/ 2708 w 116"/>
                  <a:gd name="T13" fmla="*/ 3446 h 236"/>
                  <a:gd name="T14" fmla="*/ 2217 w 116"/>
                  <a:gd name="T15" fmla="*/ 2920 h 236"/>
                  <a:gd name="T16" fmla="*/ 996 w 116"/>
                  <a:gd name="T17" fmla="*/ 2204 h 236"/>
                  <a:gd name="T18" fmla="*/ 7 w 116"/>
                  <a:gd name="T19" fmla="*/ 2204 h 236"/>
                  <a:gd name="T20" fmla="*/ 0 w 116"/>
                  <a:gd name="T21" fmla="*/ 2064 h 236"/>
                  <a:gd name="T22" fmla="*/ 0 w 116"/>
                  <a:gd name="T23" fmla="*/ 1693 h 236"/>
                  <a:gd name="T24" fmla="*/ 3 w 116"/>
                  <a:gd name="T25" fmla="*/ 1440 h 236"/>
                  <a:gd name="T26" fmla="*/ 7 w 116"/>
                  <a:gd name="T27" fmla="*/ 1334 h 236"/>
                  <a:gd name="T28" fmla="*/ 816 w 116"/>
                  <a:gd name="T29" fmla="*/ 1241 h 236"/>
                  <a:gd name="T30" fmla="*/ 1065 w 116"/>
                  <a:gd name="T31" fmla="*/ 1124 h 236"/>
                  <a:gd name="T32" fmla="*/ 1390 w 116"/>
                  <a:gd name="T33" fmla="*/ 1124 h 236"/>
                  <a:gd name="T34" fmla="*/ 2072 w 116"/>
                  <a:gd name="T35" fmla="*/ 877 h 236"/>
                  <a:gd name="T36" fmla="*/ 2895 w 116"/>
                  <a:gd name="T37" fmla="*/ 943 h 236"/>
                  <a:gd name="T38" fmla="*/ 3778 w 116"/>
                  <a:gd name="T39" fmla="*/ 943 h 236"/>
                  <a:gd name="T40" fmla="*/ 4727 w 116"/>
                  <a:gd name="T41" fmla="*/ 667 h 236"/>
                  <a:gd name="T42" fmla="*/ 4727 w 116"/>
                  <a:gd name="T43" fmla="*/ 575 h 236"/>
                  <a:gd name="T44" fmla="*/ 5086 w 116"/>
                  <a:gd name="T45" fmla="*/ 427 h 236"/>
                  <a:gd name="T46" fmla="*/ 5437 w 116"/>
                  <a:gd name="T47" fmla="*/ 367 h 236"/>
                  <a:gd name="T48" fmla="*/ 4936 w 116"/>
                  <a:gd name="T49" fmla="*/ 5 h 236"/>
                  <a:gd name="T50" fmla="*/ 6027 w 116"/>
                  <a:gd name="T51" fmla="*/ 3 h 236"/>
                  <a:gd name="T52" fmla="*/ 6641 w 116"/>
                  <a:gd name="T53" fmla="*/ 0 h 236"/>
                  <a:gd name="T54" fmla="*/ 7977 w 116"/>
                  <a:gd name="T55" fmla="*/ 406 h 236"/>
                  <a:gd name="T56" fmla="*/ 8993 w 116"/>
                  <a:gd name="T57" fmla="*/ 667 h 236"/>
                  <a:gd name="T58" fmla="*/ 8429 w 116"/>
                  <a:gd name="T59" fmla="*/ 969 h 236"/>
                  <a:gd name="T60" fmla="*/ 9115 w 116"/>
                  <a:gd name="T61" fmla="*/ 1241 h 236"/>
                  <a:gd name="T62" fmla="*/ 9545 w 116"/>
                  <a:gd name="T63" fmla="*/ 1611 h 236"/>
                  <a:gd name="T64" fmla="*/ 9390 w 116"/>
                  <a:gd name="T65" fmla="*/ 1964 h 236"/>
                  <a:gd name="T66" fmla="*/ 8993 w 116"/>
                  <a:gd name="T67" fmla="*/ 1996 h 236"/>
                  <a:gd name="T68" fmla="*/ 8784 w 116"/>
                  <a:gd name="T69" fmla="*/ 2191 h 236"/>
                  <a:gd name="T70" fmla="*/ 9010 w 116"/>
                  <a:gd name="T71" fmla="*/ 2316 h 236"/>
                  <a:gd name="T72" fmla="*/ 8993 w 116"/>
                  <a:gd name="T73" fmla="*/ 2395 h 236"/>
                  <a:gd name="T74" fmla="*/ 8058 w 116"/>
                  <a:gd name="T75" fmla="*/ 2671 h 236"/>
                  <a:gd name="T76" fmla="*/ 7364 w 116"/>
                  <a:gd name="T77" fmla="*/ 3068 h 236"/>
                  <a:gd name="T78" fmla="*/ 6641 w 116"/>
                  <a:gd name="T79" fmla="*/ 3734 h 236"/>
                  <a:gd name="T80" fmla="*/ 6443 w 116"/>
                  <a:gd name="T81" fmla="*/ 4289 h 236"/>
                  <a:gd name="T82" fmla="*/ 6171 w 116"/>
                  <a:gd name="T83" fmla="*/ 5230 h 2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6"/>
                  <a:gd name="T127" fmla="*/ 0 h 236"/>
                  <a:gd name="T128" fmla="*/ 116 w 116"/>
                  <a:gd name="T129" fmla="*/ 236 h 2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6" h="236">
                    <a:moveTo>
                      <a:pt x="75" y="203"/>
                    </a:moveTo>
                    <a:lnTo>
                      <a:pt x="76" y="231"/>
                    </a:lnTo>
                    <a:lnTo>
                      <a:pt x="78" y="234"/>
                    </a:lnTo>
                    <a:lnTo>
                      <a:pt x="47" y="236"/>
                    </a:lnTo>
                    <a:lnTo>
                      <a:pt x="43" y="235"/>
                    </a:lnTo>
                    <a:lnTo>
                      <a:pt x="40" y="229"/>
                    </a:lnTo>
                    <a:lnTo>
                      <a:pt x="37" y="220"/>
                    </a:lnTo>
                    <a:lnTo>
                      <a:pt x="37" y="214"/>
                    </a:lnTo>
                    <a:lnTo>
                      <a:pt x="40" y="197"/>
                    </a:lnTo>
                    <a:lnTo>
                      <a:pt x="40" y="161"/>
                    </a:lnTo>
                    <a:lnTo>
                      <a:pt x="40" y="148"/>
                    </a:lnTo>
                    <a:lnTo>
                      <a:pt x="37" y="141"/>
                    </a:lnTo>
                    <a:lnTo>
                      <a:pt x="36" y="135"/>
                    </a:lnTo>
                    <a:lnTo>
                      <a:pt x="34" y="130"/>
                    </a:lnTo>
                    <a:lnTo>
                      <a:pt x="32" y="125"/>
                    </a:lnTo>
                    <a:lnTo>
                      <a:pt x="28" y="110"/>
                    </a:lnTo>
                    <a:lnTo>
                      <a:pt x="22" y="96"/>
                    </a:lnTo>
                    <a:lnTo>
                      <a:pt x="13" y="84"/>
                    </a:lnTo>
                    <a:lnTo>
                      <a:pt x="10" y="84"/>
                    </a:lnTo>
                    <a:lnTo>
                      <a:pt x="7" y="84"/>
                    </a:lnTo>
                    <a:lnTo>
                      <a:pt x="3" y="80"/>
                    </a:lnTo>
                    <a:lnTo>
                      <a:pt x="0" y="78"/>
                    </a:lnTo>
                    <a:lnTo>
                      <a:pt x="0" y="72"/>
                    </a:lnTo>
                    <a:lnTo>
                      <a:pt x="0" y="64"/>
                    </a:lnTo>
                    <a:lnTo>
                      <a:pt x="3" y="60"/>
                    </a:lnTo>
                    <a:lnTo>
                      <a:pt x="3" y="54"/>
                    </a:lnTo>
                    <a:lnTo>
                      <a:pt x="5" y="53"/>
                    </a:lnTo>
                    <a:lnTo>
                      <a:pt x="7" y="50"/>
                    </a:lnTo>
                    <a:lnTo>
                      <a:pt x="10" y="50"/>
                    </a:lnTo>
                    <a:lnTo>
                      <a:pt x="10" y="47"/>
                    </a:lnTo>
                    <a:lnTo>
                      <a:pt x="13" y="45"/>
                    </a:lnTo>
                    <a:lnTo>
                      <a:pt x="14" y="43"/>
                    </a:lnTo>
                    <a:lnTo>
                      <a:pt x="15" y="43"/>
                    </a:lnTo>
                    <a:lnTo>
                      <a:pt x="18" y="43"/>
                    </a:lnTo>
                    <a:lnTo>
                      <a:pt x="24" y="35"/>
                    </a:lnTo>
                    <a:lnTo>
                      <a:pt x="25" y="33"/>
                    </a:lnTo>
                    <a:lnTo>
                      <a:pt x="30" y="33"/>
                    </a:lnTo>
                    <a:lnTo>
                      <a:pt x="36" y="36"/>
                    </a:lnTo>
                    <a:lnTo>
                      <a:pt x="41" y="35"/>
                    </a:lnTo>
                    <a:lnTo>
                      <a:pt x="46" y="36"/>
                    </a:lnTo>
                    <a:lnTo>
                      <a:pt x="50" y="35"/>
                    </a:lnTo>
                    <a:lnTo>
                      <a:pt x="58" y="26"/>
                    </a:lnTo>
                    <a:lnTo>
                      <a:pt x="60" y="25"/>
                    </a:lnTo>
                    <a:lnTo>
                      <a:pt x="58" y="23"/>
                    </a:lnTo>
                    <a:lnTo>
                      <a:pt x="61" y="21"/>
                    </a:lnTo>
                    <a:lnTo>
                      <a:pt x="63" y="17"/>
                    </a:lnTo>
                    <a:lnTo>
                      <a:pt x="63" y="16"/>
                    </a:lnTo>
                    <a:lnTo>
                      <a:pt x="67" y="14"/>
                    </a:lnTo>
                    <a:lnTo>
                      <a:pt x="63" y="7"/>
                    </a:lnTo>
                    <a:lnTo>
                      <a:pt x="61" y="5"/>
                    </a:lnTo>
                    <a:lnTo>
                      <a:pt x="70" y="3"/>
                    </a:lnTo>
                    <a:lnTo>
                      <a:pt x="73" y="3"/>
                    </a:lnTo>
                    <a:lnTo>
                      <a:pt x="79" y="0"/>
                    </a:lnTo>
                    <a:lnTo>
                      <a:pt x="82" y="0"/>
                    </a:lnTo>
                    <a:lnTo>
                      <a:pt x="89" y="9"/>
                    </a:lnTo>
                    <a:lnTo>
                      <a:pt x="98" y="16"/>
                    </a:lnTo>
                    <a:lnTo>
                      <a:pt x="103" y="20"/>
                    </a:lnTo>
                    <a:lnTo>
                      <a:pt x="109" y="26"/>
                    </a:lnTo>
                    <a:lnTo>
                      <a:pt x="105" y="29"/>
                    </a:lnTo>
                    <a:lnTo>
                      <a:pt x="104" y="37"/>
                    </a:lnTo>
                    <a:lnTo>
                      <a:pt x="105" y="40"/>
                    </a:lnTo>
                    <a:lnTo>
                      <a:pt x="112" y="47"/>
                    </a:lnTo>
                    <a:lnTo>
                      <a:pt x="113" y="50"/>
                    </a:lnTo>
                    <a:lnTo>
                      <a:pt x="116" y="61"/>
                    </a:lnTo>
                    <a:lnTo>
                      <a:pt x="116" y="73"/>
                    </a:lnTo>
                    <a:lnTo>
                      <a:pt x="115" y="74"/>
                    </a:lnTo>
                    <a:lnTo>
                      <a:pt x="112" y="74"/>
                    </a:lnTo>
                    <a:lnTo>
                      <a:pt x="109" y="76"/>
                    </a:lnTo>
                    <a:lnTo>
                      <a:pt x="108" y="80"/>
                    </a:lnTo>
                    <a:lnTo>
                      <a:pt x="108" y="83"/>
                    </a:lnTo>
                    <a:lnTo>
                      <a:pt x="111" y="86"/>
                    </a:lnTo>
                    <a:lnTo>
                      <a:pt x="111" y="88"/>
                    </a:lnTo>
                    <a:lnTo>
                      <a:pt x="111" y="89"/>
                    </a:lnTo>
                    <a:lnTo>
                      <a:pt x="109" y="90"/>
                    </a:lnTo>
                    <a:lnTo>
                      <a:pt x="109" y="94"/>
                    </a:lnTo>
                    <a:lnTo>
                      <a:pt x="99" y="101"/>
                    </a:lnTo>
                    <a:lnTo>
                      <a:pt x="93" y="109"/>
                    </a:lnTo>
                    <a:lnTo>
                      <a:pt x="90" y="116"/>
                    </a:lnTo>
                    <a:lnTo>
                      <a:pt x="89" y="126"/>
                    </a:lnTo>
                    <a:lnTo>
                      <a:pt x="82" y="141"/>
                    </a:lnTo>
                    <a:lnTo>
                      <a:pt x="79" y="148"/>
                    </a:lnTo>
                    <a:lnTo>
                      <a:pt x="78" y="162"/>
                    </a:lnTo>
                    <a:lnTo>
                      <a:pt x="79" y="183"/>
                    </a:lnTo>
                    <a:lnTo>
                      <a:pt x="76" y="198"/>
                    </a:lnTo>
                    <a:lnTo>
                      <a:pt x="75" y="203"/>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8" name="Freeform 64"/>
              <p:cNvSpPr>
                <a:spLocks/>
              </p:cNvSpPr>
              <p:nvPr/>
            </p:nvSpPr>
            <p:spPr bwMode="auto">
              <a:xfrm>
                <a:off x="1582" y="1010"/>
                <a:ext cx="164" cy="283"/>
              </a:xfrm>
              <a:custGeom>
                <a:avLst/>
                <a:gdLst>
                  <a:gd name="T0" fmla="*/ 5013 w 153"/>
                  <a:gd name="T1" fmla="*/ 461 h 269"/>
                  <a:gd name="T2" fmla="*/ 5227 w 153"/>
                  <a:gd name="T3" fmla="*/ 356 h 269"/>
                  <a:gd name="T4" fmla="*/ 6173 w 153"/>
                  <a:gd name="T5" fmla="*/ 7 h 269"/>
                  <a:gd name="T6" fmla="*/ 7787 w 153"/>
                  <a:gd name="T7" fmla="*/ 0 h 269"/>
                  <a:gd name="T8" fmla="*/ 9364 w 153"/>
                  <a:gd name="T9" fmla="*/ 0 h 269"/>
                  <a:gd name="T10" fmla="*/ 10642 w 153"/>
                  <a:gd name="T11" fmla="*/ 5 h 269"/>
                  <a:gd name="T12" fmla="*/ 10881 w 153"/>
                  <a:gd name="T13" fmla="*/ 395 h 269"/>
                  <a:gd name="T14" fmla="*/ 11649 w 153"/>
                  <a:gd name="T15" fmla="*/ 565 h 269"/>
                  <a:gd name="T16" fmla="*/ 12428 w 153"/>
                  <a:gd name="T17" fmla="*/ 485 h 269"/>
                  <a:gd name="T18" fmla="*/ 13251 w 153"/>
                  <a:gd name="T19" fmla="*/ 321 h 269"/>
                  <a:gd name="T20" fmla="*/ 14116 w 153"/>
                  <a:gd name="T21" fmla="*/ 461 h 269"/>
                  <a:gd name="T22" fmla="*/ 12428 w 153"/>
                  <a:gd name="T23" fmla="*/ 909 h 269"/>
                  <a:gd name="T24" fmla="*/ 11810 w 153"/>
                  <a:gd name="T25" fmla="*/ 1232 h 269"/>
                  <a:gd name="T26" fmla="*/ 12362 w 153"/>
                  <a:gd name="T27" fmla="*/ 1588 h 269"/>
                  <a:gd name="T28" fmla="*/ 13251 w 153"/>
                  <a:gd name="T29" fmla="*/ 1724 h 269"/>
                  <a:gd name="T30" fmla="*/ 14048 w 153"/>
                  <a:gd name="T31" fmla="*/ 2145 h 269"/>
                  <a:gd name="T32" fmla="*/ 13401 w 153"/>
                  <a:gd name="T33" fmla="*/ 2628 h 269"/>
                  <a:gd name="T34" fmla="*/ 12502 w 153"/>
                  <a:gd name="T35" fmla="*/ 2909 h 269"/>
                  <a:gd name="T36" fmla="*/ 11407 w 153"/>
                  <a:gd name="T37" fmla="*/ 3090 h 269"/>
                  <a:gd name="T38" fmla="*/ 10289 w 153"/>
                  <a:gd name="T39" fmla="*/ 3251 h 269"/>
                  <a:gd name="T40" fmla="*/ 10279 w 153"/>
                  <a:gd name="T41" fmla="*/ 3521 h 269"/>
                  <a:gd name="T42" fmla="*/ 9364 w 153"/>
                  <a:gd name="T43" fmla="*/ 3694 h 269"/>
                  <a:gd name="T44" fmla="*/ 10289 w 153"/>
                  <a:gd name="T45" fmla="*/ 3943 h 269"/>
                  <a:gd name="T46" fmla="*/ 11220 w 153"/>
                  <a:gd name="T47" fmla="*/ 3982 h 269"/>
                  <a:gd name="T48" fmla="*/ 11810 w 153"/>
                  <a:gd name="T49" fmla="*/ 4088 h 269"/>
                  <a:gd name="T50" fmla="*/ 12502 w 153"/>
                  <a:gd name="T51" fmla="*/ 4088 h 269"/>
                  <a:gd name="T52" fmla="*/ 13401 w 153"/>
                  <a:gd name="T53" fmla="*/ 4364 h 269"/>
                  <a:gd name="T54" fmla="*/ 13819 w 153"/>
                  <a:gd name="T55" fmla="*/ 4525 h 269"/>
                  <a:gd name="T56" fmla="*/ 14364 w 153"/>
                  <a:gd name="T57" fmla="*/ 4523 h 269"/>
                  <a:gd name="T58" fmla="*/ 14813 w 153"/>
                  <a:gd name="T59" fmla="*/ 4580 h 269"/>
                  <a:gd name="T60" fmla="*/ 14364 w 153"/>
                  <a:gd name="T61" fmla="*/ 5364 h 269"/>
                  <a:gd name="T62" fmla="*/ 12227 w 153"/>
                  <a:gd name="T63" fmla="*/ 5833 h 269"/>
                  <a:gd name="T64" fmla="*/ 11220 w 153"/>
                  <a:gd name="T65" fmla="*/ 6137 h 269"/>
                  <a:gd name="T66" fmla="*/ 9976 w 153"/>
                  <a:gd name="T67" fmla="*/ 6286 h 269"/>
                  <a:gd name="T68" fmla="*/ 10279 w 153"/>
                  <a:gd name="T69" fmla="*/ 6954 h 269"/>
                  <a:gd name="T70" fmla="*/ 9928 w 153"/>
                  <a:gd name="T71" fmla="*/ 7314 h 269"/>
                  <a:gd name="T72" fmla="*/ 8354 w 153"/>
                  <a:gd name="T73" fmla="*/ 7607 h 269"/>
                  <a:gd name="T74" fmla="*/ 7397 w 153"/>
                  <a:gd name="T75" fmla="*/ 7563 h 269"/>
                  <a:gd name="T76" fmla="*/ 6173 w 153"/>
                  <a:gd name="T77" fmla="*/ 5677 h 269"/>
                  <a:gd name="T78" fmla="*/ 4472 w 153"/>
                  <a:gd name="T79" fmla="*/ 5500 h 269"/>
                  <a:gd name="T80" fmla="*/ 2998 w 153"/>
                  <a:gd name="T81" fmla="*/ 5006 h 269"/>
                  <a:gd name="T82" fmla="*/ 2271 w 153"/>
                  <a:gd name="T83" fmla="*/ 4555 h 269"/>
                  <a:gd name="T84" fmla="*/ 6 w 153"/>
                  <a:gd name="T85" fmla="*/ 3943 h 269"/>
                  <a:gd name="T86" fmla="*/ 0 w 153"/>
                  <a:gd name="T87" fmla="*/ 3694 h 269"/>
                  <a:gd name="T88" fmla="*/ 921 w 153"/>
                  <a:gd name="T89" fmla="*/ 3521 h 269"/>
                  <a:gd name="T90" fmla="*/ 1216 w 153"/>
                  <a:gd name="T91" fmla="*/ 3387 h 269"/>
                  <a:gd name="T92" fmla="*/ 1977 w 153"/>
                  <a:gd name="T93" fmla="*/ 3181 h 269"/>
                  <a:gd name="T94" fmla="*/ 3631 w 153"/>
                  <a:gd name="T95" fmla="*/ 2765 h 269"/>
                  <a:gd name="T96" fmla="*/ 4070 w 153"/>
                  <a:gd name="T97" fmla="*/ 2221 h 269"/>
                  <a:gd name="T98" fmla="*/ 3797 w 153"/>
                  <a:gd name="T99" fmla="*/ 1724 h 269"/>
                  <a:gd name="T100" fmla="*/ 3631 w 153"/>
                  <a:gd name="T101" fmla="*/ 1444 h 269"/>
                  <a:gd name="T102" fmla="*/ 3892 w 153"/>
                  <a:gd name="T103" fmla="*/ 892 h 269"/>
                  <a:gd name="T104" fmla="*/ 3631 w 153"/>
                  <a:gd name="T105" fmla="*/ 766 h 269"/>
                  <a:gd name="T106" fmla="*/ 4549 w 153"/>
                  <a:gd name="T107" fmla="*/ 510 h 2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53"/>
                  <a:gd name="T163" fmla="*/ 0 h 269"/>
                  <a:gd name="T164" fmla="*/ 153 w 153"/>
                  <a:gd name="T165" fmla="*/ 269 h 2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53" h="269">
                    <a:moveTo>
                      <a:pt x="47" y="19"/>
                    </a:moveTo>
                    <a:lnTo>
                      <a:pt x="51" y="17"/>
                    </a:lnTo>
                    <a:lnTo>
                      <a:pt x="52" y="14"/>
                    </a:lnTo>
                    <a:lnTo>
                      <a:pt x="54" y="12"/>
                    </a:lnTo>
                    <a:lnTo>
                      <a:pt x="57" y="10"/>
                    </a:lnTo>
                    <a:lnTo>
                      <a:pt x="63" y="7"/>
                    </a:lnTo>
                    <a:lnTo>
                      <a:pt x="71" y="4"/>
                    </a:lnTo>
                    <a:lnTo>
                      <a:pt x="79" y="0"/>
                    </a:lnTo>
                    <a:lnTo>
                      <a:pt x="89" y="0"/>
                    </a:lnTo>
                    <a:lnTo>
                      <a:pt x="96" y="0"/>
                    </a:lnTo>
                    <a:lnTo>
                      <a:pt x="109" y="4"/>
                    </a:lnTo>
                    <a:lnTo>
                      <a:pt x="108" y="5"/>
                    </a:lnTo>
                    <a:lnTo>
                      <a:pt x="109" y="7"/>
                    </a:lnTo>
                    <a:lnTo>
                      <a:pt x="112" y="14"/>
                    </a:lnTo>
                    <a:lnTo>
                      <a:pt x="112" y="19"/>
                    </a:lnTo>
                    <a:lnTo>
                      <a:pt x="119" y="21"/>
                    </a:lnTo>
                    <a:lnTo>
                      <a:pt x="122" y="19"/>
                    </a:lnTo>
                    <a:lnTo>
                      <a:pt x="127" y="18"/>
                    </a:lnTo>
                    <a:lnTo>
                      <a:pt x="132" y="14"/>
                    </a:lnTo>
                    <a:lnTo>
                      <a:pt x="135" y="10"/>
                    </a:lnTo>
                    <a:lnTo>
                      <a:pt x="141" y="10"/>
                    </a:lnTo>
                    <a:lnTo>
                      <a:pt x="144" y="17"/>
                    </a:lnTo>
                    <a:lnTo>
                      <a:pt x="136" y="30"/>
                    </a:lnTo>
                    <a:lnTo>
                      <a:pt x="127" y="32"/>
                    </a:lnTo>
                    <a:lnTo>
                      <a:pt x="122" y="35"/>
                    </a:lnTo>
                    <a:lnTo>
                      <a:pt x="121" y="44"/>
                    </a:lnTo>
                    <a:lnTo>
                      <a:pt x="122" y="53"/>
                    </a:lnTo>
                    <a:lnTo>
                      <a:pt x="126" y="56"/>
                    </a:lnTo>
                    <a:lnTo>
                      <a:pt x="132" y="57"/>
                    </a:lnTo>
                    <a:lnTo>
                      <a:pt x="135" y="61"/>
                    </a:lnTo>
                    <a:lnTo>
                      <a:pt x="141" y="65"/>
                    </a:lnTo>
                    <a:lnTo>
                      <a:pt x="143" y="75"/>
                    </a:lnTo>
                    <a:lnTo>
                      <a:pt x="144" y="78"/>
                    </a:lnTo>
                    <a:lnTo>
                      <a:pt x="138" y="92"/>
                    </a:lnTo>
                    <a:lnTo>
                      <a:pt x="134" y="97"/>
                    </a:lnTo>
                    <a:lnTo>
                      <a:pt x="129" y="102"/>
                    </a:lnTo>
                    <a:lnTo>
                      <a:pt x="121" y="108"/>
                    </a:lnTo>
                    <a:lnTo>
                      <a:pt x="116" y="109"/>
                    </a:lnTo>
                    <a:lnTo>
                      <a:pt x="112" y="113"/>
                    </a:lnTo>
                    <a:lnTo>
                      <a:pt x="106" y="115"/>
                    </a:lnTo>
                    <a:lnTo>
                      <a:pt x="105" y="118"/>
                    </a:lnTo>
                    <a:lnTo>
                      <a:pt x="105" y="124"/>
                    </a:lnTo>
                    <a:lnTo>
                      <a:pt x="96" y="122"/>
                    </a:lnTo>
                    <a:lnTo>
                      <a:pt x="96" y="129"/>
                    </a:lnTo>
                    <a:lnTo>
                      <a:pt x="99" y="136"/>
                    </a:lnTo>
                    <a:lnTo>
                      <a:pt x="106" y="139"/>
                    </a:lnTo>
                    <a:lnTo>
                      <a:pt x="110" y="141"/>
                    </a:lnTo>
                    <a:lnTo>
                      <a:pt x="115" y="141"/>
                    </a:lnTo>
                    <a:lnTo>
                      <a:pt x="118" y="139"/>
                    </a:lnTo>
                    <a:lnTo>
                      <a:pt x="121" y="143"/>
                    </a:lnTo>
                    <a:lnTo>
                      <a:pt x="124" y="146"/>
                    </a:lnTo>
                    <a:lnTo>
                      <a:pt x="129" y="143"/>
                    </a:lnTo>
                    <a:lnTo>
                      <a:pt x="132" y="143"/>
                    </a:lnTo>
                    <a:lnTo>
                      <a:pt x="138" y="154"/>
                    </a:lnTo>
                    <a:lnTo>
                      <a:pt x="138" y="156"/>
                    </a:lnTo>
                    <a:lnTo>
                      <a:pt x="141" y="158"/>
                    </a:lnTo>
                    <a:lnTo>
                      <a:pt x="145" y="158"/>
                    </a:lnTo>
                    <a:lnTo>
                      <a:pt x="148" y="157"/>
                    </a:lnTo>
                    <a:lnTo>
                      <a:pt x="153" y="160"/>
                    </a:lnTo>
                    <a:lnTo>
                      <a:pt x="151" y="161"/>
                    </a:lnTo>
                    <a:lnTo>
                      <a:pt x="153" y="183"/>
                    </a:lnTo>
                    <a:lnTo>
                      <a:pt x="148" y="189"/>
                    </a:lnTo>
                    <a:lnTo>
                      <a:pt x="144" y="192"/>
                    </a:lnTo>
                    <a:lnTo>
                      <a:pt x="124" y="204"/>
                    </a:lnTo>
                    <a:lnTo>
                      <a:pt x="122" y="211"/>
                    </a:lnTo>
                    <a:lnTo>
                      <a:pt x="115" y="215"/>
                    </a:lnTo>
                    <a:lnTo>
                      <a:pt x="105" y="218"/>
                    </a:lnTo>
                    <a:lnTo>
                      <a:pt x="102" y="222"/>
                    </a:lnTo>
                    <a:lnTo>
                      <a:pt x="102" y="228"/>
                    </a:lnTo>
                    <a:lnTo>
                      <a:pt x="105" y="245"/>
                    </a:lnTo>
                    <a:lnTo>
                      <a:pt x="105" y="251"/>
                    </a:lnTo>
                    <a:lnTo>
                      <a:pt x="101" y="257"/>
                    </a:lnTo>
                    <a:lnTo>
                      <a:pt x="95" y="262"/>
                    </a:lnTo>
                    <a:lnTo>
                      <a:pt x="86" y="267"/>
                    </a:lnTo>
                    <a:lnTo>
                      <a:pt x="78" y="269"/>
                    </a:lnTo>
                    <a:lnTo>
                      <a:pt x="76" y="265"/>
                    </a:lnTo>
                    <a:lnTo>
                      <a:pt x="73" y="243"/>
                    </a:lnTo>
                    <a:lnTo>
                      <a:pt x="63" y="200"/>
                    </a:lnTo>
                    <a:lnTo>
                      <a:pt x="61" y="200"/>
                    </a:lnTo>
                    <a:lnTo>
                      <a:pt x="46" y="192"/>
                    </a:lnTo>
                    <a:lnTo>
                      <a:pt x="31" y="186"/>
                    </a:lnTo>
                    <a:lnTo>
                      <a:pt x="31" y="174"/>
                    </a:lnTo>
                    <a:lnTo>
                      <a:pt x="26" y="163"/>
                    </a:lnTo>
                    <a:lnTo>
                      <a:pt x="23" y="160"/>
                    </a:lnTo>
                    <a:lnTo>
                      <a:pt x="9" y="155"/>
                    </a:lnTo>
                    <a:lnTo>
                      <a:pt x="6" y="139"/>
                    </a:lnTo>
                    <a:lnTo>
                      <a:pt x="1" y="132"/>
                    </a:lnTo>
                    <a:lnTo>
                      <a:pt x="0" y="129"/>
                    </a:lnTo>
                    <a:lnTo>
                      <a:pt x="1" y="129"/>
                    </a:lnTo>
                    <a:lnTo>
                      <a:pt x="9" y="124"/>
                    </a:lnTo>
                    <a:lnTo>
                      <a:pt x="9" y="123"/>
                    </a:lnTo>
                    <a:lnTo>
                      <a:pt x="13" y="119"/>
                    </a:lnTo>
                    <a:lnTo>
                      <a:pt x="20" y="118"/>
                    </a:lnTo>
                    <a:lnTo>
                      <a:pt x="20" y="112"/>
                    </a:lnTo>
                    <a:lnTo>
                      <a:pt x="34" y="103"/>
                    </a:lnTo>
                    <a:lnTo>
                      <a:pt x="37" y="97"/>
                    </a:lnTo>
                    <a:lnTo>
                      <a:pt x="42" y="82"/>
                    </a:lnTo>
                    <a:lnTo>
                      <a:pt x="42" y="78"/>
                    </a:lnTo>
                    <a:lnTo>
                      <a:pt x="39" y="75"/>
                    </a:lnTo>
                    <a:lnTo>
                      <a:pt x="39" y="61"/>
                    </a:lnTo>
                    <a:lnTo>
                      <a:pt x="36" y="56"/>
                    </a:lnTo>
                    <a:lnTo>
                      <a:pt x="37" y="51"/>
                    </a:lnTo>
                    <a:lnTo>
                      <a:pt x="41" y="34"/>
                    </a:lnTo>
                    <a:lnTo>
                      <a:pt x="40" y="31"/>
                    </a:lnTo>
                    <a:lnTo>
                      <a:pt x="36" y="30"/>
                    </a:lnTo>
                    <a:lnTo>
                      <a:pt x="37" y="27"/>
                    </a:lnTo>
                    <a:lnTo>
                      <a:pt x="43" y="22"/>
                    </a:lnTo>
                    <a:lnTo>
                      <a:pt x="47" y="19"/>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9" name="Freeform 65"/>
              <p:cNvSpPr>
                <a:spLocks/>
              </p:cNvSpPr>
              <p:nvPr/>
            </p:nvSpPr>
            <p:spPr bwMode="auto">
              <a:xfrm>
                <a:off x="1582" y="1010"/>
                <a:ext cx="164" cy="283"/>
              </a:xfrm>
              <a:custGeom>
                <a:avLst/>
                <a:gdLst>
                  <a:gd name="T0" fmla="*/ 5013 w 153"/>
                  <a:gd name="T1" fmla="*/ 461 h 269"/>
                  <a:gd name="T2" fmla="*/ 5227 w 153"/>
                  <a:gd name="T3" fmla="*/ 356 h 269"/>
                  <a:gd name="T4" fmla="*/ 6173 w 153"/>
                  <a:gd name="T5" fmla="*/ 7 h 269"/>
                  <a:gd name="T6" fmla="*/ 7787 w 153"/>
                  <a:gd name="T7" fmla="*/ 0 h 269"/>
                  <a:gd name="T8" fmla="*/ 9364 w 153"/>
                  <a:gd name="T9" fmla="*/ 0 h 269"/>
                  <a:gd name="T10" fmla="*/ 10642 w 153"/>
                  <a:gd name="T11" fmla="*/ 5 h 269"/>
                  <a:gd name="T12" fmla="*/ 10881 w 153"/>
                  <a:gd name="T13" fmla="*/ 395 h 269"/>
                  <a:gd name="T14" fmla="*/ 11649 w 153"/>
                  <a:gd name="T15" fmla="*/ 565 h 269"/>
                  <a:gd name="T16" fmla="*/ 12428 w 153"/>
                  <a:gd name="T17" fmla="*/ 485 h 269"/>
                  <a:gd name="T18" fmla="*/ 13251 w 153"/>
                  <a:gd name="T19" fmla="*/ 321 h 269"/>
                  <a:gd name="T20" fmla="*/ 14116 w 153"/>
                  <a:gd name="T21" fmla="*/ 461 h 269"/>
                  <a:gd name="T22" fmla="*/ 12428 w 153"/>
                  <a:gd name="T23" fmla="*/ 909 h 269"/>
                  <a:gd name="T24" fmla="*/ 11810 w 153"/>
                  <a:gd name="T25" fmla="*/ 1232 h 269"/>
                  <a:gd name="T26" fmla="*/ 12362 w 153"/>
                  <a:gd name="T27" fmla="*/ 1588 h 269"/>
                  <a:gd name="T28" fmla="*/ 13251 w 153"/>
                  <a:gd name="T29" fmla="*/ 1724 h 269"/>
                  <a:gd name="T30" fmla="*/ 14048 w 153"/>
                  <a:gd name="T31" fmla="*/ 2145 h 269"/>
                  <a:gd name="T32" fmla="*/ 13401 w 153"/>
                  <a:gd name="T33" fmla="*/ 2628 h 269"/>
                  <a:gd name="T34" fmla="*/ 12502 w 153"/>
                  <a:gd name="T35" fmla="*/ 2909 h 269"/>
                  <a:gd name="T36" fmla="*/ 11407 w 153"/>
                  <a:gd name="T37" fmla="*/ 3090 h 269"/>
                  <a:gd name="T38" fmla="*/ 10289 w 153"/>
                  <a:gd name="T39" fmla="*/ 3251 h 269"/>
                  <a:gd name="T40" fmla="*/ 10279 w 153"/>
                  <a:gd name="T41" fmla="*/ 3521 h 269"/>
                  <a:gd name="T42" fmla="*/ 9364 w 153"/>
                  <a:gd name="T43" fmla="*/ 3694 h 269"/>
                  <a:gd name="T44" fmla="*/ 10289 w 153"/>
                  <a:gd name="T45" fmla="*/ 3943 h 269"/>
                  <a:gd name="T46" fmla="*/ 11220 w 153"/>
                  <a:gd name="T47" fmla="*/ 3982 h 269"/>
                  <a:gd name="T48" fmla="*/ 11810 w 153"/>
                  <a:gd name="T49" fmla="*/ 4088 h 269"/>
                  <a:gd name="T50" fmla="*/ 12502 w 153"/>
                  <a:gd name="T51" fmla="*/ 4088 h 269"/>
                  <a:gd name="T52" fmla="*/ 13401 w 153"/>
                  <a:gd name="T53" fmla="*/ 4364 h 269"/>
                  <a:gd name="T54" fmla="*/ 13819 w 153"/>
                  <a:gd name="T55" fmla="*/ 4525 h 269"/>
                  <a:gd name="T56" fmla="*/ 14364 w 153"/>
                  <a:gd name="T57" fmla="*/ 4523 h 269"/>
                  <a:gd name="T58" fmla="*/ 14813 w 153"/>
                  <a:gd name="T59" fmla="*/ 4580 h 269"/>
                  <a:gd name="T60" fmla="*/ 14364 w 153"/>
                  <a:gd name="T61" fmla="*/ 5364 h 269"/>
                  <a:gd name="T62" fmla="*/ 12227 w 153"/>
                  <a:gd name="T63" fmla="*/ 5833 h 269"/>
                  <a:gd name="T64" fmla="*/ 11220 w 153"/>
                  <a:gd name="T65" fmla="*/ 6137 h 269"/>
                  <a:gd name="T66" fmla="*/ 9976 w 153"/>
                  <a:gd name="T67" fmla="*/ 6286 h 269"/>
                  <a:gd name="T68" fmla="*/ 10279 w 153"/>
                  <a:gd name="T69" fmla="*/ 6954 h 269"/>
                  <a:gd name="T70" fmla="*/ 9928 w 153"/>
                  <a:gd name="T71" fmla="*/ 7314 h 269"/>
                  <a:gd name="T72" fmla="*/ 8354 w 153"/>
                  <a:gd name="T73" fmla="*/ 7607 h 269"/>
                  <a:gd name="T74" fmla="*/ 7397 w 153"/>
                  <a:gd name="T75" fmla="*/ 7563 h 269"/>
                  <a:gd name="T76" fmla="*/ 6173 w 153"/>
                  <a:gd name="T77" fmla="*/ 5677 h 269"/>
                  <a:gd name="T78" fmla="*/ 4472 w 153"/>
                  <a:gd name="T79" fmla="*/ 5500 h 269"/>
                  <a:gd name="T80" fmla="*/ 2998 w 153"/>
                  <a:gd name="T81" fmla="*/ 5006 h 269"/>
                  <a:gd name="T82" fmla="*/ 2271 w 153"/>
                  <a:gd name="T83" fmla="*/ 4555 h 269"/>
                  <a:gd name="T84" fmla="*/ 6 w 153"/>
                  <a:gd name="T85" fmla="*/ 3943 h 269"/>
                  <a:gd name="T86" fmla="*/ 0 w 153"/>
                  <a:gd name="T87" fmla="*/ 3694 h 269"/>
                  <a:gd name="T88" fmla="*/ 921 w 153"/>
                  <a:gd name="T89" fmla="*/ 3521 h 269"/>
                  <a:gd name="T90" fmla="*/ 1216 w 153"/>
                  <a:gd name="T91" fmla="*/ 3387 h 269"/>
                  <a:gd name="T92" fmla="*/ 1977 w 153"/>
                  <a:gd name="T93" fmla="*/ 3181 h 269"/>
                  <a:gd name="T94" fmla="*/ 3631 w 153"/>
                  <a:gd name="T95" fmla="*/ 2765 h 269"/>
                  <a:gd name="T96" fmla="*/ 4070 w 153"/>
                  <a:gd name="T97" fmla="*/ 2221 h 269"/>
                  <a:gd name="T98" fmla="*/ 3797 w 153"/>
                  <a:gd name="T99" fmla="*/ 1724 h 269"/>
                  <a:gd name="T100" fmla="*/ 3631 w 153"/>
                  <a:gd name="T101" fmla="*/ 1444 h 269"/>
                  <a:gd name="T102" fmla="*/ 3892 w 153"/>
                  <a:gd name="T103" fmla="*/ 892 h 269"/>
                  <a:gd name="T104" fmla="*/ 3631 w 153"/>
                  <a:gd name="T105" fmla="*/ 766 h 269"/>
                  <a:gd name="T106" fmla="*/ 4549 w 153"/>
                  <a:gd name="T107" fmla="*/ 510 h 2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53"/>
                  <a:gd name="T163" fmla="*/ 0 h 269"/>
                  <a:gd name="T164" fmla="*/ 153 w 153"/>
                  <a:gd name="T165" fmla="*/ 269 h 2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53" h="269">
                    <a:moveTo>
                      <a:pt x="47" y="19"/>
                    </a:moveTo>
                    <a:lnTo>
                      <a:pt x="51" y="17"/>
                    </a:lnTo>
                    <a:lnTo>
                      <a:pt x="52" y="14"/>
                    </a:lnTo>
                    <a:lnTo>
                      <a:pt x="54" y="12"/>
                    </a:lnTo>
                    <a:lnTo>
                      <a:pt x="57" y="10"/>
                    </a:lnTo>
                    <a:lnTo>
                      <a:pt x="63" y="7"/>
                    </a:lnTo>
                    <a:lnTo>
                      <a:pt x="71" y="4"/>
                    </a:lnTo>
                    <a:lnTo>
                      <a:pt x="79" y="0"/>
                    </a:lnTo>
                    <a:lnTo>
                      <a:pt x="89" y="0"/>
                    </a:lnTo>
                    <a:lnTo>
                      <a:pt x="96" y="0"/>
                    </a:lnTo>
                    <a:lnTo>
                      <a:pt x="109" y="4"/>
                    </a:lnTo>
                    <a:lnTo>
                      <a:pt x="108" y="5"/>
                    </a:lnTo>
                    <a:lnTo>
                      <a:pt x="109" y="7"/>
                    </a:lnTo>
                    <a:lnTo>
                      <a:pt x="112" y="14"/>
                    </a:lnTo>
                    <a:lnTo>
                      <a:pt x="112" y="19"/>
                    </a:lnTo>
                    <a:lnTo>
                      <a:pt x="119" y="21"/>
                    </a:lnTo>
                    <a:lnTo>
                      <a:pt x="122" y="19"/>
                    </a:lnTo>
                    <a:lnTo>
                      <a:pt x="127" y="18"/>
                    </a:lnTo>
                    <a:lnTo>
                      <a:pt x="132" y="14"/>
                    </a:lnTo>
                    <a:lnTo>
                      <a:pt x="135" y="10"/>
                    </a:lnTo>
                    <a:lnTo>
                      <a:pt x="141" y="10"/>
                    </a:lnTo>
                    <a:lnTo>
                      <a:pt x="144" y="17"/>
                    </a:lnTo>
                    <a:lnTo>
                      <a:pt x="136" y="30"/>
                    </a:lnTo>
                    <a:lnTo>
                      <a:pt x="127" y="32"/>
                    </a:lnTo>
                    <a:lnTo>
                      <a:pt x="122" y="35"/>
                    </a:lnTo>
                    <a:lnTo>
                      <a:pt x="121" y="44"/>
                    </a:lnTo>
                    <a:lnTo>
                      <a:pt x="122" y="53"/>
                    </a:lnTo>
                    <a:lnTo>
                      <a:pt x="126" y="56"/>
                    </a:lnTo>
                    <a:lnTo>
                      <a:pt x="132" y="57"/>
                    </a:lnTo>
                    <a:lnTo>
                      <a:pt x="135" y="61"/>
                    </a:lnTo>
                    <a:lnTo>
                      <a:pt x="141" y="65"/>
                    </a:lnTo>
                    <a:lnTo>
                      <a:pt x="143" y="75"/>
                    </a:lnTo>
                    <a:lnTo>
                      <a:pt x="144" y="78"/>
                    </a:lnTo>
                    <a:lnTo>
                      <a:pt x="138" y="92"/>
                    </a:lnTo>
                    <a:lnTo>
                      <a:pt x="134" y="97"/>
                    </a:lnTo>
                    <a:lnTo>
                      <a:pt x="129" y="102"/>
                    </a:lnTo>
                    <a:lnTo>
                      <a:pt x="121" y="108"/>
                    </a:lnTo>
                    <a:lnTo>
                      <a:pt x="116" y="109"/>
                    </a:lnTo>
                    <a:lnTo>
                      <a:pt x="112" y="113"/>
                    </a:lnTo>
                    <a:lnTo>
                      <a:pt x="106" y="115"/>
                    </a:lnTo>
                    <a:lnTo>
                      <a:pt x="105" y="118"/>
                    </a:lnTo>
                    <a:lnTo>
                      <a:pt x="105" y="124"/>
                    </a:lnTo>
                    <a:lnTo>
                      <a:pt x="96" y="122"/>
                    </a:lnTo>
                    <a:lnTo>
                      <a:pt x="96" y="129"/>
                    </a:lnTo>
                    <a:lnTo>
                      <a:pt x="99" y="136"/>
                    </a:lnTo>
                    <a:lnTo>
                      <a:pt x="106" y="139"/>
                    </a:lnTo>
                    <a:lnTo>
                      <a:pt x="110" y="141"/>
                    </a:lnTo>
                    <a:lnTo>
                      <a:pt x="115" y="141"/>
                    </a:lnTo>
                    <a:lnTo>
                      <a:pt x="118" y="139"/>
                    </a:lnTo>
                    <a:lnTo>
                      <a:pt x="121" y="143"/>
                    </a:lnTo>
                    <a:lnTo>
                      <a:pt x="124" y="146"/>
                    </a:lnTo>
                    <a:lnTo>
                      <a:pt x="129" y="143"/>
                    </a:lnTo>
                    <a:lnTo>
                      <a:pt x="132" y="143"/>
                    </a:lnTo>
                    <a:lnTo>
                      <a:pt x="138" y="154"/>
                    </a:lnTo>
                    <a:lnTo>
                      <a:pt x="138" y="156"/>
                    </a:lnTo>
                    <a:lnTo>
                      <a:pt x="141" y="158"/>
                    </a:lnTo>
                    <a:lnTo>
                      <a:pt x="145" y="158"/>
                    </a:lnTo>
                    <a:lnTo>
                      <a:pt x="148" y="157"/>
                    </a:lnTo>
                    <a:lnTo>
                      <a:pt x="153" y="160"/>
                    </a:lnTo>
                    <a:lnTo>
                      <a:pt x="151" y="161"/>
                    </a:lnTo>
                    <a:lnTo>
                      <a:pt x="153" y="183"/>
                    </a:lnTo>
                    <a:lnTo>
                      <a:pt x="148" y="189"/>
                    </a:lnTo>
                    <a:lnTo>
                      <a:pt x="144" y="192"/>
                    </a:lnTo>
                    <a:lnTo>
                      <a:pt x="124" y="204"/>
                    </a:lnTo>
                    <a:lnTo>
                      <a:pt x="122" y="211"/>
                    </a:lnTo>
                    <a:lnTo>
                      <a:pt x="115" y="215"/>
                    </a:lnTo>
                    <a:lnTo>
                      <a:pt x="105" y="218"/>
                    </a:lnTo>
                    <a:lnTo>
                      <a:pt x="102" y="222"/>
                    </a:lnTo>
                    <a:lnTo>
                      <a:pt x="102" y="228"/>
                    </a:lnTo>
                    <a:lnTo>
                      <a:pt x="105" y="245"/>
                    </a:lnTo>
                    <a:lnTo>
                      <a:pt x="105" y="251"/>
                    </a:lnTo>
                    <a:lnTo>
                      <a:pt x="101" y="257"/>
                    </a:lnTo>
                    <a:lnTo>
                      <a:pt x="95" y="262"/>
                    </a:lnTo>
                    <a:lnTo>
                      <a:pt x="86" y="267"/>
                    </a:lnTo>
                    <a:lnTo>
                      <a:pt x="78" y="269"/>
                    </a:lnTo>
                    <a:lnTo>
                      <a:pt x="76" y="265"/>
                    </a:lnTo>
                    <a:lnTo>
                      <a:pt x="73" y="243"/>
                    </a:lnTo>
                    <a:lnTo>
                      <a:pt x="63" y="200"/>
                    </a:lnTo>
                    <a:lnTo>
                      <a:pt x="61" y="200"/>
                    </a:lnTo>
                    <a:lnTo>
                      <a:pt x="46" y="192"/>
                    </a:lnTo>
                    <a:lnTo>
                      <a:pt x="31" y="186"/>
                    </a:lnTo>
                    <a:lnTo>
                      <a:pt x="31" y="174"/>
                    </a:lnTo>
                    <a:lnTo>
                      <a:pt x="26" y="163"/>
                    </a:lnTo>
                    <a:lnTo>
                      <a:pt x="23" y="160"/>
                    </a:lnTo>
                    <a:lnTo>
                      <a:pt x="9" y="155"/>
                    </a:lnTo>
                    <a:lnTo>
                      <a:pt x="6" y="139"/>
                    </a:lnTo>
                    <a:lnTo>
                      <a:pt x="1" y="132"/>
                    </a:lnTo>
                    <a:lnTo>
                      <a:pt x="0" y="129"/>
                    </a:lnTo>
                    <a:lnTo>
                      <a:pt x="1" y="129"/>
                    </a:lnTo>
                    <a:lnTo>
                      <a:pt x="9" y="124"/>
                    </a:lnTo>
                    <a:lnTo>
                      <a:pt x="9" y="123"/>
                    </a:lnTo>
                    <a:lnTo>
                      <a:pt x="13" y="119"/>
                    </a:lnTo>
                    <a:lnTo>
                      <a:pt x="20" y="118"/>
                    </a:lnTo>
                    <a:lnTo>
                      <a:pt x="20" y="112"/>
                    </a:lnTo>
                    <a:lnTo>
                      <a:pt x="34" y="103"/>
                    </a:lnTo>
                    <a:lnTo>
                      <a:pt x="37" y="97"/>
                    </a:lnTo>
                    <a:lnTo>
                      <a:pt x="42" y="82"/>
                    </a:lnTo>
                    <a:lnTo>
                      <a:pt x="42" y="78"/>
                    </a:lnTo>
                    <a:lnTo>
                      <a:pt x="39" y="75"/>
                    </a:lnTo>
                    <a:lnTo>
                      <a:pt x="39" y="61"/>
                    </a:lnTo>
                    <a:lnTo>
                      <a:pt x="36" y="56"/>
                    </a:lnTo>
                    <a:lnTo>
                      <a:pt x="37" y="51"/>
                    </a:lnTo>
                    <a:lnTo>
                      <a:pt x="41" y="34"/>
                    </a:lnTo>
                    <a:lnTo>
                      <a:pt x="40" y="31"/>
                    </a:lnTo>
                    <a:lnTo>
                      <a:pt x="36" y="30"/>
                    </a:lnTo>
                    <a:lnTo>
                      <a:pt x="37" y="27"/>
                    </a:lnTo>
                    <a:lnTo>
                      <a:pt x="43" y="22"/>
                    </a:lnTo>
                    <a:lnTo>
                      <a:pt x="47" y="19"/>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80" name="Freeform 66"/>
              <p:cNvSpPr>
                <a:spLocks/>
              </p:cNvSpPr>
              <p:nvPr/>
            </p:nvSpPr>
            <p:spPr bwMode="auto">
              <a:xfrm>
                <a:off x="1626" y="2005"/>
                <a:ext cx="317" cy="451"/>
              </a:xfrm>
              <a:custGeom>
                <a:avLst/>
                <a:gdLst>
                  <a:gd name="T0" fmla="*/ 4337 w 296"/>
                  <a:gd name="T1" fmla="*/ 11081 h 429"/>
                  <a:gd name="T2" fmla="*/ 4975 w 296"/>
                  <a:gd name="T3" fmla="*/ 10026 h 429"/>
                  <a:gd name="T4" fmla="*/ 4337 w 296"/>
                  <a:gd name="T5" fmla="*/ 9671 h 429"/>
                  <a:gd name="T6" fmla="*/ 4034 w 296"/>
                  <a:gd name="T7" fmla="*/ 9463 h 429"/>
                  <a:gd name="T8" fmla="*/ 4337 w 296"/>
                  <a:gd name="T9" fmla="*/ 9184 h 429"/>
                  <a:gd name="T10" fmla="*/ 3531 w 296"/>
                  <a:gd name="T11" fmla="*/ 9184 h 429"/>
                  <a:gd name="T12" fmla="*/ 1552 w 296"/>
                  <a:gd name="T13" fmla="*/ 8951 h 429"/>
                  <a:gd name="T14" fmla="*/ 5 w 296"/>
                  <a:gd name="T15" fmla="*/ 8596 h 429"/>
                  <a:gd name="T16" fmla="*/ 0 w 296"/>
                  <a:gd name="T17" fmla="*/ 8420 h 429"/>
                  <a:gd name="T18" fmla="*/ 896 w 296"/>
                  <a:gd name="T19" fmla="*/ 7922 h 429"/>
                  <a:gd name="T20" fmla="*/ 1263 w 296"/>
                  <a:gd name="T21" fmla="*/ 7179 h 429"/>
                  <a:gd name="T22" fmla="*/ 2875 w 296"/>
                  <a:gd name="T23" fmla="*/ 6557 h 429"/>
                  <a:gd name="T24" fmla="*/ 4034 w 296"/>
                  <a:gd name="T25" fmla="*/ 6167 h 429"/>
                  <a:gd name="T26" fmla="*/ 7506 w 296"/>
                  <a:gd name="T27" fmla="*/ 6085 h 429"/>
                  <a:gd name="T28" fmla="*/ 8362 w 296"/>
                  <a:gd name="T29" fmla="*/ 6396 h 429"/>
                  <a:gd name="T30" fmla="*/ 10268 w 296"/>
                  <a:gd name="T31" fmla="*/ 6612 h 429"/>
                  <a:gd name="T32" fmla="*/ 10999 w 296"/>
                  <a:gd name="T33" fmla="*/ 6237 h 429"/>
                  <a:gd name="T34" fmla="*/ 12931 w 296"/>
                  <a:gd name="T35" fmla="*/ 5107 h 429"/>
                  <a:gd name="T36" fmla="*/ 14464 w 296"/>
                  <a:gd name="T37" fmla="*/ 4253 h 429"/>
                  <a:gd name="T38" fmla="*/ 15497 w 296"/>
                  <a:gd name="T39" fmla="*/ 3934 h 429"/>
                  <a:gd name="T40" fmla="*/ 16331 w 296"/>
                  <a:gd name="T41" fmla="*/ 2991 h 429"/>
                  <a:gd name="T42" fmla="*/ 17766 w 296"/>
                  <a:gd name="T43" fmla="*/ 2004 h 429"/>
                  <a:gd name="T44" fmla="*/ 18578 w 296"/>
                  <a:gd name="T45" fmla="*/ 1564 h 429"/>
                  <a:gd name="T46" fmla="*/ 20091 w 296"/>
                  <a:gd name="T47" fmla="*/ 1413 h 429"/>
                  <a:gd name="T48" fmla="*/ 21308 w 296"/>
                  <a:gd name="T49" fmla="*/ 497 h 429"/>
                  <a:gd name="T50" fmla="*/ 20867 w 296"/>
                  <a:gd name="T51" fmla="*/ 368 h 429"/>
                  <a:gd name="T52" fmla="*/ 20381 w 296"/>
                  <a:gd name="T53" fmla="*/ 302 h 429"/>
                  <a:gd name="T54" fmla="*/ 21997 w 296"/>
                  <a:gd name="T55" fmla="*/ 0 h 429"/>
                  <a:gd name="T56" fmla="*/ 22453 w 296"/>
                  <a:gd name="T57" fmla="*/ 497 h 429"/>
                  <a:gd name="T58" fmla="*/ 23031 w 296"/>
                  <a:gd name="T59" fmla="*/ 1222 h 429"/>
                  <a:gd name="T60" fmla="*/ 22820 w 296"/>
                  <a:gd name="T61" fmla="*/ 1817 h 429"/>
                  <a:gd name="T62" fmla="*/ 24439 w 296"/>
                  <a:gd name="T63" fmla="*/ 2711 h 429"/>
                  <a:gd name="T64" fmla="*/ 24259 w 296"/>
                  <a:gd name="T65" fmla="*/ 2991 h 429"/>
                  <a:gd name="T66" fmla="*/ 20892 w 296"/>
                  <a:gd name="T67" fmla="*/ 2862 h 429"/>
                  <a:gd name="T68" fmla="*/ 20091 w 296"/>
                  <a:gd name="T69" fmla="*/ 3063 h 429"/>
                  <a:gd name="T70" fmla="*/ 20892 w 296"/>
                  <a:gd name="T71" fmla="*/ 3839 h 429"/>
                  <a:gd name="T72" fmla="*/ 22820 w 296"/>
                  <a:gd name="T73" fmla="*/ 4061 h 429"/>
                  <a:gd name="T74" fmla="*/ 24068 w 296"/>
                  <a:gd name="T75" fmla="*/ 4805 h 429"/>
                  <a:gd name="T76" fmla="*/ 24639 w 296"/>
                  <a:gd name="T77" fmla="*/ 5506 h 429"/>
                  <a:gd name="T78" fmla="*/ 23376 w 296"/>
                  <a:gd name="T79" fmla="*/ 6362 h 429"/>
                  <a:gd name="T80" fmla="*/ 21589 w 296"/>
                  <a:gd name="T81" fmla="*/ 7072 h 429"/>
                  <a:gd name="T82" fmla="*/ 21822 w 296"/>
                  <a:gd name="T83" fmla="*/ 7934 h 429"/>
                  <a:gd name="T84" fmla="*/ 23031 w 296"/>
                  <a:gd name="T85" fmla="*/ 8852 h 429"/>
                  <a:gd name="T86" fmla="*/ 26814 w 296"/>
                  <a:gd name="T87" fmla="*/ 10400 h 429"/>
                  <a:gd name="T88" fmla="*/ 27340 w 296"/>
                  <a:gd name="T89" fmla="*/ 11410 h 429"/>
                  <a:gd name="T90" fmla="*/ 25229 w 296"/>
                  <a:gd name="T91" fmla="*/ 11259 h 429"/>
                  <a:gd name="T92" fmla="*/ 22820 w 296"/>
                  <a:gd name="T93" fmla="*/ 11093 h 429"/>
                  <a:gd name="T94" fmla="*/ 16596 w 296"/>
                  <a:gd name="T95" fmla="*/ 11029 h 429"/>
                  <a:gd name="T96" fmla="*/ 12011 w 296"/>
                  <a:gd name="T97" fmla="*/ 10994 h 429"/>
                  <a:gd name="T98" fmla="*/ 7506 w 296"/>
                  <a:gd name="T99" fmla="*/ 11029 h 4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96"/>
                  <a:gd name="T151" fmla="*/ 0 h 429"/>
                  <a:gd name="T152" fmla="*/ 296 w 296"/>
                  <a:gd name="T153" fmla="*/ 429 h 42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96" h="429">
                    <a:moveTo>
                      <a:pt x="82" y="406"/>
                    </a:moveTo>
                    <a:lnTo>
                      <a:pt x="52" y="406"/>
                    </a:lnTo>
                    <a:lnTo>
                      <a:pt x="48" y="408"/>
                    </a:lnTo>
                    <a:lnTo>
                      <a:pt x="52" y="385"/>
                    </a:lnTo>
                    <a:lnTo>
                      <a:pt x="55" y="373"/>
                    </a:lnTo>
                    <a:lnTo>
                      <a:pt x="55" y="369"/>
                    </a:lnTo>
                    <a:lnTo>
                      <a:pt x="56" y="367"/>
                    </a:lnTo>
                    <a:lnTo>
                      <a:pt x="53" y="362"/>
                    </a:lnTo>
                    <a:lnTo>
                      <a:pt x="48" y="357"/>
                    </a:lnTo>
                    <a:lnTo>
                      <a:pt x="48" y="354"/>
                    </a:lnTo>
                    <a:lnTo>
                      <a:pt x="44" y="350"/>
                    </a:lnTo>
                    <a:lnTo>
                      <a:pt x="44" y="348"/>
                    </a:lnTo>
                    <a:lnTo>
                      <a:pt x="46" y="347"/>
                    </a:lnTo>
                    <a:lnTo>
                      <a:pt x="48" y="343"/>
                    </a:lnTo>
                    <a:lnTo>
                      <a:pt x="48" y="338"/>
                    </a:lnTo>
                    <a:lnTo>
                      <a:pt x="44" y="336"/>
                    </a:lnTo>
                    <a:lnTo>
                      <a:pt x="41" y="336"/>
                    </a:lnTo>
                    <a:lnTo>
                      <a:pt x="39" y="338"/>
                    </a:lnTo>
                    <a:lnTo>
                      <a:pt x="36" y="340"/>
                    </a:lnTo>
                    <a:lnTo>
                      <a:pt x="22" y="334"/>
                    </a:lnTo>
                    <a:lnTo>
                      <a:pt x="18" y="328"/>
                    </a:lnTo>
                    <a:lnTo>
                      <a:pt x="14" y="317"/>
                    </a:lnTo>
                    <a:lnTo>
                      <a:pt x="8" y="317"/>
                    </a:lnTo>
                    <a:lnTo>
                      <a:pt x="5" y="317"/>
                    </a:lnTo>
                    <a:lnTo>
                      <a:pt x="1" y="316"/>
                    </a:lnTo>
                    <a:lnTo>
                      <a:pt x="1" y="311"/>
                    </a:lnTo>
                    <a:lnTo>
                      <a:pt x="0" y="310"/>
                    </a:lnTo>
                    <a:lnTo>
                      <a:pt x="0" y="304"/>
                    </a:lnTo>
                    <a:lnTo>
                      <a:pt x="5" y="300"/>
                    </a:lnTo>
                    <a:lnTo>
                      <a:pt x="10" y="293"/>
                    </a:lnTo>
                    <a:lnTo>
                      <a:pt x="11" y="287"/>
                    </a:lnTo>
                    <a:lnTo>
                      <a:pt x="13" y="277"/>
                    </a:lnTo>
                    <a:lnTo>
                      <a:pt x="15" y="266"/>
                    </a:lnTo>
                    <a:lnTo>
                      <a:pt x="22" y="255"/>
                    </a:lnTo>
                    <a:lnTo>
                      <a:pt x="27" y="247"/>
                    </a:lnTo>
                    <a:lnTo>
                      <a:pt x="32" y="242"/>
                    </a:lnTo>
                    <a:lnTo>
                      <a:pt x="41" y="239"/>
                    </a:lnTo>
                    <a:lnTo>
                      <a:pt x="43" y="227"/>
                    </a:lnTo>
                    <a:lnTo>
                      <a:pt x="44" y="227"/>
                    </a:lnTo>
                    <a:lnTo>
                      <a:pt x="55" y="227"/>
                    </a:lnTo>
                    <a:lnTo>
                      <a:pt x="70" y="224"/>
                    </a:lnTo>
                    <a:lnTo>
                      <a:pt x="82" y="225"/>
                    </a:lnTo>
                    <a:lnTo>
                      <a:pt x="89" y="232"/>
                    </a:lnTo>
                    <a:lnTo>
                      <a:pt x="91" y="234"/>
                    </a:lnTo>
                    <a:lnTo>
                      <a:pt x="91" y="236"/>
                    </a:lnTo>
                    <a:lnTo>
                      <a:pt x="94" y="237"/>
                    </a:lnTo>
                    <a:lnTo>
                      <a:pt x="101" y="242"/>
                    </a:lnTo>
                    <a:lnTo>
                      <a:pt x="110" y="243"/>
                    </a:lnTo>
                    <a:lnTo>
                      <a:pt x="116" y="240"/>
                    </a:lnTo>
                    <a:lnTo>
                      <a:pt x="118" y="236"/>
                    </a:lnTo>
                    <a:lnTo>
                      <a:pt x="119" y="230"/>
                    </a:lnTo>
                    <a:lnTo>
                      <a:pt x="132" y="208"/>
                    </a:lnTo>
                    <a:lnTo>
                      <a:pt x="139" y="192"/>
                    </a:lnTo>
                    <a:lnTo>
                      <a:pt x="141" y="188"/>
                    </a:lnTo>
                    <a:lnTo>
                      <a:pt x="144" y="177"/>
                    </a:lnTo>
                    <a:lnTo>
                      <a:pt x="148" y="166"/>
                    </a:lnTo>
                    <a:lnTo>
                      <a:pt x="155" y="157"/>
                    </a:lnTo>
                    <a:lnTo>
                      <a:pt x="166" y="153"/>
                    </a:lnTo>
                    <a:lnTo>
                      <a:pt x="168" y="150"/>
                    </a:lnTo>
                    <a:lnTo>
                      <a:pt x="168" y="145"/>
                    </a:lnTo>
                    <a:lnTo>
                      <a:pt x="170" y="136"/>
                    </a:lnTo>
                    <a:lnTo>
                      <a:pt x="176" y="118"/>
                    </a:lnTo>
                    <a:lnTo>
                      <a:pt x="177" y="109"/>
                    </a:lnTo>
                    <a:lnTo>
                      <a:pt x="179" y="102"/>
                    </a:lnTo>
                    <a:lnTo>
                      <a:pt x="186" y="90"/>
                    </a:lnTo>
                    <a:lnTo>
                      <a:pt x="191" y="73"/>
                    </a:lnTo>
                    <a:lnTo>
                      <a:pt x="193" y="68"/>
                    </a:lnTo>
                    <a:lnTo>
                      <a:pt x="196" y="64"/>
                    </a:lnTo>
                    <a:lnTo>
                      <a:pt x="202" y="58"/>
                    </a:lnTo>
                    <a:lnTo>
                      <a:pt x="206" y="56"/>
                    </a:lnTo>
                    <a:lnTo>
                      <a:pt x="217" y="52"/>
                    </a:lnTo>
                    <a:lnTo>
                      <a:pt x="218" y="51"/>
                    </a:lnTo>
                    <a:lnTo>
                      <a:pt x="232" y="41"/>
                    </a:lnTo>
                    <a:lnTo>
                      <a:pt x="231" y="32"/>
                    </a:lnTo>
                    <a:lnTo>
                      <a:pt x="231" y="20"/>
                    </a:lnTo>
                    <a:lnTo>
                      <a:pt x="230" y="16"/>
                    </a:lnTo>
                    <a:lnTo>
                      <a:pt x="228" y="15"/>
                    </a:lnTo>
                    <a:lnTo>
                      <a:pt x="226" y="14"/>
                    </a:lnTo>
                    <a:lnTo>
                      <a:pt x="220" y="11"/>
                    </a:lnTo>
                    <a:lnTo>
                      <a:pt x="218" y="10"/>
                    </a:lnTo>
                    <a:lnTo>
                      <a:pt x="221" y="10"/>
                    </a:lnTo>
                    <a:lnTo>
                      <a:pt x="227" y="0"/>
                    </a:lnTo>
                    <a:lnTo>
                      <a:pt x="233" y="0"/>
                    </a:lnTo>
                    <a:lnTo>
                      <a:pt x="239" y="0"/>
                    </a:lnTo>
                    <a:lnTo>
                      <a:pt x="240" y="0"/>
                    </a:lnTo>
                    <a:lnTo>
                      <a:pt x="240" y="1"/>
                    </a:lnTo>
                    <a:lnTo>
                      <a:pt x="244" y="20"/>
                    </a:lnTo>
                    <a:lnTo>
                      <a:pt x="247" y="26"/>
                    </a:lnTo>
                    <a:lnTo>
                      <a:pt x="251" y="32"/>
                    </a:lnTo>
                    <a:lnTo>
                      <a:pt x="249" y="46"/>
                    </a:lnTo>
                    <a:lnTo>
                      <a:pt x="247" y="54"/>
                    </a:lnTo>
                    <a:lnTo>
                      <a:pt x="247" y="61"/>
                    </a:lnTo>
                    <a:lnTo>
                      <a:pt x="247" y="67"/>
                    </a:lnTo>
                    <a:lnTo>
                      <a:pt x="252" y="81"/>
                    </a:lnTo>
                    <a:lnTo>
                      <a:pt x="264" y="95"/>
                    </a:lnTo>
                    <a:lnTo>
                      <a:pt x="265" y="100"/>
                    </a:lnTo>
                    <a:lnTo>
                      <a:pt x="266" y="106"/>
                    </a:lnTo>
                    <a:lnTo>
                      <a:pt x="265" y="109"/>
                    </a:lnTo>
                    <a:lnTo>
                      <a:pt x="263" y="109"/>
                    </a:lnTo>
                    <a:lnTo>
                      <a:pt x="247" y="106"/>
                    </a:lnTo>
                    <a:lnTo>
                      <a:pt x="237" y="105"/>
                    </a:lnTo>
                    <a:lnTo>
                      <a:pt x="227" y="106"/>
                    </a:lnTo>
                    <a:lnTo>
                      <a:pt x="224" y="107"/>
                    </a:lnTo>
                    <a:lnTo>
                      <a:pt x="221" y="109"/>
                    </a:lnTo>
                    <a:lnTo>
                      <a:pt x="218" y="113"/>
                    </a:lnTo>
                    <a:lnTo>
                      <a:pt x="218" y="123"/>
                    </a:lnTo>
                    <a:lnTo>
                      <a:pt x="220" y="131"/>
                    </a:lnTo>
                    <a:lnTo>
                      <a:pt x="227" y="141"/>
                    </a:lnTo>
                    <a:lnTo>
                      <a:pt x="232" y="145"/>
                    </a:lnTo>
                    <a:lnTo>
                      <a:pt x="239" y="147"/>
                    </a:lnTo>
                    <a:lnTo>
                      <a:pt x="247" y="150"/>
                    </a:lnTo>
                    <a:lnTo>
                      <a:pt x="249" y="151"/>
                    </a:lnTo>
                    <a:lnTo>
                      <a:pt x="254" y="157"/>
                    </a:lnTo>
                    <a:lnTo>
                      <a:pt x="262" y="177"/>
                    </a:lnTo>
                    <a:lnTo>
                      <a:pt x="264" y="189"/>
                    </a:lnTo>
                    <a:lnTo>
                      <a:pt x="265" y="202"/>
                    </a:lnTo>
                    <a:lnTo>
                      <a:pt x="266" y="204"/>
                    </a:lnTo>
                    <a:lnTo>
                      <a:pt x="268" y="205"/>
                    </a:lnTo>
                    <a:lnTo>
                      <a:pt x="261" y="224"/>
                    </a:lnTo>
                    <a:lnTo>
                      <a:pt x="254" y="234"/>
                    </a:lnTo>
                    <a:lnTo>
                      <a:pt x="247" y="245"/>
                    </a:lnTo>
                    <a:lnTo>
                      <a:pt x="241" y="255"/>
                    </a:lnTo>
                    <a:lnTo>
                      <a:pt x="234" y="263"/>
                    </a:lnTo>
                    <a:lnTo>
                      <a:pt x="233" y="273"/>
                    </a:lnTo>
                    <a:lnTo>
                      <a:pt x="236" y="283"/>
                    </a:lnTo>
                    <a:lnTo>
                      <a:pt x="236" y="294"/>
                    </a:lnTo>
                    <a:lnTo>
                      <a:pt x="236" y="306"/>
                    </a:lnTo>
                    <a:lnTo>
                      <a:pt x="243" y="317"/>
                    </a:lnTo>
                    <a:lnTo>
                      <a:pt x="249" y="326"/>
                    </a:lnTo>
                    <a:lnTo>
                      <a:pt x="268" y="359"/>
                    </a:lnTo>
                    <a:lnTo>
                      <a:pt x="274" y="369"/>
                    </a:lnTo>
                    <a:lnTo>
                      <a:pt x="292" y="382"/>
                    </a:lnTo>
                    <a:lnTo>
                      <a:pt x="296" y="380"/>
                    </a:lnTo>
                    <a:lnTo>
                      <a:pt x="295" y="390"/>
                    </a:lnTo>
                    <a:lnTo>
                      <a:pt x="296" y="420"/>
                    </a:lnTo>
                    <a:lnTo>
                      <a:pt x="294" y="427"/>
                    </a:lnTo>
                    <a:lnTo>
                      <a:pt x="292" y="429"/>
                    </a:lnTo>
                    <a:lnTo>
                      <a:pt x="274" y="416"/>
                    </a:lnTo>
                    <a:lnTo>
                      <a:pt x="268" y="416"/>
                    </a:lnTo>
                    <a:lnTo>
                      <a:pt x="258" y="413"/>
                    </a:lnTo>
                    <a:lnTo>
                      <a:pt x="247" y="411"/>
                    </a:lnTo>
                    <a:lnTo>
                      <a:pt x="240" y="406"/>
                    </a:lnTo>
                    <a:lnTo>
                      <a:pt x="186" y="406"/>
                    </a:lnTo>
                    <a:lnTo>
                      <a:pt x="180" y="406"/>
                    </a:lnTo>
                    <a:lnTo>
                      <a:pt x="155" y="405"/>
                    </a:lnTo>
                    <a:lnTo>
                      <a:pt x="144" y="403"/>
                    </a:lnTo>
                    <a:lnTo>
                      <a:pt x="130" y="405"/>
                    </a:lnTo>
                    <a:lnTo>
                      <a:pt x="119" y="403"/>
                    </a:lnTo>
                    <a:lnTo>
                      <a:pt x="109" y="406"/>
                    </a:lnTo>
                    <a:lnTo>
                      <a:pt x="82" y="406"/>
                    </a:lnTo>
                    <a:close/>
                  </a:path>
                </a:pathLst>
              </a:custGeom>
              <a:solidFill>
                <a:srgbClr val="1737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1" name="Freeform 67"/>
              <p:cNvSpPr>
                <a:spLocks/>
              </p:cNvSpPr>
              <p:nvPr/>
            </p:nvSpPr>
            <p:spPr bwMode="auto">
              <a:xfrm>
                <a:off x="1626" y="2005"/>
                <a:ext cx="317" cy="451"/>
              </a:xfrm>
              <a:custGeom>
                <a:avLst/>
                <a:gdLst>
                  <a:gd name="T0" fmla="*/ 4337 w 296"/>
                  <a:gd name="T1" fmla="*/ 11081 h 429"/>
                  <a:gd name="T2" fmla="*/ 4975 w 296"/>
                  <a:gd name="T3" fmla="*/ 10026 h 429"/>
                  <a:gd name="T4" fmla="*/ 4337 w 296"/>
                  <a:gd name="T5" fmla="*/ 9671 h 429"/>
                  <a:gd name="T6" fmla="*/ 4034 w 296"/>
                  <a:gd name="T7" fmla="*/ 9463 h 429"/>
                  <a:gd name="T8" fmla="*/ 4337 w 296"/>
                  <a:gd name="T9" fmla="*/ 9184 h 429"/>
                  <a:gd name="T10" fmla="*/ 3531 w 296"/>
                  <a:gd name="T11" fmla="*/ 9184 h 429"/>
                  <a:gd name="T12" fmla="*/ 1552 w 296"/>
                  <a:gd name="T13" fmla="*/ 8951 h 429"/>
                  <a:gd name="T14" fmla="*/ 5 w 296"/>
                  <a:gd name="T15" fmla="*/ 8596 h 429"/>
                  <a:gd name="T16" fmla="*/ 0 w 296"/>
                  <a:gd name="T17" fmla="*/ 8420 h 429"/>
                  <a:gd name="T18" fmla="*/ 896 w 296"/>
                  <a:gd name="T19" fmla="*/ 7922 h 429"/>
                  <a:gd name="T20" fmla="*/ 1263 w 296"/>
                  <a:gd name="T21" fmla="*/ 7179 h 429"/>
                  <a:gd name="T22" fmla="*/ 2875 w 296"/>
                  <a:gd name="T23" fmla="*/ 6557 h 429"/>
                  <a:gd name="T24" fmla="*/ 4034 w 296"/>
                  <a:gd name="T25" fmla="*/ 6167 h 429"/>
                  <a:gd name="T26" fmla="*/ 7506 w 296"/>
                  <a:gd name="T27" fmla="*/ 6085 h 429"/>
                  <a:gd name="T28" fmla="*/ 8362 w 296"/>
                  <a:gd name="T29" fmla="*/ 6396 h 429"/>
                  <a:gd name="T30" fmla="*/ 10268 w 296"/>
                  <a:gd name="T31" fmla="*/ 6612 h 429"/>
                  <a:gd name="T32" fmla="*/ 10999 w 296"/>
                  <a:gd name="T33" fmla="*/ 6237 h 429"/>
                  <a:gd name="T34" fmla="*/ 12931 w 296"/>
                  <a:gd name="T35" fmla="*/ 5107 h 429"/>
                  <a:gd name="T36" fmla="*/ 14464 w 296"/>
                  <a:gd name="T37" fmla="*/ 4253 h 429"/>
                  <a:gd name="T38" fmla="*/ 15497 w 296"/>
                  <a:gd name="T39" fmla="*/ 3934 h 429"/>
                  <a:gd name="T40" fmla="*/ 16331 w 296"/>
                  <a:gd name="T41" fmla="*/ 2991 h 429"/>
                  <a:gd name="T42" fmla="*/ 17766 w 296"/>
                  <a:gd name="T43" fmla="*/ 2004 h 429"/>
                  <a:gd name="T44" fmla="*/ 18578 w 296"/>
                  <a:gd name="T45" fmla="*/ 1564 h 429"/>
                  <a:gd name="T46" fmla="*/ 20091 w 296"/>
                  <a:gd name="T47" fmla="*/ 1413 h 429"/>
                  <a:gd name="T48" fmla="*/ 21308 w 296"/>
                  <a:gd name="T49" fmla="*/ 497 h 429"/>
                  <a:gd name="T50" fmla="*/ 20867 w 296"/>
                  <a:gd name="T51" fmla="*/ 368 h 429"/>
                  <a:gd name="T52" fmla="*/ 20381 w 296"/>
                  <a:gd name="T53" fmla="*/ 302 h 429"/>
                  <a:gd name="T54" fmla="*/ 21997 w 296"/>
                  <a:gd name="T55" fmla="*/ 0 h 429"/>
                  <a:gd name="T56" fmla="*/ 22453 w 296"/>
                  <a:gd name="T57" fmla="*/ 497 h 429"/>
                  <a:gd name="T58" fmla="*/ 23031 w 296"/>
                  <a:gd name="T59" fmla="*/ 1222 h 429"/>
                  <a:gd name="T60" fmla="*/ 22820 w 296"/>
                  <a:gd name="T61" fmla="*/ 1817 h 429"/>
                  <a:gd name="T62" fmla="*/ 24439 w 296"/>
                  <a:gd name="T63" fmla="*/ 2711 h 429"/>
                  <a:gd name="T64" fmla="*/ 24259 w 296"/>
                  <a:gd name="T65" fmla="*/ 2991 h 429"/>
                  <a:gd name="T66" fmla="*/ 20892 w 296"/>
                  <a:gd name="T67" fmla="*/ 2862 h 429"/>
                  <a:gd name="T68" fmla="*/ 20091 w 296"/>
                  <a:gd name="T69" fmla="*/ 3063 h 429"/>
                  <a:gd name="T70" fmla="*/ 20892 w 296"/>
                  <a:gd name="T71" fmla="*/ 3839 h 429"/>
                  <a:gd name="T72" fmla="*/ 22820 w 296"/>
                  <a:gd name="T73" fmla="*/ 4061 h 429"/>
                  <a:gd name="T74" fmla="*/ 24068 w 296"/>
                  <a:gd name="T75" fmla="*/ 4805 h 429"/>
                  <a:gd name="T76" fmla="*/ 24639 w 296"/>
                  <a:gd name="T77" fmla="*/ 5506 h 429"/>
                  <a:gd name="T78" fmla="*/ 23376 w 296"/>
                  <a:gd name="T79" fmla="*/ 6362 h 429"/>
                  <a:gd name="T80" fmla="*/ 21589 w 296"/>
                  <a:gd name="T81" fmla="*/ 7072 h 429"/>
                  <a:gd name="T82" fmla="*/ 21822 w 296"/>
                  <a:gd name="T83" fmla="*/ 7934 h 429"/>
                  <a:gd name="T84" fmla="*/ 23031 w 296"/>
                  <a:gd name="T85" fmla="*/ 8852 h 429"/>
                  <a:gd name="T86" fmla="*/ 26814 w 296"/>
                  <a:gd name="T87" fmla="*/ 10400 h 429"/>
                  <a:gd name="T88" fmla="*/ 27340 w 296"/>
                  <a:gd name="T89" fmla="*/ 11410 h 429"/>
                  <a:gd name="T90" fmla="*/ 25229 w 296"/>
                  <a:gd name="T91" fmla="*/ 11259 h 429"/>
                  <a:gd name="T92" fmla="*/ 22820 w 296"/>
                  <a:gd name="T93" fmla="*/ 11093 h 429"/>
                  <a:gd name="T94" fmla="*/ 16596 w 296"/>
                  <a:gd name="T95" fmla="*/ 11029 h 429"/>
                  <a:gd name="T96" fmla="*/ 12011 w 296"/>
                  <a:gd name="T97" fmla="*/ 10994 h 429"/>
                  <a:gd name="T98" fmla="*/ 7506 w 296"/>
                  <a:gd name="T99" fmla="*/ 11029 h 4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96"/>
                  <a:gd name="T151" fmla="*/ 0 h 429"/>
                  <a:gd name="T152" fmla="*/ 296 w 296"/>
                  <a:gd name="T153" fmla="*/ 429 h 42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96" h="429">
                    <a:moveTo>
                      <a:pt x="82" y="406"/>
                    </a:moveTo>
                    <a:lnTo>
                      <a:pt x="52" y="406"/>
                    </a:lnTo>
                    <a:lnTo>
                      <a:pt x="48" y="408"/>
                    </a:lnTo>
                    <a:lnTo>
                      <a:pt x="52" y="385"/>
                    </a:lnTo>
                    <a:lnTo>
                      <a:pt x="55" y="373"/>
                    </a:lnTo>
                    <a:lnTo>
                      <a:pt x="55" y="369"/>
                    </a:lnTo>
                    <a:lnTo>
                      <a:pt x="56" y="367"/>
                    </a:lnTo>
                    <a:lnTo>
                      <a:pt x="53" y="362"/>
                    </a:lnTo>
                    <a:lnTo>
                      <a:pt x="48" y="357"/>
                    </a:lnTo>
                    <a:lnTo>
                      <a:pt x="48" y="354"/>
                    </a:lnTo>
                    <a:lnTo>
                      <a:pt x="44" y="350"/>
                    </a:lnTo>
                    <a:lnTo>
                      <a:pt x="44" y="348"/>
                    </a:lnTo>
                    <a:lnTo>
                      <a:pt x="46" y="347"/>
                    </a:lnTo>
                    <a:lnTo>
                      <a:pt x="48" y="343"/>
                    </a:lnTo>
                    <a:lnTo>
                      <a:pt x="48" y="338"/>
                    </a:lnTo>
                    <a:lnTo>
                      <a:pt x="44" y="336"/>
                    </a:lnTo>
                    <a:lnTo>
                      <a:pt x="41" y="336"/>
                    </a:lnTo>
                    <a:lnTo>
                      <a:pt x="39" y="338"/>
                    </a:lnTo>
                    <a:lnTo>
                      <a:pt x="36" y="340"/>
                    </a:lnTo>
                    <a:lnTo>
                      <a:pt x="22" y="334"/>
                    </a:lnTo>
                    <a:lnTo>
                      <a:pt x="18" y="328"/>
                    </a:lnTo>
                    <a:lnTo>
                      <a:pt x="14" y="317"/>
                    </a:lnTo>
                    <a:lnTo>
                      <a:pt x="8" y="317"/>
                    </a:lnTo>
                    <a:lnTo>
                      <a:pt x="5" y="317"/>
                    </a:lnTo>
                    <a:lnTo>
                      <a:pt x="1" y="316"/>
                    </a:lnTo>
                    <a:lnTo>
                      <a:pt x="1" y="311"/>
                    </a:lnTo>
                    <a:lnTo>
                      <a:pt x="0" y="310"/>
                    </a:lnTo>
                    <a:lnTo>
                      <a:pt x="0" y="304"/>
                    </a:lnTo>
                    <a:lnTo>
                      <a:pt x="5" y="300"/>
                    </a:lnTo>
                    <a:lnTo>
                      <a:pt x="10" y="293"/>
                    </a:lnTo>
                    <a:lnTo>
                      <a:pt x="11" y="287"/>
                    </a:lnTo>
                    <a:lnTo>
                      <a:pt x="13" y="277"/>
                    </a:lnTo>
                    <a:lnTo>
                      <a:pt x="15" y="266"/>
                    </a:lnTo>
                    <a:lnTo>
                      <a:pt x="22" y="255"/>
                    </a:lnTo>
                    <a:lnTo>
                      <a:pt x="27" y="247"/>
                    </a:lnTo>
                    <a:lnTo>
                      <a:pt x="32" y="242"/>
                    </a:lnTo>
                    <a:lnTo>
                      <a:pt x="41" y="239"/>
                    </a:lnTo>
                    <a:lnTo>
                      <a:pt x="43" y="227"/>
                    </a:lnTo>
                    <a:lnTo>
                      <a:pt x="44" y="227"/>
                    </a:lnTo>
                    <a:lnTo>
                      <a:pt x="55" y="227"/>
                    </a:lnTo>
                    <a:lnTo>
                      <a:pt x="70" y="224"/>
                    </a:lnTo>
                    <a:lnTo>
                      <a:pt x="82" y="225"/>
                    </a:lnTo>
                    <a:lnTo>
                      <a:pt x="89" y="232"/>
                    </a:lnTo>
                    <a:lnTo>
                      <a:pt x="91" y="234"/>
                    </a:lnTo>
                    <a:lnTo>
                      <a:pt x="91" y="236"/>
                    </a:lnTo>
                    <a:lnTo>
                      <a:pt x="94" y="237"/>
                    </a:lnTo>
                    <a:lnTo>
                      <a:pt x="101" y="242"/>
                    </a:lnTo>
                    <a:lnTo>
                      <a:pt x="110" y="243"/>
                    </a:lnTo>
                    <a:lnTo>
                      <a:pt x="116" y="240"/>
                    </a:lnTo>
                    <a:lnTo>
                      <a:pt x="118" y="236"/>
                    </a:lnTo>
                    <a:lnTo>
                      <a:pt x="119" y="230"/>
                    </a:lnTo>
                    <a:lnTo>
                      <a:pt x="132" y="208"/>
                    </a:lnTo>
                    <a:lnTo>
                      <a:pt x="139" y="192"/>
                    </a:lnTo>
                    <a:lnTo>
                      <a:pt x="141" y="188"/>
                    </a:lnTo>
                    <a:lnTo>
                      <a:pt x="144" y="177"/>
                    </a:lnTo>
                    <a:lnTo>
                      <a:pt x="148" y="166"/>
                    </a:lnTo>
                    <a:lnTo>
                      <a:pt x="155" y="157"/>
                    </a:lnTo>
                    <a:lnTo>
                      <a:pt x="166" y="153"/>
                    </a:lnTo>
                    <a:lnTo>
                      <a:pt x="168" y="150"/>
                    </a:lnTo>
                    <a:lnTo>
                      <a:pt x="168" y="145"/>
                    </a:lnTo>
                    <a:lnTo>
                      <a:pt x="170" y="136"/>
                    </a:lnTo>
                    <a:lnTo>
                      <a:pt x="176" y="118"/>
                    </a:lnTo>
                    <a:lnTo>
                      <a:pt x="177" y="109"/>
                    </a:lnTo>
                    <a:lnTo>
                      <a:pt x="179" y="102"/>
                    </a:lnTo>
                    <a:lnTo>
                      <a:pt x="186" y="90"/>
                    </a:lnTo>
                    <a:lnTo>
                      <a:pt x="191" y="73"/>
                    </a:lnTo>
                    <a:lnTo>
                      <a:pt x="193" y="68"/>
                    </a:lnTo>
                    <a:lnTo>
                      <a:pt x="196" y="64"/>
                    </a:lnTo>
                    <a:lnTo>
                      <a:pt x="202" y="58"/>
                    </a:lnTo>
                    <a:lnTo>
                      <a:pt x="206" y="56"/>
                    </a:lnTo>
                    <a:lnTo>
                      <a:pt x="217" y="52"/>
                    </a:lnTo>
                    <a:lnTo>
                      <a:pt x="218" y="51"/>
                    </a:lnTo>
                    <a:lnTo>
                      <a:pt x="232" y="41"/>
                    </a:lnTo>
                    <a:lnTo>
                      <a:pt x="231" y="32"/>
                    </a:lnTo>
                    <a:lnTo>
                      <a:pt x="231" y="20"/>
                    </a:lnTo>
                    <a:lnTo>
                      <a:pt x="230" y="16"/>
                    </a:lnTo>
                    <a:lnTo>
                      <a:pt x="228" y="15"/>
                    </a:lnTo>
                    <a:lnTo>
                      <a:pt x="226" y="14"/>
                    </a:lnTo>
                    <a:lnTo>
                      <a:pt x="220" y="11"/>
                    </a:lnTo>
                    <a:lnTo>
                      <a:pt x="218" y="10"/>
                    </a:lnTo>
                    <a:lnTo>
                      <a:pt x="221" y="10"/>
                    </a:lnTo>
                    <a:lnTo>
                      <a:pt x="227" y="0"/>
                    </a:lnTo>
                    <a:lnTo>
                      <a:pt x="233" y="0"/>
                    </a:lnTo>
                    <a:lnTo>
                      <a:pt x="239" y="0"/>
                    </a:lnTo>
                    <a:lnTo>
                      <a:pt x="240" y="0"/>
                    </a:lnTo>
                    <a:lnTo>
                      <a:pt x="240" y="1"/>
                    </a:lnTo>
                    <a:lnTo>
                      <a:pt x="244" y="20"/>
                    </a:lnTo>
                    <a:lnTo>
                      <a:pt x="247" y="26"/>
                    </a:lnTo>
                    <a:lnTo>
                      <a:pt x="251" y="32"/>
                    </a:lnTo>
                    <a:lnTo>
                      <a:pt x="249" y="46"/>
                    </a:lnTo>
                    <a:lnTo>
                      <a:pt x="247" y="54"/>
                    </a:lnTo>
                    <a:lnTo>
                      <a:pt x="247" y="61"/>
                    </a:lnTo>
                    <a:lnTo>
                      <a:pt x="247" y="67"/>
                    </a:lnTo>
                    <a:lnTo>
                      <a:pt x="252" y="81"/>
                    </a:lnTo>
                    <a:lnTo>
                      <a:pt x="264" y="95"/>
                    </a:lnTo>
                    <a:lnTo>
                      <a:pt x="265" y="100"/>
                    </a:lnTo>
                    <a:lnTo>
                      <a:pt x="266" y="106"/>
                    </a:lnTo>
                    <a:lnTo>
                      <a:pt x="265" y="109"/>
                    </a:lnTo>
                    <a:lnTo>
                      <a:pt x="263" y="109"/>
                    </a:lnTo>
                    <a:lnTo>
                      <a:pt x="247" y="106"/>
                    </a:lnTo>
                    <a:lnTo>
                      <a:pt x="237" y="105"/>
                    </a:lnTo>
                    <a:lnTo>
                      <a:pt x="227" y="106"/>
                    </a:lnTo>
                    <a:lnTo>
                      <a:pt x="224" y="107"/>
                    </a:lnTo>
                    <a:lnTo>
                      <a:pt x="221" y="109"/>
                    </a:lnTo>
                    <a:lnTo>
                      <a:pt x="218" y="113"/>
                    </a:lnTo>
                    <a:lnTo>
                      <a:pt x="218" y="123"/>
                    </a:lnTo>
                    <a:lnTo>
                      <a:pt x="220" y="131"/>
                    </a:lnTo>
                    <a:lnTo>
                      <a:pt x="227" y="141"/>
                    </a:lnTo>
                    <a:lnTo>
                      <a:pt x="232" y="145"/>
                    </a:lnTo>
                    <a:lnTo>
                      <a:pt x="239" y="147"/>
                    </a:lnTo>
                    <a:lnTo>
                      <a:pt x="247" y="150"/>
                    </a:lnTo>
                    <a:lnTo>
                      <a:pt x="249" y="151"/>
                    </a:lnTo>
                    <a:lnTo>
                      <a:pt x="254" y="157"/>
                    </a:lnTo>
                    <a:lnTo>
                      <a:pt x="262" y="177"/>
                    </a:lnTo>
                    <a:lnTo>
                      <a:pt x="264" y="189"/>
                    </a:lnTo>
                    <a:lnTo>
                      <a:pt x="265" y="202"/>
                    </a:lnTo>
                    <a:lnTo>
                      <a:pt x="266" y="204"/>
                    </a:lnTo>
                    <a:lnTo>
                      <a:pt x="268" y="205"/>
                    </a:lnTo>
                    <a:lnTo>
                      <a:pt x="261" y="224"/>
                    </a:lnTo>
                    <a:lnTo>
                      <a:pt x="254" y="234"/>
                    </a:lnTo>
                    <a:lnTo>
                      <a:pt x="247" y="245"/>
                    </a:lnTo>
                    <a:lnTo>
                      <a:pt x="241" y="255"/>
                    </a:lnTo>
                    <a:lnTo>
                      <a:pt x="234" y="263"/>
                    </a:lnTo>
                    <a:lnTo>
                      <a:pt x="233" y="273"/>
                    </a:lnTo>
                    <a:lnTo>
                      <a:pt x="236" y="283"/>
                    </a:lnTo>
                    <a:lnTo>
                      <a:pt x="236" y="294"/>
                    </a:lnTo>
                    <a:lnTo>
                      <a:pt x="236" y="306"/>
                    </a:lnTo>
                    <a:lnTo>
                      <a:pt x="243" y="317"/>
                    </a:lnTo>
                    <a:lnTo>
                      <a:pt x="249" y="326"/>
                    </a:lnTo>
                    <a:lnTo>
                      <a:pt x="268" y="359"/>
                    </a:lnTo>
                    <a:lnTo>
                      <a:pt x="274" y="369"/>
                    </a:lnTo>
                    <a:lnTo>
                      <a:pt x="292" y="382"/>
                    </a:lnTo>
                    <a:lnTo>
                      <a:pt x="296" y="380"/>
                    </a:lnTo>
                    <a:lnTo>
                      <a:pt x="295" y="390"/>
                    </a:lnTo>
                    <a:lnTo>
                      <a:pt x="296" y="420"/>
                    </a:lnTo>
                    <a:lnTo>
                      <a:pt x="294" y="427"/>
                    </a:lnTo>
                    <a:lnTo>
                      <a:pt x="292" y="429"/>
                    </a:lnTo>
                    <a:lnTo>
                      <a:pt x="274" y="416"/>
                    </a:lnTo>
                    <a:lnTo>
                      <a:pt x="268" y="416"/>
                    </a:lnTo>
                    <a:lnTo>
                      <a:pt x="258" y="413"/>
                    </a:lnTo>
                    <a:lnTo>
                      <a:pt x="247" y="411"/>
                    </a:lnTo>
                    <a:lnTo>
                      <a:pt x="240" y="406"/>
                    </a:lnTo>
                    <a:lnTo>
                      <a:pt x="186" y="406"/>
                    </a:lnTo>
                    <a:lnTo>
                      <a:pt x="180" y="406"/>
                    </a:lnTo>
                    <a:lnTo>
                      <a:pt x="155" y="405"/>
                    </a:lnTo>
                    <a:lnTo>
                      <a:pt x="144" y="403"/>
                    </a:lnTo>
                    <a:lnTo>
                      <a:pt x="130" y="405"/>
                    </a:lnTo>
                    <a:lnTo>
                      <a:pt x="119" y="403"/>
                    </a:lnTo>
                    <a:lnTo>
                      <a:pt x="109" y="406"/>
                    </a:lnTo>
                    <a:lnTo>
                      <a:pt x="82" y="406"/>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82" name="Freeform 68"/>
              <p:cNvSpPr>
                <a:spLocks/>
              </p:cNvSpPr>
              <p:nvPr/>
            </p:nvSpPr>
            <p:spPr bwMode="auto">
              <a:xfrm>
                <a:off x="1737" y="2374"/>
                <a:ext cx="309" cy="354"/>
              </a:xfrm>
              <a:custGeom>
                <a:avLst/>
                <a:gdLst>
                  <a:gd name="T0" fmla="*/ 66 w 293"/>
                  <a:gd name="T1" fmla="*/ 444 h 338"/>
                  <a:gd name="T2" fmla="*/ 41 w 293"/>
                  <a:gd name="T3" fmla="*/ 433 h 338"/>
                  <a:gd name="T4" fmla="*/ 19 w 293"/>
                  <a:gd name="T5" fmla="*/ 411 h 338"/>
                  <a:gd name="T6" fmla="*/ 0 w 293"/>
                  <a:gd name="T7" fmla="*/ 397 h 338"/>
                  <a:gd name="T8" fmla="*/ 4 w 293"/>
                  <a:gd name="T9" fmla="*/ 376 h 338"/>
                  <a:gd name="T10" fmla="*/ 31 w 293"/>
                  <a:gd name="T11" fmla="*/ 374 h 338"/>
                  <a:gd name="T12" fmla="*/ 31 w 293"/>
                  <a:gd name="T13" fmla="*/ 354 h 338"/>
                  <a:gd name="T14" fmla="*/ 29 w 293"/>
                  <a:gd name="T15" fmla="*/ 330 h 338"/>
                  <a:gd name="T16" fmla="*/ 44 w 293"/>
                  <a:gd name="T17" fmla="*/ 315 h 338"/>
                  <a:gd name="T18" fmla="*/ 79 w 293"/>
                  <a:gd name="T19" fmla="*/ 298 h 338"/>
                  <a:gd name="T20" fmla="*/ 98 w 293"/>
                  <a:gd name="T21" fmla="*/ 293 h 338"/>
                  <a:gd name="T22" fmla="*/ 134 w 293"/>
                  <a:gd name="T23" fmla="*/ 301 h 338"/>
                  <a:gd name="T24" fmla="*/ 170 w 293"/>
                  <a:gd name="T25" fmla="*/ 312 h 338"/>
                  <a:gd name="T26" fmla="*/ 178 w 293"/>
                  <a:gd name="T27" fmla="*/ 260 h 338"/>
                  <a:gd name="T28" fmla="*/ 185 w 293"/>
                  <a:gd name="T29" fmla="*/ 234 h 338"/>
                  <a:gd name="T30" fmla="*/ 170 w 293"/>
                  <a:gd name="T31" fmla="*/ 193 h 338"/>
                  <a:gd name="T32" fmla="*/ 186 w 293"/>
                  <a:gd name="T33" fmla="*/ 149 h 338"/>
                  <a:gd name="T34" fmla="*/ 176 w 293"/>
                  <a:gd name="T35" fmla="*/ 117 h 338"/>
                  <a:gd name="T36" fmla="*/ 126 w 293"/>
                  <a:gd name="T37" fmla="*/ 131 h 338"/>
                  <a:gd name="T38" fmla="*/ 121 w 293"/>
                  <a:gd name="T39" fmla="*/ 110 h 338"/>
                  <a:gd name="T40" fmla="*/ 124 w 293"/>
                  <a:gd name="T41" fmla="*/ 78 h 338"/>
                  <a:gd name="T42" fmla="*/ 219 w 293"/>
                  <a:gd name="T43" fmla="*/ 84 h 338"/>
                  <a:gd name="T44" fmla="*/ 252 w 293"/>
                  <a:gd name="T45" fmla="*/ 90 h 338"/>
                  <a:gd name="T46" fmla="*/ 283 w 293"/>
                  <a:gd name="T47" fmla="*/ 107 h 338"/>
                  <a:gd name="T48" fmla="*/ 291 w 293"/>
                  <a:gd name="T49" fmla="*/ 96 h 338"/>
                  <a:gd name="T50" fmla="*/ 291 w 293"/>
                  <a:gd name="T51" fmla="*/ 44 h 338"/>
                  <a:gd name="T52" fmla="*/ 319 w 293"/>
                  <a:gd name="T53" fmla="*/ 17 h 338"/>
                  <a:gd name="T54" fmla="*/ 363 w 293"/>
                  <a:gd name="T55" fmla="*/ 0 h 338"/>
                  <a:gd name="T56" fmla="*/ 401 w 293"/>
                  <a:gd name="T57" fmla="*/ 16 h 338"/>
                  <a:gd name="T58" fmla="*/ 438 w 293"/>
                  <a:gd name="T59" fmla="*/ 4 h 338"/>
                  <a:gd name="T60" fmla="*/ 445 w 293"/>
                  <a:gd name="T61" fmla="*/ 17 h 338"/>
                  <a:gd name="T62" fmla="*/ 417 w 293"/>
                  <a:gd name="T63" fmla="*/ 69 h 338"/>
                  <a:gd name="T64" fmla="*/ 398 w 293"/>
                  <a:gd name="T65" fmla="*/ 132 h 338"/>
                  <a:gd name="T66" fmla="*/ 388 w 293"/>
                  <a:gd name="T67" fmla="*/ 224 h 338"/>
                  <a:gd name="T68" fmla="*/ 373 w 293"/>
                  <a:gd name="T69" fmla="*/ 239 h 338"/>
                  <a:gd name="T70" fmla="*/ 332 w 293"/>
                  <a:gd name="T71" fmla="*/ 264 h 338"/>
                  <a:gd name="T72" fmla="*/ 298 w 293"/>
                  <a:gd name="T73" fmla="*/ 320 h 338"/>
                  <a:gd name="T74" fmla="*/ 295 w 293"/>
                  <a:gd name="T75" fmla="*/ 356 h 338"/>
                  <a:gd name="T76" fmla="*/ 276 w 293"/>
                  <a:gd name="T77" fmla="*/ 393 h 338"/>
                  <a:gd name="T78" fmla="*/ 246 w 293"/>
                  <a:gd name="T79" fmla="*/ 415 h 338"/>
                  <a:gd name="T80" fmla="*/ 203 w 293"/>
                  <a:gd name="T81" fmla="*/ 439 h 338"/>
                  <a:gd name="T82" fmla="*/ 186 w 293"/>
                  <a:gd name="T83" fmla="*/ 421 h 338"/>
                  <a:gd name="T84" fmla="*/ 171 w 293"/>
                  <a:gd name="T85" fmla="*/ 418 h 338"/>
                  <a:gd name="T86" fmla="*/ 147 w 293"/>
                  <a:gd name="T87" fmla="*/ 430 h 338"/>
                  <a:gd name="T88" fmla="*/ 126 w 293"/>
                  <a:gd name="T89" fmla="*/ 442 h 338"/>
                  <a:gd name="T90" fmla="*/ 106 w 293"/>
                  <a:gd name="T91" fmla="*/ 423 h 338"/>
                  <a:gd name="T92" fmla="*/ 85 w 293"/>
                  <a:gd name="T93" fmla="*/ 424 h 3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3"/>
                  <a:gd name="T142" fmla="*/ 0 h 338"/>
                  <a:gd name="T143" fmla="*/ 293 w 293"/>
                  <a:gd name="T144" fmla="*/ 338 h 33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3" h="338">
                    <a:moveTo>
                      <a:pt x="52" y="327"/>
                    </a:moveTo>
                    <a:lnTo>
                      <a:pt x="44" y="331"/>
                    </a:lnTo>
                    <a:lnTo>
                      <a:pt x="34" y="338"/>
                    </a:lnTo>
                    <a:lnTo>
                      <a:pt x="27" y="322"/>
                    </a:lnTo>
                    <a:lnTo>
                      <a:pt x="23" y="316"/>
                    </a:lnTo>
                    <a:lnTo>
                      <a:pt x="13" y="306"/>
                    </a:lnTo>
                    <a:lnTo>
                      <a:pt x="8" y="299"/>
                    </a:lnTo>
                    <a:lnTo>
                      <a:pt x="0" y="296"/>
                    </a:lnTo>
                    <a:lnTo>
                      <a:pt x="1" y="285"/>
                    </a:lnTo>
                    <a:lnTo>
                      <a:pt x="4" y="280"/>
                    </a:lnTo>
                    <a:lnTo>
                      <a:pt x="13" y="277"/>
                    </a:lnTo>
                    <a:lnTo>
                      <a:pt x="20" y="279"/>
                    </a:lnTo>
                    <a:lnTo>
                      <a:pt x="23" y="274"/>
                    </a:lnTo>
                    <a:lnTo>
                      <a:pt x="20" y="264"/>
                    </a:lnTo>
                    <a:lnTo>
                      <a:pt x="17" y="256"/>
                    </a:lnTo>
                    <a:lnTo>
                      <a:pt x="19" y="246"/>
                    </a:lnTo>
                    <a:lnTo>
                      <a:pt x="22" y="241"/>
                    </a:lnTo>
                    <a:lnTo>
                      <a:pt x="29" y="235"/>
                    </a:lnTo>
                    <a:lnTo>
                      <a:pt x="46" y="228"/>
                    </a:lnTo>
                    <a:lnTo>
                      <a:pt x="52" y="222"/>
                    </a:lnTo>
                    <a:lnTo>
                      <a:pt x="60" y="215"/>
                    </a:lnTo>
                    <a:lnTo>
                      <a:pt x="64" y="218"/>
                    </a:lnTo>
                    <a:lnTo>
                      <a:pt x="71" y="226"/>
                    </a:lnTo>
                    <a:lnTo>
                      <a:pt x="89" y="225"/>
                    </a:lnTo>
                    <a:lnTo>
                      <a:pt x="102" y="236"/>
                    </a:lnTo>
                    <a:lnTo>
                      <a:pt x="112" y="232"/>
                    </a:lnTo>
                    <a:lnTo>
                      <a:pt x="116" y="220"/>
                    </a:lnTo>
                    <a:lnTo>
                      <a:pt x="118" y="194"/>
                    </a:lnTo>
                    <a:lnTo>
                      <a:pt x="120" y="185"/>
                    </a:lnTo>
                    <a:lnTo>
                      <a:pt x="122" y="174"/>
                    </a:lnTo>
                    <a:lnTo>
                      <a:pt x="113" y="153"/>
                    </a:lnTo>
                    <a:lnTo>
                      <a:pt x="112" y="144"/>
                    </a:lnTo>
                    <a:lnTo>
                      <a:pt x="112" y="133"/>
                    </a:lnTo>
                    <a:lnTo>
                      <a:pt x="123" y="111"/>
                    </a:lnTo>
                    <a:lnTo>
                      <a:pt x="123" y="96"/>
                    </a:lnTo>
                    <a:lnTo>
                      <a:pt x="116" y="87"/>
                    </a:lnTo>
                    <a:lnTo>
                      <a:pt x="96" y="82"/>
                    </a:lnTo>
                    <a:lnTo>
                      <a:pt x="84" y="98"/>
                    </a:lnTo>
                    <a:lnTo>
                      <a:pt x="79" y="95"/>
                    </a:lnTo>
                    <a:lnTo>
                      <a:pt x="79" y="82"/>
                    </a:lnTo>
                    <a:lnTo>
                      <a:pt x="79" y="68"/>
                    </a:lnTo>
                    <a:lnTo>
                      <a:pt x="82" y="58"/>
                    </a:lnTo>
                    <a:lnTo>
                      <a:pt x="137" y="58"/>
                    </a:lnTo>
                    <a:lnTo>
                      <a:pt x="144" y="63"/>
                    </a:lnTo>
                    <a:lnTo>
                      <a:pt x="155" y="64"/>
                    </a:lnTo>
                    <a:lnTo>
                      <a:pt x="165" y="67"/>
                    </a:lnTo>
                    <a:lnTo>
                      <a:pt x="171" y="67"/>
                    </a:lnTo>
                    <a:lnTo>
                      <a:pt x="188" y="80"/>
                    </a:lnTo>
                    <a:lnTo>
                      <a:pt x="191" y="78"/>
                    </a:lnTo>
                    <a:lnTo>
                      <a:pt x="192" y="71"/>
                    </a:lnTo>
                    <a:lnTo>
                      <a:pt x="192" y="40"/>
                    </a:lnTo>
                    <a:lnTo>
                      <a:pt x="192" y="32"/>
                    </a:lnTo>
                    <a:lnTo>
                      <a:pt x="198" y="23"/>
                    </a:lnTo>
                    <a:lnTo>
                      <a:pt x="211" y="11"/>
                    </a:lnTo>
                    <a:lnTo>
                      <a:pt x="229" y="3"/>
                    </a:lnTo>
                    <a:lnTo>
                      <a:pt x="240" y="0"/>
                    </a:lnTo>
                    <a:lnTo>
                      <a:pt x="254" y="7"/>
                    </a:lnTo>
                    <a:lnTo>
                      <a:pt x="265" y="10"/>
                    </a:lnTo>
                    <a:lnTo>
                      <a:pt x="277" y="8"/>
                    </a:lnTo>
                    <a:lnTo>
                      <a:pt x="289" y="4"/>
                    </a:lnTo>
                    <a:lnTo>
                      <a:pt x="292" y="0"/>
                    </a:lnTo>
                    <a:lnTo>
                      <a:pt x="293" y="11"/>
                    </a:lnTo>
                    <a:lnTo>
                      <a:pt x="289" y="25"/>
                    </a:lnTo>
                    <a:lnTo>
                      <a:pt x="275" y="51"/>
                    </a:lnTo>
                    <a:lnTo>
                      <a:pt x="268" y="68"/>
                    </a:lnTo>
                    <a:lnTo>
                      <a:pt x="262" y="99"/>
                    </a:lnTo>
                    <a:lnTo>
                      <a:pt x="262" y="145"/>
                    </a:lnTo>
                    <a:lnTo>
                      <a:pt x="256" y="167"/>
                    </a:lnTo>
                    <a:lnTo>
                      <a:pt x="256" y="171"/>
                    </a:lnTo>
                    <a:lnTo>
                      <a:pt x="246" y="179"/>
                    </a:lnTo>
                    <a:lnTo>
                      <a:pt x="232" y="186"/>
                    </a:lnTo>
                    <a:lnTo>
                      <a:pt x="219" y="197"/>
                    </a:lnTo>
                    <a:lnTo>
                      <a:pt x="203" y="223"/>
                    </a:lnTo>
                    <a:lnTo>
                      <a:pt x="197" y="238"/>
                    </a:lnTo>
                    <a:lnTo>
                      <a:pt x="195" y="253"/>
                    </a:lnTo>
                    <a:lnTo>
                      <a:pt x="195" y="266"/>
                    </a:lnTo>
                    <a:lnTo>
                      <a:pt x="192" y="277"/>
                    </a:lnTo>
                    <a:lnTo>
                      <a:pt x="183" y="293"/>
                    </a:lnTo>
                    <a:lnTo>
                      <a:pt x="173" y="304"/>
                    </a:lnTo>
                    <a:lnTo>
                      <a:pt x="163" y="309"/>
                    </a:lnTo>
                    <a:lnTo>
                      <a:pt x="147" y="323"/>
                    </a:lnTo>
                    <a:lnTo>
                      <a:pt x="133" y="328"/>
                    </a:lnTo>
                    <a:lnTo>
                      <a:pt x="125" y="327"/>
                    </a:lnTo>
                    <a:lnTo>
                      <a:pt x="123" y="314"/>
                    </a:lnTo>
                    <a:lnTo>
                      <a:pt x="123" y="311"/>
                    </a:lnTo>
                    <a:lnTo>
                      <a:pt x="113" y="312"/>
                    </a:lnTo>
                    <a:lnTo>
                      <a:pt x="103" y="315"/>
                    </a:lnTo>
                    <a:lnTo>
                      <a:pt x="97" y="319"/>
                    </a:lnTo>
                    <a:lnTo>
                      <a:pt x="93" y="327"/>
                    </a:lnTo>
                    <a:lnTo>
                      <a:pt x="84" y="330"/>
                    </a:lnTo>
                    <a:lnTo>
                      <a:pt x="74" y="323"/>
                    </a:lnTo>
                    <a:lnTo>
                      <a:pt x="70" y="315"/>
                    </a:lnTo>
                    <a:lnTo>
                      <a:pt x="63" y="312"/>
                    </a:lnTo>
                    <a:lnTo>
                      <a:pt x="56" y="316"/>
                    </a:lnTo>
                    <a:lnTo>
                      <a:pt x="52" y="327"/>
                    </a:lnTo>
                    <a:close/>
                  </a:path>
                </a:pathLst>
              </a:custGeom>
              <a:solidFill>
                <a:srgbClr val="DA9797"/>
              </a:solidFill>
              <a:ln>
                <a:noFill/>
              </a:ln>
              <a:extLst/>
            </p:spPr>
            <p:txBody>
              <a:bodyPr/>
              <a:lstStyle/>
              <a:p>
                <a:pPr>
                  <a:defRPr/>
                </a:pPr>
                <a:endParaRPr lang="en-US">
                  <a:latin typeface="Arial" panose="020B0604020202020204" pitchFamily="34" charset="0"/>
                  <a:ea typeface="ＭＳ Ｐゴシック" panose="020B0600070205080204" pitchFamily="34" charset="-128"/>
                  <a:cs typeface="+mn-cs"/>
                </a:endParaRPr>
              </a:p>
            </p:txBody>
          </p:sp>
          <p:sp>
            <p:nvSpPr>
              <p:cNvPr id="283" name="Freeform 69"/>
              <p:cNvSpPr>
                <a:spLocks/>
              </p:cNvSpPr>
              <p:nvPr/>
            </p:nvSpPr>
            <p:spPr bwMode="auto">
              <a:xfrm>
                <a:off x="1736" y="2373"/>
                <a:ext cx="314" cy="355"/>
              </a:xfrm>
              <a:custGeom>
                <a:avLst/>
                <a:gdLst>
                  <a:gd name="T0" fmla="*/ 4166 w 293"/>
                  <a:gd name="T1" fmla="*/ 8425 h 338"/>
                  <a:gd name="T2" fmla="*/ 2566 w 293"/>
                  <a:gd name="T3" fmla="*/ 8224 h 338"/>
                  <a:gd name="T4" fmla="*/ 1199 w 293"/>
                  <a:gd name="T5" fmla="*/ 7821 h 338"/>
                  <a:gd name="T6" fmla="*/ 0 w 293"/>
                  <a:gd name="T7" fmla="*/ 7553 h 338"/>
                  <a:gd name="T8" fmla="*/ 4 w 293"/>
                  <a:gd name="T9" fmla="*/ 7128 h 338"/>
                  <a:gd name="T10" fmla="*/ 1946 w 293"/>
                  <a:gd name="T11" fmla="*/ 7105 h 338"/>
                  <a:gd name="T12" fmla="*/ 1946 w 293"/>
                  <a:gd name="T13" fmla="*/ 6750 h 338"/>
                  <a:gd name="T14" fmla="*/ 1816 w 293"/>
                  <a:gd name="T15" fmla="*/ 6244 h 338"/>
                  <a:gd name="T16" fmla="*/ 2750 w 293"/>
                  <a:gd name="T17" fmla="*/ 5975 h 338"/>
                  <a:gd name="T18" fmla="*/ 5050 w 293"/>
                  <a:gd name="T19" fmla="*/ 5639 h 338"/>
                  <a:gd name="T20" fmla="*/ 6216 w 293"/>
                  <a:gd name="T21" fmla="*/ 5559 h 338"/>
                  <a:gd name="T22" fmla="*/ 8591 w 293"/>
                  <a:gd name="T23" fmla="*/ 5712 h 338"/>
                  <a:gd name="T24" fmla="*/ 10782 w 293"/>
                  <a:gd name="T25" fmla="*/ 5913 h 338"/>
                  <a:gd name="T26" fmla="*/ 11344 w 293"/>
                  <a:gd name="T27" fmla="*/ 4930 h 338"/>
                  <a:gd name="T28" fmla="*/ 11694 w 293"/>
                  <a:gd name="T29" fmla="*/ 4428 h 338"/>
                  <a:gd name="T30" fmla="*/ 10782 w 293"/>
                  <a:gd name="T31" fmla="*/ 3659 h 338"/>
                  <a:gd name="T32" fmla="*/ 11769 w 293"/>
                  <a:gd name="T33" fmla="*/ 2832 h 338"/>
                  <a:gd name="T34" fmla="*/ 11243 w 293"/>
                  <a:gd name="T35" fmla="*/ 2216 h 338"/>
                  <a:gd name="T36" fmla="*/ 8025 w 293"/>
                  <a:gd name="T37" fmla="*/ 2479 h 338"/>
                  <a:gd name="T38" fmla="*/ 7651 w 293"/>
                  <a:gd name="T39" fmla="*/ 2103 h 338"/>
                  <a:gd name="T40" fmla="*/ 7953 w 293"/>
                  <a:gd name="T41" fmla="*/ 1491 h 338"/>
                  <a:gd name="T42" fmla="*/ 13947 w 293"/>
                  <a:gd name="T43" fmla="*/ 1589 h 338"/>
                  <a:gd name="T44" fmla="*/ 16018 w 293"/>
                  <a:gd name="T45" fmla="*/ 1728 h 338"/>
                  <a:gd name="T46" fmla="*/ 18050 w 293"/>
                  <a:gd name="T47" fmla="*/ 2031 h 338"/>
                  <a:gd name="T48" fmla="*/ 18566 w 293"/>
                  <a:gd name="T49" fmla="*/ 1821 h 338"/>
                  <a:gd name="T50" fmla="*/ 18566 w 293"/>
                  <a:gd name="T51" fmla="*/ 831 h 338"/>
                  <a:gd name="T52" fmla="*/ 20288 w 293"/>
                  <a:gd name="T53" fmla="*/ 312 h 338"/>
                  <a:gd name="T54" fmla="*/ 23089 w 293"/>
                  <a:gd name="T55" fmla="*/ 0 h 338"/>
                  <a:gd name="T56" fmla="*/ 25568 w 293"/>
                  <a:gd name="T57" fmla="*/ 297 h 338"/>
                  <a:gd name="T58" fmla="*/ 27867 w 293"/>
                  <a:gd name="T59" fmla="*/ 4 h 338"/>
                  <a:gd name="T60" fmla="*/ 28279 w 293"/>
                  <a:gd name="T61" fmla="*/ 312 h 338"/>
                  <a:gd name="T62" fmla="*/ 26517 w 293"/>
                  <a:gd name="T63" fmla="*/ 1306 h 338"/>
                  <a:gd name="T64" fmla="*/ 25336 w 293"/>
                  <a:gd name="T65" fmla="*/ 2524 h 338"/>
                  <a:gd name="T66" fmla="*/ 24708 w 293"/>
                  <a:gd name="T67" fmla="*/ 4239 h 338"/>
                  <a:gd name="T68" fmla="*/ 23808 w 293"/>
                  <a:gd name="T69" fmla="*/ 4558 h 338"/>
                  <a:gd name="T70" fmla="*/ 21127 w 293"/>
                  <a:gd name="T71" fmla="*/ 5028 h 338"/>
                  <a:gd name="T72" fmla="*/ 18931 w 293"/>
                  <a:gd name="T73" fmla="*/ 6102 h 338"/>
                  <a:gd name="T74" fmla="*/ 18759 w 293"/>
                  <a:gd name="T75" fmla="*/ 6765 h 338"/>
                  <a:gd name="T76" fmla="*/ 17557 w 293"/>
                  <a:gd name="T77" fmla="*/ 7462 h 338"/>
                  <a:gd name="T78" fmla="*/ 15717 w 293"/>
                  <a:gd name="T79" fmla="*/ 7864 h 338"/>
                  <a:gd name="T80" fmla="*/ 12913 w 293"/>
                  <a:gd name="T81" fmla="*/ 8336 h 338"/>
                  <a:gd name="T82" fmla="*/ 11769 w 293"/>
                  <a:gd name="T83" fmla="*/ 7980 h 338"/>
                  <a:gd name="T84" fmla="*/ 10815 w 293"/>
                  <a:gd name="T85" fmla="*/ 7937 h 338"/>
                  <a:gd name="T86" fmla="*/ 9374 w 293"/>
                  <a:gd name="T87" fmla="*/ 8182 h 338"/>
                  <a:gd name="T88" fmla="*/ 8025 w 293"/>
                  <a:gd name="T89" fmla="*/ 8381 h 338"/>
                  <a:gd name="T90" fmla="*/ 6722 w 293"/>
                  <a:gd name="T91" fmla="*/ 8022 h 338"/>
                  <a:gd name="T92" fmla="*/ 5412 w 293"/>
                  <a:gd name="T93" fmla="*/ 8054 h 3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3"/>
                  <a:gd name="T142" fmla="*/ 0 h 338"/>
                  <a:gd name="T143" fmla="*/ 293 w 293"/>
                  <a:gd name="T144" fmla="*/ 338 h 33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3" h="338">
                    <a:moveTo>
                      <a:pt x="52" y="327"/>
                    </a:moveTo>
                    <a:lnTo>
                      <a:pt x="44" y="331"/>
                    </a:lnTo>
                    <a:lnTo>
                      <a:pt x="34" y="338"/>
                    </a:lnTo>
                    <a:lnTo>
                      <a:pt x="27" y="322"/>
                    </a:lnTo>
                    <a:lnTo>
                      <a:pt x="23" y="316"/>
                    </a:lnTo>
                    <a:lnTo>
                      <a:pt x="13" y="306"/>
                    </a:lnTo>
                    <a:lnTo>
                      <a:pt x="8" y="299"/>
                    </a:lnTo>
                    <a:lnTo>
                      <a:pt x="0" y="296"/>
                    </a:lnTo>
                    <a:lnTo>
                      <a:pt x="1" y="285"/>
                    </a:lnTo>
                    <a:lnTo>
                      <a:pt x="4" y="280"/>
                    </a:lnTo>
                    <a:lnTo>
                      <a:pt x="13" y="277"/>
                    </a:lnTo>
                    <a:lnTo>
                      <a:pt x="20" y="279"/>
                    </a:lnTo>
                    <a:lnTo>
                      <a:pt x="23" y="274"/>
                    </a:lnTo>
                    <a:lnTo>
                      <a:pt x="20" y="264"/>
                    </a:lnTo>
                    <a:lnTo>
                      <a:pt x="17" y="256"/>
                    </a:lnTo>
                    <a:lnTo>
                      <a:pt x="19" y="246"/>
                    </a:lnTo>
                    <a:lnTo>
                      <a:pt x="22" y="241"/>
                    </a:lnTo>
                    <a:lnTo>
                      <a:pt x="29" y="235"/>
                    </a:lnTo>
                    <a:lnTo>
                      <a:pt x="46" y="228"/>
                    </a:lnTo>
                    <a:lnTo>
                      <a:pt x="52" y="222"/>
                    </a:lnTo>
                    <a:lnTo>
                      <a:pt x="60" y="215"/>
                    </a:lnTo>
                    <a:lnTo>
                      <a:pt x="64" y="218"/>
                    </a:lnTo>
                    <a:lnTo>
                      <a:pt x="71" y="226"/>
                    </a:lnTo>
                    <a:lnTo>
                      <a:pt x="89" y="225"/>
                    </a:lnTo>
                    <a:lnTo>
                      <a:pt x="102" y="236"/>
                    </a:lnTo>
                    <a:lnTo>
                      <a:pt x="112" y="232"/>
                    </a:lnTo>
                    <a:lnTo>
                      <a:pt x="116" y="220"/>
                    </a:lnTo>
                    <a:lnTo>
                      <a:pt x="118" y="194"/>
                    </a:lnTo>
                    <a:lnTo>
                      <a:pt x="120" y="185"/>
                    </a:lnTo>
                    <a:lnTo>
                      <a:pt x="122" y="174"/>
                    </a:lnTo>
                    <a:lnTo>
                      <a:pt x="113" y="153"/>
                    </a:lnTo>
                    <a:lnTo>
                      <a:pt x="112" y="144"/>
                    </a:lnTo>
                    <a:lnTo>
                      <a:pt x="112" y="133"/>
                    </a:lnTo>
                    <a:lnTo>
                      <a:pt x="123" y="111"/>
                    </a:lnTo>
                    <a:lnTo>
                      <a:pt x="123" y="96"/>
                    </a:lnTo>
                    <a:lnTo>
                      <a:pt x="116" y="87"/>
                    </a:lnTo>
                    <a:lnTo>
                      <a:pt x="96" y="82"/>
                    </a:lnTo>
                    <a:lnTo>
                      <a:pt x="84" y="98"/>
                    </a:lnTo>
                    <a:lnTo>
                      <a:pt x="79" y="95"/>
                    </a:lnTo>
                    <a:lnTo>
                      <a:pt x="79" y="82"/>
                    </a:lnTo>
                    <a:lnTo>
                      <a:pt x="79" y="68"/>
                    </a:lnTo>
                    <a:lnTo>
                      <a:pt x="82" y="58"/>
                    </a:lnTo>
                    <a:lnTo>
                      <a:pt x="137" y="58"/>
                    </a:lnTo>
                    <a:lnTo>
                      <a:pt x="144" y="63"/>
                    </a:lnTo>
                    <a:lnTo>
                      <a:pt x="155" y="64"/>
                    </a:lnTo>
                    <a:lnTo>
                      <a:pt x="165" y="67"/>
                    </a:lnTo>
                    <a:lnTo>
                      <a:pt x="171" y="67"/>
                    </a:lnTo>
                    <a:lnTo>
                      <a:pt x="188" y="80"/>
                    </a:lnTo>
                    <a:lnTo>
                      <a:pt x="191" y="78"/>
                    </a:lnTo>
                    <a:lnTo>
                      <a:pt x="192" y="71"/>
                    </a:lnTo>
                    <a:lnTo>
                      <a:pt x="192" y="40"/>
                    </a:lnTo>
                    <a:lnTo>
                      <a:pt x="192" y="32"/>
                    </a:lnTo>
                    <a:lnTo>
                      <a:pt x="198" y="23"/>
                    </a:lnTo>
                    <a:lnTo>
                      <a:pt x="211" y="11"/>
                    </a:lnTo>
                    <a:lnTo>
                      <a:pt x="229" y="3"/>
                    </a:lnTo>
                    <a:lnTo>
                      <a:pt x="240" y="0"/>
                    </a:lnTo>
                    <a:lnTo>
                      <a:pt x="254" y="7"/>
                    </a:lnTo>
                    <a:lnTo>
                      <a:pt x="265" y="10"/>
                    </a:lnTo>
                    <a:lnTo>
                      <a:pt x="277" y="8"/>
                    </a:lnTo>
                    <a:lnTo>
                      <a:pt x="289" y="4"/>
                    </a:lnTo>
                    <a:lnTo>
                      <a:pt x="292" y="0"/>
                    </a:lnTo>
                    <a:lnTo>
                      <a:pt x="293" y="11"/>
                    </a:lnTo>
                    <a:lnTo>
                      <a:pt x="289" y="25"/>
                    </a:lnTo>
                    <a:lnTo>
                      <a:pt x="275" y="51"/>
                    </a:lnTo>
                    <a:lnTo>
                      <a:pt x="268" y="68"/>
                    </a:lnTo>
                    <a:lnTo>
                      <a:pt x="262" y="99"/>
                    </a:lnTo>
                    <a:lnTo>
                      <a:pt x="262" y="145"/>
                    </a:lnTo>
                    <a:lnTo>
                      <a:pt x="256" y="167"/>
                    </a:lnTo>
                    <a:lnTo>
                      <a:pt x="256" y="171"/>
                    </a:lnTo>
                    <a:lnTo>
                      <a:pt x="246" y="179"/>
                    </a:lnTo>
                    <a:lnTo>
                      <a:pt x="232" y="186"/>
                    </a:lnTo>
                    <a:lnTo>
                      <a:pt x="219" y="197"/>
                    </a:lnTo>
                    <a:lnTo>
                      <a:pt x="203" y="223"/>
                    </a:lnTo>
                    <a:lnTo>
                      <a:pt x="197" y="238"/>
                    </a:lnTo>
                    <a:lnTo>
                      <a:pt x="195" y="253"/>
                    </a:lnTo>
                    <a:lnTo>
                      <a:pt x="195" y="266"/>
                    </a:lnTo>
                    <a:lnTo>
                      <a:pt x="192" y="277"/>
                    </a:lnTo>
                    <a:lnTo>
                      <a:pt x="183" y="293"/>
                    </a:lnTo>
                    <a:lnTo>
                      <a:pt x="173" y="304"/>
                    </a:lnTo>
                    <a:lnTo>
                      <a:pt x="163" y="309"/>
                    </a:lnTo>
                    <a:lnTo>
                      <a:pt x="147" y="323"/>
                    </a:lnTo>
                    <a:lnTo>
                      <a:pt x="133" y="328"/>
                    </a:lnTo>
                    <a:lnTo>
                      <a:pt x="125" y="327"/>
                    </a:lnTo>
                    <a:lnTo>
                      <a:pt x="123" y="314"/>
                    </a:lnTo>
                    <a:lnTo>
                      <a:pt x="123" y="311"/>
                    </a:lnTo>
                    <a:lnTo>
                      <a:pt x="113" y="312"/>
                    </a:lnTo>
                    <a:lnTo>
                      <a:pt x="103" y="315"/>
                    </a:lnTo>
                    <a:lnTo>
                      <a:pt x="97" y="319"/>
                    </a:lnTo>
                    <a:lnTo>
                      <a:pt x="93" y="327"/>
                    </a:lnTo>
                    <a:lnTo>
                      <a:pt x="84" y="330"/>
                    </a:lnTo>
                    <a:lnTo>
                      <a:pt x="74" y="323"/>
                    </a:lnTo>
                    <a:lnTo>
                      <a:pt x="70" y="315"/>
                    </a:lnTo>
                    <a:lnTo>
                      <a:pt x="63" y="312"/>
                    </a:lnTo>
                    <a:lnTo>
                      <a:pt x="56" y="316"/>
                    </a:lnTo>
                    <a:lnTo>
                      <a:pt x="52" y="327"/>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84" name="Freeform 70"/>
              <p:cNvSpPr>
                <a:spLocks/>
              </p:cNvSpPr>
              <p:nvPr/>
            </p:nvSpPr>
            <p:spPr bwMode="auto">
              <a:xfrm>
                <a:off x="1664" y="2434"/>
                <a:ext cx="78" cy="49"/>
              </a:xfrm>
              <a:custGeom>
                <a:avLst/>
                <a:gdLst>
                  <a:gd name="T0" fmla="*/ 5750 w 73"/>
                  <a:gd name="T1" fmla="*/ 628 h 47"/>
                  <a:gd name="T2" fmla="*/ 1928 w 73"/>
                  <a:gd name="T3" fmla="*/ 655 h 47"/>
                  <a:gd name="T4" fmla="*/ 761 w 73"/>
                  <a:gd name="T5" fmla="*/ 731 h 47"/>
                  <a:gd name="T6" fmla="*/ 761 w 73"/>
                  <a:gd name="T7" fmla="*/ 683 h 47"/>
                  <a:gd name="T8" fmla="*/ 0 w 73"/>
                  <a:gd name="T9" fmla="*/ 594 h 47"/>
                  <a:gd name="T10" fmla="*/ 712 w 73"/>
                  <a:gd name="T11" fmla="*/ 364 h 47"/>
                  <a:gd name="T12" fmla="*/ 761 w 73"/>
                  <a:gd name="T13" fmla="*/ 260 h 47"/>
                  <a:gd name="T14" fmla="*/ 993 w 73"/>
                  <a:gd name="T15" fmla="*/ 8 h 47"/>
                  <a:gd name="T16" fmla="*/ 993 w 73"/>
                  <a:gd name="T17" fmla="*/ 2 h 47"/>
                  <a:gd name="T18" fmla="*/ 1212 w 73"/>
                  <a:gd name="T19" fmla="*/ 0 h 47"/>
                  <a:gd name="T20" fmla="*/ 3615 w 73"/>
                  <a:gd name="T21" fmla="*/ 0 h 47"/>
                  <a:gd name="T22" fmla="*/ 5750 w 73"/>
                  <a:gd name="T23" fmla="*/ 0 h 47"/>
                  <a:gd name="T24" fmla="*/ 5573 w 73"/>
                  <a:gd name="T25" fmla="*/ 10 h 47"/>
                  <a:gd name="T26" fmla="*/ 5573 w 73"/>
                  <a:gd name="T27" fmla="*/ 395 h 47"/>
                  <a:gd name="T28" fmla="*/ 5648 w 73"/>
                  <a:gd name="T29" fmla="*/ 628 h 47"/>
                  <a:gd name="T30" fmla="*/ 5750 w 73"/>
                  <a:gd name="T31" fmla="*/ 628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3"/>
                  <a:gd name="T49" fmla="*/ 0 h 47"/>
                  <a:gd name="T50" fmla="*/ 73 w 73"/>
                  <a:gd name="T51" fmla="*/ 47 h 4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3" h="47">
                    <a:moveTo>
                      <a:pt x="73" y="40"/>
                    </a:moveTo>
                    <a:lnTo>
                      <a:pt x="24" y="42"/>
                    </a:lnTo>
                    <a:lnTo>
                      <a:pt x="9" y="47"/>
                    </a:lnTo>
                    <a:lnTo>
                      <a:pt x="9" y="44"/>
                    </a:lnTo>
                    <a:lnTo>
                      <a:pt x="0" y="37"/>
                    </a:lnTo>
                    <a:lnTo>
                      <a:pt x="8" y="25"/>
                    </a:lnTo>
                    <a:lnTo>
                      <a:pt x="9" y="17"/>
                    </a:lnTo>
                    <a:lnTo>
                      <a:pt x="13" y="8"/>
                    </a:lnTo>
                    <a:lnTo>
                      <a:pt x="13" y="2"/>
                    </a:lnTo>
                    <a:lnTo>
                      <a:pt x="16" y="0"/>
                    </a:lnTo>
                    <a:lnTo>
                      <a:pt x="46" y="0"/>
                    </a:lnTo>
                    <a:lnTo>
                      <a:pt x="73" y="0"/>
                    </a:lnTo>
                    <a:lnTo>
                      <a:pt x="70" y="10"/>
                    </a:lnTo>
                    <a:lnTo>
                      <a:pt x="70" y="27"/>
                    </a:lnTo>
                    <a:lnTo>
                      <a:pt x="72" y="40"/>
                    </a:lnTo>
                    <a:lnTo>
                      <a:pt x="73" y="40"/>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5" name="Freeform 71"/>
              <p:cNvSpPr>
                <a:spLocks/>
              </p:cNvSpPr>
              <p:nvPr/>
            </p:nvSpPr>
            <p:spPr bwMode="auto">
              <a:xfrm>
                <a:off x="1664" y="2434"/>
                <a:ext cx="78" cy="49"/>
              </a:xfrm>
              <a:custGeom>
                <a:avLst/>
                <a:gdLst>
                  <a:gd name="T0" fmla="*/ 5750 w 73"/>
                  <a:gd name="T1" fmla="*/ 628 h 47"/>
                  <a:gd name="T2" fmla="*/ 1928 w 73"/>
                  <a:gd name="T3" fmla="*/ 655 h 47"/>
                  <a:gd name="T4" fmla="*/ 761 w 73"/>
                  <a:gd name="T5" fmla="*/ 731 h 47"/>
                  <a:gd name="T6" fmla="*/ 761 w 73"/>
                  <a:gd name="T7" fmla="*/ 683 h 47"/>
                  <a:gd name="T8" fmla="*/ 0 w 73"/>
                  <a:gd name="T9" fmla="*/ 594 h 47"/>
                  <a:gd name="T10" fmla="*/ 712 w 73"/>
                  <a:gd name="T11" fmla="*/ 364 h 47"/>
                  <a:gd name="T12" fmla="*/ 761 w 73"/>
                  <a:gd name="T13" fmla="*/ 260 h 47"/>
                  <a:gd name="T14" fmla="*/ 993 w 73"/>
                  <a:gd name="T15" fmla="*/ 8 h 47"/>
                  <a:gd name="T16" fmla="*/ 993 w 73"/>
                  <a:gd name="T17" fmla="*/ 2 h 47"/>
                  <a:gd name="T18" fmla="*/ 1212 w 73"/>
                  <a:gd name="T19" fmla="*/ 0 h 47"/>
                  <a:gd name="T20" fmla="*/ 3615 w 73"/>
                  <a:gd name="T21" fmla="*/ 0 h 47"/>
                  <a:gd name="T22" fmla="*/ 5750 w 73"/>
                  <a:gd name="T23" fmla="*/ 0 h 47"/>
                  <a:gd name="T24" fmla="*/ 5573 w 73"/>
                  <a:gd name="T25" fmla="*/ 10 h 47"/>
                  <a:gd name="T26" fmla="*/ 5573 w 73"/>
                  <a:gd name="T27" fmla="*/ 395 h 47"/>
                  <a:gd name="T28" fmla="*/ 5648 w 73"/>
                  <a:gd name="T29" fmla="*/ 628 h 47"/>
                  <a:gd name="T30" fmla="*/ 5750 w 73"/>
                  <a:gd name="T31" fmla="*/ 628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3"/>
                  <a:gd name="T49" fmla="*/ 0 h 47"/>
                  <a:gd name="T50" fmla="*/ 73 w 73"/>
                  <a:gd name="T51" fmla="*/ 47 h 4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3" h="47">
                    <a:moveTo>
                      <a:pt x="73" y="40"/>
                    </a:moveTo>
                    <a:lnTo>
                      <a:pt x="24" y="42"/>
                    </a:lnTo>
                    <a:lnTo>
                      <a:pt x="9" y="47"/>
                    </a:lnTo>
                    <a:lnTo>
                      <a:pt x="9" y="44"/>
                    </a:lnTo>
                    <a:lnTo>
                      <a:pt x="0" y="37"/>
                    </a:lnTo>
                    <a:lnTo>
                      <a:pt x="8" y="25"/>
                    </a:lnTo>
                    <a:lnTo>
                      <a:pt x="9" y="17"/>
                    </a:lnTo>
                    <a:lnTo>
                      <a:pt x="13" y="8"/>
                    </a:lnTo>
                    <a:lnTo>
                      <a:pt x="13" y="2"/>
                    </a:lnTo>
                    <a:lnTo>
                      <a:pt x="16" y="0"/>
                    </a:lnTo>
                    <a:lnTo>
                      <a:pt x="46" y="0"/>
                    </a:lnTo>
                    <a:lnTo>
                      <a:pt x="73" y="0"/>
                    </a:lnTo>
                    <a:lnTo>
                      <a:pt x="70" y="10"/>
                    </a:lnTo>
                    <a:lnTo>
                      <a:pt x="70" y="27"/>
                    </a:lnTo>
                    <a:lnTo>
                      <a:pt x="72" y="40"/>
                    </a:lnTo>
                    <a:lnTo>
                      <a:pt x="73" y="4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86" name="Freeform 72"/>
              <p:cNvSpPr>
                <a:spLocks/>
              </p:cNvSpPr>
              <p:nvPr/>
            </p:nvSpPr>
            <p:spPr bwMode="auto">
              <a:xfrm>
                <a:off x="1775" y="2704"/>
                <a:ext cx="41" cy="55"/>
              </a:xfrm>
              <a:custGeom>
                <a:avLst/>
                <a:gdLst>
                  <a:gd name="T0" fmla="*/ 2564 w 38"/>
                  <a:gd name="T1" fmla="*/ 483 h 53"/>
                  <a:gd name="T2" fmla="*/ 2564 w 38"/>
                  <a:gd name="T3" fmla="*/ 562 h 53"/>
                  <a:gd name="T4" fmla="*/ 1626 w 38"/>
                  <a:gd name="T5" fmla="*/ 603 h 53"/>
                  <a:gd name="T6" fmla="*/ 6 w 38"/>
                  <a:gd name="T7" fmla="*/ 542 h 53"/>
                  <a:gd name="T8" fmla="*/ 4 w 38"/>
                  <a:gd name="T9" fmla="*/ 501 h 53"/>
                  <a:gd name="T10" fmla="*/ 4 w 38"/>
                  <a:gd name="T11" fmla="*/ 418 h 53"/>
                  <a:gd name="T12" fmla="*/ 2 w 38"/>
                  <a:gd name="T13" fmla="*/ 299 h 53"/>
                  <a:gd name="T14" fmla="*/ 0 w 38"/>
                  <a:gd name="T15" fmla="*/ 258 h 53"/>
                  <a:gd name="T16" fmla="*/ 1397 w 38"/>
                  <a:gd name="T17" fmla="*/ 199 h 53"/>
                  <a:gd name="T18" fmla="*/ 2376 w 38"/>
                  <a:gd name="T19" fmla="*/ 12 h 53"/>
                  <a:gd name="T20" fmla="*/ 3220 w 38"/>
                  <a:gd name="T21" fmla="*/ 2 h 53"/>
                  <a:gd name="T22" fmla="*/ 4044 w 38"/>
                  <a:gd name="T23" fmla="*/ 0 h 53"/>
                  <a:gd name="T24" fmla="*/ 5101 w 38"/>
                  <a:gd name="T25" fmla="*/ 1 h 53"/>
                  <a:gd name="T26" fmla="*/ 5654 w 38"/>
                  <a:gd name="T27" fmla="*/ 9 h 53"/>
                  <a:gd name="T28" fmla="*/ 5101 w 38"/>
                  <a:gd name="T29" fmla="*/ 11 h 53"/>
                  <a:gd name="T30" fmla="*/ 4173 w 38"/>
                  <a:gd name="T31" fmla="*/ 185 h 53"/>
                  <a:gd name="T32" fmla="*/ 3323 w 38"/>
                  <a:gd name="T33" fmla="*/ 231 h 53"/>
                  <a:gd name="T34" fmla="*/ 2984 w 38"/>
                  <a:gd name="T35" fmla="*/ 334 h 53"/>
                  <a:gd name="T36" fmla="*/ 2564 w 38"/>
                  <a:gd name="T37" fmla="*/ 483 h 5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8"/>
                  <a:gd name="T58" fmla="*/ 0 h 53"/>
                  <a:gd name="T59" fmla="*/ 38 w 38"/>
                  <a:gd name="T60" fmla="*/ 53 h 5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8" h="53">
                    <a:moveTo>
                      <a:pt x="17" y="41"/>
                    </a:moveTo>
                    <a:lnTo>
                      <a:pt x="17" y="50"/>
                    </a:lnTo>
                    <a:lnTo>
                      <a:pt x="11" y="53"/>
                    </a:lnTo>
                    <a:lnTo>
                      <a:pt x="6" y="48"/>
                    </a:lnTo>
                    <a:lnTo>
                      <a:pt x="4" y="43"/>
                    </a:lnTo>
                    <a:lnTo>
                      <a:pt x="4" y="37"/>
                    </a:lnTo>
                    <a:lnTo>
                      <a:pt x="2" y="28"/>
                    </a:lnTo>
                    <a:lnTo>
                      <a:pt x="0" y="24"/>
                    </a:lnTo>
                    <a:lnTo>
                      <a:pt x="9" y="17"/>
                    </a:lnTo>
                    <a:lnTo>
                      <a:pt x="16" y="12"/>
                    </a:lnTo>
                    <a:lnTo>
                      <a:pt x="21" y="2"/>
                    </a:lnTo>
                    <a:lnTo>
                      <a:pt x="27" y="0"/>
                    </a:lnTo>
                    <a:lnTo>
                      <a:pt x="34" y="1"/>
                    </a:lnTo>
                    <a:lnTo>
                      <a:pt x="38" y="9"/>
                    </a:lnTo>
                    <a:lnTo>
                      <a:pt x="34" y="11"/>
                    </a:lnTo>
                    <a:lnTo>
                      <a:pt x="28" y="15"/>
                    </a:lnTo>
                    <a:lnTo>
                      <a:pt x="22" y="21"/>
                    </a:lnTo>
                    <a:lnTo>
                      <a:pt x="19" y="31"/>
                    </a:lnTo>
                    <a:lnTo>
                      <a:pt x="17"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7" name="Freeform 73"/>
              <p:cNvSpPr>
                <a:spLocks/>
              </p:cNvSpPr>
              <p:nvPr/>
            </p:nvSpPr>
            <p:spPr bwMode="auto">
              <a:xfrm>
                <a:off x="1775" y="2704"/>
                <a:ext cx="41" cy="55"/>
              </a:xfrm>
              <a:custGeom>
                <a:avLst/>
                <a:gdLst>
                  <a:gd name="T0" fmla="*/ 2564 w 38"/>
                  <a:gd name="T1" fmla="*/ 483 h 53"/>
                  <a:gd name="T2" fmla="*/ 2564 w 38"/>
                  <a:gd name="T3" fmla="*/ 562 h 53"/>
                  <a:gd name="T4" fmla="*/ 1626 w 38"/>
                  <a:gd name="T5" fmla="*/ 603 h 53"/>
                  <a:gd name="T6" fmla="*/ 6 w 38"/>
                  <a:gd name="T7" fmla="*/ 542 h 53"/>
                  <a:gd name="T8" fmla="*/ 4 w 38"/>
                  <a:gd name="T9" fmla="*/ 501 h 53"/>
                  <a:gd name="T10" fmla="*/ 4 w 38"/>
                  <a:gd name="T11" fmla="*/ 418 h 53"/>
                  <a:gd name="T12" fmla="*/ 2 w 38"/>
                  <a:gd name="T13" fmla="*/ 299 h 53"/>
                  <a:gd name="T14" fmla="*/ 0 w 38"/>
                  <a:gd name="T15" fmla="*/ 258 h 53"/>
                  <a:gd name="T16" fmla="*/ 1397 w 38"/>
                  <a:gd name="T17" fmla="*/ 199 h 53"/>
                  <a:gd name="T18" fmla="*/ 2376 w 38"/>
                  <a:gd name="T19" fmla="*/ 12 h 53"/>
                  <a:gd name="T20" fmla="*/ 3220 w 38"/>
                  <a:gd name="T21" fmla="*/ 2 h 53"/>
                  <a:gd name="T22" fmla="*/ 4044 w 38"/>
                  <a:gd name="T23" fmla="*/ 0 h 53"/>
                  <a:gd name="T24" fmla="*/ 5101 w 38"/>
                  <a:gd name="T25" fmla="*/ 1 h 53"/>
                  <a:gd name="T26" fmla="*/ 5654 w 38"/>
                  <a:gd name="T27" fmla="*/ 9 h 53"/>
                  <a:gd name="T28" fmla="*/ 5101 w 38"/>
                  <a:gd name="T29" fmla="*/ 11 h 53"/>
                  <a:gd name="T30" fmla="*/ 4173 w 38"/>
                  <a:gd name="T31" fmla="*/ 185 h 53"/>
                  <a:gd name="T32" fmla="*/ 3323 w 38"/>
                  <a:gd name="T33" fmla="*/ 231 h 53"/>
                  <a:gd name="T34" fmla="*/ 2984 w 38"/>
                  <a:gd name="T35" fmla="*/ 334 h 53"/>
                  <a:gd name="T36" fmla="*/ 2564 w 38"/>
                  <a:gd name="T37" fmla="*/ 483 h 5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8"/>
                  <a:gd name="T58" fmla="*/ 0 h 53"/>
                  <a:gd name="T59" fmla="*/ 38 w 38"/>
                  <a:gd name="T60" fmla="*/ 53 h 5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8" h="53">
                    <a:moveTo>
                      <a:pt x="17" y="41"/>
                    </a:moveTo>
                    <a:lnTo>
                      <a:pt x="17" y="50"/>
                    </a:lnTo>
                    <a:lnTo>
                      <a:pt x="11" y="53"/>
                    </a:lnTo>
                    <a:lnTo>
                      <a:pt x="6" y="48"/>
                    </a:lnTo>
                    <a:lnTo>
                      <a:pt x="4" y="43"/>
                    </a:lnTo>
                    <a:lnTo>
                      <a:pt x="4" y="37"/>
                    </a:lnTo>
                    <a:lnTo>
                      <a:pt x="2" y="28"/>
                    </a:lnTo>
                    <a:lnTo>
                      <a:pt x="0" y="24"/>
                    </a:lnTo>
                    <a:lnTo>
                      <a:pt x="9" y="17"/>
                    </a:lnTo>
                    <a:lnTo>
                      <a:pt x="16" y="12"/>
                    </a:lnTo>
                    <a:lnTo>
                      <a:pt x="21" y="2"/>
                    </a:lnTo>
                    <a:lnTo>
                      <a:pt x="27" y="0"/>
                    </a:lnTo>
                    <a:lnTo>
                      <a:pt x="34" y="1"/>
                    </a:lnTo>
                    <a:lnTo>
                      <a:pt x="38" y="9"/>
                    </a:lnTo>
                    <a:lnTo>
                      <a:pt x="34" y="11"/>
                    </a:lnTo>
                    <a:lnTo>
                      <a:pt x="28" y="15"/>
                    </a:lnTo>
                    <a:lnTo>
                      <a:pt x="22" y="21"/>
                    </a:lnTo>
                    <a:lnTo>
                      <a:pt x="19" y="31"/>
                    </a:lnTo>
                    <a:lnTo>
                      <a:pt x="17" y="41"/>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88" name="Freeform 74"/>
              <p:cNvSpPr>
                <a:spLocks/>
              </p:cNvSpPr>
              <p:nvPr/>
            </p:nvSpPr>
            <p:spPr bwMode="auto">
              <a:xfrm>
                <a:off x="1640" y="2434"/>
                <a:ext cx="229" cy="250"/>
              </a:xfrm>
              <a:custGeom>
                <a:avLst/>
                <a:gdLst>
                  <a:gd name="T0" fmla="*/ 2607 w 214"/>
                  <a:gd name="T1" fmla="*/ 1238 h 238"/>
                  <a:gd name="T2" fmla="*/ 3966 w 214"/>
                  <a:gd name="T3" fmla="*/ 1076 h 238"/>
                  <a:gd name="T4" fmla="*/ 8248 w 214"/>
                  <a:gd name="T5" fmla="*/ 1017 h 238"/>
                  <a:gd name="T6" fmla="*/ 8200 w 214"/>
                  <a:gd name="T7" fmla="*/ 299 h 238"/>
                  <a:gd name="T8" fmla="*/ 15034 w 214"/>
                  <a:gd name="T9" fmla="*/ 0 h 238"/>
                  <a:gd name="T10" fmla="*/ 14944 w 214"/>
                  <a:gd name="T11" fmla="*/ 593 h 238"/>
                  <a:gd name="T12" fmla="*/ 15175 w 214"/>
                  <a:gd name="T13" fmla="*/ 1017 h 238"/>
                  <a:gd name="T14" fmla="*/ 18180 w 214"/>
                  <a:gd name="T15" fmla="*/ 758 h 238"/>
                  <a:gd name="T16" fmla="*/ 18838 w 214"/>
                  <a:gd name="T17" fmla="*/ 1366 h 238"/>
                  <a:gd name="T18" fmla="*/ 17679 w 214"/>
                  <a:gd name="T19" fmla="*/ 2221 h 238"/>
                  <a:gd name="T20" fmla="*/ 18486 w 214"/>
                  <a:gd name="T21" fmla="*/ 2984 h 238"/>
                  <a:gd name="T22" fmla="*/ 18311 w 214"/>
                  <a:gd name="T23" fmla="*/ 3478 h 238"/>
                  <a:gd name="T24" fmla="*/ 17679 w 214"/>
                  <a:gd name="T25" fmla="*/ 4446 h 238"/>
                  <a:gd name="T26" fmla="*/ 15651 w 214"/>
                  <a:gd name="T27" fmla="*/ 4263 h 238"/>
                  <a:gd name="T28" fmla="*/ 13483 w 214"/>
                  <a:gd name="T29" fmla="*/ 4124 h 238"/>
                  <a:gd name="T30" fmla="*/ 12384 w 214"/>
                  <a:gd name="T31" fmla="*/ 4222 h 238"/>
                  <a:gd name="T32" fmla="*/ 10423 w 214"/>
                  <a:gd name="T33" fmla="*/ 4561 h 238"/>
                  <a:gd name="T34" fmla="*/ 9567 w 214"/>
                  <a:gd name="T35" fmla="*/ 4805 h 238"/>
                  <a:gd name="T36" fmla="*/ 9609 w 214"/>
                  <a:gd name="T37" fmla="*/ 5292 h 238"/>
                  <a:gd name="T38" fmla="*/ 9609 w 214"/>
                  <a:gd name="T39" fmla="*/ 5653 h 238"/>
                  <a:gd name="T40" fmla="*/ 8248 w 214"/>
                  <a:gd name="T41" fmla="*/ 5680 h 238"/>
                  <a:gd name="T42" fmla="*/ 7807 w 214"/>
                  <a:gd name="T43" fmla="*/ 6133 h 238"/>
                  <a:gd name="T44" fmla="*/ 6818 w 214"/>
                  <a:gd name="T45" fmla="*/ 5680 h 238"/>
                  <a:gd name="T46" fmla="*/ 3706 w 214"/>
                  <a:gd name="T47" fmla="*/ 4805 h 238"/>
                  <a:gd name="T48" fmla="*/ 2641 w 214"/>
                  <a:gd name="T49" fmla="*/ 4435 h 238"/>
                  <a:gd name="T50" fmla="*/ 1622 w 214"/>
                  <a:gd name="T51" fmla="*/ 4058 h 238"/>
                  <a:gd name="T52" fmla="*/ 823 w 214"/>
                  <a:gd name="T53" fmla="*/ 3405 h 238"/>
                  <a:gd name="T54" fmla="*/ 0 w 214"/>
                  <a:gd name="T55" fmla="*/ 2933 h 238"/>
                  <a:gd name="T56" fmla="*/ 7 w 214"/>
                  <a:gd name="T57" fmla="*/ 2857 h 238"/>
                  <a:gd name="T58" fmla="*/ 1417 w 214"/>
                  <a:gd name="T59" fmla="*/ 2589 h 238"/>
                  <a:gd name="T60" fmla="*/ 1622 w 214"/>
                  <a:gd name="T61" fmla="*/ 1941 h 238"/>
                  <a:gd name="T62" fmla="*/ 2276 w 214"/>
                  <a:gd name="T63" fmla="*/ 2025 h 238"/>
                  <a:gd name="T64" fmla="*/ 3463 w 214"/>
                  <a:gd name="T65" fmla="*/ 2072 h 238"/>
                  <a:gd name="T66" fmla="*/ 3463 w 214"/>
                  <a:gd name="T67" fmla="*/ 2013 h 238"/>
                  <a:gd name="T68" fmla="*/ 2436 w 214"/>
                  <a:gd name="T69" fmla="*/ 1848 h 238"/>
                  <a:gd name="T70" fmla="*/ 1858 w 214"/>
                  <a:gd name="T71" fmla="*/ 1675 h 238"/>
                  <a:gd name="T72" fmla="*/ 2436 w 214"/>
                  <a:gd name="T73" fmla="*/ 1574 h 2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4"/>
                  <a:gd name="T112" fmla="*/ 0 h 238"/>
                  <a:gd name="T113" fmla="*/ 214 w 214"/>
                  <a:gd name="T114" fmla="*/ 238 h 2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4" h="238">
                    <a:moveTo>
                      <a:pt x="30" y="58"/>
                    </a:moveTo>
                    <a:lnTo>
                      <a:pt x="30" y="48"/>
                    </a:lnTo>
                    <a:lnTo>
                      <a:pt x="30" y="47"/>
                    </a:lnTo>
                    <a:lnTo>
                      <a:pt x="46" y="43"/>
                    </a:lnTo>
                    <a:lnTo>
                      <a:pt x="96" y="41"/>
                    </a:lnTo>
                    <a:lnTo>
                      <a:pt x="94" y="40"/>
                    </a:lnTo>
                    <a:lnTo>
                      <a:pt x="94" y="27"/>
                    </a:lnTo>
                    <a:lnTo>
                      <a:pt x="93" y="10"/>
                    </a:lnTo>
                    <a:lnTo>
                      <a:pt x="96" y="0"/>
                    </a:lnTo>
                    <a:lnTo>
                      <a:pt x="172" y="0"/>
                    </a:lnTo>
                    <a:lnTo>
                      <a:pt x="169" y="11"/>
                    </a:lnTo>
                    <a:lnTo>
                      <a:pt x="169" y="24"/>
                    </a:lnTo>
                    <a:lnTo>
                      <a:pt x="169" y="37"/>
                    </a:lnTo>
                    <a:lnTo>
                      <a:pt x="174" y="40"/>
                    </a:lnTo>
                    <a:lnTo>
                      <a:pt x="186" y="24"/>
                    </a:lnTo>
                    <a:lnTo>
                      <a:pt x="207" y="29"/>
                    </a:lnTo>
                    <a:lnTo>
                      <a:pt x="214" y="38"/>
                    </a:lnTo>
                    <a:lnTo>
                      <a:pt x="214" y="53"/>
                    </a:lnTo>
                    <a:lnTo>
                      <a:pt x="202" y="75"/>
                    </a:lnTo>
                    <a:lnTo>
                      <a:pt x="202" y="86"/>
                    </a:lnTo>
                    <a:lnTo>
                      <a:pt x="203" y="95"/>
                    </a:lnTo>
                    <a:lnTo>
                      <a:pt x="212" y="116"/>
                    </a:lnTo>
                    <a:lnTo>
                      <a:pt x="210" y="127"/>
                    </a:lnTo>
                    <a:lnTo>
                      <a:pt x="208" y="136"/>
                    </a:lnTo>
                    <a:lnTo>
                      <a:pt x="207" y="162"/>
                    </a:lnTo>
                    <a:lnTo>
                      <a:pt x="202" y="174"/>
                    </a:lnTo>
                    <a:lnTo>
                      <a:pt x="192" y="178"/>
                    </a:lnTo>
                    <a:lnTo>
                      <a:pt x="179" y="167"/>
                    </a:lnTo>
                    <a:lnTo>
                      <a:pt x="161" y="168"/>
                    </a:lnTo>
                    <a:lnTo>
                      <a:pt x="154" y="160"/>
                    </a:lnTo>
                    <a:lnTo>
                      <a:pt x="150" y="157"/>
                    </a:lnTo>
                    <a:lnTo>
                      <a:pt x="142" y="164"/>
                    </a:lnTo>
                    <a:lnTo>
                      <a:pt x="136" y="170"/>
                    </a:lnTo>
                    <a:lnTo>
                      <a:pt x="119" y="177"/>
                    </a:lnTo>
                    <a:lnTo>
                      <a:pt x="112" y="182"/>
                    </a:lnTo>
                    <a:lnTo>
                      <a:pt x="109" y="188"/>
                    </a:lnTo>
                    <a:lnTo>
                      <a:pt x="107" y="197"/>
                    </a:lnTo>
                    <a:lnTo>
                      <a:pt x="110" y="206"/>
                    </a:lnTo>
                    <a:lnTo>
                      <a:pt x="113" y="215"/>
                    </a:lnTo>
                    <a:lnTo>
                      <a:pt x="110" y="220"/>
                    </a:lnTo>
                    <a:lnTo>
                      <a:pt x="103" y="219"/>
                    </a:lnTo>
                    <a:lnTo>
                      <a:pt x="94" y="222"/>
                    </a:lnTo>
                    <a:lnTo>
                      <a:pt x="91" y="227"/>
                    </a:lnTo>
                    <a:lnTo>
                      <a:pt x="89" y="238"/>
                    </a:lnTo>
                    <a:lnTo>
                      <a:pt x="84" y="228"/>
                    </a:lnTo>
                    <a:lnTo>
                      <a:pt x="78" y="222"/>
                    </a:lnTo>
                    <a:lnTo>
                      <a:pt x="68" y="210"/>
                    </a:lnTo>
                    <a:lnTo>
                      <a:pt x="43" y="188"/>
                    </a:lnTo>
                    <a:lnTo>
                      <a:pt x="37" y="180"/>
                    </a:lnTo>
                    <a:lnTo>
                      <a:pt x="31" y="172"/>
                    </a:lnTo>
                    <a:lnTo>
                      <a:pt x="24" y="164"/>
                    </a:lnTo>
                    <a:lnTo>
                      <a:pt x="19" y="159"/>
                    </a:lnTo>
                    <a:lnTo>
                      <a:pt x="12" y="142"/>
                    </a:lnTo>
                    <a:lnTo>
                      <a:pt x="9" y="133"/>
                    </a:lnTo>
                    <a:lnTo>
                      <a:pt x="3" y="120"/>
                    </a:lnTo>
                    <a:lnTo>
                      <a:pt x="0" y="114"/>
                    </a:lnTo>
                    <a:lnTo>
                      <a:pt x="3" y="113"/>
                    </a:lnTo>
                    <a:lnTo>
                      <a:pt x="7" y="111"/>
                    </a:lnTo>
                    <a:lnTo>
                      <a:pt x="12" y="106"/>
                    </a:lnTo>
                    <a:lnTo>
                      <a:pt x="17" y="101"/>
                    </a:lnTo>
                    <a:lnTo>
                      <a:pt x="18" y="92"/>
                    </a:lnTo>
                    <a:lnTo>
                      <a:pt x="19" y="76"/>
                    </a:lnTo>
                    <a:lnTo>
                      <a:pt x="22" y="76"/>
                    </a:lnTo>
                    <a:lnTo>
                      <a:pt x="26" y="79"/>
                    </a:lnTo>
                    <a:lnTo>
                      <a:pt x="31" y="81"/>
                    </a:lnTo>
                    <a:lnTo>
                      <a:pt x="40" y="81"/>
                    </a:lnTo>
                    <a:lnTo>
                      <a:pt x="41" y="79"/>
                    </a:lnTo>
                    <a:lnTo>
                      <a:pt x="40" y="78"/>
                    </a:lnTo>
                    <a:lnTo>
                      <a:pt x="33" y="76"/>
                    </a:lnTo>
                    <a:lnTo>
                      <a:pt x="28" y="72"/>
                    </a:lnTo>
                    <a:lnTo>
                      <a:pt x="24" y="69"/>
                    </a:lnTo>
                    <a:lnTo>
                      <a:pt x="21" y="66"/>
                    </a:lnTo>
                    <a:lnTo>
                      <a:pt x="22" y="62"/>
                    </a:lnTo>
                    <a:lnTo>
                      <a:pt x="28" y="61"/>
                    </a:lnTo>
                    <a:lnTo>
                      <a:pt x="30" y="58"/>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9" name="Freeform 75"/>
              <p:cNvSpPr>
                <a:spLocks/>
              </p:cNvSpPr>
              <p:nvPr/>
            </p:nvSpPr>
            <p:spPr bwMode="auto">
              <a:xfrm>
                <a:off x="1640" y="2434"/>
                <a:ext cx="229" cy="250"/>
              </a:xfrm>
              <a:custGeom>
                <a:avLst/>
                <a:gdLst>
                  <a:gd name="T0" fmla="*/ 2607 w 214"/>
                  <a:gd name="T1" fmla="*/ 1238 h 238"/>
                  <a:gd name="T2" fmla="*/ 3966 w 214"/>
                  <a:gd name="T3" fmla="*/ 1076 h 238"/>
                  <a:gd name="T4" fmla="*/ 8248 w 214"/>
                  <a:gd name="T5" fmla="*/ 1017 h 238"/>
                  <a:gd name="T6" fmla="*/ 8200 w 214"/>
                  <a:gd name="T7" fmla="*/ 299 h 238"/>
                  <a:gd name="T8" fmla="*/ 15034 w 214"/>
                  <a:gd name="T9" fmla="*/ 0 h 238"/>
                  <a:gd name="T10" fmla="*/ 14944 w 214"/>
                  <a:gd name="T11" fmla="*/ 593 h 238"/>
                  <a:gd name="T12" fmla="*/ 15175 w 214"/>
                  <a:gd name="T13" fmla="*/ 1017 h 238"/>
                  <a:gd name="T14" fmla="*/ 18180 w 214"/>
                  <a:gd name="T15" fmla="*/ 758 h 238"/>
                  <a:gd name="T16" fmla="*/ 18838 w 214"/>
                  <a:gd name="T17" fmla="*/ 1366 h 238"/>
                  <a:gd name="T18" fmla="*/ 17679 w 214"/>
                  <a:gd name="T19" fmla="*/ 2221 h 238"/>
                  <a:gd name="T20" fmla="*/ 18486 w 214"/>
                  <a:gd name="T21" fmla="*/ 2984 h 238"/>
                  <a:gd name="T22" fmla="*/ 18311 w 214"/>
                  <a:gd name="T23" fmla="*/ 3478 h 238"/>
                  <a:gd name="T24" fmla="*/ 17679 w 214"/>
                  <a:gd name="T25" fmla="*/ 4446 h 238"/>
                  <a:gd name="T26" fmla="*/ 15651 w 214"/>
                  <a:gd name="T27" fmla="*/ 4263 h 238"/>
                  <a:gd name="T28" fmla="*/ 13483 w 214"/>
                  <a:gd name="T29" fmla="*/ 4124 h 238"/>
                  <a:gd name="T30" fmla="*/ 12384 w 214"/>
                  <a:gd name="T31" fmla="*/ 4222 h 238"/>
                  <a:gd name="T32" fmla="*/ 10423 w 214"/>
                  <a:gd name="T33" fmla="*/ 4561 h 238"/>
                  <a:gd name="T34" fmla="*/ 9567 w 214"/>
                  <a:gd name="T35" fmla="*/ 4805 h 238"/>
                  <a:gd name="T36" fmla="*/ 9609 w 214"/>
                  <a:gd name="T37" fmla="*/ 5292 h 238"/>
                  <a:gd name="T38" fmla="*/ 9609 w 214"/>
                  <a:gd name="T39" fmla="*/ 5653 h 238"/>
                  <a:gd name="T40" fmla="*/ 8248 w 214"/>
                  <a:gd name="T41" fmla="*/ 5680 h 238"/>
                  <a:gd name="T42" fmla="*/ 7807 w 214"/>
                  <a:gd name="T43" fmla="*/ 6133 h 238"/>
                  <a:gd name="T44" fmla="*/ 6818 w 214"/>
                  <a:gd name="T45" fmla="*/ 5680 h 238"/>
                  <a:gd name="T46" fmla="*/ 3706 w 214"/>
                  <a:gd name="T47" fmla="*/ 4805 h 238"/>
                  <a:gd name="T48" fmla="*/ 2641 w 214"/>
                  <a:gd name="T49" fmla="*/ 4435 h 238"/>
                  <a:gd name="T50" fmla="*/ 1622 w 214"/>
                  <a:gd name="T51" fmla="*/ 4058 h 238"/>
                  <a:gd name="T52" fmla="*/ 823 w 214"/>
                  <a:gd name="T53" fmla="*/ 3405 h 238"/>
                  <a:gd name="T54" fmla="*/ 0 w 214"/>
                  <a:gd name="T55" fmla="*/ 2933 h 238"/>
                  <a:gd name="T56" fmla="*/ 7 w 214"/>
                  <a:gd name="T57" fmla="*/ 2857 h 238"/>
                  <a:gd name="T58" fmla="*/ 1417 w 214"/>
                  <a:gd name="T59" fmla="*/ 2589 h 238"/>
                  <a:gd name="T60" fmla="*/ 1622 w 214"/>
                  <a:gd name="T61" fmla="*/ 1941 h 238"/>
                  <a:gd name="T62" fmla="*/ 2276 w 214"/>
                  <a:gd name="T63" fmla="*/ 2025 h 238"/>
                  <a:gd name="T64" fmla="*/ 3463 w 214"/>
                  <a:gd name="T65" fmla="*/ 2072 h 238"/>
                  <a:gd name="T66" fmla="*/ 3463 w 214"/>
                  <a:gd name="T67" fmla="*/ 2013 h 238"/>
                  <a:gd name="T68" fmla="*/ 2436 w 214"/>
                  <a:gd name="T69" fmla="*/ 1848 h 238"/>
                  <a:gd name="T70" fmla="*/ 1858 w 214"/>
                  <a:gd name="T71" fmla="*/ 1675 h 238"/>
                  <a:gd name="T72" fmla="*/ 2436 w 214"/>
                  <a:gd name="T73" fmla="*/ 1574 h 2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4"/>
                  <a:gd name="T112" fmla="*/ 0 h 238"/>
                  <a:gd name="T113" fmla="*/ 214 w 214"/>
                  <a:gd name="T114" fmla="*/ 238 h 2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4" h="238">
                    <a:moveTo>
                      <a:pt x="30" y="58"/>
                    </a:moveTo>
                    <a:lnTo>
                      <a:pt x="30" y="48"/>
                    </a:lnTo>
                    <a:lnTo>
                      <a:pt x="30" y="47"/>
                    </a:lnTo>
                    <a:lnTo>
                      <a:pt x="46" y="43"/>
                    </a:lnTo>
                    <a:lnTo>
                      <a:pt x="96" y="41"/>
                    </a:lnTo>
                    <a:lnTo>
                      <a:pt x="94" y="40"/>
                    </a:lnTo>
                    <a:lnTo>
                      <a:pt x="94" y="27"/>
                    </a:lnTo>
                    <a:lnTo>
                      <a:pt x="93" y="10"/>
                    </a:lnTo>
                    <a:lnTo>
                      <a:pt x="96" y="0"/>
                    </a:lnTo>
                    <a:lnTo>
                      <a:pt x="172" y="0"/>
                    </a:lnTo>
                    <a:lnTo>
                      <a:pt x="169" y="11"/>
                    </a:lnTo>
                    <a:lnTo>
                      <a:pt x="169" y="24"/>
                    </a:lnTo>
                    <a:lnTo>
                      <a:pt x="169" y="37"/>
                    </a:lnTo>
                    <a:lnTo>
                      <a:pt x="174" y="40"/>
                    </a:lnTo>
                    <a:lnTo>
                      <a:pt x="186" y="24"/>
                    </a:lnTo>
                    <a:lnTo>
                      <a:pt x="207" y="29"/>
                    </a:lnTo>
                    <a:lnTo>
                      <a:pt x="214" y="38"/>
                    </a:lnTo>
                    <a:lnTo>
                      <a:pt x="214" y="53"/>
                    </a:lnTo>
                    <a:lnTo>
                      <a:pt x="202" y="75"/>
                    </a:lnTo>
                    <a:lnTo>
                      <a:pt x="202" y="86"/>
                    </a:lnTo>
                    <a:lnTo>
                      <a:pt x="203" y="95"/>
                    </a:lnTo>
                    <a:lnTo>
                      <a:pt x="212" y="116"/>
                    </a:lnTo>
                    <a:lnTo>
                      <a:pt x="210" y="127"/>
                    </a:lnTo>
                    <a:lnTo>
                      <a:pt x="208" y="136"/>
                    </a:lnTo>
                    <a:lnTo>
                      <a:pt x="207" y="162"/>
                    </a:lnTo>
                    <a:lnTo>
                      <a:pt x="202" y="174"/>
                    </a:lnTo>
                    <a:lnTo>
                      <a:pt x="192" y="178"/>
                    </a:lnTo>
                    <a:lnTo>
                      <a:pt x="179" y="167"/>
                    </a:lnTo>
                    <a:lnTo>
                      <a:pt x="161" y="168"/>
                    </a:lnTo>
                    <a:lnTo>
                      <a:pt x="154" y="160"/>
                    </a:lnTo>
                    <a:lnTo>
                      <a:pt x="150" y="157"/>
                    </a:lnTo>
                    <a:lnTo>
                      <a:pt x="142" y="164"/>
                    </a:lnTo>
                    <a:lnTo>
                      <a:pt x="136" y="170"/>
                    </a:lnTo>
                    <a:lnTo>
                      <a:pt x="119" y="177"/>
                    </a:lnTo>
                    <a:lnTo>
                      <a:pt x="112" y="182"/>
                    </a:lnTo>
                    <a:lnTo>
                      <a:pt x="109" y="188"/>
                    </a:lnTo>
                    <a:lnTo>
                      <a:pt x="107" y="197"/>
                    </a:lnTo>
                    <a:lnTo>
                      <a:pt x="110" y="206"/>
                    </a:lnTo>
                    <a:lnTo>
                      <a:pt x="113" y="215"/>
                    </a:lnTo>
                    <a:lnTo>
                      <a:pt x="110" y="220"/>
                    </a:lnTo>
                    <a:lnTo>
                      <a:pt x="103" y="219"/>
                    </a:lnTo>
                    <a:lnTo>
                      <a:pt x="94" y="222"/>
                    </a:lnTo>
                    <a:lnTo>
                      <a:pt x="91" y="227"/>
                    </a:lnTo>
                    <a:lnTo>
                      <a:pt x="89" y="238"/>
                    </a:lnTo>
                    <a:lnTo>
                      <a:pt x="84" y="228"/>
                    </a:lnTo>
                    <a:lnTo>
                      <a:pt x="78" y="222"/>
                    </a:lnTo>
                    <a:lnTo>
                      <a:pt x="68" y="210"/>
                    </a:lnTo>
                    <a:lnTo>
                      <a:pt x="43" y="188"/>
                    </a:lnTo>
                    <a:lnTo>
                      <a:pt x="37" y="180"/>
                    </a:lnTo>
                    <a:lnTo>
                      <a:pt x="31" y="172"/>
                    </a:lnTo>
                    <a:lnTo>
                      <a:pt x="24" y="164"/>
                    </a:lnTo>
                    <a:lnTo>
                      <a:pt x="19" y="159"/>
                    </a:lnTo>
                    <a:lnTo>
                      <a:pt x="12" y="142"/>
                    </a:lnTo>
                    <a:lnTo>
                      <a:pt x="9" y="133"/>
                    </a:lnTo>
                    <a:lnTo>
                      <a:pt x="3" y="120"/>
                    </a:lnTo>
                    <a:lnTo>
                      <a:pt x="0" y="114"/>
                    </a:lnTo>
                    <a:lnTo>
                      <a:pt x="3" y="113"/>
                    </a:lnTo>
                    <a:lnTo>
                      <a:pt x="7" y="111"/>
                    </a:lnTo>
                    <a:lnTo>
                      <a:pt x="12" y="106"/>
                    </a:lnTo>
                    <a:lnTo>
                      <a:pt x="17" y="101"/>
                    </a:lnTo>
                    <a:lnTo>
                      <a:pt x="18" y="92"/>
                    </a:lnTo>
                    <a:lnTo>
                      <a:pt x="19" y="76"/>
                    </a:lnTo>
                    <a:lnTo>
                      <a:pt x="22" y="76"/>
                    </a:lnTo>
                    <a:lnTo>
                      <a:pt x="26" y="79"/>
                    </a:lnTo>
                    <a:lnTo>
                      <a:pt x="31" y="81"/>
                    </a:lnTo>
                    <a:lnTo>
                      <a:pt x="40" y="81"/>
                    </a:lnTo>
                    <a:lnTo>
                      <a:pt x="41" y="79"/>
                    </a:lnTo>
                    <a:lnTo>
                      <a:pt x="40" y="78"/>
                    </a:lnTo>
                    <a:lnTo>
                      <a:pt x="33" y="76"/>
                    </a:lnTo>
                    <a:lnTo>
                      <a:pt x="28" y="72"/>
                    </a:lnTo>
                    <a:lnTo>
                      <a:pt x="24" y="69"/>
                    </a:lnTo>
                    <a:lnTo>
                      <a:pt x="21" y="66"/>
                    </a:lnTo>
                    <a:lnTo>
                      <a:pt x="22" y="62"/>
                    </a:lnTo>
                    <a:lnTo>
                      <a:pt x="28" y="61"/>
                    </a:lnTo>
                    <a:lnTo>
                      <a:pt x="30" y="58"/>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90" name="Freeform 76"/>
              <p:cNvSpPr>
                <a:spLocks/>
              </p:cNvSpPr>
              <p:nvPr/>
            </p:nvSpPr>
            <p:spPr bwMode="auto">
              <a:xfrm>
                <a:off x="1787" y="2310"/>
                <a:ext cx="786" cy="751"/>
              </a:xfrm>
              <a:custGeom>
                <a:avLst/>
                <a:gdLst>
                  <a:gd name="T0" fmla="*/ 0 w 735"/>
                  <a:gd name="T1" fmla="*/ 11170 h 715"/>
                  <a:gd name="T2" fmla="*/ 733 w 735"/>
                  <a:gd name="T3" fmla="*/ 10385 h 715"/>
                  <a:gd name="T4" fmla="*/ 3128 w 735"/>
                  <a:gd name="T5" fmla="*/ 10000 h 715"/>
                  <a:gd name="T6" fmla="*/ 6294 w 735"/>
                  <a:gd name="T7" fmla="*/ 9521 h 715"/>
                  <a:gd name="T8" fmla="*/ 9729 w 735"/>
                  <a:gd name="T9" fmla="*/ 9505 h 715"/>
                  <a:gd name="T10" fmla="*/ 12612 w 735"/>
                  <a:gd name="T11" fmla="*/ 7980 h 715"/>
                  <a:gd name="T12" fmla="*/ 16641 w 735"/>
                  <a:gd name="T13" fmla="*/ 6129 h 715"/>
                  <a:gd name="T14" fmla="*/ 18564 w 735"/>
                  <a:gd name="T15" fmla="*/ 3278 h 715"/>
                  <a:gd name="T16" fmla="*/ 21243 w 735"/>
                  <a:gd name="T17" fmla="*/ 1494 h 715"/>
                  <a:gd name="T18" fmla="*/ 22044 w 735"/>
                  <a:gd name="T19" fmla="*/ 363 h 715"/>
                  <a:gd name="T20" fmla="*/ 25583 w 735"/>
                  <a:gd name="T21" fmla="*/ 298 h 715"/>
                  <a:gd name="T22" fmla="*/ 28626 w 735"/>
                  <a:gd name="T23" fmla="*/ 833 h 715"/>
                  <a:gd name="T24" fmla="*/ 34297 w 735"/>
                  <a:gd name="T25" fmla="*/ 381 h 715"/>
                  <a:gd name="T26" fmla="*/ 39028 w 735"/>
                  <a:gd name="T27" fmla="*/ 298 h 715"/>
                  <a:gd name="T28" fmla="*/ 40736 w 735"/>
                  <a:gd name="T29" fmla="*/ 329 h 715"/>
                  <a:gd name="T30" fmla="*/ 44435 w 735"/>
                  <a:gd name="T31" fmla="*/ 3 h 715"/>
                  <a:gd name="T32" fmla="*/ 47729 w 735"/>
                  <a:gd name="T33" fmla="*/ 3 h 715"/>
                  <a:gd name="T34" fmla="*/ 51294 w 735"/>
                  <a:gd name="T35" fmla="*/ 755 h 715"/>
                  <a:gd name="T36" fmla="*/ 55538 w 735"/>
                  <a:gd name="T37" fmla="*/ 833 h 715"/>
                  <a:gd name="T38" fmla="*/ 59875 w 735"/>
                  <a:gd name="T39" fmla="*/ 1502 h 715"/>
                  <a:gd name="T40" fmla="*/ 60130 w 735"/>
                  <a:gd name="T41" fmla="*/ 2139 h 715"/>
                  <a:gd name="T42" fmla="*/ 61301 w 735"/>
                  <a:gd name="T43" fmla="*/ 2929 h 715"/>
                  <a:gd name="T44" fmla="*/ 59119 w 735"/>
                  <a:gd name="T45" fmla="*/ 3646 h 715"/>
                  <a:gd name="T46" fmla="*/ 58370 w 735"/>
                  <a:gd name="T47" fmla="*/ 4211 h 715"/>
                  <a:gd name="T48" fmla="*/ 56745 w 735"/>
                  <a:gd name="T49" fmla="*/ 5546 h 715"/>
                  <a:gd name="T50" fmla="*/ 55538 w 735"/>
                  <a:gd name="T51" fmla="*/ 6771 h 715"/>
                  <a:gd name="T52" fmla="*/ 54341 w 735"/>
                  <a:gd name="T53" fmla="*/ 7690 h 715"/>
                  <a:gd name="T54" fmla="*/ 55181 w 735"/>
                  <a:gd name="T55" fmla="*/ 8630 h 715"/>
                  <a:gd name="T56" fmla="*/ 54877 w 735"/>
                  <a:gd name="T57" fmla="*/ 9284 h 715"/>
                  <a:gd name="T58" fmla="*/ 55471 w 735"/>
                  <a:gd name="T59" fmla="*/ 10749 h 715"/>
                  <a:gd name="T60" fmla="*/ 56228 w 735"/>
                  <a:gd name="T61" fmla="*/ 11966 h 715"/>
                  <a:gd name="T62" fmla="*/ 59119 w 735"/>
                  <a:gd name="T63" fmla="*/ 13271 h 715"/>
                  <a:gd name="T64" fmla="*/ 54049 w 735"/>
                  <a:gd name="T65" fmla="*/ 13898 h 715"/>
                  <a:gd name="T66" fmla="*/ 53756 w 735"/>
                  <a:gd name="T67" fmla="*/ 14743 h 715"/>
                  <a:gd name="T68" fmla="*/ 52709 w 735"/>
                  <a:gd name="T69" fmla="*/ 16435 h 715"/>
                  <a:gd name="T70" fmla="*/ 53756 w 735"/>
                  <a:gd name="T71" fmla="*/ 17165 h 715"/>
                  <a:gd name="T72" fmla="*/ 56366 w 735"/>
                  <a:gd name="T73" fmla="*/ 17203 h 715"/>
                  <a:gd name="T74" fmla="*/ 56593 w 735"/>
                  <a:gd name="T75" fmla="*/ 18300 h 715"/>
                  <a:gd name="T76" fmla="*/ 55529 w 735"/>
                  <a:gd name="T77" fmla="*/ 18069 h 715"/>
                  <a:gd name="T78" fmla="*/ 52970 w 735"/>
                  <a:gd name="T79" fmla="*/ 17928 h 715"/>
                  <a:gd name="T80" fmla="*/ 50632 w 735"/>
                  <a:gd name="T81" fmla="*/ 17218 h 715"/>
                  <a:gd name="T82" fmla="*/ 47263 w 735"/>
                  <a:gd name="T83" fmla="*/ 16740 h 715"/>
                  <a:gd name="T84" fmla="*/ 43314 w 735"/>
                  <a:gd name="T85" fmla="*/ 16601 h 715"/>
                  <a:gd name="T86" fmla="*/ 40989 w 735"/>
                  <a:gd name="T87" fmla="*/ 16190 h 715"/>
                  <a:gd name="T88" fmla="*/ 39380 w 735"/>
                  <a:gd name="T89" fmla="*/ 16265 h 715"/>
                  <a:gd name="T90" fmla="*/ 38093 w 735"/>
                  <a:gd name="T91" fmla="*/ 15876 h 715"/>
                  <a:gd name="T92" fmla="*/ 36183 w 735"/>
                  <a:gd name="T93" fmla="*/ 16048 h 715"/>
                  <a:gd name="T94" fmla="*/ 32433 w 735"/>
                  <a:gd name="T95" fmla="*/ 16319 h 715"/>
                  <a:gd name="T96" fmla="*/ 31286 w 735"/>
                  <a:gd name="T97" fmla="*/ 16067 h 715"/>
                  <a:gd name="T98" fmla="*/ 31772 w 735"/>
                  <a:gd name="T99" fmla="*/ 15297 h 715"/>
                  <a:gd name="T100" fmla="*/ 30941 w 735"/>
                  <a:gd name="T101" fmla="*/ 14061 h 715"/>
                  <a:gd name="T102" fmla="*/ 30438 w 735"/>
                  <a:gd name="T103" fmla="*/ 12568 h 715"/>
                  <a:gd name="T104" fmla="*/ 25979 w 735"/>
                  <a:gd name="T105" fmla="*/ 11966 h 715"/>
                  <a:gd name="T106" fmla="*/ 23219 w 735"/>
                  <a:gd name="T107" fmla="*/ 12554 h 715"/>
                  <a:gd name="T108" fmla="*/ 21589 w 735"/>
                  <a:gd name="T109" fmla="*/ 13043 h 715"/>
                  <a:gd name="T110" fmla="*/ 16917 w 735"/>
                  <a:gd name="T111" fmla="*/ 13082 h 715"/>
                  <a:gd name="T112" fmla="*/ 14423 w 735"/>
                  <a:gd name="T113" fmla="*/ 11770 h 715"/>
                  <a:gd name="T114" fmla="*/ 13164 w 735"/>
                  <a:gd name="T115" fmla="*/ 11066 h 715"/>
                  <a:gd name="T116" fmla="*/ 9077 w 735"/>
                  <a:gd name="T117" fmla="*/ 10908 h 715"/>
                  <a:gd name="T118" fmla="*/ 4090 w 735"/>
                  <a:gd name="T119" fmla="*/ 10908 h 715"/>
                  <a:gd name="T120" fmla="*/ 5 w 735"/>
                  <a:gd name="T121" fmla="*/ 11209 h 71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5"/>
                  <a:gd name="T184" fmla="*/ 0 h 715"/>
                  <a:gd name="T185" fmla="*/ 735 w 735"/>
                  <a:gd name="T186" fmla="*/ 715 h 71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5" h="715">
                    <a:moveTo>
                      <a:pt x="5" y="439"/>
                    </a:moveTo>
                    <a:lnTo>
                      <a:pt x="0" y="441"/>
                    </a:lnTo>
                    <a:lnTo>
                      <a:pt x="0" y="444"/>
                    </a:lnTo>
                    <a:lnTo>
                      <a:pt x="0" y="440"/>
                    </a:lnTo>
                    <a:lnTo>
                      <a:pt x="0" y="436"/>
                    </a:lnTo>
                    <a:lnTo>
                      <a:pt x="0" y="431"/>
                    </a:lnTo>
                    <a:lnTo>
                      <a:pt x="0" y="428"/>
                    </a:lnTo>
                    <a:lnTo>
                      <a:pt x="6" y="426"/>
                    </a:lnTo>
                    <a:lnTo>
                      <a:pt x="6" y="416"/>
                    </a:lnTo>
                    <a:lnTo>
                      <a:pt x="8" y="406"/>
                    </a:lnTo>
                    <a:lnTo>
                      <a:pt x="11" y="395"/>
                    </a:lnTo>
                    <a:lnTo>
                      <a:pt x="18" y="388"/>
                    </a:lnTo>
                    <a:lnTo>
                      <a:pt x="23" y="385"/>
                    </a:lnTo>
                    <a:lnTo>
                      <a:pt x="27" y="383"/>
                    </a:lnTo>
                    <a:lnTo>
                      <a:pt x="37" y="390"/>
                    </a:lnTo>
                    <a:lnTo>
                      <a:pt x="46" y="388"/>
                    </a:lnTo>
                    <a:lnTo>
                      <a:pt x="51" y="380"/>
                    </a:lnTo>
                    <a:lnTo>
                      <a:pt x="56" y="375"/>
                    </a:lnTo>
                    <a:lnTo>
                      <a:pt x="67" y="373"/>
                    </a:lnTo>
                    <a:lnTo>
                      <a:pt x="76" y="371"/>
                    </a:lnTo>
                    <a:lnTo>
                      <a:pt x="77" y="374"/>
                    </a:lnTo>
                    <a:lnTo>
                      <a:pt x="79" y="387"/>
                    </a:lnTo>
                    <a:lnTo>
                      <a:pt x="86" y="388"/>
                    </a:lnTo>
                    <a:lnTo>
                      <a:pt x="101" y="383"/>
                    </a:lnTo>
                    <a:lnTo>
                      <a:pt x="116" y="370"/>
                    </a:lnTo>
                    <a:lnTo>
                      <a:pt x="127" y="364"/>
                    </a:lnTo>
                    <a:lnTo>
                      <a:pt x="137" y="354"/>
                    </a:lnTo>
                    <a:lnTo>
                      <a:pt x="146" y="337"/>
                    </a:lnTo>
                    <a:lnTo>
                      <a:pt x="149" y="326"/>
                    </a:lnTo>
                    <a:lnTo>
                      <a:pt x="149" y="313"/>
                    </a:lnTo>
                    <a:lnTo>
                      <a:pt x="150" y="298"/>
                    </a:lnTo>
                    <a:lnTo>
                      <a:pt x="156" y="283"/>
                    </a:lnTo>
                    <a:lnTo>
                      <a:pt x="172" y="257"/>
                    </a:lnTo>
                    <a:lnTo>
                      <a:pt x="185" y="246"/>
                    </a:lnTo>
                    <a:lnTo>
                      <a:pt x="199" y="239"/>
                    </a:lnTo>
                    <a:lnTo>
                      <a:pt x="209" y="231"/>
                    </a:lnTo>
                    <a:lnTo>
                      <a:pt x="209" y="227"/>
                    </a:lnTo>
                    <a:lnTo>
                      <a:pt x="215" y="205"/>
                    </a:lnTo>
                    <a:lnTo>
                      <a:pt x="216" y="159"/>
                    </a:lnTo>
                    <a:lnTo>
                      <a:pt x="222" y="128"/>
                    </a:lnTo>
                    <a:lnTo>
                      <a:pt x="229" y="111"/>
                    </a:lnTo>
                    <a:lnTo>
                      <a:pt x="242" y="85"/>
                    </a:lnTo>
                    <a:lnTo>
                      <a:pt x="246" y="71"/>
                    </a:lnTo>
                    <a:lnTo>
                      <a:pt x="245" y="59"/>
                    </a:lnTo>
                    <a:lnTo>
                      <a:pt x="254" y="58"/>
                    </a:lnTo>
                    <a:lnTo>
                      <a:pt x="252" y="52"/>
                    </a:lnTo>
                    <a:lnTo>
                      <a:pt x="252" y="38"/>
                    </a:lnTo>
                    <a:lnTo>
                      <a:pt x="256" y="28"/>
                    </a:lnTo>
                    <a:lnTo>
                      <a:pt x="261" y="26"/>
                    </a:lnTo>
                    <a:lnTo>
                      <a:pt x="264" y="14"/>
                    </a:lnTo>
                    <a:lnTo>
                      <a:pt x="269" y="10"/>
                    </a:lnTo>
                    <a:lnTo>
                      <a:pt x="279" y="3"/>
                    </a:lnTo>
                    <a:lnTo>
                      <a:pt x="289" y="3"/>
                    </a:lnTo>
                    <a:lnTo>
                      <a:pt x="301" y="4"/>
                    </a:lnTo>
                    <a:lnTo>
                      <a:pt x="305" y="10"/>
                    </a:lnTo>
                    <a:lnTo>
                      <a:pt x="307" y="17"/>
                    </a:lnTo>
                    <a:lnTo>
                      <a:pt x="321" y="29"/>
                    </a:lnTo>
                    <a:lnTo>
                      <a:pt x="327" y="30"/>
                    </a:lnTo>
                    <a:lnTo>
                      <a:pt x="332" y="26"/>
                    </a:lnTo>
                    <a:lnTo>
                      <a:pt x="342" y="32"/>
                    </a:lnTo>
                    <a:lnTo>
                      <a:pt x="358" y="36"/>
                    </a:lnTo>
                    <a:lnTo>
                      <a:pt x="393" y="36"/>
                    </a:lnTo>
                    <a:lnTo>
                      <a:pt x="399" y="33"/>
                    </a:lnTo>
                    <a:lnTo>
                      <a:pt x="400" y="22"/>
                    </a:lnTo>
                    <a:lnTo>
                      <a:pt x="410" y="15"/>
                    </a:lnTo>
                    <a:lnTo>
                      <a:pt x="423" y="18"/>
                    </a:lnTo>
                    <a:lnTo>
                      <a:pt x="429" y="22"/>
                    </a:lnTo>
                    <a:lnTo>
                      <a:pt x="442" y="18"/>
                    </a:lnTo>
                    <a:lnTo>
                      <a:pt x="449" y="13"/>
                    </a:lnTo>
                    <a:lnTo>
                      <a:pt x="467" y="10"/>
                    </a:lnTo>
                    <a:lnTo>
                      <a:pt x="476" y="7"/>
                    </a:lnTo>
                    <a:lnTo>
                      <a:pt x="480" y="7"/>
                    </a:lnTo>
                    <a:lnTo>
                      <a:pt x="482" y="10"/>
                    </a:lnTo>
                    <a:lnTo>
                      <a:pt x="480" y="10"/>
                    </a:lnTo>
                    <a:lnTo>
                      <a:pt x="486" y="12"/>
                    </a:lnTo>
                    <a:lnTo>
                      <a:pt x="490" y="10"/>
                    </a:lnTo>
                    <a:lnTo>
                      <a:pt x="500" y="10"/>
                    </a:lnTo>
                    <a:lnTo>
                      <a:pt x="502" y="1"/>
                    </a:lnTo>
                    <a:lnTo>
                      <a:pt x="516" y="5"/>
                    </a:lnTo>
                    <a:lnTo>
                      <a:pt x="531" y="3"/>
                    </a:lnTo>
                    <a:lnTo>
                      <a:pt x="543" y="0"/>
                    </a:lnTo>
                    <a:lnTo>
                      <a:pt x="553" y="10"/>
                    </a:lnTo>
                    <a:lnTo>
                      <a:pt x="558" y="5"/>
                    </a:lnTo>
                    <a:lnTo>
                      <a:pt x="565" y="10"/>
                    </a:lnTo>
                    <a:lnTo>
                      <a:pt x="571" y="3"/>
                    </a:lnTo>
                    <a:lnTo>
                      <a:pt x="590" y="3"/>
                    </a:lnTo>
                    <a:lnTo>
                      <a:pt x="596" y="10"/>
                    </a:lnTo>
                    <a:lnTo>
                      <a:pt x="604" y="17"/>
                    </a:lnTo>
                    <a:lnTo>
                      <a:pt x="609" y="22"/>
                    </a:lnTo>
                    <a:lnTo>
                      <a:pt x="612" y="29"/>
                    </a:lnTo>
                    <a:lnTo>
                      <a:pt x="628" y="36"/>
                    </a:lnTo>
                    <a:lnTo>
                      <a:pt x="633" y="33"/>
                    </a:lnTo>
                    <a:lnTo>
                      <a:pt x="638" y="28"/>
                    </a:lnTo>
                    <a:lnTo>
                      <a:pt x="655" y="33"/>
                    </a:lnTo>
                    <a:lnTo>
                      <a:pt x="664" y="32"/>
                    </a:lnTo>
                    <a:lnTo>
                      <a:pt x="673" y="23"/>
                    </a:lnTo>
                    <a:lnTo>
                      <a:pt x="680" y="29"/>
                    </a:lnTo>
                    <a:lnTo>
                      <a:pt x="698" y="48"/>
                    </a:lnTo>
                    <a:lnTo>
                      <a:pt x="708" y="52"/>
                    </a:lnTo>
                    <a:lnTo>
                      <a:pt x="714" y="59"/>
                    </a:lnTo>
                    <a:lnTo>
                      <a:pt x="718" y="63"/>
                    </a:lnTo>
                    <a:lnTo>
                      <a:pt x="723" y="63"/>
                    </a:lnTo>
                    <a:lnTo>
                      <a:pt x="723" y="64"/>
                    </a:lnTo>
                    <a:lnTo>
                      <a:pt x="720" y="71"/>
                    </a:lnTo>
                    <a:lnTo>
                      <a:pt x="718" y="84"/>
                    </a:lnTo>
                    <a:lnTo>
                      <a:pt x="718" y="99"/>
                    </a:lnTo>
                    <a:lnTo>
                      <a:pt x="721" y="106"/>
                    </a:lnTo>
                    <a:lnTo>
                      <a:pt x="724" y="109"/>
                    </a:lnTo>
                    <a:lnTo>
                      <a:pt x="728" y="111"/>
                    </a:lnTo>
                    <a:lnTo>
                      <a:pt x="733" y="114"/>
                    </a:lnTo>
                    <a:lnTo>
                      <a:pt x="735" y="117"/>
                    </a:lnTo>
                    <a:lnTo>
                      <a:pt x="733" y="119"/>
                    </a:lnTo>
                    <a:lnTo>
                      <a:pt x="728" y="125"/>
                    </a:lnTo>
                    <a:lnTo>
                      <a:pt x="716" y="134"/>
                    </a:lnTo>
                    <a:lnTo>
                      <a:pt x="707" y="143"/>
                    </a:lnTo>
                    <a:lnTo>
                      <a:pt x="704" y="148"/>
                    </a:lnTo>
                    <a:lnTo>
                      <a:pt x="704" y="155"/>
                    </a:lnTo>
                    <a:lnTo>
                      <a:pt x="705" y="155"/>
                    </a:lnTo>
                    <a:lnTo>
                      <a:pt x="707" y="155"/>
                    </a:lnTo>
                    <a:lnTo>
                      <a:pt x="698" y="164"/>
                    </a:lnTo>
                    <a:lnTo>
                      <a:pt x="690" y="174"/>
                    </a:lnTo>
                    <a:lnTo>
                      <a:pt x="687" y="178"/>
                    </a:lnTo>
                    <a:lnTo>
                      <a:pt x="683" y="186"/>
                    </a:lnTo>
                    <a:lnTo>
                      <a:pt x="678" y="207"/>
                    </a:lnTo>
                    <a:lnTo>
                      <a:pt x="678" y="216"/>
                    </a:lnTo>
                    <a:lnTo>
                      <a:pt x="676" y="237"/>
                    </a:lnTo>
                    <a:lnTo>
                      <a:pt x="676" y="251"/>
                    </a:lnTo>
                    <a:lnTo>
                      <a:pt x="673" y="253"/>
                    </a:lnTo>
                    <a:lnTo>
                      <a:pt x="669" y="257"/>
                    </a:lnTo>
                    <a:lnTo>
                      <a:pt x="664" y="265"/>
                    </a:lnTo>
                    <a:lnTo>
                      <a:pt x="659" y="276"/>
                    </a:lnTo>
                    <a:lnTo>
                      <a:pt x="655" y="283"/>
                    </a:lnTo>
                    <a:lnTo>
                      <a:pt x="649" y="294"/>
                    </a:lnTo>
                    <a:lnTo>
                      <a:pt x="649" y="298"/>
                    </a:lnTo>
                    <a:lnTo>
                      <a:pt x="649" y="301"/>
                    </a:lnTo>
                    <a:lnTo>
                      <a:pt x="654" y="306"/>
                    </a:lnTo>
                    <a:lnTo>
                      <a:pt x="657" y="310"/>
                    </a:lnTo>
                    <a:lnTo>
                      <a:pt x="660" y="314"/>
                    </a:lnTo>
                    <a:lnTo>
                      <a:pt x="660" y="330"/>
                    </a:lnTo>
                    <a:lnTo>
                      <a:pt x="659" y="336"/>
                    </a:lnTo>
                    <a:lnTo>
                      <a:pt x="657" y="344"/>
                    </a:lnTo>
                    <a:lnTo>
                      <a:pt x="654" y="355"/>
                    </a:lnTo>
                    <a:lnTo>
                      <a:pt x="652" y="362"/>
                    </a:lnTo>
                    <a:lnTo>
                      <a:pt x="654" y="366"/>
                    </a:lnTo>
                    <a:lnTo>
                      <a:pt x="655" y="365"/>
                    </a:lnTo>
                    <a:lnTo>
                      <a:pt x="657" y="371"/>
                    </a:lnTo>
                    <a:lnTo>
                      <a:pt x="654" y="388"/>
                    </a:lnTo>
                    <a:lnTo>
                      <a:pt x="652" y="399"/>
                    </a:lnTo>
                    <a:lnTo>
                      <a:pt x="657" y="412"/>
                    </a:lnTo>
                    <a:lnTo>
                      <a:pt x="662" y="421"/>
                    </a:lnTo>
                    <a:lnTo>
                      <a:pt x="662" y="429"/>
                    </a:lnTo>
                    <a:lnTo>
                      <a:pt x="660" y="438"/>
                    </a:lnTo>
                    <a:lnTo>
                      <a:pt x="663" y="449"/>
                    </a:lnTo>
                    <a:lnTo>
                      <a:pt x="666" y="455"/>
                    </a:lnTo>
                    <a:lnTo>
                      <a:pt x="671" y="467"/>
                    </a:lnTo>
                    <a:lnTo>
                      <a:pt x="676" y="472"/>
                    </a:lnTo>
                    <a:lnTo>
                      <a:pt x="685" y="481"/>
                    </a:lnTo>
                    <a:lnTo>
                      <a:pt x="695" y="485"/>
                    </a:lnTo>
                    <a:lnTo>
                      <a:pt x="702" y="493"/>
                    </a:lnTo>
                    <a:lnTo>
                      <a:pt x="707" y="518"/>
                    </a:lnTo>
                    <a:lnTo>
                      <a:pt x="664" y="527"/>
                    </a:lnTo>
                    <a:lnTo>
                      <a:pt x="655" y="529"/>
                    </a:lnTo>
                    <a:lnTo>
                      <a:pt x="652" y="532"/>
                    </a:lnTo>
                    <a:lnTo>
                      <a:pt x="649" y="534"/>
                    </a:lnTo>
                    <a:lnTo>
                      <a:pt x="644" y="543"/>
                    </a:lnTo>
                    <a:lnTo>
                      <a:pt x="641" y="548"/>
                    </a:lnTo>
                    <a:lnTo>
                      <a:pt x="638" y="554"/>
                    </a:lnTo>
                    <a:lnTo>
                      <a:pt x="638" y="557"/>
                    </a:lnTo>
                    <a:lnTo>
                      <a:pt x="638" y="564"/>
                    </a:lnTo>
                    <a:lnTo>
                      <a:pt x="642" y="576"/>
                    </a:lnTo>
                    <a:lnTo>
                      <a:pt x="644" y="587"/>
                    </a:lnTo>
                    <a:lnTo>
                      <a:pt x="644" y="604"/>
                    </a:lnTo>
                    <a:lnTo>
                      <a:pt x="642" y="610"/>
                    </a:lnTo>
                    <a:lnTo>
                      <a:pt x="632" y="636"/>
                    </a:lnTo>
                    <a:lnTo>
                      <a:pt x="629" y="643"/>
                    </a:lnTo>
                    <a:lnTo>
                      <a:pt x="628" y="649"/>
                    </a:lnTo>
                    <a:lnTo>
                      <a:pt x="629" y="655"/>
                    </a:lnTo>
                    <a:lnTo>
                      <a:pt x="629" y="658"/>
                    </a:lnTo>
                    <a:lnTo>
                      <a:pt x="634" y="662"/>
                    </a:lnTo>
                    <a:lnTo>
                      <a:pt x="642" y="671"/>
                    </a:lnTo>
                    <a:lnTo>
                      <a:pt x="647" y="673"/>
                    </a:lnTo>
                    <a:lnTo>
                      <a:pt x="655" y="674"/>
                    </a:lnTo>
                    <a:lnTo>
                      <a:pt x="663" y="676"/>
                    </a:lnTo>
                    <a:lnTo>
                      <a:pt x="670" y="673"/>
                    </a:lnTo>
                    <a:lnTo>
                      <a:pt x="673" y="673"/>
                    </a:lnTo>
                    <a:lnTo>
                      <a:pt x="676" y="678"/>
                    </a:lnTo>
                    <a:lnTo>
                      <a:pt x="676" y="703"/>
                    </a:lnTo>
                    <a:lnTo>
                      <a:pt x="676" y="707"/>
                    </a:lnTo>
                    <a:lnTo>
                      <a:pt x="676" y="712"/>
                    </a:lnTo>
                    <a:lnTo>
                      <a:pt x="676" y="715"/>
                    </a:lnTo>
                    <a:lnTo>
                      <a:pt x="673" y="715"/>
                    </a:lnTo>
                    <a:lnTo>
                      <a:pt x="670" y="714"/>
                    </a:lnTo>
                    <a:lnTo>
                      <a:pt x="666" y="707"/>
                    </a:lnTo>
                    <a:lnTo>
                      <a:pt x="665" y="707"/>
                    </a:lnTo>
                    <a:lnTo>
                      <a:pt x="663" y="707"/>
                    </a:lnTo>
                    <a:lnTo>
                      <a:pt x="660" y="710"/>
                    </a:lnTo>
                    <a:lnTo>
                      <a:pt x="655" y="710"/>
                    </a:lnTo>
                    <a:lnTo>
                      <a:pt x="649" y="709"/>
                    </a:lnTo>
                    <a:lnTo>
                      <a:pt x="642" y="707"/>
                    </a:lnTo>
                    <a:lnTo>
                      <a:pt x="633" y="700"/>
                    </a:lnTo>
                    <a:lnTo>
                      <a:pt x="622" y="693"/>
                    </a:lnTo>
                    <a:lnTo>
                      <a:pt x="621" y="688"/>
                    </a:lnTo>
                    <a:lnTo>
                      <a:pt x="617" y="680"/>
                    </a:lnTo>
                    <a:lnTo>
                      <a:pt x="612" y="674"/>
                    </a:lnTo>
                    <a:lnTo>
                      <a:pt x="604" y="674"/>
                    </a:lnTo>
                    <a:lnTo>
                      <a:pt x="596" y="673"/>
                    </a:lnTo>
                    <a:lnTo>
                      <a:pt x="587" y="668"/>
                    </a:lnTo>
                    <a:lnTo>
                      <a:pt x="573" y="655"/>
                    </a:lnTo>
                    <a:lnTo>
                      <a:pt x="569" y="654"/>
                    </a:lnTo>
                    <a:lnTo>
                      <a:pt x="563" y="655"/>
                    </a:lnTo>
                    <a:lnTo>
                      <a:pt x="554" y="659"/>
                    </a:lnTo>
                    <a:lnTo>
                      <a:pt x="548" y="661"/>
                    </a:lnTo>
                    <a:lnTo>
                      <a:pt x="540" y="659"/>
                    </a:lnTo>
                    <a:lnTo>
                      <a:pt x="527" y="655"/>
                    </a:lnTo>
                    <a:lnTo>
                      <a:pt x="518" y="649"/>
                    </a:lnTo>
                    <a:lnTo>
                      <a:pt x="509" y="646"/>
                    </a:lnTo>
                    <a:lnTo>
                      <a:pt x="505" y="642"/>
                    </a:lnTo>
                    <a:lnTo>
                      <a:pt x="504" y="636"/>
                    </a:lnTo>
                    <a:lnTo>
                      <a:pt x="499" y="630"/>
                    </a:lnTo>
                    <a:lnTo>
                      <a:pt x="490" y="633"/>
                    </a:lnTo>
                    <a:lnTo>
                      <a:pt x="486" y="633"/>
                    </a:lnTo>
                    <a:lnTo>
                      <a:pt x="483" y="635"/>
                    </a:lnTo>
                    <a:lnTo>
                      <a:pt x="473" y="638"/>
                    </a:lnTo>
                    <a:lnTo>
                      <a:pt x="471" y="638"/>
                    </a:lnTo>
                    <a:lnTo>
                      <a:pt x="469" y="635"/>
                    </a:lnTo>
                    <a:lnTo>
                      <a:pt x="470" y="625"/>
                    </a:lnTo>
                    <a:lnTo>
                      <a:pt x="466" y="618"/>
                    </a:lnTo>
                    <a:lnTo>
                      <a:pt x="464" y="617"/>
                    </a:lnTo>
                    <a:lnTo>
                      <a:pt x="461" y="618"/>
                    </a:lnTo>
                    <a:lnTo>
                      <a:pt x="454" y="621"/>
                    </a:lnTo>
                    <a:lnTo>
                      <a:pt x="452" y="621"/>
                    </a:lnTo>
                    <a:lnTo>
                      <a:pt x="447" y="624"/>
                    </a:lnTo>
                    <a:lnTo>
                      <a:pt x="445" y="624"/>
                    </a:lnTo>
                    <a:lnTo>
                      <a:pt x="439" y="623"/>
                    </a:lnTo>
                    <a:lnTo>
                      <a:pt x="431" y="627"/>
                    </a:lnTo>
                    <a:lnTo>
                      <a:pt x="396" y="627"/>
                    </a:lnTo>
                    <a:lnTo>
                      <a:pt x="392" y="628"/>
                    </a:lnTo>
                    <a:lnTo>
                      <a:pt x="391" y="633"/>
                    </a:lnTo>
                    <a:lnTo>
                      <a:pt x="388" y="637"/>
                    </a:lnTo>
                    <a:lnTo>
                      <a:pt x="386" y="638"/>
                    </a:lnTo>
                    <a:lnTo>
                      <a:pt x="381" y="637"/>
                    </a:lnTo>
                    <a:lnTo>
                      <a:pt x="378" y="632"/>
                    </a:lnTo>
                    <a:lnTo>
                      <a:pt x="375" y="632"/>
                    </a:lnTo>
                    <a:lnTo>
                      <a:pt x="375" y="630"/>
                    </a:lnTo>
                    <a:lnTo>
                      <a:pt x="373" y="628"/>
                    </a:lnTo>
                    <a:lnTo>
                      <a:pt x="373" y="627"/>
                    </a:lnTo>
                    <a:lnTo>
                      <a:pt x="381" y="618"/>
                    </a:lnTo>
                    <a:lnTo>
                      <a:pt x="384" y="614"/>
                    </a:lnTo>
                    <a:lnTo>
                      <a:pt x="385" y="610"/>
                    </a:lnTo>
                    <a:lnTo>
                      <a:pt x="381" y="598"/>
                    </a:lnTo>
                    <a:lnTo>
                      <a:pt x="376" y="583"/>
                    </a:lnTo>
                    <a:lnTo>
                      <a:pt x="370" y="573"/>
                    </a:lnTo>
                    <a:lnTo>
                      <a:pt x="368" y="567"/>
                    </a:lnTo>
                    <a:lnTo>
                      <a:pt x="369" y="558"/>
                    </a:lnTo>
                    <a:lnTo>
                      <a:pt x="370" y="549"/>
                    </a:lnTo>
                    <a:lnTo>
                      <a:pt x="370" y="546"/>
                    </a:lnTo>
                    <a:lnTo>
                      <a:pt x="369" y="534"/>
                    </a:lnTo>
                    <a:lnTo>
                      <a:pt x="369" y="523"/>
                    </a:lnTo>
                    <a:lnTo>
                      <a:pt x="368" y="515"/>
                    </a:lnTo>
                    <a:lnTo>
                      <a:pt x="365" y="491"/>
                    </a:lnTo>
                    <a:lnTo>
                      <a:pt x="363" y="486"/>
                    </a:lnTo>
                    <a:lnTo>
                      <a:pt x="362" y="484"/>
                    </a:lnTo>
                    <a:lnTo>
                      <a:pt x="327" y="482"/>
                    </a:lnTo>
                    <a:lnTo>
                      <a:pt x="328" y="467"/>
                    </a:lnTo>
                    <a:lnTo>
                      <a:pt x="311" y="467"/>
                    </a:lnTo>
                    <a:lnTo>
                      <a:pt x="311" y="471"/>
                    </a:lnTo>
                    <a:lnTo>
                      <a:pt x="280" y="471"/>
                    </a:lnTo>
                    <a:lnTo>
                      <a:pt x="279" y="477"/>
                    </a:lnTo>
                    <a:lnTo>
                      <a:pt x="279" y="485"/>
                    </a:lnTo>
                    <a:lnTo>
                      <a:pt x="277" y="490"/>
                    </a:lnTo>
                    <a:lnTo>
                      <a:pt x="276" y="491"/>
                    </a:lnTo>
                    <a:lnTo>
                      <a:pt x="274" y="494"/>
                    </a:lnTo>
                    <a:lnTo>
                      <a:pt x="274" y="500"/>
                    </a:lnTo>
                    <a:lnTo>
                      <a:pt x="271" y="510"/>
                    </a:lnTo>
                    <a:lnTo>
                      <a:pt x="258" y="510"/>
                    </a:lnTo>
                    <a:lnTo>
                      <a:pt x="245" y="508"/>
                    </a:lnTo>
                    <a:lnTo>
                      <a:pt x="236" y="512"/>
                    </a:lnTo>
                    <a:lnTo>
                      <a:pt x="221" y="516"/>
                    </a:lnTo>
                    <a:lnTo>
                      <a:pt x="211" y="516"/>
                    </a:lnTo>
                    <a:lnTo>
                      <a:pt x="203" y="512"/>
                    </a:lnTo>
                    <a:lnTo>
                      <a:pt x="188" y="493"/>
                    </a:lnTo>
                    <a:lnTo>
                      <a:pt x="180" y="484"/>
                    </a:lnTo>
                    <a:lnTo>
                      <a:pt x="177" y="472"/>
                    </a:lnTo>
                    <a:lnTo>
                      <a:pt x="172" y="464"/>
                    </a:lnTo>
                    <a:lnTo>
                      <a:pt x="170" y="460"/>
                    </a:lnTo>
                    <a:lnTo>
                      <a:pt x="170" y="452"/>
                    </a:lnTo>
                    <a:lnTo>
                      <a:pt x="167" y="438"/>
                    </a:lnTo>
                    <a:lnTo>
                      <a:pt x="163" y="431"/>
                    </a:lnTo>
                    <a:lnTo>
                      <a:pt x="160" y="433"/>
                    </a:lnTo>
                    <a:lnTo>
                      <a:pt x="158" y="433"/>
                    </a:lnTo>
                    <a:lnTo>
                      <a:pt x="154" y="426"/>
                    </a:lnTo>
                    <a:lnTo>
                      <a:pt x="152" y="426"/>
                    </a:lnTo>
                    <a:lnTo>
                      <a:pt x="140" y="426"/>
                    </a:lnTo>
                    <a:lnTo>
                      <a:pt x="118" y="426"/>
                    </a:lnTo>
                    <a:lnTo>
                      <a:pt x="108" y="426"/>
                    </a:lnTo>
                    <a:lnTo>
                      <a:pt x="99" y="428"/>
                    </a:lnTo>
                    <a:lnTo>
                      <a:pt x="86" y="428"/>
                    </a:lnTo>
                    <a:lnTo>
                      <a:pt x="81" y="426"/>
                    </a:lnTo>
                    <a:lnTo>
                      <a:pt x="65" y="428"/>
                    </a:lnTo>
                    <a:lnTo>
                      <a:pt x="49" y="426"/>
                    </a:lnTo>
                    <a:lnTo>
                      <a:pt x="43" y="428"/>
                    </a:lnTo>
                    <a:lnTo>
                      <a:pt x="37" y="428"/>
                    </a:lnTo>
                    <a:lnTo>
                      <a:pt x="27" y="431"/>
                    </a:lnTo>
                    <a:lnTo>
                      <a:pt x="18" y="436"/>
                    </a:lnTo>
                    <a:lnTo>
                      <a:pt x="5" y="439"/>
                    </a:lnTo>
                    <a:close/>
                  </a:path>
                </a:pathLst>
              </a:custGeom>
              <a:solidFill>
                <a:srgbClr val="1737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1" name="Freeform 77"/>
              <p:cNvSpPr>
                <a:spLocks/>
              </p:cNvSpPr>
              <p:nvPr/>
            </p:nvSpPr>
            <p:spPr bwMode="auto">
              <a:xfrm>
                <a:off x="1787" y="2310"/>
                <a:ext cx="786" cy="751"/>
              </a:xfrm>
              <a:custGeom>
                <a:avLst/>
                <a:gdLst>
                  <a:gd name="T0" fmla="*/ 0 w 735"/>
                  <a:gd name="T1" fmla="*/ 11170 h 715"/>
                  <a:gd name="T2" fmla="*/ 733 w 735"/>
                  <a:gd name="T3" fmla="*/ 10385 h 715"/>
                  <a:gd name="T4" fmla="*/ 3128 w 735"/>
                  <a:gd name="T5" fmla="*/ 10000 h 715"/>
                  <a:gd name="T6" fmla="*/ 6294 w 735"/>
                  <a:gd name="T7" fmla="*/ 9521 h 715"/>
                  <a:gd name="T8" fmla="*/ 9729 w 735"/>
                  <a:gd name="T9" fmla="*/ 9505 h 715"/>
                  <a:gd name="T10" fmla="*/ 12612 w 735"/>
                  <a:gd name="T11" fmla="*/ 7980 h 715"/>
                  <a:gd name="T12" fmla="*/ 16641 w 735"/>
                  <a:gd name="T13" fmla="*/ 6129 h 715"/>
                  <a:gd name="T14" fmla="*/ 18564 w 735"/>
                  <a:gd name="T15" fmla="*/ 3278 h 715"/>
                  <a:gd name="T16" fmla="*/ 21243 w 735"/>
                  <a:gd name="T17" fmla="*/ 1494 h 715"/>
                  <a:gd name="T18" fmla="*/ 22044 w 735"/>
                  <a:gd name="T19" fmla="*/ 363 h 715"/>
                  <a:gd name="T20" fmla="*/ 25583 w 735"/>
                  <a:gd name="T21" fmla="*/ 298 h 715"/>
                  <a:gd name="T22" fmla="*/ 28626 w 735"/>
                  <a:gd name="T23" fmla="*/ 833 h 715"/>
                  <a:gd name="T24" fmla="*/ 34297 w 735"/>
                  <a:gd name="T25" fmla="*/ 381 h 715"/>
                  <a:gd name="T26" fmla="*/ 39028 w 735"/>
                  <a:gd name="T27" fmla="*/ 298 h 715"/>
                  <a:gd name="T28" fmla="*/ 40736 w 735"/>
                  <a:gd name="T29" fmla="*/ 329 h 715"/>
                  <a:gd name="T30" fmla="*/ 44435 w 735"/>
                  <a:gd name="T31" fmla="*/ 3 h 715"/>
                  <a:gd name="T32" fmla="*/ 47729 w 735"/>
                  <a:gd name="T33" fmla="*/ 3 h 715"/>
                  <a:gd name="T34" fmla="*/ 51294 w 735"/>
                  <a:gd name="T35" fmla="*/ 755 h 715"/>
                  <a:gd name="T36" fmla="*/ 55538 w 735"/>
                  <a:gd name="T37" fmla="*/ 833 h 715"/>
                  <a:gd name="T38" fmla="*/ 59875 w 735"/>
                  <a:gd name="T39" fmla="*/ 1502 h 715"/>
                  <a:gd name="T40" fmla="*/ 60130 w 735"/>
                  <a:gd name="T41" fmla="*/ 2139 h 715"/>
                  <a:gd name="T42" fmla="*/ 61301 w 735"/>
                  <a:gd name="T43" fmla="*/ 2929 h 715"/>
                  <a:gd name="T44" fmla="*/ 59119 w 735"/>
                  <a:gd name="T45" fmla="*/ 3646 h 715"/>
                  <a:gd name="T46" fmla="*/ 58370 w 735"/>
                  <a:gd name="T47" fmla="*/ 4211 h 715"/>
                  <a:gd name="T48" fmla="*/ 56745 w 735"/>
                  <a:gd name="T49" fmla="*/ 5546 h 715"/>
                  <a:gd name="T50" fmla="*/ 55538 w 735"/>
                  <a:gd name="T51" fmla="*/ 6771 h 715"/>
                  <a:gd name="T52" fmla="*/ 54341 w 735"/>
                  <a:gd name="T53" fmla="*/ 7690 h 715"/>
                  <a:gd name="T54" fmla="*/ 55181 w 735"/>
                  <a:gd name="T55" fmla="*/ 8630 h 715"/>
                  <a:gd name="T56" fmla="*/ 54877 w 735"/>
                  <a:gd name="T57" fmla="*/ 9284 h 715"/>
                  <a:gd name="T58" fmla="*/ 55471 w 735"/>
                  <a:gd name="T59" fmla="*/ 10749 h 715"/>
                  <a:gd name="T60" fmla="*/ 56228 w 735"/>
                  <a:gd name="T61" fmla="*/ 11966 h 715"/>
                  <a:gd name="T62" fmla="*/ 59119 w 735"/>
                  <a:gd name="T63" fmla="*/ 13271 h 715"/>
                  <a:gd name="T64" fmla="*/ 54049 w 735"/>
                  <a:gd name="T65" fmla="*/ 13898 h 715"/>
                  <a:gd name="T66" fmla="*/ 53756 w 735"/>
                  <a:gd name="T67" fmla="*/ 14743 h 715"/>
                  <a:gd name="T68" fmla="*/ 52709 w 735"/>
                  <a:gd name="T69" fmla="*/ 16435 h 715"/>
                  <a:gd name="T70" fmla="*/ 53756 w 735"/>
                  <a:gd name="T71" fmla="*/ 17165 h 715"/>
                  <a:gd name="T72" fmla="*/ 56366 w 735"/>
                  <a:gd name="T73" fmla="*/ 17203 h 715"/>
                  <a:gd name="T74" fmla="*/ 56593 w 735"/>
                  <a:gd name="T75" fmla="*/ 18300 h 715"/>
                  <a:gd name="T76" fmla="*/ 55529 w 735"/>
                  <a:gd name="T77" fmla="*/ 18069 h 715"/>
                  <a:gd name="T78" fmla="*/ 52970 w 735"/>
                  <a:gd name="T79" fmla="*/ 17928 h 715"/>
                  <a:gd name="T80" fmla="*/ 50632 w 735"/>
                  <a:gd name="T81" fmla="*/ 17218 h 715"/>
                  <a:gd name="T82" fmla="*/ 47263 w 735"/>
                  <a:gd name="T83" fmla="*/ 16740 h 715"/>
                  <a:gd name="T84" fmla="*/ 43314 w 735"/>
                  <a:gd name="T85" fmla="*/ 16601 h 715"/>
                  <a:gd name="T86" fmla="*/ 40989 w 735"/>
                  <a:gd name="T87" fmla="*/ 16190 h 715"/>
                  <a:gd name="T88" fmla="*/ 39380 w 735"/>
                  <a:gd name="T89" fmla="*/ 16265 h 715"/>
                  <a:gd name="T90" fmla="*/ 38093 w 735"/>
                  <a:gd name="T91" fmla="*/ 15876 h 715"/>
                  <a:gd name="T92" fmla="*/ 36183 w 735"/>
                  <a:gd name="T93" fmla="*/ 16048 h 715"/>
                  <a:gd name="T94" fmla="*/ 32433 w 735"/>
                  <a:gd name="T95" fmla="*/ 16319 h 715"/>
                  <a:gd name="T96" fmla="*/ 31286 w 735"/>
                  <a:gd name="T97" fmla="*/ 16067 h 715"/>
                  <a:gd name="T98" fmla="*/ 31772 w 735"/>
                  <a:gd name="T99" fmla="*/ 15297 h 715"/>
                  <a:gd name="T100" fmla="*/ 30941 w 735"/>
                  <a:gd name="T101" fmla="*/ 14061 h 715"/>
                  <a:gd name="T102" fmla="*/ 30438 w 735"/>
                  <a:gd name="T103" fmla="*/ 12568 h 715"/>
                  <a:gd name="T104" fmla="*/ 25979 w 735"/>
                  <a:gd name="T105" fmla="*/ 11966 h 715"/>
                  <a:gd name="T106" fmla="*/ 23219 w 735"/>
                  <a:gd name="T107" fmla="*/ 12554 h 715"/>
                  <a:gd name="T108" fmla="*/ 21589 w 735"/>
                  <a:gd name="T109" fmla="*/ 13043 h 715"/>
                  <a:gd name="T110" fmla="*/ 16917 w 735"/>
                  <a:gd name="T111" fmla="*/ 13082 h 715"/>
                  <a:gd name="T112" fmla="*/ 14423 w 735"/>
                  <a:gd name="T113" fmla="*/ 11770 h 715"/>
                  <a:gd name="T114" fmla="*/ 13164 w 735"/>
                  <a:gd name="T115" fmla="*/ 11066 h 715"/>
                  <a:gd name="T116" fmla="*/ 9077 w 735"/>
                  <a:gd name="T117" fmla="*/ 10908 h 715"/>
                  <a:gd name="T118" fmla="*/ 4090 w 735"/>
                  <a:gd name="T119" fmla="*/ 10908 h 715"/>
                  <a:gd name="T120" fmla="*/ 5 w 735"/>
                  <a:gd name="T121" fmla="*/ 11209 h 71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5"/>
                  <a:gd name="T184" fmla="*/ 0 h 715"/>
                  <a:gd name="T185" fmla="*/ 735 w 735"/>
                  <a:gd name="T186" fmla="*/ 715 h 71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5" h="715">
                    <a:moveTo>
                      <a:pt x="5" y="439"/>
                    </a:moveTo>
                    <a:lnTo>
                      <a:pt x="0" y="441"/>
                    </a:lnTo>
                    <a:lnTo>
                      <a:pt x="0" y="444"/>
                    </a:lnTo>
                    <a:lnTo>
                      <a:pt x="0" y="440"/>
                    </a:lnTo>
                    <a:lnTo>
                      <a:pt x="0" y="436"/>
                    </a:lnTo>
                    <a:lnTo>
                      <a:pt x="0" y="431"/>
                    </a:lnTo>
                    <a:lnTo>
                      <a:pt x="0" y="428"/>
                    </a:lnTo>
                    <a:lnTo>
                      <a:pt x="6" y="426"/>
                    </a:lnTo>
                    <a:lnTo>
                      <a:pt x="6" y="416"/>
                    </a:lnTo>
                    <a:lnTo>
                      <a:pt x="8" y="406"/>
                    </a:lnTo>
                    <a:lnTo>
                      <a:pt x="11" y="395"/>
                    </a:lnTo>
                    <a:lnTo>
                      <a:pt x="18" y="388"/>
                    </a:lnTo>
                    <a:lnTo>
                      <a:pt x="23" y="385"/>
                    </a:lnTo>
                    <a:lnTo>
                      <a:pt x="27" y="383"/>
                    </a:lnTo>
                    <a:lnTo>
                      <a:pt x="37" y="390"/>
                    </a:lnTo>
                    <a:lnTo>
                      <a:pt x="46" y="388"/>
                    </a:lnTo>
                    <a:lnTo>
                      <a:pt x="51" y="380"/>
                    </a:lnTo>
                    <a:lnTo>
                      <a:pt x="56" y="375"/>
                    </a:lnTo>
                    <a:lnTo>
                      <a:pt x="67" y="373"/>
                    </a:lnTo>
                    <a:lnTo>
                      <a:pt x="76" y="371"/>
                    </a:lnTo>
                    <a:lnTo>
                      <a:pt x="77" y="374"/>
                    </a:lnTo>
                    <a:lnTo>
                      <a:pt x="79" y="387"/>
                    </a:lnTo>
                    <a:lnTo>
                      <a:pt x="86" y="388"/>
                    </a:lnTo>
                    <a:lnTo>
                      <a:pt x="101" y="383"/>
                    </a:lnTo>
                    <a:lnTo>
                      <a:pt x="116" y="370"/>
                    </a:lnTo>
                    <a:lnTo>
                      <a:pt x="127" y="364"/>
                    </a:lnTo>
                    <a:lnTo>
                      <a:pt x="137" y="354"/>
                    </a:lnTo>
                    <a:lnTo>
                      <a:pt x="146" y="337"/>
                    </a:lnTo>
                    <a:lnTo>
                      <a:pt x="149" y="326"/>
                    </a:lnTo>
                    <a:lnTo>
                      <a:pt x="149" y="313"/>
                    </a:lnTo>
                    <a:lnTo>
                      <a:pt x="150" y="298"/>
                    </a:lnTo>
                    <a:lnTo>
                      <a:pt x="156" y="283"/>
                    </a:lnTo>
                    <a:lnTo>
                      <a:pt x="172" y="257"/>
                    </a:lnTo>
                    <a:lnTo>
                      <a:pt x="185" y="246"/>
                    </a:lnTo>
                    <a:lnTo>
                      <a:pt x="199" y="239"/>
                    </a:lnTo>
                    <a:lnTo>
                      <a:pt x="209" y="231"/>
                    </a:lnTo>
                    <a:lnTo>
                      <a:pt x="209" y="227"/>
                    </a:lnTo>
                    <a:lnTo>
                      <a:pt x="215" y="205"/>
                    </a:lnTo>
                    <a:lnTo>
                      <a:pt x="216" y="159"/>
                    </a:lnTo>
                    <a:lnTo>
                      <a:pt x="222" y="128"/>
                    </a:lnTo>
                    <a:lnTo>
                      <a:pt x="229" y="111"/>
                    </a:lnTo>
                    <a:lnTo>
                      <a:pt x="242" y="85"/>
                    </a:lnTo>
                    <a:lnTo>
                      <a:pt x="246" y="71"/>
                    </a:lnTo>
                    <a:lnTo>
                      <a:pt x="245" y="59"/>
                    </a:lnTo>
                    <a:lnTo>
                      <a:pt x="254" y="58"/>
                    </a:lnTo>
                    <a:lnTo>
                      <a:pt x="252" y="52"/>
                    </a:lnTo>
                    <a:lnTo>
                      <a:pt x="252" y="38"/>
                    </a:lnTo>
                    <a:lnTo>
                      <a:pt x="256" y="28"/>
                    </a:lnTo>
                    <a:lnTo>
                      <a:pt x="261" y="26"/>
                    </a:lnTo>
                    <a:lnTo>
                      <a:pt x="264" y="14"/>
                    </a:lnTo>
                    <a:lnTo>
                      <a:pt x="269" y="10"/>
                    </a:lnTo>
                    <a:lnTo>
                      <a:pt x="279" y="3"/>
                    </a:lnTo>
                    <a:lnTo>
                      <a:pt x="289" y="3"/>
                    </a:lnTo>
                    <a:lnTo>
                      <a:pt x="301" y="4"/>
                    </a:lnTo>
                    <a:lnTo>
                      <a:pt x="305" y="10"/>
                    </a:lnTo>
                    <a:lnTo>
                      <a:pt x="307" y="17"/>
                    </a:lnTo>
                    <a:lnTo>
                      <a:pt x="321" y="29"/>
                    </a:lnTo>
                    <a:lnTo>
                      <a:pt x="327" y="30"/>
                    </a:lnTo>
                    <a:lnTo>
                      <a:pt x="332" y="26"/>
                    </a:lnTo>
                    <a:lnTo>
                      <a:pt x="342" y="32"/>
                    </a:lnTo>
                    <a:lnTo>
                      <a:pt x="358" y="36"/>
                    </a:lnTo>
                    <a:lnTo>
                      <a:pt x="393" y="36"/>
                    </a:lnTo>
                    <a:lnTo>
                      <a:pt x="399" y="33"/>
                    </a:lnTo>
                    <a:lnTo>
                      <a:pt x="400" y="22"/>
                    </a:lnTo>
                    <a:lnTo>
                      <a:pt x="410" y="15"/>
                    </a:lnTo>
                    <a:lnTo>
                      <a:pt x="423" y="18"/>
                    </a:lnTo>
                    <a:lnTo>
                      <a:pt x="429" y="22"/>
                    </a:lnTo>
                    <a:lnTo>
                      <a:pt x="442" y="18"/>
                    </a:lnTo>
                    <a:lnTo>
                      <a:pt x="449" y="13"/>
                    </a:lnTo>
                    <a:lnTo>
                      <a:pt x="467" y="10"/>
                    </a:lnTo>
                    <a:lnTo>
                      <a:pt x="476" y="7"/>
                    </a:lnTo>
                    <a:lnTo>
                      <a:pt x="480" y="7"/>
                    </a:lnTo>
                    <a:lnTo>
                      <a:pt x="482" y="10"/>
                    </a:lnTo>
                    <a:lnTo>
                      <a:pt x="480" y="10"/>
                    </a:lnTo>
                    <a:lnTo>
                      <a:pt x="486" y="12"/>
                    </a:lnTo>
                    <a:lnTo>
                      <a:pt x="490" y="10"/>
                    </a:lnTo>
                    <a:lnTo>
                      <a:pt x="500" y="10"/>
                    </a:lnTo>
                    <a:lnTo>
                      <a:pt x="502" y="1"/>
                    </a:lnTo>
                    <a:lnTo>
                      <a:pt x="516" y="5"/>
                    </a:lnTo>
                    <a:lnTo>
                      <a:pt x="531" y="3"/>
                    </a:lnTo>
                    <a:lnTo>
                      <a:pt x="543" y="0"/>
                    </a:lnTo>
                    <a:lnTo>
                      <a:pt x="553" y="10"/>
                    </a:lnTo>
                    <a:lnTo>
                      <a:pt x="558" y="5"/>
                    </a:lnTo>
                    <a:lnTo>
                      <a:pt x="565" y="10"/>
                    </a:lnTo>
                    <a:lnTo>
                      <a:pt x="571" y="3"/>
                    </a:lnTo>
                    <a:lnTo>
                      <a:pt x="590" y="3"/>
                    </a:lnTo>
                    <a:lnTo>
                      <a:pt x="596" y="10"/>
                    </a:lnTo>
                    <a:lnTo>
                      <a:pt x="604" y="17"/>
                    </a:lnTo>
                    <a:lnTo>
                      <a:pt x="609" y="22"/>
                    </a:lnTo>
                    <a:lnTo>
                      <a:pt x="612" y="29"/>
                    </a:lnTo>
                    <a:lnTo>
                      <a:pt x="628" y="36"/>
                    </a:lnTo>
                    <a:lnTo>
                      <a:pt x="633" y="33"/>
                    </a:lnTo>
                    <a:lnTo>
                      <a:pt x="638" y="28"/>
                    </a:lnTo>
                    <a:lnTo>
                      <a:pt x="655" y="33"/>
                    </a:lnTo>
                    <a:lnTo>
                      <a:pt x="664" y="32"/>
                    </a:lnTo>
                    <a:lnTo>
                      <a:pt x="673" y="23"/>
                    </a:lnTo>
                    <a:lnTo>
                      <a:pt x="680" y="29"/>
                    </a:lnTo>
                    <a:lnTo>
                      <a:pt x="698" y="48"/>
                    </a:lnTo>
                    <a:lnTo>
                      <a:pt x="708" y="52"/>
                    </a:lnTo>
                    <a:lnTo>
                      <a:pt x="714" y="59"/>
                    </a:lnTo>
                    <a:lnTo>
                      <a:pt x="718" y="63"/>
                    </a:lnTo>
                    <a:lnTo>
                      <a:pt x="723" y="63"/>
                    </a:lnTo>
                    <a:lnTo>
                      <a:pt x="723" y="64"/>
                    </a:lnTo>
                    <a:lnTo>
                      <a:pt x="720" y="71"/>
                    </a:lnTo>
                    <a:lnTo>
                      <a:pt x="718" y="84"/>
                    </a:lnTo>
                    <a:lnTo>
                      <a:pt x="718" y="99"/>
                    </a:lnTo>
                    <a:lnTo>
                      <a:pt x="721" y="106"/>
                    </a:lnTo>
                    <a:lnTo>
                      <a:pt x="724" y="109"/>
                    </a:lnTo>
                    <a:lnTo>
                      <a:pt x="728" y="111"/>
                    </a:lnTo>
                    <a:lnTo>
                      <a:pt x="733" y="114"/>
                    </a:lnTo>
                    <a:lnTo>
                      <a:pt x="735" y="117"/>
                    </a:lnTo>
                    <a:lnTo>
                      <a:pt x="733" y="119"/>
                    </a:lnTo>
                    <a:lnTo>
                      <a:pt x="728" y="125"/>
                    </a:lnTo>
                    <a:lnTo>
                      <a:pt x="716" y="134"/>
                    </a:lnTo>
                    <a:lnTo>
                      <a:pt x="707" y="143"/>
                    </a:lnTo>
                    <a:lnTo>
                      <a:pt x="704" y="148"/>
                    </a:lnTo>
                    <a:lnTo>
                      <a:pt x="704" y="155"/>
                    </a:lnTo>
                    <a:lnTo>
                      <a:pt x="705" y="155"/>
                    </a:lnTo>
                    <a:lnTo>
                      <a:pt x="707" y="155"/>
                    </a:lnTo>
                    <a:lnTo>
                      <a:pt x="698" y="164"/>
                    </a:lnTo>
                    <a:lnTo>
                      <a:pt x="690" y="174"/>
                    </a:lnTo>
                    <a:lnTo>
                      <a:pt x="687" y="178"/>
                    </a:lnTo>
                    <a:lnTo>
                      <a:pt x="683" y="186"/>
                    </a:lnTo>
                    <a:lnTo>
                      <a:pt x="678" y="207"/>
                    </a:lnTo>
                    <a:lnTo>
                      <a:pt x="678" y="216"/>
                    </a:lnTo>
                    <a:lnTo>
                      <a:pt x="676" y="237"/>
                    </a:lnTo>
                    <a:lnTo>
                      <a:pt x="676" y="251"/>
                    </a:lnTo>
                    <a:lnTo>
                      <a:pt x="673" y="253"/>
                    </a:lnTo>
                    <a:lnTo>
                      <a:pt x="669" y="257"/>
                    </a:lnTo>
                    <a:lnTo>
                      <a:pt x="664" y="265"/>
                    </a:lnTo>
                    <a:lnTo>
                      <a:pt x="659" y="276"/>
                    </a:lnTo>
                    <a:lnTo>
                      <a:pt x="655" y="283"/>
                    </a:lnTo>
                    <a:lnTo>
                      <a:pt x="649" y="294"/>
                    </a:lnTo>
                    <a:lnTo>
                      <a:pt x="649" y="298"/>
                    </a:lnTo>
                    <a:lnTo>
                      <a:pt x="649" y="301"/>
                    </a:lnTo>
                    <a:lnTo>
                      <a:pt x="654" y="306"/>
                    </a:lnTo>
                    <a:lnTo>
                      <a:pt x="657" y="310"/>
                    </a:lnTo>
                    <a:lnTo>
                      <a:pt x="660" y="314"/>
                    </a:lnTo>
                    <a:lnTo>
                      <a:pt x="660" y="330"/>
                    </a:lnTo>
                    <a:lnTo>
                      <a:pt x="659" y="336"/>
                    </a:lnTo>
                    <a:lnTo>
                      <a:pt x="657" y="344"/>
                    </a:lnTo>
                    <a:lnTo>
                      <a:pt x="654" y="355"/>
                    </a:lnTo>
                    <a:lnTo>
                      <a:pt x="652" y="362"/>
                    </a:lnTo>
                    <a:lnTo>
                      <a:pt x="654" y="366"/>
                    </a:lnTo>
                    <a:lnTo>
                      <a:pt x="655" y="365"/>
                    </a:lnTo>
                    <a:lnTo>
                      <a:pt x="657" y="371"/>
                    </a:lnTo>
                    <a:lnTo>
                      <a:pt x="654" y="388"/>
                    </a:lnTo>
                    <a:lnTo>
                      <a:pt x="652" y="399"/>
                    </a:lnTo>
                    <a:lnTo>
                      <a:pt x="657" y="412"/>
                    </a:lnTo>
                    <a:lnTo>
                      <a:pt x="662" y="421"/>
                    </a:lnTo>
                    <a:lnTo>
                      <a:pt x="662" y="429"/>
                    </a:lnTo>
                    <a:lnTo>
                      <a:pt x="660" y="438"/>
                    </a:lnTo>
                    <a:lnTo>
                      <a:pt x="663" y="449"/>
                    </a:lnTo>
                    <a:lnTo>
                      <a:pt x="666" y="455"/>
                    </a:lnTo>
                    <a:lnTo>
                      <a:pt x="671" y="467"/>
                    </a:lnTo>
                    <a:lnTo>
                      <a:pt x="676" y="472"/>
                    </a:lnTo>
                    <a:lnTo>
                      <a:pt x="685" y="481"/>
                    </a:lnTo>
                    <a:lnTo>
                      <a:pt x="695" y="485"/>
                    </a:lnTo>
                    <a:lnTo>
                      <a:pt x="702" y="493"/>
                    </a:lnTo>
                    <a:lnTo>
                      <a:pt x="707" y="518"/>
                    </a:lnTo>
                    <a:lnTo>
                      <a:pt x="664" y="527"/>
                    </a:lnTo>
                    <a:lnTo>
                      <a:pt x="655" y="529"/>
                    </a:lnTo>
                    <a:lnTo>
                      <a:pt x="652" y="532"/>
                    </a:lnTo>
                    <a:lnTo>
                      <a:pt x="649" y="534"/>
                    </a:lnTo>
                    <a:lnTo>
                      <a:pt x="644" y="543"/>
                    </a:lnTo>
                    <a:lnTo>
                      <a:pt x="641" y="548"/>
                    </a:lnTo>
                    <a:lnTo>
                      <a:pt x="638" y="554"/>
                    </a:lnTo>
                    <a:lnTo>
                      <a:pt x="638" y="557"/>
                    </a:lnTo>
                    <a:lnTo>
                      <a:pt x="638" y="564"/>
                    </a:lnTo>
                    <a:lnTo>
                      <a:pt x="642" y="576"/>
                    </a:lnTo>
                    <a:lnTo>
                      <a:pt x="644" y="587"/>
                    </a:lnTo>
                    <a:lnTo>
                      <a:pt x="644" y="604"/>
                    </a:lnTo>
                    <a:lnTo>
                      <a:pt x="642" y="610"/>
                    </a:lnTo>
                    <a:lnTo>
                      <a:pt x="632" y="636"/>
                    </a:lnTo>
                    <a:lnTo>
                      <a:pt x="629" y="643"/>
                    </a:lnTo>
                    <a:lnTo>
                      <a:pt x="628" y="649"/>
                    </a:lnTo>
                    <a:lnTo>
                      <a:pt x="629" y="655"/>
                    </a:lnTo>
                    <a:lnTo>
                      <a:pt x="629" y="658"/>
                    </a:lnTo>
                    <a:lnTo>
                      <a:pt x="634" y="662"/>
                    </a:lnTo>
                    <a:lnTo>
                      <a:pt x="642" y="671"/>
                    </a:lnTo>
                    <a:lnTo>
                      <a:pt x="647" y="673"/>
                    </a:lnTo>
                    <a:lnTo>
                      <a:pt x="655" y="674"/>
                    </a:lnTo>
                    <a:lnTo>
                      <a:pt x="663" y="676"/>
                    </a:lnTo>
                    <a:lnTo>
                      <a:pt x="670" y="673"/>
                    </a:lnTo>
                    <a:lnTo>
                      <a:pt x="673" y="673"/>
                    </a:lnTo>
                    <a:lnTo>
                      <a:pt x="676" y="678"/>
                    </a:lnTo>
                    <a:lnTo>
                      <a:pt x="676" y="703"/>
                    </a:lnTo>
                    <a:lnTo>
                      <a:pt x="676" y="707"/>
                    </a:lnTo>
                    <a:lnTo>
                      <a:pt x="676" y="712"/>
                    </a:lnTo>
                    <a:lnTo>
                      <a:pt x="676" y="715"/>
                    </a:lnTo>
                    <a:lnTo>
                      <a:pt x="673" y="715"/>
                    </a:lnTo>
                    <a:lnTo>
                      <a:pt x="670" y="714"/>
                    </a:lnTo>
                    <a:lnTo>
                      <a:pt x="666" y="707"/>
                    </a:lnTo>
                    <a:lnTo>
                      <a:pt x="665" y="707"/>
                    </a:lnTo>
                    <a:lnTo>
                      <a:pt x="663" y="707"/>
                    </a:lnTo>
                    <a:lnTo>
                      <a:pt x="660" y="710"/>
                    </a:lnTo>
                    <a:lnTo>
                      <a:pt x="655" y="710"/>
                    </a:lnTo>
                    <a:lnTo>
                      <a:pt x="649" y="709"/>
                    </a:lnTo>
                    <a:lnTo>
                      <a:pt x="642" y="707"/>
                    </a:lnTo>
                    <a:lnTo>
                      <a:pt x="633" y="700"/>
                    </a:lnTo>
                    <a:lnTo>
                      <a:pt x="622" y="693"/>
                    </a:lnTo>
                    <a:lnTo>
                      <a:pt x="621" y="688"/>
                    </a:lnTo>
                    <a:lnTo>
                      <a:pt x="617" y="680"/>
                    </a:lnTo>
                    <a:lnTo>
                      <a:pt x="612" y="674"/>
                    </a:lnTo>
                    <a:lnTo>
                      <a:pt x="604" y="674"/>
                    </a:lnTo>
                    <a:lnTo>
                      <a:pt x="596" y="673"/>
                    </a:lnTo>
                    <a:lnTo>
                      <a:pt x="587" y="668"/>
                    </a:lnTo>
                    <a:lnTo>
                      <a:pt x="573" y="655"/>
                    </a:lnTo>
                    <a:lnTo>
                      <a:pt x="569" y="654"/>
                    </a:lnTo>
                    <a:lnTo>
                      <a:pt x="563" y="655"/>
                    </a:lnTo>
                    <a:lnTo>
                      <a:pt x="554" y="659"/>
                    </a:lnTo>
                    <a:lnTo>
                      <a:pt x="548" y="661"/>
                    </a:lnTo>
                    <a:lnTo>
                      <a:pt x="540" y="659"/>
                    </a:lnTo>
                    <a:lnTo>
                      <a:pt x="527" y="655"/>
                    </a:lnTo>
                    <a:lnTo>
                      <a:pt x="518" y="649"/>
                    </a:lnTo>
                    <a:lnTo>
                      <a:pt x="509" y="646"/>
                    </a:lnTo>
                    <a:lnTo>
                      <a:pt x="505" y="642"/>
                    </a:lnTo>
                    <a:lnTo>
                      <a:pt x="504" y="636"/>
                    </a:lnTo>
                    <a:lnTo>
                      <a:pt x="499" y="630"/>
                    </a:lnTo>
                    <a:lnTo>
                      <a:pt x="490" y="633"/>
                    </a:lnTo>
                    <a:lnTo>
                      <a:pt x="486" y="633"/>
                    </a:lnTo>
                    <a:lnTo>
                      <a:pt x="483" y="635"/>
                    </a:lnTo>
                    <a:lnTo>
                      <a:pt x="473" y="638"/>
                    </a:lnTo>
                    <a:lnTo>
                      <a:pt x="471" y="638"/>
                    </a:lnTo>
                    <a:lnTo>
                      <a:pt x="469" y="635"/>
                    </a:lnTo>
                    <a:lnTo>
                      <a:pt x="470" y="625"/>
                    </a:lnTo>
                    <a:lnTo>
                      <a:pt x="466" y="618"/>
                    </a:lnTo>
                    <a:lnTo>
                      <a:pt x="464" y="617"/>
                    </a:lnTo>
                    <a:lnTo>
                      <a:pt x="461" y="618"/>
                    </a:lnTo>
                    <a:lnTo>
                      <a:pt x="454" y="621"/>
                    </a:lnTo>
                    <a:lnTo>
                      <a:pt x="452" y="621"/>
                    </a:lnTo>
                    <a:lnTo>
                      <a:pt x="447" y="624"/>
                    </a:lnTo>
                    <a:lnTo>
                      <a:pt x="445" y="624"/>
                    </a:lnTo>
                    <a:lnTo>
                      <a:pt x="439" y="623"/>
                    </a:lnTo>
                    <a:lnTo>
                      <a:pt x="431" y="627"/>
                    </a:lnTo>
                    <a:lnTo>
                      <a:pt x="396" y="627"/>
                    </a:lnTo>
                    <a:lnTo>
                      <a:pt x="392" y="628"/>
                    </a:lnTo>
                    <a:lnTo>
                      <a:pt x="391" y="633"/>
                    </a:lnTo>
                    <a:lnTo>
                      <a:pt x="388" y="637"/>
                    </a:lnTo>
                    <a:lnTo>
                      <a:pt x="386" y="638"/>
                    </a:lnTo>
                    <a:lnTo>
                      <a:pt x="381" y="637"/>
                    </a:lnTo>
                    <a:lnTo>
                      <a:pt x="378" y="632"/>
                    </a:lnTo>
                    <a:lnTo>
                      <a:pt x="375" y="632"/>
                    </a:lnTo>
                    <a:lnTo>
                      <a:pt x="375" y="630"/>
                    </a:lnTo>
                    <a:lnTo>
                      <a:pt x="373" y="628"/>
                    </a:lnTo>
                    <a:lnTo>
                      <a:pt x="373" y="627"/>
                    </a:lnTo>
                    <a:lnTo>
                      <a:pt x="381" y="618"/>
                    </a:lnTo>
                    <a:lnTo>
                      <a:pt x="384" y="614"/>
                    </a:lnTo>
                    <a:lnTo>
                      <a:pt x="385" y="610"/>
                    </a:lnTo>
                    <a:lnTo>
                      <a:pt x="381" y="598"/>
                    </a:lnTo>
                    <a:lnTo>
                      <a:pt x="376" y="583"/>
                    </a:lnTo>
                    <a:lnTo>
                      <a:pt x="370" y="573"/>
                    </a:lnTo>
                    <a:lnTo>
                      <a:pt x="368" y="567"/>
                    </a:lnTo>
                    <a:lnTo>
                      <a:pt x="369" y="558"/>
                    </a:lnTo>
                    <a:lnTo>
                      <a:pt x="370" y="549"/>
                    </a:lnTo>
                    <a:lnTo>
                      <a:pt x="370" y="546"/>
                    </a:lnTo>
                    <a:lnTo>
                      <a:pt x="369" y="534"/>
                    </a:lnTo>
                    <a:lnTo>
                      <a:pt x="369" y="523"/>
                    </a:lnTo>
                    <a:lnTo>
                      <a:pt x="368" y="515"/>
                    </a:lnTo>
                    <a:lnTo>
                      <a:pt x="365" y="491"/>
                    </a:lnTo>
                    <a:lnTo>
                      <a:pt x="363" y="486"/>
                    </a:lnTo>
                    <a:lnTo>
                      <a:pt x="362" y="484"/>
                    </a:lnTo>
                    <a:lnTo>
                      <a:pt x="327" y="482"/>
                    </a:lnTo>
                    <a:lnTo>
                      <a:pt x="328" y="467"/>
                    </a:lnTo>
                    <a:lnTo>
                      <a:pt x="311" y="467"/>
                    </a:lnTo>
                    <a:lnTo>
                      <a:pt x="311" y="471"/>
                    </a:lnTo>
                    <a:lnTo>
                      <a:pt x="280" y="471"/>
                    </a:lnTo>
                    <a:lnTo>
                      <a:pt x="279" y="477"/>
                    </a:lnTo>
                    <a:lnTo>
                      <a:pt x="279" y="485"/>
                    </a:lnTo>
                    <a:lnTo>
                      <a:pt x="277" y="490"/>
                    </a:lnTo>
                    <a:lnTo>
                      <a:pt x="276" y="491"/>
                    </a:lnTo>
                    <a:lnTo>
                      <a:pt x="274" y="494"/>
                    </a:lnTo>
                    <a:lnTo>
                      <a:pt x="274" y="500"/>
                    </a:lnTo>
                    <a:lnTo>
                      <a:pt x="271" y="510"/>
                    </a:lnTo>
                    <a:lnTo>
                      <a:pt x="258" y="510"/>
                    </a:lnTo>
                    <a:lnTo>
                      <a:pt x="245" y="508"/>
                    </a:lnTo>
                    <a:lnTo>
                      <a:pt x="236" y="512"/>
                    </a:lnTo>
                    <a:lnTo>
                      <a:pt x="221" y="516"/>
                    </a:lnTo>
                    <a:lnTo>
                      <a:pt x="211" y="516"/>
                    </a:lnTo>
                    <a:lnTo>
                      <a:pt x="203" y="512"/>
                    </a:lnTo>
                    <a:lnTo>
                      <a:pt x="188" y="493"/>
                    </a:lnTo>
                    <a:lnTo>
                      <a:pt x="180" y="484"/>
                    </a:lnTo>
                    <a:lnTo>
                      <a:pt x="177" y="472"/>
                    </a:lnTo>
                    <a:lnTo>
                      <a:pt x="172" y="464"/>
                    </a:lnTo>
                    <a:lnTo>
                      <a:pt x="170" y="460"/>
                    </a:lnTo>
                    <a:lnTo>
                      <a:pt x="170" y="452"/>
                    </a:lnTo>
                    <a:lnTo>
                      <a:pt x="167" y="438"/>
                    </a:lnTo>
                    <a:lnTo>
                      <a:pt x="163" y="431"/>
                    </a:lnTo>
                    <a:lnTo>
                      <a:pt x="160" y="433"/>
                    </a:lnTo>
                    <a:lnTo>
                      <a:pt x="158" y="433"/>
                    </a:lnTo>
                    <a:lnTo>
                      <a:pt x="154" y="426"/>
                    </a:lnTo>
                    <a:lnTo>
                      <a:pt x="152" y="426"/>
                    </a:lnTo>
                    <a:lnTo>
                      <a:pt x="140" y="426"/>
                    </a:lnTo>
                    <a:lnTo>
                      <a:pt x="118" y="426"/>
                    </a:lnTo>
                    <a:lnTo>
                      <a:pt x="108" y="426"/>
                    </a:lnTo>
                    <a:lnTo>
                      <a:pt x="99" y="428"/>
                    </a:lnTo>
                    <a:lnTo>
                      <a:pt x="86" y="428"/>
                    </a:lnTo>
                    <a:lnTo>
                      <a:pt x="81" y="426"/>
                    </a:lnTo>
                    <a:lnTo>
                      <a:pt x="65" y="428"/>
                    </a:lnTo>
                    <a:lnTo>
                      <a:pt x="49" y="426"/>
                    </a:lnTo>
                    <a:lnTo>
                      <a:pt x="43" y="428"/>
                    </a:lnTo>
                    <a:lnTo>
                      <a:pt x="37" y="428"/>
                    </a:lnTo>
                    <a:lnTo>
                      <a:pt x="27" y="431"/>
                    </a:lnTo>
                    <a:lnTo>
                      <a:pt x="18" y="436"/>
                    </a:lnTo>
                    <a:lnTo>
                      <a:pt x="5" y="439"/>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92" name="Freeform 78"/>
              <p:cNvSpPr>
                <a:spLocks/>
              </p:cNvSpPr>
              <p:nvPr/>
            </p:nvSpPr>
            <p:spPr bwMode="auto">
              <a:xfrm>
                <a:off x="1878" y="2075"/>
                <a:ext cx="536" cy="327"/>
              </a:xfrm>
              <a:custGeom>
                <a:avLst/>
                <a:gdLst>
                  <a:gd name="T0" fmla="*/ 477 w 505"/>
                  <a:gd name="T1" fmla="*/ 0 h 316"/>
                  <a:gd name="T2" fmla="*/ 524 w 505"/>
                  <a:gd name="T3" fmla="*/ 49 h 316"/>
                  <a:gd name="T4" fmla="*/ 519 w 505"/>
                  <a:gd name="T5" fmla="*/ 96 h 316"/>
                  <a:gd name="T6" fmla="*/ 544 w 505"/>
                  <a:gd name="T7" fmla="*/ 121 h 316"/>
                  <a:gd name="T8" fmla="*/ 577 w 505"/>
                  <a:gd name="T9" fmla="*/ 141 h 316"/>
                  <a:gd name="T10" fmla="*/ 620 w 505"/>
                  <a:gd name="T11" fmla="*/ 154 h 316"/>
                  <a:gd name="T12" fmla="*/ 623 w 505"/>
                  <a:gd name="T13" fmla="*/ 179 h 316"/>
                  <a:gd name="T14" fmla="*/ 672 w 505"/>
                  <a:gd name="T15" fmla="*/ 211 h 316"/>
                  <a:gd name="T16" fmla="*/ 692 w 505"/>
                  <a:gd name="T17" fmla="*/ 235 h 316"/>
                  <a:gd name="T18" fmla="*/ 710 w 505"/>
                  <a:gd name="T19" fmla="*/ 260 h 316"/>
                  <a:gd name="T20" fmla="*/ 749 w 505"/>
                  <a:gd name="T21" fmla="*/ 295 h 316"/>
                  <a:gd name="T22" fmla="*/ 719 w 505"/>
                  <a:gd name="T23" fmla="*/ 312 h 316"/>
                  <a:gd name="T24" fmla="*/ 685 w 505"/>
                  <a:gd name="T25" fmla="*/ 298 h 316"/>
                  <a:gd name="T26" fmla="*/ 623 w 505"/>
                  <a:gd name="T27" fmla="*/ 302 h 316"/>
                  <a:gd name="T28" fmla="*/ 600 w 505"/>
                  <a:gd name="T29" fmla="*/ 314 h 316"/>
                  <a:gd name="T30" fmla="*/ 589 w 505"/>
                  <a:gd name="T31" fmla="*/ 308 h 316"/>
                  <a:gd name="T32" fmla="*/ 544 w 505"/>
                  <a:gd name="T33" fmla="*/ 317 h 316"/>
                  <a:gd name="T34" fmla="*/ 506 w 505"/>
                  <a:gd name="T35" fmla="*/ 323 h 316"/>
                  <a:gd name="T36" fmla="*/ 469 w 505"/>
                  <a:gd name="T37" fmla="*/ 345 h 316"/>
                  <a:gd name="T38" fmla="*/ 384 w 505"/>
                  <a:gd name="T39" fmla="*/ 343 h 316"/>
                  <a:gd name="T40" fmla="*/ 354 w 505"/>
                  <a:gd name="T41" fmla="*/ 337 h 316"/>
                  <a:gd name="T42" fmla="*/ 323 w 505"/>
                  <a:gd name="T43" fmla="*/ 304 h 316"/>
                  <a:gd name="T44" fmla="*/ 278 w 505"/>
                  <a:gd name="T45" fmla="*/ 312 h 316"/>
                  <a:gd name="T46" fmla="*/ 258 w 505"/>
                  <a:gd name="T47" fmla="*/ 336 h 316"/>
                  <a:gd name="T48" fmla="*/ 254 w 505"/>
                  <a:gd name="T49" fmla="*/ 376 h 316"/>
                  <a:gd name="T50" fmla="*/ 218 w 505"/>
                  <a:gd name="T51" fmla="*/ 390 h 316"/>
                  <a:gd name="T52" fmla="*/ 165 w 505"/>
                  <a:gd name="T53" fmla="*/ 379 h 316"/>
                  <a:gd name="T54" fmla="*/ 102 w 505"/>
                  <a:gd name="T55" fmla="*/ 410 h 316"/>
                  <a:gd name="T56" fmla="*/ 60 w 505"/>
                  <a:gd name="T57" fmla="*/ 407 h 316"/>
                  <a:gd name="T58" fmla="*/ 16 w 505"/>
                  <a:gd name="T59" fmla="*/ 337 h 316"/>
                  <a:gd name="T60" fmla="*/ 3 w 505"/>
                  <a:gd name="T61" fmla="*/ 290 h 316"/>
                  <a:gd name="T62" fmla="*/ 6 w 505"/>
                  <a:gd name="T63" fmla="*/ 255 h 316"/>
                  <a:gd name="T64" fmla="*/ 40 w 505"/>
                  <a:gd name="T65" fmla="*/ 211 h 316"/>
                  <a:gd name="T66" fmla="*/ 64 w 505"/>
                  <a:gd name="T67" fmla="*/ 183 h 316"/>
                  <a:gd name="T68" fmla="*/ 82 w 505"/>
                  <a:gd name="T69" fmla="*/ 183 h 316"/>
                  <a:gd name="T70" fmla="*/ 112 w 505"/>
                  <a:gd name="T71" fmla="*/ 175 h 316"/>
                  <a:gd name="T72" fmla="*/ 118 w 505"/>
                  <a:gd name="T73" fmla="*/ 163 h 316"/>
                  <a:gd name="T74" fmla="*/ 128 w 505"/>
                  <a:gd name="T75" fmla="*/ 170 h 316"/>
                  <a:gd name="T76" fmla="*/ 144 w 505"/>
                  <a:gd name="T77" fmla="*/ 179 h 316"/>
                  <a:gd name="T78" fmla="*/ 161 w 505"/>
                  <a:gd name="T79" fmla="*/ 170 h 316"/>
                  <a:gd name="T80" fmla="*/ 194 w 505"/>
                  <a:gd name="T81" fmla="*/ 158 h 316"/>
                  <a:gd name="T82" fmla="*/ 217 w 505"/>
                  <a:gd name="T83" fmla="*/ 154 h 316"/>
                  <a:gd name="T84" fmla="*/ 245 w 505"/>
                  <a:gd name="T85" fmla="*/ 147 h 316"/>
                  <a:gd name="T86" fmla="*/ 259 w 505"/>
                  <a:gd name="T87" fmla="*/ 140 h 316"/>
                  <a:gd name="T88" fmla="*/ 265 w 505"/>
                  <a:gd name="T89" fmla="*/ 127 h 316"/>
                  <a:gd name="T90" fmla="*/ 260 w 505"/>
                  <a:gd name="T91" fmla="*/ 112 h 316"/>
                  <a:gd name="T92" fmla="*/ 272 w 505"/>
                  <a:gd name="T93" fmla="*/ 104 h 316"/>
                  <a:gd name="T94" fmla="*/ 307 w 505"/>
                  <a:gd name="T95" fmla="*/ 100 h 316"/>
                  <a:gd name="T96" fmla="*/ 331 w 505"/>
                  <a:gd name="T97" fmla="*/ 99 h 316"/>
                  <a:gd name="T98" fmla="*/ 348 w 505"/>
                  <a:gd name="T99" fmla="*/ 95 h 316"/>
                  <a:gd name="T100" fmla="*/ 374 w 505"/>
                  <a:gd name="T101" fmla="*/ 79 h 316"/>
                  <a:gd name="T102" fmla="*/ 400 w 505"/>
                  <a:gd name="T103" fmla="*/ 51 h 316"/>
                  <a:gd name="T104" fmla="*/ 416 w 505"/>
                  <a:gd name="T105" fmla="*/ 42 h 316"/>
                  <a:gd name="T106" fmla="*/ 427 w 505"/>
                  <a:gd name="T107" fmla="*/ 16 h 316"/>
                  <a:gd name="T108" fmla="*/ 457 w 505"/>
                  <a:gd name="T109" fmla="*/ 3 h 31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05"/>
                  <a:gd name="T166" fmla="*/ 0 h 316"/>
                  <a:gd name="T167" fmla="*/ 505 w 505"/>
                  <a:gd name="T168" fmla="*/ 316 h 31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05" h="316">
                    <a:moveTo>
                      <a:pt x="305" y="3"/>
                    </a:moveTo>
                    <a:lnTo>
                      <a:pt x="311" y="0"/>
                    </a:lnTo>
                    <a:lnTo>
                      <a:pt x="319" y="0"/>
                    </a:lnTo>
                    <a:lnTo>
                      <a:pt x="327" y="10"/>
                    </a:lnTo>
                    <a:lnTo>
                      <a:pt x="338" y="21"/>
                    </a:lnTo>
                    <a:lnTo>
                      <a:pt x="350" y="37"/>
                    </a:lnTo>
                    <a:lnTo>
                      <a:pt x="353" y="48"/>
                    </a:lnTo>
                    <a:lnTo>
                      <a:pt x="350" y="59"/>
                    </a:lnTo>
                    <a:lnTo>
                      <a:pt x="347" y="71"/>
                    </a:lnTo>
                    <a:lnTo>
                      <a:pt x="350" y="81"/>
                    </a:lnTo>
                    <a:lnTo>
                      <a:pt x="356" y="89"/>
                    </a:lnTo>
                    <a:lnTo>
                      <a:pt x="364" y="89"/>
                    </a:lnTo>
                    <a:lnTo>
                      <a:pt x="374" y="92"/>
                    </a:lnTo>
                    <a:lnTo>
                      <a:pt x="377" y="100"/>
                    </a:lnTo>
                    <a:lnTo>
                      <a:pt x="385" y="105"/>
                    </a:lnTo>
                    <a:lnTo>
                      <a:pt x="401" y="105"/>
                    </a:lnTo>
                    <a:lnTo>
                      <a:pt x="407" y="109"/>
                    </a:lnTo>
                    <a:lnTo>
                      <a:pt x="414" y="115"/>
                    </a:lnTo>
                    <a:lnTo>
                      <a:pt x="415" y="118"/>
                    </a:lnTo>
                    <a:lnTo>
                      <a:pt x="414" y="125"/>
                    </a:lnTo>
                    <a:lnTo>
                      <a:pt x="417" y="133"/>
                    </a:lnTo>
                    <a:lnTo>
                      <a:pt x="430" y="141"/>
                    </a:lnTo>
                    <a:lnTo>
                      <a:pt x="443" y="150"/>
                    </a:lnTo>
                    <a:lnTo>
                      <a:pt x="449" y="157"/>
                    </a:lnTo>
                    <a:lnTo>
                      <a:pt x="457" y="162"/>
                    </a:lnTo>
                    <a:lnTo>
                      <a:pt x="461" y="168"/>
                    </a:lnTo>
                    <a:lnTo>
                      <a:pt x="463" y="175"/>
                    </a:lnTo>
                    <a:lnTo>
                      <a:pt x="468" y="182"/>
                    </a:lnTo>
                    <a:lnTo>
                      <a:pt x="468" y="189"/>
                    </a:lnTo>
                    <a:lnTo>
                      <a:pt x="475" y="193"/>
                    </a:lnTo>
                    <a:lnTo>
                      <a:pt x="496" y="206"/>
                    </a:lnTo>
                    <a:lnTo>
                      <a:pt x="501" y="213"/>
                    </a:lnTo>
                    <a:lnTo>
                      <a:pt x="501" y="219"/>
                    </a:lnTo>
                    <a:lnTo>
                      <a:pt x="505" y="225"/>
                    </a:lnTo>
                    <a:lnTo>
                      <a:pt x="486" y="225"/>
                    </a:lnTo>
                    <a:lnTo>
                      <a:pt x="480" y="232"/>
                    </a:lnTo>
                    <a:lnTo>
                      <a:pt x="472" y="227"/>
                    </a:lnTo>
                    <a:lnTo>
                      <a:pt x="468" y="232"/>
                    </a:lnTo>
                    <a:lnTo>
                      <a:pt x="458" y="222"/>
                    </a:lnTo>
                    <a:lnTo>
                      <a:pt x="446" y="225"/>
                    </a:lnTo>
                    <a:lnTo>
                      <a:pt x="430" y="227"/>
                    </a:lnTo>
                    <a:lnTo>
                      <a:pt x="417" y="224"/>
                    </a:lnTo>
                    <a:lnTo>
                      <a:pt x="415" y="232"/>
                    </a:lnTo>
                    <a:lnTo>
                      <a:pt x="405" y="232"/>
                    </a:lnTo>
                    <a:lnTo>
                      <a:pt x="401" y="234"/>
                    </a:lnTo>
                    <a:lnTo>
                      <a:pt x="395" y="232"/>
                    </a:lnTo>
                    <a:lnTo>
                      <a:pt x="397" y="232"/>
                    </a:lnTo>
                    <a:lnTo>
                      <a:pt x="395" y="229"/>
                    </a:lnTo>
                    <a:lnTo>
                      <a:pt x="391" y="229"/>
                    </a:lnTo>
                    <a:lnTo>
                      <a:pt x="382" y="232"/>
                    </a:lnTo>
                    <a:lnTo>
                      <a:pt x="364" y="235"/>
                    </a:lnTo>
                    <a:lnTo>
                      <a:pt x="357" y="240"/>
                    </a:lnTo>
                    <a:lnTo>
                      <a:pt x="345" y="245"/>
                    </a:lnTo>
                    <a:lnTo>
                      <a:pt x="338" y="240"/>
                    </a:lnTo>
                    <a:lnTo>
                      <a:pt x="326" y="237"/>
                    </a:lnTo>
                    <a:lnTo>
                      <a:pt x="316" y="245"/>
                    </a:lnTo>
                    <a:lnTo>
                      <a:pt x="314" y="256"/>
                    </a:lnTo>
                    <a:lnTo>
                      <a:pt x="308" y="258"/>
                    </a:lnTo>
                    <a:lnTo>
                      <a:pt x="273" y="258"/>
                    </a:lnTo>
                    <a:lnTo>
                      <a:pt x="257" y="254"/>
                    </a:lnTo>
                    <a:lnTo>
                      <a:pt x="248" y="248"/>
                    </a:lnTo>
                    <a:lnTo>
                      <a:pt x="242" y="252"/>
                    </a:lnTo>
                    <a:lnTo>
                      <a:pt x="237" y="251"/>
                    </a:lnTo>
                    <a:lnTo>
                      <a:pt x="222" y="239"/>
                    </a:lnTo>
                    <a:lnTo>
                      <a:pt x="220" y="232"/>
                    </a:lnTo>
                    <a:lnTo>
                      <a:pt x="216" y="226"/>
                    </a:lnTo>
                    <a:lnTo>
                      <a:pt x="204" y="225"/>
                    </a:lnTo>
                    <a:lnTo>
                      <a:pt x="195" y="225"/>
                    </a:lnTo>
                    <a:lnTo>
                      <a:pt x="185" y="232"/>
                    </a:lnTo>
                    <a:lnTo>
                      <a:pt x="180" y="237"/>
                    </a:lnTo>
                    <a:lnTo>
                      <a:pt x="177" y="248"/>
                    </a:lnTo>
                    <a:lnTo>
                      <a:pt x="171" y="250"/>
                    </a:lnTo>
                    <a:lnTo>
                      <a:pt x="168" y="261"/>
                    </a:lnTo>
                    <a:lnTo>
                      <a:pt x="167" y="275"/>
                    </a:lnTo>
                    <a:lnTo>
                      <a:pt x="170" y="280"/>
                    </a:lnTo>
                    <a:lnTo>
                      <a:pt x="161" y="282"/>
                    </a:lnTo>
                    <a:lnTo>
                      <a:pt x="157" y="286"/>
                    </a:lnTo>
                    <a:lnTo>
                      <a:pt x="146" y="290"/>
                    </a:lnTo>
                    <a:lnTo>
                      <a:pt x="134" y="292"/>
                    </a:lnTo>
                    <a:lnTo>
                      <a:pt x="123" y="289"/>
                    </a:lnTo>
                    <a:lnTo>
                      <a:pt x="110" y="282"/>
                    </a:lnTo>
                    <a:lnTo>
                      <a:pt x="98" y="285"/>
                    </a:lnTo>
                    <a:lnTo>
                      <a:pt x="81" y="293"/>
                    </a:lnTo>
                    <a:lnTo>
                      <a:pt x="68" y="305"/>
                    </a:lnTo>
                    <a:lnTo>
                      <a:pt x="62" y="314"/>
                    </a:lnTo>
                    <a:lnTo>
                      <a:pt x="58" y="316"/>
                    </a:lnTo>
                    <a:lnTo>
                      <a:pt x="40" y="302"/>
                    </a:lnTo>
                    <a:lnTo>
                      <a:pt x="33" y="292"/>
                    </a:lnTo>
                    <a:lnTo>
                      <a:pt x="15" y="260"/>
                    </a:lnTo>
                    <a:lnTo>
                      <a:pt x="10" y="251"/>
                    </a:lnTo>
                    <a:lnTo>
                      <a:pt x="3" y="239"/>
                    </a:lnTo>
                    <a:lnTo>
                      <a:pt x="1" y="227"/>
                    </a:lnTo>
                    <a:lnTo>
                      <a:pt x="3" y="216"/>
                    </a:lnTo>
                    <a:lnTo>
                      <a:pt x="0" y="206"/>
                    </a:lnTo>
                    <a:lnTo>
                      <a:pt x="0" y="197"/>
                    </a:lnTo>
                    <a:lnTo>
                      <a:pt x="6" y="189"/>
                    </a:lnTo>
                    <a:lnTo>
                      <a:pt x="14" y="178"/>
                    </a:lnTo>
                    <a:lnTo>
                      <a:pt x="20" y="167"/>
                    </a:lnTo>
                    <a:lnTo>
                      <a:pt x="27" y="157"/>
                    </a:lnTo>
                    <a:lnTo>
                      <a:pt x="33" y="138"/>
                    </a:lnTo>
                    <a:lnTo>
                      <a:pt x="37" y="136"/>
                    </a:lnTo>
                    <a:lnTo>
                      <a:pt x="43" y="136"/>
                    </a:lnTo>
                    <a:lnTo>
                      <a:pt x="48" y="135"/>
                    </a:lnTo>
                    <a:lnTo>
                      <a:pt x="51" y="135"/>
                    </a:lnTo>
                    <a:lnTo>
                      <a:pt x="55" y="136"/>
                    </a:lnTo>
                    <a:lnTo>
                      <a:pt x="59" y="136"/>
                    </a:lnTo>
                    <a:lnTo>
                      <a:pt x="65" y="131"/>
                    </a:lnTo>
                    <a:lnTo>
                      <a:pt x="75" y="130"/>
                    </a:lnTo>
                    <a:lnTo>
                      <a:pt x="76" y="124"/>
                    </a:lnTo>
                    <a:lnTo>
                      <a:pt x="78" y="124"/>
                    </a:lnTo>
                    <a:lnTo>
                      <a:pt x="79" y="122"/>
                    </a:lnTo>
                    <a:lnTo>
                      <a:pt x="82" y="122"/>
                    </a:lnTo>
                    <a:lnTo>
                      <a:pt x="84" y="122"/>
                    </a:lnTo>
                    <a:lnTo>
                      <a:pt x="86" y="127"/>
                    </a:lnTo>
                    <a:lnTo>
                      <a:pt x="88" y="128"/>
                    </a:lnTo>
                    <a:lnTo>
                      <a:pt x="94" y="134"/>
                    </a:lnTo>
                    <a:lnTo>
                      <a:pt x="96" y="133"/>
                    </a:lnTo>
                    <a:lnTo>
                      <a:pt x="98" y="130"/>
                    </a:lnTo>
                    <a:lnTo>
                      <a:pt x="103" y="128"/>
                    </a:lnTo>
                    <a:lnTo>
                      <a:pt x="108" y="127"/>
                    </a:lnTo>
                    <a:lnTo>
                      <a:pt x="110" y="125"/>
                    </a:lnTo>
                    <a:lnTo>
                      <a:pt x="114" y="122"/>
                    </a:lnTo>
                    <a:lnTo>
                      <a:pt x="129" y="117"/>
                    </a:lnTo>
                    <a:lnTo>
                      <a:pt x="133" y="117"/>
                    </a:lnTo>
                    <a:lnTo>
                      <a:pt x="139" y="117"/>
                    </a:lnTo>
                    <a:lnTo>
                      <a:pt x="145" y="115"/>
                    </a:lnTo>
                    <a:lnTo>
                      <a:pt x="162" y="115"/>
                    </a:lnTo>
                    <a:lnTo>
                      <a:pt x="163" y="114"/>
                    </a:lnTo>
                    <a:lnTo>
                      <a:pt x="164" y="109"/>
                    </a:lnTo>
                    <a:lnTo>
                      <a:pt x="165" y="107"/>
                    </a:lnTo>
                    <a:lnTo>
                      <a:pt x="168" y="107"/>
                    </a:lnTo>
                    <a:lnTo>
                      <a:pt x="172" y="104"/>
                    </a:lnTo>
                    <a:lnTo>
                      <a:pt x="174" y="99"/>
                    </a:lnTo>
                    <a:lnTo>
                      <a:pt x="178" y="96"/>
                    </a:lnTo>
                    <a:lnTo>
                      <a:pt x="178" y="94"/>
                    </a:lnTo>
                    <a:lnTo>
                      <a:pt x="177" y="89"/>
                    </a:lnTo>
                    <a:lnTo>
                      <a:pt x="173" y="86"/>
                    </a:lnTo>
                    <a:lnTo>
                      <a:pt x="173" y="84"/>
                    </a:lnTo>
                    <a:lnTo>
                      <a:pt x="174" y="80"/>
                    </a:lnTo>
                    <a:lnTo>
                      <a:pt x="175" y="80"/>
                    </a:lnTo>
                    <a:lnTo>
                      <a:pt x="182" y="77"/>
                    </a:lnTo>
                    <a:lnTo>
                      <a:pt x="190" y="76"/>
                    </a:lnTo>
                    <a:lnTo>
                      <a:pt x="204" y="76"/>
                    </a:lnTo>
                    <a:lnTo>
                      <a:pt x="206" y="74"/>
                    </a:lnTo>
                    <a:lnTo>
                      <a:pt x="213" y="74"/>
                    </a:lnTo>
                    <a:lnTo>
                      <a:pt x="218" y="73"/>
                    </a:lnTo>
                    <a:lnTo>
                      <a:pt x="222" y="73"/>
                    </a:lnTo>
                    <a:lnTo>
                      <a:pt x="226" y="73"/>
                    </a:lnTo>
                    <a:lnTo>
                      <a:pt x="232" y="71"/>
                    </a:lnTo>
                    <a:lnTo>
                      <a:pt x="233" y="70"/>
                    </a:lnTo>
                    <a:lnTo>
                      <a:pt x="237" y="64"/>
                    </a:lnTo>
                    <a:lnTo>
                      <a:pt x="242" y="63"/>
                    </a:lnTo>
                    <a:lnTo>
                      <a:pt x="250" y="59"/>
                    </a:lnTo>
                    <a:lnTo>
                      <a:pt x="253" y="58"/>
                    </a:lnTo>
                    <a:lnTo>
                      <a:pt x="256" y="49"/>
                    </a:lnTo>
                    <a:lnTo>
                      <a:pt x="267" y="39"/>
                    </a:lnTo>
                    <a:lnTo>
                      <a:pt x="269" y="38"/>
                    </a:lnTo>
                    <a:lnTo>
                      <a:pt x="273" y="36"/>
                    </a:lnTo>
                    <a:lnTo>
                      <a:pt x="278" y="30"/>
                    </a:lnTo>
                    <a:lnTo>
                      <a:pt x="282" y="28"/>
                    </a:lnTo>
                    <a:lnTo>
                      <a:pt x="282" y="18"/>
                    </a:lnTo>
                    <a:lnTo>
                      <a:pt x="285" y="10"/>
                    </a:lnTo>
                    <a:lnTo>
                      <a:pt x="290" y="5"/>
                    </a:lnTo>
                    <a:lnTo>
                      <a:pt x="295" y="4"/>
                    </a:lnTo>
                    <a:lnTo>
                      <a:pt x="305" y="3"/>
                    </a:lnTo>
                    <a:close/>
                  </a:path>
                </a:pathLst>
              </a:custGeom>
              <a:solidFill>
                <a:srgbClr val="9CBC5A"/>
              </a:solidFill>
              <a:ln>
                <a:noFill/>
              </a:ln>
              <a:extLst/>
            </p:spPr>
            <p:txBody>
              <a:bodyPr/>
              <a:lstStyle/>
              <a:p>
                <a:pPr>
                  <a:defRPr/>
                </a:pPr>
                <a:endParaRPr lang="en-US">
                  <a:latin typeface="Arial" panose="020B0604020202020204" pitchFamily="34" charset="0"/>
                  <a:ea typeface="ＭＳ Ｐゴシック" panose="020B0600070205080204" pitchFamily="34" charset="-128"/>
                  <a:cs typeface="+mn-cs"/>
                </a:endParaRPr>
              </a:p>
            </p:txBody>
          </p:sp>
          <p:sp>
            <p:nvSpPr>
              <p:cNvPr id="293" name="Freeform 79"/>
              <p:cNvSpPr>
                <a:spLocks/>
              </p:cNvSpPr>
              <p:nvPr/>
            </p:nvSpPr>
            <p:spPr bwMode="auto">
              <a:xfrm>
                <a:off x="1878" y="2075"/>
                <a:ext cx="540" cy="332"/>
              </a:xfrm>
              <a:custGeom>
                <a:avLst/>
                <a:gdLst>
                  <a:gd name="T0" fmla="*/ 26508 w 505"/>
                  <a:gd name="T1" fmla="*/ 0 h 316"/>
                  <a:gd name="T2" fmla="*/ 29190 w 505"/>
                  <a:gd name="T3" fmla="*/ 943 h 316"/>
                  <a:gd name="T4" fmla="*/ 28883 w 505"/>
                  <a:gd name="T5" fmla="*/ 1859 h 316"/>
                  <a:gd name="T6" fmla="*/ 30308 w 505"/>
                  <a:gd name="T7" fmla="*/ 2342 h 316"/>
                  <a:gd name="T8" fmla="*/ 32181 w 505"/>
                  <a:gd name="T9" fmla="*/ 2727 h 316"/>
                  <a:gd name="T10" fmla="*/ 34594 w 505"/>
                  <a:gd name="T11" fmla="*/ 3000 h 316"/>
                  <a:gd name="T12" fmla="*/ 34657 w 505"/>
                  <a:gd name="T13" fmla="*/ 3480 h 316"/>
                  <a:gd name="T14" fmla="*/ 37471 w 505"/>
                  <a:gd name="T15" fmla="*/ 4085 h 316"/>
                  <a:gd name="T16" fmla="*/ 38592 w 505"/>
                  <a:gd name="T17" fmla="*/ 4576 h 316"/>
                  <a:gd name="T18" fmla="*/ 39619 w 505"/>
                  <a:gd name="T19" fmla="*/ 5051 h 316"/>
                  <a:gd name="T20" fmla="*/ 41799 w 505"/>
                  <a:gd name="T21" fmla="*/ 5703 h 316"/>
                  <a:gd name="T22" fmla="*/ 40068 w 505"/>
                  <a:gd name="T23" fmla="*/ 6026 h 316"/>
                  <a:gd name="T24" fmla="*/ 38162 w 505"/>
                  <a:gd name="T25" fmla="*/ 5772 h 316"/>
                  <a:gd name="T26" fmla="*/ 34657 w 505"/>
                  <a:gd name="T27" fmla="*/ 5858 h 316"/>
                  <a:gd name="T28" fmla="*/ 33416 w 505"/>
                  <a:gd name="T29" fmla="*/ 6086 h 316"/>
                  <a:gd name="T30" fmla="*/ 32845 w 505"/>
                  <a:gd name="T31" fmla="*/ 5965 h 316"/>
                  <a:gd name="T32" fmla="*/ 30308 w 505"/>
                  <a:gd name="T33" fmla="*/ 6155 h 316"/>
                  <a:gd name="T34" fmla="*/ 28160 w 505"/>
                  <a:gd name="T35" fmla="*/ 6244 h 316"/>
                  <a:gd name="T36" fmla="*/ 26222 w 505"/>
                  <a:gd name="T37" fmla="*/ 6652 h 316"/>
                  <a:gd name="T38" fmla="*/ 21447 w 505"/>
                  <a:gd name="T39" fmla="*/ 6614 h 316"/>
                  <a:gd name="T40" fmla="*/ 19746 w 505"/>
                  <a:gd name="T41" fmla="*/ 6538 h 316"/>
                  <a:gd name="T42" fmla="*/ 17970 w 505"/>
                  <a:gd name="T43" fmla="*/ 5894 h 316"/>
                  <a:gd name="T44" fmla="*/ 15507 w 505"/>
                  <a:gd name="T45" fmla="*/ 6026 h 316"/>
                  <a:gd name="T46" fmla="*/ 14401 w 505"/>
                  <a:gd name="T47" fmla="*/ 6525 h 316"/>
                  <a:gd name="T48" fmla="*/ 14146 w 505"/>
                  <a:gd name="T49" fmla="*/ 7276 h 316"/>
                  <a:gd name="T50" fmla="*/ 12179 w 505"/>
                  <a:gd name="T51" fmla="*/ 7567 h 316"/>
                  <a:gd name="T52" fmla="*/ 9143 w 505"/>
                  <a:gd name="T53" fmla="*/ 7323 h 316"/>
                  <a:gd name="T54" fmla="*/ 5679 w 505"/>
                  <a:gd name="T55" fmla="*/ 7950 h 316"/>
                  <a:gd name="T56" fmla="*/ 3323 w 505"/>
                  <a:gd name="T57" fmla="*/ 7879 h 316"/>
                  <a:gd name="T58" fmla="*/ 834 w 505"/>
                  <a:gd name="T59" fmla="*/ 6538 h 316"/>
                  <a:gd name="T60" fmla="*/ 3 w 505"/>
                  <a:gd name="T61" fmla="*/ 5627 h 316"/>
                  <a:gd name="T62" fmla="*/ 6 w 505"/>
                  <a:gd name="T63" fmla="*/ 4932 h 316"/>
                  <a:gd name="T64" fmla="*/ 2224 w 505"/>
                  <a:gd name="T65" fmla="*/ 4085 h 316"/>
                  <a:gd name="T66" fmla="*/ 3553 w 505"/>
                  <a:gd name="T67" fmla="*/ 3534 h 316"/>
                  <a:gd name="T68" fmla="*/ 4634 w 505"/>
                  <a:gd name="T69" fmla="*/ 3534 h 316"/>
                  <a:gd name="T70" fmla="*/ 6231 w 505"/>
                  <a:gd name="T71" fmla="*/ 3402 h 316"/>
                  <a:gd name="T72" fmla="*/ 6540 w 505"/>
                  <a:gd name="T73" fmla="*/ 3162 h 316"/>
                  <a:gd name="T74" fmla="*/ 7125 w 505"/>
                  <a:gd name="T75" fmla="*/ 3312 h 316"/>
                  <a:gd name="T76" fmla="*/ 7996 w 505"/>
                  <a:gd name="T77" fmla="*/ 3480 h 316"/>
                  <a:gd name="T78" fmla="*/ 9056 w 505"/>
                  <a:gd name="T79" fmla="*/ 3312 h 316"/>
                  <a:gd name="T80" fmla="*/ 10734 w 505"/>
                  <a:gd name="T81" fmla="*/ 3048 h 316"/>
                  <a:gd name="T82" fmla="*/ 12054 w 505"/>
                  <a:gd name="T83" fmla="*/ 3000 h 316"/>
                  <a:gd name="T84" fmla="*/ 13571 w 505"/>
                  <a:gd name="T85" fmla="*/ 2855 h 316"/>
                  <a:gd name="T86" fmla="*/ 14476 w 505"/>
                  <a:gd name="T87" fmla="*/ 2717 h 316"/>
                  <a:gd name="T88" fmla="*/ 14737 w 505"/>
                  <a:gd name="T89" fmla="*/ 2461 h 316"/>
                  <a:gd name="T90" fmla="*/ 14502 w 505"/>
                  <a:gd name="T91" fmla="*/ 2181 h 316"/>
                  <a:gd name="T92" fmla="*/ 15126 w 505"/>
                  <a:gd name="T93" fmla="*/ 2020 h 316"/>
                  <a:gd name="T94" fmla="*/ 17098 w 505"/>
                  <a:gd name="T95" fmla="*/ 1930 h 316"/>
                  <a:gd name="T96" fmla="*/ 18466 w 505"/>
                  <a:gd name="T97" fmla="*/ 1923 h 316"/>
                  <a:gd name="T98" fmla="*/ 19469 w 505"/>
                  <a:gd name="T99" fmla="*/ 1837 h 316"/>
                  <a:gd name="T100" fmla="*/ 20880 w 505"/>
                  <a:gd name="T101" fmla="*/ 1526 h 316"/>
                  <a:gd name="T102" fmla="*/ 22327 w 505"/>
                  <a:gd name="T103" fmla="*/ 991 h 316"/>
                  <a:gd name="T104" fmla="*/ 23182 w 505"/>
                  <a:gd name="T105" fmla="*/ 802 h 316"/>
                  <a:gd name="T106" fmla="*/ 23819 w 505"/>
                  <a:gd name="T107" fmla="*/ 299 h 316"/>
                  <a:gd name="T108" fmla="*/ 25470 w 505"/>
                  <a:gd name="T109" fmla="*/ 3 h 31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05"/>
                  <a:gd name="T166" fmla="*/ 0 h 316"/>
                  <a:gd name="T167" fmla="*/ 505 w 505"/>
                  <a:gd name="T168" fmla="*/ 316 h 31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05" h="316">
                    <a:moveTo>
                      <a:pt x="305" y="3"/>
                    </a:moveTo>
                    <a:lnTo>
                      <a:pt x="311" y="0"/>
                    </a:lnTo>
                    <a:lnTo>
                      <a:pt x="319" y="0"/>
                    </a:lnTo>
                    <a:lnTo>
                      <a:pt x="327" y="10"/>
                    </a:lnTo>
                    <a:lnTo>
                      <a:pt x="338" y="21"/>
                    </a:lnTo>
                    <a:lnTo>
                      <a:pt x="350" y="37"/>
                    </a:lnTo>
                    <a:lnTo>
                      <a:pt x="353" y="48"/>
                    </a:lnTo>
                    <a:lnTo>
                      <a:pt x="350" y="59"/>
                    </a:lnTo>
                    <a:lnTo>
                      <a:pt x="347" y="71"/>
                    </a:lnTo>
                    <a:lnTo>
                      <a:pt x="350" y="81"/>
                    </a:lnTo>
                    <a:lnTo>
                      <a:pt x="356" y="89"/>
                    </a:lnTo>
                    <a:lnTo>
                      <a:pt x="364" y="89"/>
                    </a:lnTo>
                    <a:lnTo>
                      <a:pt x="374" y="92"/>
                    </a:lnTo>
                    <a:lnTo>
                      <a:pt x="377" y="100"/>
                    </a:lnTo>
                    <a:lnTo>
                      <a:pt x="385" y="105"/>
                    </a:lnTo>
                    <a:lnTo>
                      <a:pt x="401" y="105"/>
                    </a:lnTo>
                    <a:lnTo>
                      <a:pt x="407" y="109"/>
                    </a:lnTo>
                    <a:lnTo>
                      <a:pt x="414" y="115"/>
                    </a:lnTo>
                    <a:lnTo>
                      <a:pt x="415" y="118"/>
                    </a:lnTo>
                    <a:lnTo>
                      <a:pt x="414" y="125"/>
                    </a:lnTo>
                    <a:lnTo>
                      <a:pt x="417" y="133"/>
                    </a:lnTo>
                    <a:lnTo>
                      <a:pt x="430" y="141"/>
                    </a:lnTo>
                    <a:lnTo>
                      <a:pt x="443" y="150"/>
                    </a:lnTo>
                    <a:lnTo>
                      <a:pt x="449" y="157"/>
                    </a:lnTo>
                    <a:lnTo>
                      <a:pt x="457" y="162"/>
                    </a:lnTo>
                    <a:lnTo>
                      <a:pt x="461" y="168"/>
                    </a:lnTo>
                    <a:lnTo>
                      <a:pt x="463" y="175"/>
                    </a:lnTo>
                    <a:lnTo>
                      <a:pt x="468" y="182"/>
                    </a:lnTo>
                    <a:lnTo>
                      <a:pt x="468" y="189"/>
                    </a:lnTo>
                    <a:lnTo>
                      <a:pt x="475" y="193"/>
                    </a:lnTo>
                    <a:lnTo>
                      <a:pt x="496" y="206"/>
                    </a:lnTo>
                    <a:lnTo>
                      <a:pt x="501" y="213"/>
                    </a:lnTo>
                    <a:lnTo>
                      <a:pt x="501" y="219"/>
                    </a:lnTo>
                    <a:lnTo>
                      <a:pt x="505" y="225"/>
                    </a:lnTo>
                    <a:lnTo>
                      <a:pt x="486" y="225"/>
                    </a:lnTo>
                    <a:lnTo>
                      <a:pt x="480" y="232"/>
                    </a:lnTo>
                    <a:lnTo>
                      <a:pt x="472" y="227"/>
                    </a:lnTo>
                    <a:lnTo>
                      <a:pt x="468" y="232"/>
                    </a:lnTo>
                    <a:lnTo>
                      <a:pt x="458" y="222"/>
                    </a:lnTo>
                    <a:lnTo>
                      <a:pt x="446" y="225"/>
                    </a:lnTo>
                    <a:lnTo>
                      <a:pt x="430" y="227"/>
                    </a:lnTo>
                    <a:lnTo>
                      <a:pt x="417" y="224"/>
                    </a:lnTo>
                    <a:lnTo>
                      <a:pt x="415" y="232"/>
                    </a:lnTo>
                    <a:lnTo>
                      <a:pt x="405" y="232"/>
                    </a:lnTo>
                    <a:lnTo>
                      <a:pt x="401" y="234"/>
                    </a:lnTo>
                    <a:lnTo>
                      <a:pt x="395" y="232"/>
                    </a:lnTo>
                    <a:lnTo>
                      <a:pt x="397" y="232"/>
                    </a:lnTo>
                    <a:lnTo>
                      <a:pt x="395" y="229"/>
                    </a:lnTo>
                    <a:lnTo>
                      <a:pt x="391" y="229"/>
                    </a:lnTo>
                    <a:lnTo>
                      <a:pt x="382" y="232"/>
                    </a:lnTo>
                    <a:lnTo>
                      <a:pt x="364" y="235"/>
                    </a:lnTo>
                    <a:lnTo>
                      <a:pt x="357" y="240"/>
                    </a:lnTo>
                    <a:lnTo>
                      <a:pt x="345" y="245"/>
                    </a:lnTo>
                    <a:lnTo>
                      <a:pt x="338" y="240"/>
                    </a:lnTo>
                    <a:lnTo>
                      <a:pt x="326" y="237"/>
                    </a:lnTo>
                    <a:lnTo>
                      <a:pt x="316" y="245"/>
                    </a:lnTo>
                    <a:lnTo>
                      <a:pt x="314" y="256"/>
                    </a:lnTo>
                    <a:lnTo>
                      <a:pt x="308" y="258"/>
                    </a:lnTo>
                    <a:lnTo>
                      <a:pt x="273" y="258"/>
                    </a:lnTo>
                    <a:lnTo>
                      <a:pt x="257" y="254"/>
                    </a:lnTo>
                    <a:lnTo>
                      <a:pt x="248" y="248"/>
                    </a:lnTo>
                    <a:lnTo>
                      <a:pt x="242" y="252"/>
                    </a:lnTo>
                    <a:lnTo>
                      <a:pt x="237" y="251"/>
                    </a:lnTo>
                    <a:lnTo>
                      <a:pt x="222" y="239"/>
                    </a:lnTo>
                    <a:lnTo>
                      <a:pt x="220" y="232"/>
                    </a:lnTo>
                    <a:lnTo>
                      <a:pt x="216" y="226"/>
                    </a:lnTo>
                    <a:lnTo>
                      <a:pt x="204" y="225"/>
                    </a:lnTo>
                    <a:lnTo>
                      <a:pt x="195" y="225"/>
                    </a:lnTo>
                    <a:lnTo>
                      <a:pt x="185" y="232"/>
                    </a:lnTo>
                    <a:lnTo>
                      <a:pt x="180" y="237"/>
                    </a:lnTo>
                    <a:lnTo>
                      <a:pt x="177" y="248"/>
                    </a:lnTo>
                    <a:lnTo>
                      <a:pt x="171" y="250"/>
                    </a:lnTo>
                    <a:lnTo>
                      <a:pt x="168" y="261"/>
                    </a:lnTo>
                    <a:lnTo>
                      <a:pt x="167" y="275"/>
                    </a:lnTo>
                    <a:lnTo>
                      <a:pt x="170" y="280"/>
                    </a:lnTo>
                    <a:lnTo>
                      <a:pt x="161" y="282"/>
                    </a:lnTo>
                    <a:lnTo>
                      <a:pt x="157" y="286"/>
                    </a:lnTo>
                    <a:lnTo>
                      <a:pt x="146" y="290"/>
                    </a:lnTo>
                    <a:lnTo>
                      <a:pt x="134" y="292"/>
                    </a:lnTo>
                    <a:lnTo>
                      <a:pt x="123" y="289"/>
                    </a:lnTo>
                    <a:lnTo>
                      <a:pt x="110" y="282"/>
                    </a:lnTo>
                    <a:lnTo>
                      <a:pt x="98" y="285"/>
                    </a:lnTo>
                    <a:lnTo>
                      <a:pt x="81" y="293"/>
                    </a:lnTo>
                    <a:lnTo>
                      <a:pt x="68" y="305"/>
                    </a:lnTo>
                    <a:lnTo>
                      <a:pt x="62" y="314"/>
                    </a:lnTo>
                    <a:lnTo>
                      <a:pt x="58" y="316"/>
                    </a:lnTo>
                    <a:lnTo>
                      <a:pt x="40" y="302"/>
                    </a:lnTo>
                    <a:lnTo>
                      <a:pt x="33" y="292"/>
                    </a:lnTo>
                    <a:lnTo>
                      <a:pt x="15" y="260"/>
                    </a:lnTo>
                    <a:lnTo>
                      <a:pt x="10" y="251"/>
                    </a:lnTo>
                    <a:lnTo>
                      <a:pt x="3" y="239"/>
                    </a:lnTo>
                    <a:lnTo>
                      <a:pt x="1" y="227"/>
                    </a:lnTo>
                    <a:lnTo>
                      <a:pt x="3" y="216"/>
                    </a:lnTo>
                    <a:lnTo>
                      <a:pt x="0" y="206"/>
                    </a:lnTo>
                    <a:lnTo>
                      <a:pt x="0" y="197"/>
                    </a:lnTo>
                    <a:lnTo>
                      <a:pt x="6" y="189"/>
                    </a:lnTo>
                    <a:lnTo>
                      <a:pt x="14" y="178"/>
                    </a:lnTo>
                    <a:lnTo>
                      <a:pt x="20" y="167"/>
                    </a:lnTo>
                    <a:lnTo>
                      <a:pt x="27" y="157"/>
                    </a:lnTo>
                    <a:lnTo>
                      <a:pt x="33" y="138"/>
                    </a:lnTo>
                    <a:lnTo>
                      <a:pt x="37" y="136"/>
                    </a:lnTo>
                    <a:lnTo>
                      <a:pt x="43" y="136"/>
                    </a:lnTo>
                    <a:lnTo>
                      <a:pt x="48" y="135"/>
                    </a:lnTo>
                    <a:lnTo>
                      <a:pt x="51" y="135"/>
                    </a:lnTo>
                    <a:lnTo>
                      <a:pt x="55" y="136"/>
                    </a:lnTo>
                    <a:lnTo>
                      <a:pt x="59" y="136"/>
                    </a:lnTo>
                    <a:lnTo>
                      <a:pt x="65" y="131"/>
                    </a:lnTo>
                    <a:lnTo>
                      <a:pt x="75" y="130"/>
                    </a:lnTo>
                    <a:lnTo>
                      <a:pt x="76" y="124"/>
                    </a:lnTo>
                    <a:lnTo>
                      <a:pt x="78" y="124"/>
                    </a:lnTo>
                    <a:lnTo>
                      <a:pt x="79" y="122"/>
                    </a:lnTo>
                    <a:lnTo>
                      <a:pt x="82" y="122"/>
                    </a:lnTo>
                    <a:lnTo>
                      <a:pt x="84" y="122"/>
                    </a:lnTo>
                    <a:lnTo>
                      <a:pt x="86" y="127"/>
                    </a:lnTo>
                    <a:lnTo>
                      <a:pt x="88" y="128"/>
                    </a:lnTo>
                    <a:lnTo>
                      <a:pt x="94" y="134"/>
                    </a:lnTo>
                    <a:lnTo>
                      <a:pt x="96" y="133"/>
                    </a:lnTo>
                    <a:lnTo>
                      <a:pt x="98" y="130"/>
                    </a:lnTo>
                    <a:lnTo>
                      <a:pt x="103" y="128"/>
                    </a:lnTo>
                    <a:lnTo>
                      <a:pt x="108" y="127"/>
                    </a:lnTo>
                    <a:lnTo>
                      <a:pt x="110" y="125"/>
                    </a:lnTo>
                    <a:lnTo>
                      <a:pt x="114" y="122"/>
                    </a:lnTo>
                    <a:lnTo>
                      <a:pt x="129" y="117"/>
                    </a:lnTo>
                    <a:lnTo>
                      <a:pt x="133" y="117"/>
                    </a:lnTo>
                    <a:lnTo>
                      <a:pt x="139" y="117"/>
                    </a:lnTo>
                    <a:lnTo>
                      <a:pt x="145" y="115"/>
                    </a:lnTo>
                    <a:lnTo>
                      <a:pt x="162" y="115"/>
                    </a:lnTo>
                    <a:lnTo>
                      <a:pt x="163" y="114"/>
                    </a:lnTo>
                    <a:lnTo>
                      <a:pt x="164" y="109"/>
                    </a:lnTo>
                    <a:lnTo>
                      <a:pt x="165" y="107"/>
                    </a:lnTo>
                    <a:lnTo>
                      <a:pt x="168" y="107"/>
                    </a:lnTo>
                    <a:lnTo>
                      <a:pt x="172" y="104"/>
                    </a:lnTo>
                    <a:lnTo>
                      <a:pt x="174" y="99"/>
                    </a:lnTo>
                    <a:lnTo>
                      <a:pt x="178" y="96"/>
                    </a:lnTo>
                    <a:lnTo>
                      <a:pt x="178" y="94"/>
                    </a:lnTo>
                    <a:lnTo>
                      <a:pt x="177" y="89"/>
                    </a:lnTo>
                    <a:lnTo>
                      <a:pt x="173" y="86"/>
                    </a:lnTo>
                    <a:lnTo>
                      <a:pt x="173" y="84"/>
                    </a:lnTo>
                    <a:lnTo>
                      <a:pt x="174" y="80"/>
                    </a:lnTo>
                    <a:lnTo>
                      <a:pt x="175" y="80"/>
                    </a:lnTo>
                    <a:lnTo>
                      <a:pt x="182" y="77"/>
                    </a:lnTo>
                    <a:lnTo>
                      <a:pt x="190" y="76"/>
                    </a:lnTo>
                    <a:lnTo>
                      <a:pt x="204" y="76"/>
                    </a:lnTo>
                    <a:lnTo>
                      <a:pt x="206" y="74"/>
                    </a:lnTo>
                    <a:lnTo>
                      <a:pt x="213" y="74"/>
                    </a:lnTo>
                    <a:lnTo>
                      <a:pt x="218" y="73"/>
                    </a:lnTo>
                    <a:lnTo>
                      <a:pt x="222" y="73"/>
                    </a:lnTo>
                    <a:lnTo>
                      <a:pt x="226" y="73"/>
                    </a:lnTo>
                    <a:lnTo>
                      <a:pt x="232" y="71"/>
                    </a:lnTo>
                    <a:lnTo>
                      <a:pt x="233" y="70"/>
                    </a:lnTo>
                    <a:lnTo>
                      <a:pt x="237" y="64"/>
                    </a:lnTo>
                    <a:lnTo>
                      <a:pt x="242" y="63"/>
                    </a:lnTo>
                    <a:lnTo>
                      <a:pt x="250" y="59"/>
                    </a:lnTo>
                    <a:lnTo>
                      <a:pt x="253" y="58"/>
                    </a:lnTo>
                    <a:lnTo>
                      <a:pt x="256" y="49"/>
                    </a:lnTo>
                    <a:lnTo>
                      <a:pt x="267" y="39"/>
                    </a:lnTo>
                    <a:lnTo>
                      <a:pt x="269" y="38"/>
                    </a:lnTo>
                    <a:lnTo>
                      <a:pt x="273" y="36"/>
                    </a:lnTo>
                    <a:lnTo>
                      <a:pt x="278" y="30"/>
                    </a:lnTo>
                    <a:lnTo>
                      <a:pt x="282" y="28"/>
                    </a:lnTo>
                    <a:lnTo>
                      <a:pt x="282" y="18"/>
                    </a:lnTo>
                    <a:lnTo>
                      <a:pt x="285" y="10"/>
                    </a:lnTo>
                    <a:lnTo>
                      <a:pt x="290" y="5"/>
                    </a:lnTo>
                    <a:lnTo>
                      <a:pt x="295" y="4"/>
                    </a:lnTo>
                    <a:lnTo>
                      <a:pt x="305" y="3"/>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94" name="Freeform 80"/>
              <p:cNvSpPr>
                <a:spLocks/>
              </p:cNvSpPr>
              <p:nvPr/>
            </p:nvSpPr>
            <p:spPr bwMode="auto">
              <a:xfrm>
                <a:off x="2980" y="2041"/>
                <a:ext cx="425" cy="548"/>
              </a:xfrm>
              <a:custGeom>
                <a:avLst/>
                <a:gdLst>
                  <a:gd name="T0" fmla="*/ 7705 w 397"/>
                  <a:gd name="T1" fmla="*/ 398 h 522"/>
                  <a:gd name="T2" fmla="*/ 8443 w 397"/>
                  <a:gd name="T3" fmla="*/ 617 h 522"/>
                  <a:gd name="T4" fmla="*/ 10431 w 397"/>
                  <a:gd name="T5" fmla="*/ 1279 h 522"/>
                  <a:gd name="T6" fmla="*/ 12148 w 397"/>
                  <a:gd name="T7" fmla="*/ 1410 h 522"/>
                  <a:gd name="T8" fmla="*/ 14545 w 397"/>
                  <a:gd name="T9" fmla="*/ 1235 h 522"/>
                  <a:gd name="T10" fmla="*/ 15955 w 397"/>
                  <a:gd name="T11" fmla="*/ 1067 h 522"/>
                  <a:gd name="T12" fmla="*/ 16442 w 397"/>
                  <a:gd name="T13" fmla="*/ 968 h 522"/>
                  <a:gd name="T14" fmla="*/ 17080 w 397"/>
                  <a:gd name="T15" fmla="*/ 1067 h 522"/>
                  <a:gd name="T16" fmla="*/ 18951 w 397"/>
                  <a:gd name="T17" fmla="*/ 1160 h 522"/>
                  <a:gd name="T18" fmla="*/ 20288 w 397"/>
                  <a:gd name="T19" fmla="*/ 955 h 522"/>
                  <a:gd name="T20" fmla="*/ 21719 w 397"/>
                  <a:gd name="T21" fmla="*/ 750 h 522"/>
                  <a:gd name="T22" fmla="*/ 23549 w 397"/>
                  <a:gd name="T23" fmla="*/ 796 h 522"/>
                  <a:gd name="T24" fmla="*/ 25210 w 397"/>
                  <a:gd name="T25" fmla="*/ 750 h 522"/>
                  <a:gd name="T26" fmla="*/ 27083 w 397"/>
                  <a:gd name="T27" fmla="*/ 588 h 522"/>
                  <a:gd name="T28" fmla="*/ 28951 w 397"/>
                  <a:gd name="T29" fmla="*/ 461 h 522"/>
                  <a:gd name="T30" fmla="*/ 30376 w 397"/>
                  <a:gd name="T31" fmla="*/ 398 h 522"/>
                  <a:gd name="T32" fmla="*/ 32503 w 397"/>
                  <a:gd name="T33" fmla="*/ 7 h 522"/>
                  <a:gd name="T34" fmla="*/ 34054 w 397"/>
                  <a:gd name="T35" fmla="*/ 0 h 522"/>
                  <a:gd name="T36" fmla="*/ 35300 w 397"/>
                  <a:gd name="T37" fmla="*/ 6 h 522"/>
                  <a:gd name="T38" fmla="*/ 34760 w 397"/>
                  <a:gd name="T39" fmla="*/ 418 h 522"/>
                  <a:gd name="T40" fmla="*/ 35277 w 397"/>
                  <a:gd name="T41" fmla="*/ 826 h 522"/>
                  <a:gd name="T42" fmla="*/ 34811 w 397"/>
                  <a:gd name="T43" fmla="*/ 1105 h 522"/>
                  <a:gd name="T44" fmla="*/ 34511 w 397"/>
                  <a:gd name="T45" fmla="*/ 1430 h 522"/>
                  <a:gd name="T46" fmla="*/ 34811 w 397"/>
                  <a:gd name="T47" fmla="*/ 1410 h 522"/>
                  <a:gd name="T48" fmla="*/ 35570 w 397"/>
                  <a:gd name="T49" fmla="*/ 1467 h 522"/>
                  <a:gd name="T50" fmla="*/ 35445 w 397"/>
                  <a:gd name="T51" fmla="*/ 1576 h 522"/>
                  <a:gd name="T52" fmla="*/ 34248 w 397"/>
                  <a:gd name="T53" fmla="*/ 1554 h 522"/>
                  <a:gd name="T54" fmla="*/ 33767 w 397"/>
                  <a:gd name="T55" fmla="*/ 2111 h 522"/>
                  <a:gd name="T56" fmla="*/ 33284 w 397"/>
                  <a:gd name="T57" fmla="*/ 2692 h 522"/>
                  <a:gd name="T58" fmla="*/ 32349 w 397"/>
                  <a:gd name="T59" fmla="*/ 3119 h 522"/>
                  <a:gd name="T60" fmla="*/ 31542 w 397"/>
                  <a:gd name="T61" fmla="*/ 3553 h 522"/>
                  <a:gd name="T62" fmla="*/ 30538 w 397"/>
                  <a:gd name="T63" fmla="*/ 3784 h 522"/>
                  <a:gd name="T64" fmla="*/ 29048 w 397"/>
                  <a:gd name="T65" fmla="*/ 4714 h 522"/>
                  <a:gd name="T66" fmla="*/ 27799 w 397"/>
                  <a:gd name="T67" fmla="*/ 5589 h 522"/>
                  <a:gd name="T68" fmla="*/ 26506 w 397"/>
                  <a:gd name="T69" fmla="*/ 6089 h 522"/>
                  <a:gd name="T70" fmla="*/ 25772 w 397"/>
                  <a:gd name="T71" fmla="*/ 6311 h 522"/>
                  <a:gd name="T72" fmla="*/ 24630 w 397"/>
                  <a:gd name="T73" fmla="*/ 6773 h 522"/>
                  <a:gd name="T74" fmla="*/ 23549 w 397"/>
                  <a:gd name="T75" fmla="*/ 7302 h 522"/>
                  <a:gd name="T76" fmla="*/ 21491 w 397"/>
                  <a:gd name="T77" fmla="*/ 7854 h 522"/>
                  <a:gd name="T78" fmla="*/ 19262 w 397"/>
                  <a:gd name="T79" fmla="*/ 8476 h 522"/>
                  <a:gd name="T80" fmla="*/ 18285 w 397"/>
                  <a:gd name="T81" fmla="*/ 8869 h 522"/>
                  <a:gd name="T82" fmla="*/ 15701 w 397"/>
                  <a:gd name="T83" fmla="*/ 9400 h 522"/>
                  <a:gd name="T84" fmla="*/ 14194 w 397"/>
                  <a:gd name="T85" fmla="*/ 9542 h 522"/>
                  <a:gd name="T86" fmla="*/ 8809 w 397"/>
                  <a:gd name="T87" fmla="*/ 10807 h 522"/>
                  <a:gd name="T88" fmla="*/ 6419 w 397"/>
                  <a:gd name="T89" fmla="*/ 11535 h 522"/>
                  <a:gd name="T90" fmla="*/ 5239 w 397"/>
                  <a:gd name="T91" fmla="*/ 11588 h 522"/>
                  <a:gd name="T92" fmla="*/ 5480 w 397"/>
                  <a:gd name="T93" fmla="*/ 11697 h 522"/>
                  <a:gd name="T94" fmla="*/ 4771 w 397"/>
                  <a:gd name="T95" fmla="*/ 12023 h 522"/>
                  <a:gd name="T96" fmla="*/ 2313 w 397"/>
                  <a:gd name="T97" fmla="*/ 12755 h 522"/>
                  <a:gd name="T98" fmla="*/ 1762 w 397"/>
                  <a:gd name="T99" fmla="*/ 12808 h 522"/>
                  <a:gd name="T100" fmla="*/ 0 w 397"/>
                  <a:gd name="T101" fmla="*/ 11412 h 522"/>
                  <a:gd name="T102" fmla="*/ 0 w 397"/>
                  <a:gd name="T103" fmla="*/ 8646 h 522"/>
                  <a:gd name="T104" fmla="*/ 2961 w 397"/>
                  <a:gd name="T105" fmla="*/ 7666 h 522"/>
                  <a:gd name="T106" fmla="*/ 4163 w 397"/>
                  <a:gd name="T107" fmla="*/ 7372 h 522"/>
                  <a:gd name="T108" fmla="*/ 7942 w 397"/>
                  <a:gd name="T109" fmla="*/ 6809 h 522"/>
                  <a:gd name="T110" fmla="*/ 13922 w 397"/>
                  <a:gd name="T111" fmla="*/ 6589 h 522"/>
                  <a:gd name="T112" fmla="*/ 24257 w 397"/>
                  <a:gd name="T113" fmla="*/ 3730 h 522"/>
                  <a:gd name="T114" fmla="*/ 15447 w 397"/>
                  <a:gd name="T115" fmla="*/ 3119 h 522"/>
                  <a:gd name="T116" fmla="*/ 8809 w 397"/>
                  <a:gd name="T117" fmla="*/ 2274 h 522"/>
                  <a:gd name="T118" fmla="*/ 7876 w 397"/>
                  <a:gd name="T119" fmla="*/ 1916 h 522"/>
                  <a:gd name="T120" fmla="*/ 6882 w 397"/>
                  <a:gd name="T121" fmla="*/ 1631 h 522"/>
                  <a:gd name="T122" fmla="*/ 6266 w 397"/>
                  <a:gd name="T123" fmla="*/ 1016 h 522"/>
                  <a:gd name="T124" fmla="*/ 7357 w 397"/>
                  <a:gd name="T125" fmla="*/ 588 h 5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7"/>
                  <a:gd name="T190" fmla="*/ 0 h 522"/>
                  <a:gd name="T191" fmla="*/ 397 w 397"/>
                  <a:gd name="T192" fmla="*/ 522 h 52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7" h="522">
                    <a:moveTo>
                      <a:pt x="81" y="25"/>
                    </a:moveTo>
                    <a:lnTo>
                      <a:pt x="84" y="18"/>
                    </a:lnTo>
                    <a:lnTo>
                      <a:pt x="86" y="17"/>
                    </a:lnTo>
                    <a:lnTo>
                      <a:pt x="87" y="18"/>
                    </a:lnTo>
                    <a:lnTo>
                      <a:pt x="91" y="20"/>
                    </a:lnTo>
                    <a:lnTo>
                      <a:pt x="94" y="26"/>
                    </a:lnTo>
                    <a:lnTo>
                      <a:pt x="97" y="28"/>
                    </a:lnTo>
                    <a:lnTo>
                      <a:pt x="105" y="40"/>
                    </a:lnTo>
                    <a:lnTo>
                      <a:pt x="117" y="51"/>
                    </a:lnTo>
                    <a:lnTo>
                      <a:pt x="125" y="57"/>
                    </a:lnTo>
                    <a:lnTo>
                      <a:pt x="131" y="58"/>
                    </a:lnTo>
                    <a:lnTo>
                      <a:pt x="135" y="57"/>
                    </a:lnTo>
                    <a:lnTo>
                      <a:pt x="151" y="58"/>
                    </a:lnTo>
                    <a:lnTo>
                      <a:pt x="155" y="54"/>
                    </a:lnTo>
                    <a:lnTo>
                      <a:pt x="162" y="50"/>
                    </a:lnTo>
                    <a:lnTo>
                      <a:pt x="168" y="49"/>
                    </a:lnTo>
                    <a:lnTo>
                      <a:pt x="175" y="44"/>
                    </a:lnTo>
                    <a:lnTo>
                      <a:pt x="178" y="44"/>
                    </a:lnTo>
                    <a:lnTo>
                      <a:pt x="179" y="41"/>
                    </a:lnTo>
                    <a:lnTo>
                      <a:pt x="182" y="40"/>
                    </a:lnTo>
                    <a:lnTo>
                      <a:pt x="183" y="40"/>
                    </a:lnTo>
                    <a:lnTo>
                      <a:pt x="186" y="42"/>
                    </a:lnTo>
                    <a:lnTo>
                      <a:pt x="188" y="42"/>
                    </a:lnTo>
                    <a:lnTo>
                      <a:pt x="191" y="44"/>
                    </a:lnTo>
                    <a:lnTo>
                      <a:pt x="199" y="44"/>
                    </a:lnTo>
                    <a:lnTo>
                      <a:pt x="205" y="47"/>
                    </a:lnTo>
                    <a:lnTo>
                      <a:pt x="211" y="47"/>
                    </a:lnTo>
                    <a:lnTo>
                      <a:pt x="220" y="45"/>
                    </a:lnTo>
                    <a:lnTo>
                      <a:pt x="223" y="44"/>
                    </a:lnTo>
                    <a:lnTo>
                      <a:pt x="226" y="39"/>
                    </a:lnTo>
                    <a:lnTo>
                      <a:pt x="234" y="38"/>
                    </a:lnTo>
                    <a:lnTo>
                      <a:pt x="237" y="33"/>
                    </a:lnTo>
                    <a:lnTo>
                      <a:pt x="242" y="30"/>
                    </a:lnTo>
                    <a:lnTo>
                      <a:pt x="248" y="30"/>
                    </a:lnTo>
                    <a:lnTo>
                      <a:pt x="257" y="32"/>
                    </a:lnTo>
                    <a:lnTo>
                      <a:pt x="262" y="32"/>
                    </a:lnTo>
                    <a:lnTo>
                      <a:pt x="269" y="30"/>
                    </a:lnTo>
                    <a:lnTo>
                      <a:pt x="275" y="30"/>
                    </a:lnTo>
                    <a:lnTo>
                      <a:pt x="280" y="30"/>
                    </a:lnTo>
                    <a:lnTo>
                      <a:pt x="290" y="23"/>
                    </a:lnTo>
                    <a:lnTo>
                      <a:pt x="294" y="23"/>
                    </a:lnTo>
                    <a:lnTo>
                      <a:pt x="302" y="25"/>
                    </a:lnTo>
                    <a:lnTo>
                      <a:pt x="315" y="20"/>
                    </a:lnTo>
                    <a:lnTo>
                      <a:pt x="317" y="19"/>
                    </a:lnTo>
                    <a:lnTo>
                      <a:pt x="322" y="20"/>
                    </a:lnTo>
                    <a:lnTo>
                      <a:pt x="325" y="17"/>
                    </a:lnTo>
                    <a:lnTo>
                      <a:pt x="333" y="18"/>
                    </a:lnTo>
                    <a:lnTo>
                      <a:pt x="339" y="17"/>
                    </a:lnTo>
                    <a:lnTo>
                      <a:pt x="349" y="15"/>
                    </a:lnTo>
                    <a:lnTo>
                      <a:pt x="353" y="13"/>
                    </a:lnTo>
                    <a:lnTo>
                      <a:pt x="362" y="7"/>
                    </a:lnTo>
                    <a:lnTo>
                      <a:pt x="365" y="1"/>
                    </a:lnTo>
                    <a:lnTo>
                      <a:pt x="371" y="0"/>
                    </a:lnTo>
                    <a:lnTo>
                      <a:pt x="378" y="0"/>
                    </a:lnTo>
                    <a:lnTo>
                      <a:pt x="385" y="4"/>
                    </a:lnTo>
                    <a:lnTo>
                      <a:pt x="391" y="4"/>
                    </a:lnTo>
                    <a:lnTo>
                      <a:pt x="392" y="6"/>
                    </a:lnTo>
                    <a:lnTo>
                      <a:pt x="391" y="10"/>
                    </a:lnTo>
                    <a:lnTo>
                      <a:pt x="392" y="13"/>
                    </a:lnTo>
                    <a:lnTo>
                      <a:pt x="387" y="18"/>
                    </a:lnTo>
                    <a:lnTo>
                      <a:pt x="386" y="23"/>
                    </a:lnTo>
                    <a:lnTo>
                      <a:pt x="386" y="30"/>
                    </a:lnTo>
                    <a:lnTo>
                      <a:pt x="391" y="33"/>
                    </a:lnTo>
                    <a:lnTo>
                      <a:pt x="389" y="37"/>
                    </a:lnTo>
                    <a:lnTo>
                      <a:pt x="389" y="41"/>
                    </a:lnTo>
                    <a:lnTo>
                      <a:pt x="389" y="45"/>
                    </a:lnTo>
                    <a:lnTo>
                      <a:pt x="389" y="53"/>
                    </a:lnTo>
                    <a:lnTo>
                      <a:pt x="389" y="54"/>
                    </a:lnTo>
                    <a:lnTo>
                      <a:pt x="384" y="58"/>
                    </a:lnTo>
                    <a:lnTo>
                      <a:pt x="384" y="59"/>
                    </a:lnTo>
                    <a:lnTo>
                      <a:pt x="389" y="59"/>
                    </a:lnTo>
                    <a:lnTo>
                      <a:pt x="389" y="57"/>
                    </a:lnTo>
                    <a:lnTo>
                      <a:pt x="391" y="57"/>
                    </a:lnTo>
                    <a:lnTo>
                      <a:pt x="392" y="58"/>
                    </a:lnTo>
                    <a:lnTo>
                      <a:pt x="396" y="59"/>
                    </a:lnTo>
                    <a:lnTo>
                      <a:pt x="397" y="61"/>
                    </a:lnTo>
                    <a:lnTo>
                      <a:pt x="396" y="63"/>
                    </a:lnTo>
                    <a:lnTo>
                      <a:pt x="394" y="64"/>
                    </a:lnTo>
                    <a:lnTo>
                      <a:pt x="389" y="60"/>
                    </a:lnTo>
                    <a:lnTo>
                      <a:pt x="384" y="61"/>
                    </a:lnTo>
                    <a:lnTo>
                      <a:pt x="381" y="63"/>
                    </a:lnTo>
                    <a:lnTo>
                      <a:pt x="381" y="64"/>
                    </a:lnTo>
                    <a:lnTo>
                      <a:pt x="381" y="68"/>
                    </a:lnTo>
                    <a:lnTo>
                      <a:pt x="376" y="86"/>
                    </a:lnTo>
                    <a:lnTo>
                      <a:pt x="376" y="98"/>
                    </a:lnTo>
                    <a:lnTo>
                      <a:pt x="374" y="101"/>
                    </a:lnTo>
                    <a:lnTo>
                      <a:pt x="372" y="109"/>
                    </a:lnTo>
                    <a:lnTo>
                      <a:pt x="369" y="111"/>
                    </a:lnTo>
                    <a:lnTo>
                      <a:pt x="365" y="114"/>
                    </a:lnTo>
                    <a:lnTo>
                      <a:pt x="360" y="127"/>
                    </a:lnTo>
                    <a:lnTo>
                      <a:pt x="355" y="132"/>
                    </a:lnTo>
                    <a:lnTo>
                      <a:pt x="351" y="142"/>
                    </a:lnTo>
                    <a:lnTo>
                      <a:pt x="351" y="143"/>
                    </a:lnTo>
                    <a:lnTo>
                      <a:pt x="347" y="145"/>
                    </a:lnTo>
                    <a:lnTo>
                      <a:pt x="343" y="150"/>
                    </a:lnTo>
                    <a:lnTo>
                      <a:pt x="340" y="153"/>
                    </a:lnTo>
                    <a:lnTo>
                      <a:pt x="339" y="158"/>
                    </a:lnTo>
                    <a:lnTo>
                      <a:pt x="338" y="166"/>
                    </a:lnTo>
                    <a:lnTo>
                      <a:pt x="325" y="190"/>
                    </a:lnTo>
                    <a:lnTo>
                      <a:pt x="315" y="207"/>
                    </a:lnTo>
                    <a:lnTo>
                      <a:pt x="313" y="211"/>
                    </a:lnTo>
                    <a:lnTo>
                      <a:pt x="309" y="227"/>
                    </a:lnTo>
                    <a:lnTo>
                      <a:pt x="303" y="240"/>
                    </a:lnTo>
                    <a:lnTo>
                      <a:pt x="298" y="246"/>
                    </a:lnTo>
                    <a:lnTo>
                      <a:pt x="296" y="247"/>
                    </a:lnTo>
                    <a:lnTo>
                      <a:pt x="293" y="250"/>
                    </a:lnTo>
                    <a:lnTo>
                      <a:pt x="290" y="252"/>
                    </a:lnTo>
                    <a:lnTo>
                      <a:pt x="287" y="253"/>
                    </a:lnTo>
                    <a:lnTo>
                      <a:pt x="279" y="265"/>
                    </a:lnTo>
                    <a:lnTo>
                      <a:pt x="274" y="272"/>
                    </a:lnTo>
                    <a:lnTo>
                      <a:pt x="274" y="273"/>
                    </a:lnTo>
                    <a:lnTo>
                      <a:pt x="274" y="277"/>
                    </a:lnTo>
                    <a:lnTo>
                      <a:pt x="269" y="283"/>
                    </a:lnTo>
                    <a:lnTo>
                      <a:pt x="262" y="294"/>
                    </a:lnTo>
                    <a:lnTo>
                      <a:pt x="255" y="303"/>
                    </a:lnTo>
                    <a:lnTo>
                      <a:pt x="248" y="309"/>
                    </a:lnTo>
                    <a:lnTo>
                      <a:pt x="239" y="318"/>
                    </a:lnTo>
                    <a:lnTo>
                      <a:pt x="236" y="324"/>
                    </a:lnTo>
                    <a:lnTo>
                      <a:pt x="227" y="332"/>
                    </a:lnTo>
                    <a:lnTo>
                      <a:pt x="215" y="342"/>
                    </a:lnTo>
                    <a:lnTo>
                      <a:pt x="210" y="346"/>
                    </a:lnTo>
                    <a:lnTo>
                      <a:pt x="208" y="347"/>
                    </a:lnTo>
                    <a:lnTo>
                      <a:pt x="204" y="356"/>
                    </a:lnTo>
                    <a:lnTo>
                      <a:pt x="194" y="367"/>
                    </a:lnTo>
                    <a:lnTo>
                      <a:pt x="185" y="374"/>
                    </a:lnTo>
                    <a:lnTo>
                      <a:pt x="176" y="381"/>
                    </a:lnTo>
                    <a:lnTo>
                      <a:pt x="172" y="383"/>
                    </a:lnTo>
                    <a:lnTo>
                      <a:pt x="162" y="385"/>
                    </a:lnTo>
                    <a:lnTo>
                      <a:pt x="156" y="387"/>
                    </a:lnTo>
                    <a:lnTo>
                      <a:pt x="151" y="389"/>
                    </a:lnTo>
                    <a:lnTo>
                      <a:pt x="135" y="401"/>
                    </a:lnTo>
                    <a:lnTo>
                      <a:pt x="97" y="437"/>
                    </a:lnTo>
                    <a:lnTo>
                      <a:pt x="84" y="450"/>
                    </a:lnTo>
                    <a:lnTo>
                      <a:pt x="79" y="456"/>
                    </a:lnTo>
                    <a:lnTo>
                      <a:pt x="71" y="465"/>
                    </a:lnTo>
                    <a:lnTo>
                      <a:pt x="64" y="466"/>
                    </a:lnTo>
                    <a:lnTo>
                      <a:pt x="61" y="466"/>
                    </a:lnTo>
                    <a:lnTo>
                      <a:pt x="59" y="468"/>
                    </a:lnTo>
                    <a:lnTo>
                      <a:pt x="61" y="469"/>
                    </a:lnTo>
                    <a:lnTo>
                      <a:pt x="61" y="471"/>
                    </a:lnTo>
                    <a:lnTo>
                      <a:pt x="61" y="472"/>
                    </a:lnTo>
                    <a:lnTo>
                      <a:pt x="59" y="475"/>
                    </a:lnTo>
                    <a:lnTo>
                      <a:pt x="56" y="480"/>
                    </a:lnTo>
                    <a:lnTo>
                      <a:pt x="52" y="487"/>
                    </a:lnTo>
                    <a:lnTo>
                      <a:pt x="41" y="497"/>
                    </a:lnTo>
                    <a:lnTo>
                      <a:pt x="34" y="507"/>
                    </a:lnTo>
                    <a:lnTo>
                      <a:pt x="26" y="514"/>
                    </a:lnTo>
                    <a:lnTo>
                      <a:pt x="22" y="521"/>
                    </a:lnTo>
                    <a:lnTo>
                      <a:pt x="21" y="522"/>
                    </a:lnTo>
                    <a:lnTo>
                      <a:pt x="20" y="518"/>
                    </a:lnTo>
                    <a:lnTo>
                      <a:pt x="3" y="498"/>
                    </a:lnTo>
                    <a:lnTo>
                      <a:pt x="0" y="493"/>
                    </a:lnTo>
                    <a:lnTo>
                      <a:pt x="0" y="462"/>
                    </a:lnTo>
                    <a:lnTo>
                      <a:pt x="0" y="424"/>
                    </a:lnTo>
                    <a:lnTo>
                      <a:pt x="0" y="388"/>
                    </a:lnTo>
                    <a:lnTo>
                      <a:pt x="0" y="350"/>
                    </a:lnTo>
                    <a:lnTo>
                      <a:pt x="1" y="349"/>
                    </a:lnTo>
                    <a:lnTo>
                      <a:pt x="17" y="332"/>
                    </a:lnTo>
                    <a:lnTo>
                      <a:pt x="33" y="309"/>
                    </a:lnTo>
                    <a:lnTo>
                      <a:pt x="33" y="306"/>
                    </a:lnTo>
                    <a:lnTo>
                      <a:pt x="36" y="304"/>
                    </a:lnTo>
                    <a:lnTo>
                      <a:pt x="46" y="299"/>
                    </a:lnTo>
                    <a:lnTo>
                      <a:pt x="70" y="291"/>
                    </a:lnTo>
                    <a:lnTo>
                      <a:pt x="81" y="281"/>
                    </a:lnTo>
                    <a:lnTo>
                      <a:pt x="89" y="276"/>
                    </a:lnTo>
                    <a:lnTo>
                      <a:pt x="103" y="270"/>
                    </a:lnTo>
                    <a:lnTo>
                      <a:pt x="109" y="267"/>
                    </a:lnTo>
                    <a:lnTo>
                      <a:pt x="155" y="265"/>
                    </a:lnTo>
                    <a:lnTo>
                      <a:pt x="213" y="208"/>
                    </a:lnTo>
                    <a:lnTo>
                      <a:pt x="263" y="158"/>
                    </a:lnTo>
                    <a:lnTo>
                      <a:pt x="270" y="150"/>
                    </a:lnTo>
                    <a:lnTo>
                      <a:pt x="271" y="147"/>
                    </a:lnTo>
                    <a:lnTo>
                      <a:pt x="234" y="148"/>
                    </a:lnTo>
                    <a:lnTo>
                      <a:pt x="172" y="127"/>
                    </a:lnTo>
                    <a:lnTo>
                      <a:pt x="117" y="107"/>
                    </a:lnTo>
                    <a:lnTo>
                      <a:pt x="112" y="102"/>
                    </a:lnTo>
                    <a:lnTo>
                      <a:pt x="97" y="91"/>
                    </a:lnTo>
                    <a:lnTo>
                      <a:pt x="93" y="85"/>
                    </a:lnTo>
                    <a:lnTo>
                      <a:pt x="87" y="81"/>
                    </a:lnTo>
                    <a:lnTo>
                      <a:pt x="87" y="78"/>
                    </a:lnTo>
                    <a:lnTo>
                      <a:pt x="82" y="75"/>
                    </a:lnTo>
                    <a:lnTo>
                      <a:pt x="79" y="70"/>
                    </a:lnTo>
                    <a:lnTo>
                      <a:pt x="77" y="66"/>
                    </a:lnTo>
                    <a:lnTo>
                      <a:pt x="71" y="60"/>
                    </a:lnTo>
                    <a:lnTo>
                      <a:pt x="68" y="45"/>
                    </a:lnTo>
                    <a:lnTo>
                      <a:pt x="69" y="42"/>
                    </a:lnTo>
                    <a:lnTo>
                      <a:pt x="72" y="38"/>
                    </a:lnTo>
                    <a:lnTo>
                      <a:pt x="74" y="33"/>
                    </a:lnTo>
                    <a:lnTo>
                      <a:pt x="81" y="25"/>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5" name="Freeform 81"/>
              <p:cNvSpPr>
                <a:spLocks/>
              </p:cNvSpPr>
              <p:nvPr/>
            </p:nvSpPr>
            <p:spPr bwMode="auto">
              <a:xfrm>
                <a:off x="2980" y="2041"/>
                <a:ext cx="425" cy="548"/>
              </a:xfrm>
              <a:custGeom>
                <a:avLst/>
                <a:gdLst>
                  <a:gd name="T0" fmla="*/ 7705 w 397"/>
                  <a:gd name="T1" fmla="*/ 398 h 522"/>
                  <a:gd name="T2" fmla="*/ 8443 w 397"/>
                  <a:gd name="T3" fmla="*/ 617 h 522"/>
                  <a:gd name="T4" fmla="*/ 10431 w 397"/>
                  <a:gd name="T5" fmla="*/ 1279 h 522"/>
                  <a:gd name="T6" fmla="*/ 12148 w 397"/>
                  <a:gd name="T7" fmla="*/ 1410 h 522"/>
                  <a:gd name="T8" fmla="*/ 14545 w 397"/>
                  <a:gd name="T9" fmla="*/ 1235 h 522"/>
                  <a:gd name="T10" fmla="*/ 15955 w 397"/>
                  <a:gd name="T11" fmla="*/ 1067 h 522"/>
                  <a:gd name="T12" fmla="*/ 16442 w 397"/>
                  <a:gd name="T13" fmla="*/ 968 h 522"/>
                  <a:gd name="T14" fmla="*/ 17080 w 397"/>
                  <a:gd name="T15" fmla="*/ 1067 h 522"/>
                  <a:gd name="T16" fmla="*/ 18951 w 397"/>
                  <a:gd name="T17" fmla="*/ 1160 h 522"/>
                  <a:gd name="T18" fmla="*/ 20288 w 397"/>
                  <a:gd name="T19" fmla="*/ 955 h 522"/>
                  <a:gd name="T20" fmla="*/ 21719 w 397"/>
                  <a:gd name="T21" fmla="*/ 750 h 522"/>
                  <a:gd name="T22" fmla="*/ 23549 w 397"/>
                  <a:gd name="T23" fmla="*/ 796 h 522"/>
                  <a:gd name="T24" fmla="*/ 25210 w 397"/>
                  <a:gd name="T25" fmla="*/ 750 h 522"/>
                  <a:gd name="T26" fmla="*/ 27083 w 397"/>
                  <a:gd name="T27" fmla="*/ 588 h 522"/>
                  <a:gd name="T28" fmla="*/ 28951 w 397"/>
                  <a:gd name="T29" fmla="*/ 461 h 522"/>
                  <a:gd name="T30" fmla="*/ 30376 w 397"/>
                  <a:gd name="T31" fmla="*/ 398 h 522"/>
                  <a:gd name="T32" fmla="*/ 32503 w 397"/>
                  <a:gd name="T33" fmla="*/ 7 h 522"/>
                  <a:gd name="T34" fmla="*/ 34054 w 397"/>
                  <a:gd name="T35" fmla="*/ 0 h 522"/>
                  <a:gd name="T36" fmla="*/ 35300 w 397"/>
                  <a:gd name="T37" fmla="*/ 6 h 522"/>
                  <a:gd name="T38" fmla="*/ 34760 w 397"/>
                  <a:gd name="T39" fmla="*/ 418 h 522"/>
                  <a:gd name="T40" fmla="*/ 35277 w 397"/>
                  <a:gd name="T41" fmla="*/ 826 h 522"/>
                  <a:gd name="T42" fmla="*/ 34811 w 397"/>
                  <a:gd name="T43" fmla="*/ 1105 h 522"/>
                  <a:gd name="T44" fmla="*/ 34511 w 397"/>
                  <a:gd name="T45" fmla="*/ 1430 h 522"/>
                  <a:gd name="T46" fmla="*/ 34811 w 397"/>
                  <a:gd name="T47" fmla="*/ 1410 h 522"/>
                  <a:gd name="T48" fmla="*/ 35570 w 397"/>
                  <a:gd name="T49" fmla="*/ 1467 h 522"/>
                  <a:gd name="T50" fmla="*/ 35445 w 397"/>
                  <a:gd name="T51" fmla="*/ 1576 h 522"/>
                  <a:gd name="T52" fmla="*/ 34248 w 397"/>
                  <a:gd name="T53" fmla="*/ 1554 h 522"/>
                  <a:gd name="T54" fmla="*/ 33767 w 397"/>
                  <a:gd name="T55" fmla="*/ 2111 h 522"/>
                  <a:gd name="T56" fmla="*/ 33284 w 397"/>
                  <a:gd name="T57" fmla="*/ 2692 h 522"/>
                  <a:gd name="T58" fmla="*/ 32349 w 397"/>
                  <a:gd name="T59" fmla="*/ 3119 h 522"/>
                  <a:gd name="T60" fmla="*/ 31542 w 397"/>
                  <a:gd name="T61" fmla="*/ 3553 h 522"/>
                  <a:gd name="T62" fmla="*/ 30538 w 397"/>
                  <a:gd name="T63" fmla="*/ 3784 h 522"/>
                  <a:gd name="T64" fmla="*/ 29048 w 397"/>
                  <a:gd name="T65" fmla="*/ 4714 h 522"/>
                  <a:gd name="T66" fmla="*/ 27799 w 397"/>
                  <a:gd name="T67" fmla="*/ 5589 h 522"/>
                  <a:gd name="T68" fmla="*/ 26506 w 397"/>
                  <a:gd name="T69" fmla="*/ 6089 h 522"/>
                  <a:gd name="T70" fmla="*/ 25772 w 397"/>
                  <a:gd name="T71" fmla="*/ 6311 h 522"/>
                  <a:gd name="T72" fmla="*/ 24630 w 397"/>
                  <a:gd name="T73" fmla="*/ 6773 h 522"/>
                  <a:gd name="T74" fmla="*/ 23549 w 397"/>
                  <a:gd name="T75" fmla="*/ 7302 h 522"/>
                  <a:gd name="T76" fmla="*/ 21491 w 397"/>
                  <a:gd name="T77" fmla="*/ 7854 h 522"/>
                  <a:gd name="T78" fmla="*/ 19262 w 397"/>
                  <a:gd name="T79" fmla="*/ 8476 h 522"/>
                  <a:gd name="T80" fmla="*/ 18285 w 397"/>
                  <a:gd name="T81" fmla="*/ 8869 h 522"/>
                  <a:gd name="T82" fmla="*/ 15701 w 397"/>
                  <a:gd name="T83" fmla="*/ 9400 h 522"/>
                  <a:gd name="T84" fmla="*/ 14194 w 397"/>
                  <a:gd name="T85" fmla="*/ 9542 h 522"/>
                  <a:gd name="T86" fmla="*/ 8809 w 397"/>
                  <a:gd name="T87" fmla="*/ 10807 h 522"/>
                  <a:gd name="T88" fmla="*/ 6419 w 397"/>
                  <a:gd name="T89" fmla="*/ 11535 h 522"/>
                  <a:gd name="T90" fmla="*/ 5239 w 397"/>
                  <a:gd name="T91" fmla="*/ 11588 h 522"/>
                  <a:gd name="T92" fmla="*/ 5480 w 397"/>
                  <a:gd name="T93" fmla="*/ 11697 h 522"/>
                  <a:gd name="T94" fmla="*/ 4771 w 397"/>
                  <a:gd name="T95" fmla="*/ 12023 h 522"/>
                  <a:gd name="T96" fmla="*/ 2313 w 397"/>
                  <a:gd name="T97" fmla="*/ 12755 h 522"/>
                  <a:gd name="T98" fmla="*/ 1762 w 397"/>
                  <a:gd name="T99" fmla="*/ 12808 h 522"/>
                  <a:gd name="T100" fmla="*/ 0 w 397"/>
                  <a:gd name="T101" fmla="*/ 11412 h 522"/>
                  <a:gd name="T102" fmla="*/ 0 w 397"/>
                  <a:gd name="T103" fmla="*/ 8646 h 522"/>
                  <a:gd name="T104" fmla="*/ 2961 w 397"/>
                  <a:gd name="T105" fmla="*/ 7666 h 522"/>
                  <a:gd name="T106" fmla="*/ 4163 w 397"/>
                  <a:gd name="T107" fmla="*/ 7372 h 522"/>
                  <a:gd name="T108" fmla="*/ 7942 w 397"/>
                  <a:gd name="T109" fmla="*/ 6809 h 522"/>
                  <a:gd name="T110" fmla="*/ 13922 w 397"/>
                  <a:gd name="T111" fmla="*/ 6589 h 522"/>
                  <a:gd name="T112" fmla="*/ 24257 w 397"/>
                  <a:gd name="T113" fmla="*/ 3730 h 522"/>
                  <a:gd name="T114" fmla="*/ 15447 w 397"/>
                  <a:gd name="T115" fmla="*/ 3119 h 522"/>
                  <a:gd name="T116" fmla="*/ 8809 w 397"/>
                  <a:gd name="T117" fmla="*/ 2274 h 522"/>
                  <a:gd name="T118" fmla="*/ 7876 w 397"/>
                  <a:gd name="T119" fmla="*/ 1916 h 522"/>
                  <a:gd name="T120" fmla="*/ 6882 w 397"/>
                  <a:gd name="T121" fmla="*/ 1631 h 522"/>
                  <a:gd name="T122" fmla="*/ 6266 w 397"/>
                  <a:gd name="T123" fmla="*/ 1016 h 522"/>
                  <a:gd name="T124" fmla="*/ 7357 w 397"/>
                  <a:gd name="T125" fmla="*/ 588 h 5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7"/>
                  <a:gd name="T190" fmla="*/ 0 h 522"/>
                  <a:gd name="T191" fmla="*/ 397 w 397"/>
                  <a:gd name="T192" fmla="*/ 522 h 52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7" h="522">
                    <a:moveTo>
                      <a:pt x="81" y="25"/>
                    </a:moveTo>
                    <a:lnTo>
                      <a:pt x="84" y="18"/>
                    </a:lnTo>
                    <a:lnTo>
                      <a:pt x="86" y="17"/>
                    </a:lnTo>
                    <a:lnTo>
                      <a:pt x="87" y="18"/>
                    </a:lnTo>
                    <a:lnTo>
                      <a:pt x="91" y="20"/>
                    </a:lnTo>
                    <a:lnTo>
                      <a:pt x="94" y="26"/>
                    </a:lnTo>
                    <a:lnTo>
                      <a:pt x="97" y="28"/>
                    </a:lnTo>
                    <a:lnTo>
                      <a:pt x="105" y="40"/>
                    </a:lnTo>
                    <a:lnTo>
                      <a:pt x="117" y="51"/>
                    </a:lnTo>
                    <a:lnTo>
                      <a:pt x="125" y="57"/>
                    </a:lnTo>
                    <a:lnTo>
                      <a:pt x="131" y="58"/>
                    </a:lnTo>
                    <a:lnTo>
                      <a:pt x="135" y="57"/>
                    </a:lnTo>
                    <a:lnTo>
                      <a:pt x="151" y="58"/>
                    </a:lnTo>
                    <a:lnTo>
                      <a:pt x="155" y="54"/>
                    </a:lnTo>
                    <a:lnTo>
                      <a:pt x="162" y="50"/>
                    </a:lnTo>
                    <a:lnTo>
                      <a:pt x="168" y="49"/>
                    </a:lnTo>
                    <a:lnTo>
                      <a:pt x="175" y="44"/>
                    </a:lnTo>
                    <a:lnTo>
                      <a:pt x="178" y="44"/>
                    </a:lnTo>
                    <a:lnTo>
                      <a:pt x="179" y="41"/>
                    </a:lnTo>
                    <a:lnTo>
                      <a:pt x="182" y="40"/>
                    </a:lnTo>
                    <a:lnTo>
                      <a:pt x="183" y="40"/>
                    </a:lnTo>
                    <a:lnTo>
                      <a:pt x="186" y="42"/>
                    </a:lnTo>
                    <a:lnTo>
                      <a:pt x="188" y="42"/>
                    </a:lnTo>
                    <a:lnTo>
                      <a:pt x="191" y="44"/>
                    </a:lnTo>
                    <a:lnTo>
                      <a:pt x="199" y="44"/>
                    </a:lnTo>
                    <a:lnTo>
                      <a:pt x="205" y="47"/>
                    </a:lnTo>
                    <a:lnTo>
                      <a:pt x="211" y="47"/>
                    </a:lnTo>
                    <a:lnTo>
                      <a:pt x="220" y="45"/>
                    </a:lnTo>
                    <a:lnTo>
                      <a:pt x="223" y="44"/>
                    </a:lnTo>
                    <a:lnTo>
                      <a:pt x="226" y="39"/>
                    </a:lnTo>
                    <a:lnTo>
                      <a:pt x="234" y="38"/>
                    </a:lnTo>
                    <a:lnTo>
                      <a:pt x="237" y="33"/>
                    </a:lnTo>
                    <a:lnTo>
                      <a:pt x="242" y="30"/>
                    </a:lnTo>
                    <a:lnTo>
                      <a:pt x="248" y="30"/>
                    </a:lnTo>
                    <a:lnTo>
                      <a:pt x="257" y="32"/>
                    </a:lnTo>
                    <a:lnTo>
                      <a:pt x="262" y="32"/>
                    </a:lnTo>
                    <a:lnTo>
                      <a:pt x="269" y="30"/>
                    </a:lnTo>
                    <a:lnTo>
                      <a:pt x="275" y="30"/>
                    </a:lnTo>
                    <a:lnTo>
                      <a:pt x="280" y="30"/>
                    </a:lnTo>
                    <a:lnTo>
                      <a:pt x="290" y="23"/>
                    </a:lnTo>
                    <a:lnTo>
                      <a:pt x="294" y="23"/>
                    </a:lnTo>
                    <a:lnTo>
                      <a:pt x="302" y="25"/>
                    </a:lnTo>
                    <a:lnTo>
                      <a:pt x="315" y="20"/>
                    </a:lnTo>
                    <a:lnTo>
                      <a:pt x="317" y="19"/>
                    </a:lnTo>
                    <a:lnTo>
                      <a:pt x="322" y="20"/>
                    </a:lnTo>
                    <a:lnTo>
                      <a:pt x="325" y="17"/>
                    </a:lnTo>
                    <a:lnTo>
                      <a:pt x="333" y="18"/>
                    </a:lnTo>
                    <a:lnTo>
                      <a:pt x="339" y="17"/>
                    </a:lnTo>
                    <a:lnTo>
                      <a:pt x="349" y="15"/>
                    </a:lnTo>
                    <a:lnTo>
                      <a:pt x="353" y="13"/>
                    </a:lnTo>
                    <a:lnTo>
                      <a:pt x="362" y="7"/>
                    </a:lnTo>
                    <a:lnTo>
                      <a:pt x="365" y="1"/>
                    </a:lnTo>
                    <a:lnTo>
                      <a:pt x="371" y="0"/>
                    </a:lnTo>
                    <a:lnTo>
                      <a:pt x="378" y="0"/>
                    </a:lnTo>
                    <a:lnTo>
                      <a:pt x="385" y="4"/>
                    </a:lnTo>
                    <a:lnTo>
                      <a:pt x="391" y="4"/>
                    </a:lnTo>
                    <a:lnTo>
                      <a:pt x="392" y="6"/>
                    </a:lnTo>
                    <a:lnTo>
                      <a:pt x="391" y="10"/>
                    </a:lnTo>
                    <a:lnTo>
                      <a:pt x="392" y="13"/>
                    </a:lnTo>
                    <a:lnTo>
                      <a:pt x="387" y="18"/>
                    </a:lnTo>
                    <a:lnTo>
                      <a:pt x="386" y="23"/>
                    </a:lnTo>
                    <a:lnTo>
                      <a:pt x="386" y="30"/>
                    </a:lnTo>
                    <a:lnTo>
                      <a:pt x="391" y="33"/>
                    </a:lnTo>
                    <a:lnTo>
                      <a:pt x="389" y="37"/>
                    </a:lnTo>
                    <a:lnTo>
                      <a:pt x="389" y="41"/>
                    </a:lnTo>
                    <a:lnTo>
                      <a:pt x="389" y="45"/>
                    </a:lnTo>
                    <a:lnTo>
                      <a:pt x="389" y="53"/>
                    </a:lnTo>
                    <a:lnTo>
                      <a:pt x="389" y="54"/>
                    </a:lnTo>
                    <a:lnTo>
                      <a:pt x="384" y="58"/>
                    </a:lnTo>
                    <a:lnTo>
                      <a:pt x="384" y="59"/>
                    </a:lnTo>
                    <a:lnTo>
                      <a:pt x="389" y="59"/>
                    </a:lnTo>
                    <a:lnTo>
                      <a:pt x="389" y="57"/>
                    </a:lnTo>
                    <a:lnTo>
                      <a:pt x="391" y="57"/>
                    </a:lnTo>
                    <a:lnTo>
                      <a:pt x="392" y="58"/>
                    </a:lnTo>
                    <a:lnTo>
                      <a:pt x="396" y="59"/>
                    </a:lnTo>
                    <a:lnTo>
                      <a:pt x="397" y="61"/>
                    </a:lnTo>
                    <a:lnTo>
                      <a:pt x="396" y="63"/>
                    </a:lnTo>
                    <a:lnTo>
                      <a:pt x="394" y="64"/>
                    </a:lnTo>
                    <a:lnTo>
                      <a:pt x="389" y="60"/>
                    </a:lnTo>
                    <a:lnTo>
                      <a:pt x="384" y="61"/>
                    </a:lnTo>
                    <a:lnTo>
                      <a:pt x="381" y="63"/>
                    </a:lnTo>
                    <a:lnTo>
                      <a:pt x="381" y="64"/>
                    </a:lnTo>
                    <a:lnTo>
                      <a:pt x="381" y="68"/>
                    </a:lnTo>
                    <a:lnTo>
                      <a:pt x="376" y="86"/>
                    </a:lnTo>
                    <a:lnTo>
                      <a:pt x="376" y="98"/>
                    </a:lnTo>
                    <a:lnTo>
                      <a:pt x="374" y="101"/>
                    </a:lnTo>
                    <a:lnTo>
                      <a:pt x="372" y="109"/>
                    </a:lnTo>
                    <a:lnTo>
                      <a:pt x="369" y="111"/>
                    </a:lnTo>
                    <a:lnTo>
                      <a:pt x="365" y="114"/>
                    </a:lnTo>
                    <a:lnTo>
                      <a:pt x="360" y="127"/>
                    </a:lnTo>
                    <a:lnTo>
                      <a:pt x="355" y="132"/>
                    </a:lnTo>
                    <a:lnTo>
                      <a:pt x="351" y="142"/>
                    </a:lnTo>
                    <a:lnTo>
                      <a:pt x="351" y="143"/>
                    </a:lnTo>
                    <a:lnTo>
                      <a:pt x="347" y="145"/>
                    </a:lnTo>
                    <a:lnTo>
                      <a:pt x="343" y="150"/>
                    </a:lnTo>
                    <a:lnTo>
                      <a:pt x="340" y="153"/>
                    </a:lnTo>
                    <a:lnTo>
                      <a:pt x="339" y="158"/>
                    </a:lnTo>
                    <a:lnTo>
                      <a:pt x="338" y="166"/>
                    </a:lnTo>
                    <a:lnTo>
                      <a:pt x="325" y="190"/>
                    </a:lnTo>
                    <a:lnTo>
                      <a:pt x="315" y="207"/>
                    </a:lnTo>
                    <a:lnTo>
                      <a:pt x="313" y="211"/>
                    </a:lnTo>
                    <a:lnTo>
                      <a:pt x="309" y="227"/>
                    </a:lnTo>
                    <a:lnTo>
                      <a:pt x="303" y="240"/>
                    </a:lnTo>
                    <a:lnTo>
                      <a:pt x="298" y="246"/>
                    </a:lnTo>
                    <a:lnTo>
                      <a:pt x="296" y="247"/>
                    </a:lnTo>
                    <a:lnTo>
                      <a:pt x="293" y="250"/>
                    </a:lnTo>
                    <a:lnTo>
                      <a:pt x="290" y="252"/>
                    </a:lnTo>
                    <a:lnTo>
                      <a:pt x="287" y="253"/>
                    </a:lnTo>
                    <a:lnTo>
                      <a:pt x="279" y="265"/>
                    </a:lnTo>
                    <a:lnTo>
                      <a:pt x="274" y="272"/>
                    </a:lnTo>
                    <a:lnTo>
                      <a:pt x="274" y="273"/>
                    </a:lnTo>
                    <a:lnTo>
                      <a:pt x="274" y="277"/>
                    </a:lnTo>
                    <a:lnTo>
                      <a:pt x="269" y="283"/>
                    </a:lnTo>
                    <a:lnTo>
                      <a:pt x="262" y="294"/>
                    </a:lnTo>
                    <a:lnTo>
                      <a:pt x="255" y="303"/>
                    </a:lnTo>
                    <a:lnTo>
                      <a:pt x="248" y="309"/>
                    </a:lnTo>
                    <a:lnTo>
                      <a:pt x="239" y="318"/>
                    </a:lnTo>
                    <a:lnTo>
                      <a:pt x="236" y="324"/>
                    </a:lnTo>
                    <a:lnTo>
                      <a:pt x="227" y="332"/>
                    </a:lnTo>
                    <a:lnTo>
                      <a:pt x="215" y="342"/>
                    </a:lnTo>
                    <a:lnTo>
                      <a:pt x="210" y="346"/>
                    </a:lnTo>
                    <a:lnTo>
                      <a:pt x="208" y="347"/>
                    </a:lnTo>
                    <a:lnTo>
                      <a:pt x="204" y="356"/>
                    </a:lnTo>
                    <a:lnTo>
                      <a:pt x="194" y="367"/>
                    </a:lnTo>
                    <a:lnTo>
                      <a:pt x="185" y="374"/>
                    </a:lnTo>
                    <a:lnTo>
                      <a:pt x="176" y="381"/>
                    </a:lnTo>
                    <a:lnTo>
                      <a:pt x="172" y="383"/>
                    </a:lnTo>
                    <a:lnTo>
                      <a:pt x="162" y="385"/>
                    </a:lnTo>
                    <a:lnTo>
                      <a:pt x="156" y="387"/>
                    </a:lnTo>
                    <a:lnTo>
                      <a:pt x="151" y="389"/>
                    </a:lnTo>
                    <a:lnTo>
                      <a:pt x="135" y="401"/>
                    </a:lnTo>
                    <a:lnTo>
                      <a:pt x="97" y="437"/>
                    </a:lnTo>
                    <a:lnTo>
                      <a:pt x="84" y="450"/>
                    </a:lnTo>
                    <a:lnTo>
                      <a:pt x="79" y="456"/>
                    </a:lnTo>
                    <a:lnTo>
                      <a:pt x="71" y="465"/>
                    </a:lnTo>
                    <a:lnTo>
                      <a:pt x="64" y="466"/>
                    </a:lnTo>
                    <a:lnTo>
                      <a:pt x="61" y="466"/>
                    </a:lnTo>
                    <a:lnTo>
                      <a:pt x="59" y="468"/>
                    </a:lnTo>
                    <a:lnTo>
                      <a:pt x="61" y="469"/>
                    </a:lnTo>
                    <a:lnTo>
                      <a:pt x="61" y="471"/>
                    </a:lnTo>
                    <a:lnTo>
                      <a:pt x="61" y="472"/>
                    </a:lnTo>
                    <a:lnTo>
                      <a:pt x="59" y="475"/>
                    </a:lnTo>
                    <a:lnTo>
                      <a:pt x="56" y="480"/>
                    </a:lnTo>
                    <a:lnTo>
                      <a:pt x="52" y="487"/>
                    </a:lnTo>
                    <a:lnTo>
                      <a:pt x="41" y="497"/>
                    </a:lnTo>
                    <a:lnTo>
                      <a:pt x="34" y="507"/>
                    </a:lnTo>
                    <a:lnTo>
                      <a:pt x="26" y="514"/>
                    </a:lnTo>
                    <a:lnTo>
                      <a:pt x="22" y="521"/>
                    </a:lnTo>
                    <a:lnTo>
                      <a:pt x="21" y="522"/>
                    </a:lnTo>
                    <a:lnTo>
                      <a:pt x="20" y="518"/>
                    </a:lnTo>
                    <a:lnTo>
                      <a:pt x="3" y="498"/>
                    </a:lnTo>
                    <a:lnTo>
                      <a:pt x="0" y="493"/>
                    </a:lnTo>
                    <a:lnTo>
                      <a:pt x="0" y="462"/>
                    </a:lnTo>
                    <a:lnTo>
                      <a:pt x="0" y="424"/>
                    </a:lnTo>
                    <a:lnTo>
                      <a:pt x="0" y="388"/>
                    </a:lnTo>
                    <a:lnTo>
                      <a:pt x="0" y="350"/>
                    </a:lnTo>
                    <a:lnTo>
                      <a:pt x="1" y="349"/>
                    </a:lnTo>
                    <a:lnTo>
                      <a:pt x="17" y="332"/>
                    </a:lnTo>
                    <a:lnTo>
                      <a:pt x="33" y="309"/>
                    </a:lnTo>
                    <a:lnTo>
                      <a:pt x="33" y="306"/>
                    </a:lnTo>
                    <a:lnTo>
                      <a:pt x="36" y="304"/>
                    </a:lnTo>
                    <a:lnTo>
                      <a:pt x="46" y="299"/>
                    </a:lnTo>
                    <a:lnTo>
                      <a:pt x="70" y="291"/>
                    </a:lnTo>
                    <a:lnTo>
                      <a:pt x="81" y="281"/>
                    </a:lnTo>
                    <a:lnTo>
                      <a:pt x="89" y="276"/>
                    </a:lnTo>
                    <a:lnTo>
                      <a:pt x="103" y="270"/>
                    </a:lnTo>
                    <a:lnTo>
                      <a:pt x="109" y="267"/>
                    </a:lnTo>
                    <a:lnTo>
                      <a:pt x="155" y="265"/>
                    </a:lnTo>
                    <a:lnTo>
                      <a:pt x="213" y="208"/>
                    </a:lnTo>
                    <a:lnTo>
                      <a:pt x="263" y="158"/>
                    </a:lnTo>
                    <a:lnTo>
                      <a:pt x="270" y="150"/>
                    </a:lnTo>
                    <a:lnTo>
                      <a:pt x="271" y="147"/>
                    </a:lnTo>
                    <a:lnTo>
                      <a:pt x="234" y="148"/>
                    </a:lnTo>
                    <a:lnTo>
                      <a:pt x="172" y="127"/>
                    </a:lnTo>
                    <a:lnTo>
                      <a:pt x="117" y="107"/>
                    </a:lnTo>
                    <a:lnTo>
                      <a:pt x="112" y="102"/>
                    </a:lnTo>
                    <a:lnTo>
                      <a:pt x="97" y="91"/>
                    </a:lnTo>
                    <a:lnTo>
                      <a:pt x="93" y="85"/>
                    </a:lnTo>
                    <a:lnTo>
                      <a:pt x="87" y="81"/>
                    </a:lnTo>
                    <a:lnTo>
                      <a:pt x="87" y="78"/>
                    </a:lnTo>
                    <a:lnTo>
                      <a:pt x="82" y="75"/>
                    </a:lnTo>
                    <a:lnTo>
                      <a:pt x="79" y="70"/>
                    </a:lnTo>
                    <a:lnTo>
                      <a:pt x="77" y="66"/>
                    </a:lnTo>
                    <a:lnTo>
                      <a:pt x="71" y="60"/>
                    </a:lnTo>
                    <a:lnTo>
                      <a:pt x="68" y="45"/>
                    </a:lnTo>
                    <a:lnTo>
                      <a:pt x="69" y="42"/>
                    </a:lnTo>
                    <a:lnTo>
                      <a:pt x="72" y="38"/>
                    </a:lnTo>
                    <a:lnTo>
                      <a:pt x="74" y="33"/>
                    </a:lnTo>
                    <a:lnTo>
                      <a:pt x="81" y="25"/>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96" name="Freeform 82"/>
              <p:cNvSpPr>
                <a:spLocks/>
              </p:cNvSpPr>
              <p:nvPr/>
            </p:nvSpPr>
            <p:spPr bwMode="auto">
              <a:xfrm>
                <a:off x="2791" y="1791"/>
                <a:ext cx="270" cy="230"/>
              </a:xfrm>
              <a:custGeom>
                <a:avLst/>
                <a:gdLst>
                  <a:gd name="T0" fmla="*/ 5615 w 253"/>
                  <a:gd name="T1" fmla="*/ 0 h 219"/>
                  <a:gd name="T2" fmla="*/ 5992 w 253"/>
                  <a:gd name="T3" fmla="*/ 5 h 219"/>
                  <a:gd name="T4" fmla="*/ 6606 w 253"/>
                  <a:gd name="T5" fmla="*/ 484 h 219"/>
                  <a:gd name="T6" fmla="*/ 6905 w 253"/>
                  <a:gd name="T7" fmla="*/ 1062 h 219"/>
                  <a:gd name="T8" fmla="*/ 7369 w 253"/>
                  <a:gd name="T9" fmla="*/ 1572 h 219"/>
                  <a:gd name="T10" fmla="*/ 7833 w 253"/>
                  <a:gd name="T11" fmla="*/ 2123 h 219"/>
                  <a:gd name="T12" fmla="*/ 8310 w 253"/>
                  <a:gd name="T13" fmla="*/ 2326 h 219"/>
                  <a:gd name="T14" fmla="*/ 8570 w 253"/>
                  <a:gd name="T15" fmla="*/ 2443 h 219"/>
                  <a:gd name="T16" fmla="*/ 8956 w 253"/>
                  <a:gd name="T17" fmla="*/ 2695 h 219"/>
                  <a:gd name="T18" fmla="*/ 9447 w 253"/>
                  <a:gd name="T19" fmla="*/ 2859 h 219"/>
                  <a:gd name="T20" fmla="*/ 9447 w 253"/>
                  <a:gd name="T21" fmla="*/ 2695 h 219"/>
                  <a:gd name="T22" fmla="*/ 9588 w 253"/>
                  <a:gd name="T23" fmla="*/ 2515 h 219"/>
                  <a:gd name="T24" fmla="*/ 10100 w 253"/>
                  <a:gd name="T25" fmla="*/ 2660 h 219"/>
                  <a:gd name="T26" fmla="*/ 10160 w 253"/>
                  <a:gd name="T27" fmla="*/ 2913 h 219"/>
                  <a:gd name="T28" fmla="*/ 10843 w 253"/>
                  <a:gd name="T29" fmla="*/ 3059 h 219"/>
                  <a:gd name="T30" fmla="*/ 11503 w 253"/>
                  <a:gd name="T31" fmla="*/ 3059 h 219"/>
                  <a:gd name="T32" fmla="*/ 12046 w 253"/>
                  <a:gd name="T33" fmla="*/ 3278 h 219"/>
                  <a:gd name="T34" fmla="*/ 13101 w 253"/>
                  <a:gd name="T35" fmla="*/ 3312 h 219"/>
                  <a:gd name="T36" fmla="*/ 14497 w 253"/>
                  <a:gd name="T37" fmla="*/ 3993 h 219"/>
                  <a:gd name="T38" fmla="*/ 14920 w 253"/>
                  <a:gd name="T39" fmla="*/ 4104 h 219"/>
                  <a:gd name="T40" fmla="*/ 15454 w 253"/>
                  <a:gd name="T41" fmla="*/ 4135 h 219"/>
                  <a:gd name="T42" fmla="*/ 16133 w 253"/>
                  <a:gd name="T43" fmla="*/ 4405 h 219"/>
                  <a:gd name="T44" fmla="*/ 16511 w 253"/>
                  <a:gd name="T45" fmla="*/ 4667 h 219"/>
                  <a:gd name="T46" fmla="*/ 17378 w 253"/>
                  <a:gd name="T47" fmla="*/ 4790 h 219"/>
                  <a:gd name="T48" fmla="*/ 17620 w 253"/>
                  <a:gd name="T49" fmla="*/ 5031 h 219"/>
                  <a:gd name="T50" fmla="*/ 18546 w 253"/>
                  <a:gd name="T51" fmla="*/ 5110 h 219"/>
                  <a:gd name="T52" fmla="*/ 16511 w 253"/>
                  <a:gd name="T53" fmla="*/ 5567 h 219"/>
                  <a:gd name="T54" fmla="*/ 15586 w 253"/>
                  <a:gd name="T55" fmla="*/ 5243 h 219"/>
                  <a:gd name="T56" fmla="*/ 14920 w 253"/>
                  <a:gd name="T57" fmla="*/ 4866 h 219"/>
                  <a:gd name="T58" fmla="*/ 13101 w 253"/>
                  <a:gd name="T59" fmla="*/ 4399 h 219"/>
                  <a:gd name="T60" fmla="*/ 11818 w 253"/>
                  <a:gd name="T61" fmla="*/ 3824 h 219"/>
                  <a:gd name="T62" fmla="*/ 10200 w 253"/>
                  <a:gd name="T63" fmla="*/ 3543 h 219"/>
                  <a:gd name="T64" fmla="*/ 9447 w 253"/>
                  <a:gd name="T65" fmla="*/ 3570 h 219"/>
                  <a:gd name="T66" fmla="*/ 8418 w 253"/>
                  <a:gd name="T67" fmla="*/ 3453 h 219"/>
                  <a:gd name="T68" fmla="*/ 7787 w 253"/>
                  <a:gd name="T69" fmla="*/ 3543 h 219"/>
                  <a:gd name="T70" fmla="*/ 7369 w 253"/>
                  <a:gd name="T71" fmla="*/ 3453 h 219"/>
                  <a:gd name="T72" fmla="*/ 6878 w 253"/>
                  <a:gd name="T73" fmla="*/ 3453 h 219"/>
                  <a:gd name="T74" fmla="*/ 5681 w 253"/>
                  <a:gd name="T75" fmla="*/ 3570 h 219"/>
                  <a:gd name="T76" fmla="*/ 4688 w 253"/>
                  <a:gd name="T77" fmla="*/ 3312 h 219"/>
                  <a:gd name="T78" fmla="*/ 3926 w 253"/>
                  <a:gd name="T79" fmla="*/ 3224 h 219"/>
                  <a:gd name="T80" fmla="*/ 2333 w 253"/>
                  <a:gd name="T81" fmla="*/ 3735 h 219"/>
                  <a:gd name="T82" fmla="*/ 1685 w 253"/>
                  <a:gd name="T83" fmla="*/ 3570 h 219"/>
                  <a:gd name="T84" fmla="*/ 1141 w 253"/>
                  <a:gd name="T85" fmla="*/ 3735 h 219"/>
                  <a:gd name="T86" fmla="*/ 3 w 253"/>
                  <a:gd name="T87" fmla="*/ 3721 h 219"/>
                  <a:gd name="T88" fmla="*/ 0 w 253"/>
                  <a:gd name="T89" fmla="*/ 3059 h 219"/>
                  <a:gd name="T90" fmla="*/ 880 w 253"/>
                  <a:gd name="T91" fmla="*/ 1924 h 219"/>
                  <a:gd name="T92" fmla="*/ 1218 w 253"/>
                  <a:gd name="T93" fmla="*/ 1062 h 219"/>
                  <a:gd name="T94" fmla="*/ 2611 w 253"/>
                  <a:gd name="T95" fmla="*/ 831 h 219"/>
                  <a:gd name="T96" fmla="*/ 4380 w 253"/>
                  <a:gd name="T97" fmla="*/ 484 h 21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53"/>
                  <a:gd name="T148" fmla="*/ 0 h 219"/>
                  <a:gd name="T149" fmla="*/ 253 w 253"/>
                  <a:gd name="T150" fmla="*/ 219 h 21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53" h="219">
                    <a:moveTo>
                      <a:pt x="69" y="15"/>
                    </a:moveTo>
                    <a:lnTo>
                      <a:pt x="75" y="6"/>
                    </a:lnTo>
                    <a:lnTo>
                      <a:pt x="76" y="0"/>
                    </a:lnTo>
                    <a:lnTo>
                      <a:pt x="78" y="0"/>
                    </a:lnTo>
                    <a:lnTo>
                      <a:pt x="80" y="0"/>
                    </a:lnTo>
                    <a:lnTo>
                      <a:pt x="81" y="5"/>
                    </a:lnTo>
                    <a:lnTo>
                      <a:pt x="84" y="10"/>
                    </a:lnTo>
                    <a:lnTo>
                      <a:pt x="87" y="13"/>
                    </a:lnTo>
                    <a:lnTo>
                      <a:pt x="91" y="20"/>
                    </a:lnTo>
                    <a:lnTo>
                      <a:pt x="92" y="25"/>
                    </a:lnTo>
                    <a:lnTo>
                      <a:pt x="93" y="32"/>
                    </a:lnTo>
                    <a:lnTo>
                      <a:pt x="95" y="42"/>
                    </a:lnTo>
                    <a:lnTo>
                      <a:pt x="97" y="45"/>
                    </a:lnTo>
                    <a:lnTo>
                      <a:pt x="97" y="56"/>
                    </a:lnTo>
                    <a:lnTo>
                      <a:pt x="101" y="62"/>
                    </a:lnTo>
                    <a:lnTo>
                      <a:pt x="101" y="68"/>
                    </a:lnTo>
                    <a:lnTo>
                      <a:pt x="104" y="80"/>
                    </a:lnTo>
                    <a:lnTo>
                      <a:pt x="107" y="84"/>
                    </a:lnTo>
                    <a:lnTo>
                      <a:pt x="111" y="86"/>
                    </a:lnTo>
                    <a:lnTo>
                      <a:pt x="111" y="90"/>
                    </a:lnTo>
                    <a:lnTo>
                      <a:pt x="113" y="91"/>
                    </a:lnTo>
                    <a:lnTo>
                      <a:pt x="113" y="94"/>
                    </a:lnTo>
                    <a:lnTo>
                      <a:pt x="114" y="96"/>
                    </a:lnTo>
                    <a:lnTo>
                      <a:pt x="118" y="96"/>
                    </a:lnTo>
                    <a:lnTo>
                      <a:pt x="119" y="97"/>
                    </a:lnTo>
                    <a:lnTo>
                      <a:pt x="120" y="104"/>
                    </a:lnTo>
                    <a:lnTo>
                      <a:pt x="123" y="106"/>
                    </a:lnTo>
                    <a:lnTo>
                      <a:pt x="123" y="110"/>
                    </a:lnTo>
                    <a:lnTo>
                      <a:pt x="128" y="113"/>
                    </a:lnTo>
                    <a:lnTo>
                      <a:pt x="128" y="112"/>
                    </a:lnTo>
                    <a:lnTo>
                      <a:pt x="129" y="109"/>
                    </a:lnTo>
                    <a:lnTo>
                      <a:pt x="128" y="106"/>
                    </a:lnTo>
                    <a:lnTo>
                      <a:pt x="126" y="103"/>
                    </a:lnTo>
                    <a:lnTo>
                      <a:pt x="128" y="100"/>
                    </a:lnTo>
                    <a:lnTo>
                      <a:pt x="132" y="99"/>
                    </a:lnTo>
                    <a:lnTo>
                      <a:pt x="135" y="103"/>
                    </a:lnTo>
                    <a:lnTo>
                      <a:pt x="136" y="103"/>
                    </a:lnTo>
                    <a:lnTo>
                      <a:pt x="138" y="105"/>
                    </a:lnTo>
                    <a:lnTo>
                      <a:pt x="135" y="109"/>
                    </a:lnTo>
                    <a:lnTo>
                      <a:pt x="136" y="110"/>
                    </a:lnTo>
                    <a:lnTo>
                      <a:pt x="139" y="114"/>
                    </a:lnTo>
                    <a:lnTo>
                      <a:pt x="143" y="120"/>
                    </a:lnTo>
                    <a:lnTo>
                      <a:pt x="146" y="120"/>
                    </a:lnTo>
                    <a:lnTo>
                      <a:pt x="148" y="120"/>
                    </a:lnTo>
                    <a:lnTo>
                      <a:pt x="150" y="119"/>
                    </a:lnTo>
                    <a:lnTo>
                      <a:pt x="154" y="119"/>
                    </a:lnTo>
                    <a:lnTo>
                      <a:pt x="157" y="120"/>
                    </a:lnTo>
                    <a:lnTo>
                      <a:pt x="159" y="122"/>
                    </a:lnTo>
                    <a:lnTo>
                      <a:pt x="162" y="127"/>
                    </a:lnTo>
                    <a:lnTo>
                      <a:pt x="165" y="129"/>
                    </a:lnTo>
                    <a:lnTo>
                      <a:pt x="167" y="129"/>
                    </a:lnTo>
                    <a:lnTo>
                      <a:pt x="172" y="131"/>
                    </a:lnTo>
                    <a:lnTo>
                      <a:pt x="179" y="131"/>
                    </a:lnTo>
                    <a:lnTo>
                      <a:pt x="184" y="135"/>
                    </a:lnTo>
                    <a:lnTo>
                      <a:pt x="194" y="151"/>
                    </a:lnTo>
                    <a:lnTo>
                      <a:pt x="200" y="157"/>
                    </a:lnTo>
                    <a:lnTo>
                      <a:pt x="200" y="160"/>
                    </a:lnTo>
                    <a:lnTo>
                      <a:pt x="203" y="161"/>
                    </a:lnTo>
                    <a:lnTo>
                      <a:pt x="204" y="161"/>
                    </a:lnTo>
                    <a:lnTo>
                      <a:pt x="206" y="163"/>
                    </a:lnTo>
                    <a:lnTo>
                      <a:pt x="210" y="162"/>
                    </a:lnTo>
                    <a:lnTo>
                      <a:pt x="212" y="163"/>
                    </a:lnTo>
                    <a:lnTo>
                      <a:pt x="215" y="170"/>
                    </a:lnTo>
                    <a:lnTo>
                      <a:pt x="217" y="172"/>
                    </a:lnTo>
                    <a:lnTo>
                      <a:pt x="221" y="173"/>
                    </a:lnTo>
                    <a:lnTo>
                      <a:pt x="222" y="175"/>
                    </a:lnTo>
                    <a:lnTo>
                      <a:pt x="224" y="178"/>
                    </a:lnTo>
                    <a:lnTo>
                      <a:pt x="227" y="185"/>
                    </a:lnTo>
                    <a:lnTo>
                      <a:pt x="227" y="187"/>
                    </a:lnTo>
                    <a:lnTo>
                      <a:pt x="231" y="189"/>
                    </a:lnTo>
                    <a:lnTo>
                      <a:pt x="237" y="189"/>
                    </a:lnTo>
                    <a:lnTo>
                      <a:pt x="238" y="190"/>
                    </a:lnTo>
                    <a:lnTo>
                      <a:pt x="239" y="196"/>
                    </a:lnTo>
                    <a:lnTo>
                      <a:pt x="242" y="198"/>
                    </a:lnTo>
                    <a:lnTo>
                      <a:pt x="245" y="199"/>
                    </a:lnTo>
                    <a:lnTo>
                      <a:pt x="249" y="198"/>
                    </a:lnTo>
                    <a:lnTo>
                      <a:pt x="253" y="202"/>
                    </a:lnTo>
                    <a:lnTo>
                      <a:pt x="241" y="209"/>
                    </a:lnTo>
                    <a:lnTo>
                      <a:pt x="231" y="214"/>
                    </a:lnTo>
                    <a:lnTo>
                      <a:pt x="227" y="219"/>
                    </a:lnTo>
                    <a:lnTo>
                      <a:pt x="222" y="214"/>
                    </a:lnTo>
                    <a:lnTo>
                      <a:pt x="219" y="209"/>
                    </a:lnTo>
                    <a:lnTo>
                      <a:pt x="214" y="205"/>
                    </a:lnTo>
                    <a:lnTo>
                      <a:pt x="209" y="202"/>
                    </a:lnTo>
                    <a:lnTo>
                      <a:pt x="206" y="198"/>
                    </a:lnTo>
                    <a:lnTo>
                      <a:pt x="204" y="192"/>
                    </a:lnTo>
                    <a:lnTo>
                      <a:pt x="199" y="187"/>
                    </a:lnTo>
                    <a:lnTo>
                      <a:pt x="191" y="180"/>
                    </a:lnTo>
                    <a:lnTo>
                      <a:pt x="179" y="172"/>
                    </a:lnTo>
                    <a:lnTo>
                      <a:pt x="176" y="165"/>
                    </a:lnTo>
                    <a:lnTo>
                      <a:pt x="171" y="158"/>
                    </a:lnTo>
                    <a:lnTo>
                      <a:pt x="162" y="151"/>
                    </a:lnTo>
                    <a:lnTo>
                      <a:pt x="156" y="151"/>
                    </a:lnTo>
                    <a:lnTo>
                      <a:pt x="149" y="147"/>
                    </a:lnTo>
                    <a:lnTo>
                      <a:pt x="140" y="139"/>
                    </a:lnTo>
                    <a:lnTo>
                      <a:pt x="132" y="139"/>
                    </a:lnTo>
                    <a:lnTo>
                      <a:pt x="131" y="141"/>
                    </a:lnTo>
                    <a:lnTo>
                      <a:pt x="128" y="141"/>
                    </a:lnTo>
                    <a:lnTo>
                      <a:pt x="126" y="139"/>
                    </a:lnTo>
                    <a:lnTo>
                      <a:pt x="119" y="138"/>
                    </a:lnTo>
                    <a:lnTo>
                      <a:pt x="116" y="136"/>
                    </a:lnTo>
                    <a:lnTo>
                      <a:pt x="113" y="136"/>
                    </a:lnTo>
                    <a:lnTo>
                      <a:pt x="110" y="139"/>
                    </a:lnTo>
                    <a:lnTo>
                      <a:pt x="106" y="139"/>
                    </a:lnTo>
                    <a:lnTo>
                      <a:pt x="104" y="141"/>
                    </a:lnTo>
                    <a:lnTo>
                      <a:pt x="103" y="141"/>
                    </a:lnTo>
                    <a:lnTo>
                      <a:pt x="101" y="136"/>
                    </a:lnTo>
                    <a:lnTo>
                      <a:pt x="97" y="132"/>
                    </a:lnTo>
                    <a:lnTo>
                      <a:pt x="94" y="132"/>
                    </a:lnTo>
                    <a:lnTo>
                      <a:pt x="94" y="136"/>
                    </a:lnTo>
                    <a:lnTo>
                      <a:pt x="90" y="138"/>
                    </a:lnTo>
                    <a:lnTo>
                      <a:pt x="80" y="141"/>
                    </a:lnTo>
                    <a:lnTo>
                      <a:pt x="78" y="141"/>
                    </a:lnTo>
                    <a:lnTo>
                      <a:pt x="73" y="141"/>
                    </a:lnTo>
                    <a:lnTo>
                      <a:pt x="65" y="134"/>
                    </a:lnTo>
                    <a:lnTo>
                      <a:pt x="65" y="131"/>
                    </a:lnTo>
                    <a:lnTo>
                      <a:pt x="63" y="131"/>
                    </a:lnTo>
                    <a:lnTo>
                      <a:pt x="59" y="131"/>
                    </a:lnTo>
                    <a:lnTo>
                      <a:pt x="54" y="127"/>
                    </a:lnTo>
                    <a:lnTo>
                      <a:pt x="52" y="124"/>
                    </a:lnTo>
                    <a:lnTo>
                      <a:pt x="38" y="154"/>
                    </a:lnTo>
                    <a:lnTo>
                      <a:pt x="33" y="147"/>
                    </a:lnTo>
                    <a:lnTo>
                      <a:pt x="32" y="145"/>
                    </a:lnTo>
                    <a:lnTo>
                      <a:pt x="28" y="141"/>
                    </a:lnTo>
                    <a:lnTo>
                      <a:pt x="23" y="141"/>
                    </a:lnTo>
                    <a:lnTo>
                      <a:pt x="22" y="144"/>
                    </a:lnTo>
                    <a:lnTo>
                      <a:pt x="20" y="146"/>
                    </a:lnTo>
                    <a:lnTo>
                      <a:pt x="17" y="147"/>
                    </a:lnTo>
                    <a:lnTo>
                      <a:pt x="15" y="147"/>
                    </a:lnTo>
                    <a:lnTo>
                      <a:pt x="11" y="146"/>
                    </a:lnTo>
                    <a:lnTo>
                      <a:pt x="3" y="146"/>
                    </a:lnTo>
                    <a:lnTo>
                      <a:pt x="1" y="145"/>
                    </a:lnTo>
                    <a:lnTo>
                      <a:pt x="0" y="135"/>
                    </a:lnTo>
                    <a:lnTo>
                      <a:pt x="0" y="120"/>
                    </a:lnTo>
                    <a:lnTo>
                      <a:pt x="1" y="110"/>
                    </a:lnTo>
                    <a:lnTo>
                      <a:pt x="6" y="99"/>
                    </a:lnTo>
                    <a:lnTo>
                      <a:pt x="13" y="76"/>
                    </a:lnTo>
                    <a:lnTo>
                      <a:pt x="15" y="62"/>
                    </a:lnTo>
                    <a:lnTo>
                      <a:pt x="15" y="58"/>
                    </a:lnTo>
                    <a:lnTo>
                      <a:pt x="18" y="42"/>
                    </a:lnTo>
                    <a:lnTo>
                      <a:pt x="22" y="37"/>
                    </a:lnTo>
                    <a:lnTo>
                      <a:pt x="30" y="36"/>
                    </a:lnTo>
                    <a:lnTo>
                      <a:pt x="36" y="32"/>
                    </a:lnTo>
                    <a:lnTo>
                      <a:pt x="40" y="28"/>
                    </a:lnTo>
                    <a:lnTo>
                      <a:pt x="54" y="21"/>
                    </a:lnTo>
                    <a:lnTo>
                      <a:pt x="60" y="20"/>
                    </a:lnTo>
                    <a:lnTo>
                      <a:pt x="69"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7" name="Freeform 83"/>
              <p:cNvSpPr>
                <a:spLocks/>
              </p:cNvSpPr>
              <p:nvPr/>
            </p:nvSpPr>
            <p:spPr bwMode="auto">
              <a:xfrm>
                <a:off x="2791" y="1791"/>
                <a:ext cx="270" cy="230"/>
              </a:xfrm>
              <a:custGeom>
                <a:avLst/>
                <a:gdLst>
                  <a:gd name="T0" fmla="*/ 5615 w 253"/>
                  <a:gd name="T1" fmla="*/ 0 h 219"/>
                  <a:gd name="T2" fmla="*/ 5992 w 253"/>
                  <a:gd name="T3" fmla="*/ 5 h 219"/>
                  <a:gd name="T4" fmla="*/ 6606 w 253"/>
                  <a:gd name="T5" fmla="*/ 484 h 219"/>
                  <a:gd name="T6" fmla="*/ 6905 w 253"/>
                  <a:gd name="T7" fmla="*/ 1062 h 219"/>
                  <a:gd name="T8" fmla="*/ 7369 w 253"/>
                  <a:gd name="T9" fmla="*/ 1572 h 219"/>
                  <a:gd name="T10" fmla="*/ 7833 w 253"/>
                  <a:gd name="T11" fmla="*/ 2123 h 219"/>
                  <a:gd name="T12" fmla="*/ 8310 w 253"/>
                  <a:gd name="T13" fmla="*/ 2326 h 219"/>
                  <a:gd name="T14" fmla="*/ 8570 w 253"/>
                  <a:gd name="T15" fmla="*/ 2443 h 219"/>
                  <a:gd name="T16" fmla="*/ 8956 w 253"/>
                  <a:gd name="T17" fmla="*/ 2695 h 219"/>
                  <a:gd name="T18" fmla="*/ 9447 w 253"/>
                  <a:gd name="T19" fmla="*/ 2859 h 219"/>
                  <a:gd name="T20" fmla="*/ 9447 w 253"/>
                  <a:gd name="T21" fmla="*/ 2695 h 219"/>
                  <a:gd name="T22" fmla="*/ 9588 w 253"/>
                  <a:gd name="T23" fmla="*/ 2515 h 219"/>
                  <a:gd name="T24" fmla="*/ 10100 w 253"/>
                  <a:gd name="T25" fmla="*/ 2660 h 219"/>
                  <a:gd name="T26" fmla="*/ 10160 w 253"/>
                  <a:gd name="T27" fmla="*/ 2913 h 219"/>
                  <a:gd name="T28" fmla="*/ 10843 w 253"/>
                  <a:gd name="T29" fmla="*/ 3059 h 219"/>
                  <a:gd name="T30" fmla="*/ 11503 w 253"/>
                  <a:gd name="T31" fmla="*/ 3059 h 219"/>
                  <a:gd name="T32" fmla="*/ 12046 w 253"/>
                  <a:gd name="T33" fmla="*/ 3278 h 219"/>
                  <a:gd name="T34" fmla="*/ 13101 w 253"/>
                  <a:gd name="T35" fmla="*/ 3312 h 219"/>
                  <a:gd name="T36" fmla="*/ 14497 w 253"/>
                  <a:gd name="T37" fmla="*/ 3993 h 219"/>
                  <a:gd name="T38" fmla="*/ 14920 w 253"/>
                  <a:gd name="T39" fmla="*/ 4104 h 219"/>
                  <a:gd name="T40" fmla="*/ 15454 w 253"/>
                  <a:gd name="T41" fmla="*/ 4135 h 219"/>
                  <a:gd name="T42" fmla="*/ 16133 w 253"/>
                  <a:gd name="T43" fmla="*/ 4405 h 219"/>
                  <a:gd name="T44" fmla="*/ 16511 w 253"/>
                  <a:gd name="T45" fmla="*/ 4667 h 219"/>
                  <a:gd name="T46" fmla="*/ 17378 w 253"/>
                  <a:gd name="T47" fmla="*/ 4790 h 219"/>
                  <a:gd name="T48" fmla="*/ 17620 w 253"/>
                  <a:gd name="T49" fmla="*/ 5031 h 219"/>
                  <a:gd name="T50" fmla="*/ 18546 w 253"/>
                  <a:gd name="T51" fmla="*/ 5110 h 219"/>
                  <a:gd name="T52" fmla="*/ 16511 w 253"/>
                  <a:gd name="T53" fmla="*/ 5567 h 219"/>
                  <a:gd name="T54" fmla="*/ 15586 w 253"/>
                  <a:gd name="T55" fmla="*/ 5243 h 219"/>
                  <a:gd name="T56" fmla="*/ 14920 w 253"/>
                  <a:gd name="T57" fmla="*/ 4866 h 219"/>
                  <a:gd name="T58" fmla="*/ 13101 w 253"/>
                  <a:gd name="T59" fmla="*/ 4399 h 219"/>
                  <a:gd name="T60" fmla="*/ 11818 w 253"/>
                  <a:gd name="T61" fmla="*/ 3824 h 219"/>
                  <a:gd name="T62" fmla="*/ 10200 w 253"/>
                  <a:gd name="T63" fmla="*/ 3543 h 219"/>
                  <a:gd name="T64" fmla="*/ 9447 w 253"/>
                  <a:gd name="T65" fmla="*/ 3570 h 219"/>
                  <a:gd name="T66" fmla="*/ 8418 w 253"/>
                  <a:gd name="T67" fmla="*/ 3453 h 219"/>
                  <a:gd name="T68" fmla="*/ 7787 w 253"/>
                  <a:gd name="T69" fmla="*/ 3543 h 219"/>
                  <a:gd name="T70" fmla="*/ 7369 w 253"/>
                  <a:gd name="T71" fmla="*/ 3453 h 219"/>
                  <a:gd name="T72" fmla="*/ 6878 w 253"/>
                  <a:gd name="T73" fmla="*/ 3453 h 219"/>
                  <a:gd name="T74" fmla="*/ 5681 w 253"/>
                  <a:gd name="T75" fmla="*/ 3570 h 219"/>
                  <a:gd name="T76" fmla="*/ 4688 w 253"/>
                  <a:gd name="T77" fmla="*/ 3312 h 219"/>
                  <a:gd name="T78" fmla="*/ 3926 w 253"/>
                  <a:gd name="T79" fmla="*/ 3224 h 219"/>
                  <a:gd name="T80" fmla="*/ 2333 w 253"/>
                  <a:gd name="T81" fmla="*/ 3735 h 219"/>
                  <a:gd name="T82" fmla="*/ 1685 w 253"/>
                  <a:gd name="T83" fmla="*/ 3570 h 219"/>
                  <a:gd name="T84" fmla="*/ 1141 w 253"/>
                  <a:gd name="T85" fmla="*/ 3735 h 219"/>
                  <a:gd name="T86" fmla="*/ 3 w 253"/>
                  <a:gd name="T87" fmla="*/ 3721 h 219"/>
                  <a:gd name="T88" fmla="*/ 0 w 253"/>
                  <a:gd name="T89" fmla="*/ 3059 h 219"/>
                  <a:gd name="T90" fmla="*/ 880 w 253"/>
                  <a:gd name="T91" fmla="*/ 1924 h 219"/>
                  <a:gd name="T92" fmla="*/ 1218 w 253"/>
                  <a:gd name="T93" fmla="*/ 1062 h 219"/>
                  <a:gd name="T94" fmla="*/ 2611 w 253"/>
                  <a:gd name="T95" fmla="*/ 831 h 219"/>
                  <a:gd name="T96" fmla="*/ 4380 w 253"/>
                  <a:gd name="T97" fmla="*/ 484 h 21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53"/>
                  <a:gd name="T148" fmla="*/ 0 h 219"/>
                  <a:gd name="T149" fmla="*/ 253 w 253"/>
                  <a:gd name="T150" fmla="*/ 219 h 21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53" h="219">
                    <a:moveTo>
                      <a:pt x="69" y="15"/>
                    </a:moveTo>
                    <a:lnTo>
                      <a:pt x="75" y="6"/>
                    </a:lnTo>
                    <a:lnTo>
                      <a:pt x="76" y="0"/>
                    </a:lnTo>
                    <a:lnTo>
                      <a:pt x="78" y="0"/>
                    </a:lnTo>
                    <a:lnTo>
                      <a:pt x="80" y="0"/>
                    </a:lnTo>
                    <a:lnTo>
                      <a:pt x="81" y="5"/>
                    </a:lnTo>
                    <a:lnTo>
                      <a:pt x="84" y="10"/>
                    </a:lnTo>
                    <a:lnTo>
                      <a:pt x="87" y="13"/>
                    </a:lnTo>
                    <a:lnTo>
                      <a:pt x="91" y="20"/>
                    </a:lnTo>
                    <a:lnTo>
                      <a:pt x="92" y="25"/>
                    </a:lnTo>
                    <a:lnTo>
                      <a:pt x="93" y="32"/>
                    </a:lnTo>
                    <a:lnTo>
                      <a:pt x="95" y="42"/>
                    </a:lnTo>
                    <a:lnTo>
                      <a:pt x="97" y="45"/>
                    </a:lnTo>
                    <a:lnTo>
                      <a:pt x="97" y="56"/>
                    </a:lnTo>
                    <a:lnTo>
                      <a:pt x="101" y="62"/>
                    </a:lnTo>
                    <a:lnTo>
                      <a:pt x="101" y="68"/>
                    </a:lnTo>
                    <a:lnTo>
                      <a:pt x="104" y="80"/>
                    </a:lnTo>
                    <a:lnTo>
                      <a:pt x="107" y="84"/>
                    </a:lnTo>
                    <a:lnTo>
                      <a:pt x="111" y="86"/>
                    </a:lnTo>
                    <a:lnTo>
                      <a:pt x="111" y="90"/>
                    </a:lnTo>
                    <a:lnTo>
                      <a:pt x="113" y="91"/>
                    </a:lnTo>
                    <a:lnTo>
                      <a:pt x="113" y="94"/>
                    </a:lnTo>
                    <a:lnTo>
                      <a:pt x="114" y="96"/>
                    </a:lnTo>
                    <a:lnTo>
                      <a:pt x="118" y="96"/>
                    </a:lnTo>
                    <a:lnTo>
                      <a:pt x="119" y="97"/>
                    </a:lnTo>
                    <a:lnTo>
                      <a:pt x="120" y="104"/>
                    </a:lnTo>
                    <a:lnTo>
                      <a:pt x="123" y="106"/>
                    </a:lnTo>
                    <a:lnTo>
                      <a:pt x="123" y="110"/>
                    </a:lnTo>
                    <a:lnTo>
                      <a:pt x="128" y="113"/>
                    </a:lnTo>
                    <a:lnTo>
                      <a:pt x="128" y="112"/>
                    </a:lnTo>
                    <a:lnTo>
                      <a:pt x="129" y="109"/>
                    </a:lnTo>
                    <a:lnTo>
                      <a:pt x="128" y="106"/>
                    </a:lnTo>
                    <a:lnTo>
                      <a:pt x="126" y="103"/>
                    </a:lnTo>
                    <a:lnTo>
                      <a:pt x="128" y="100"/>
                    </a:lnTo>
                    <a:lnTo>
                      <a:pt x="132" y="99"/>
                    </a:lnTo>
                    <a:lnTo>
                      <a:pt x="135" y="103"/>
                    </a:lnTo>
                    <a:lnTo>
                      <a:pt x="136" y="103"/>
                    </a:lnTo>
                    <a:lnTo>
                      <a:pt x="138" y="105"/>
                    </a:lnTo>
                    <a:lnTo>
                      <a:pt x="135" y="109"/>
                    </a:lnTo>
                    <a:lnTo>
                      <a:pt x="136" y="110"/>
                    </a:lnTo>
                    <a:lnTo>
                      <a:pt x="139" y="114"/>
                    </a:lnTo>
                    <a:lnTo>
                      <a:pt x="143" y="120"/>
                    </a:lnTo>
                    <a:lnTo>
                      <a:pt x="146" y="120"/>
                    </a:lnTo>
                    <a:lnTo>
                      <a:pt x="148" y="120"/>
                    </a:lnTo>
                    <a:lnTo>
                      <a:pt x="150" y="119"/>
                    </a:lnTo>
                    <a:lnTo>
                      <a:pt x="154" y="119"/>
                    </a:lnTo>
                    <a:lnTo>
                      <a:pt x="157" y="120"/>
                    </a:lnTo>
                    <a:lnTo>
                      <a:pt x="159" y="122"/>
                    </a:lnTo>
                    <a:lnTo>
                      <a:pt x="162" y="127"/>
                    </a:lnTo>
                    <a:lnTo>
                      <a:pt x="165" y="129"/>
                    </a:lnTo>
                    <a:lnTo>
                      <a:pt x="167" y="129"/>
                    </a:lnTo>
                    <a:lnTo>
                      <a:pt x="172" y="131"/>
                    </a:lnTo>
                    <a:lnTo>
                      <a:pt x="179" y="131"/>
                    </a:lnTo>
                    <a:lnTo>
                      <a:pt x="184" y="135"/>
                    </a:lnTo>
                    <a:lnTo>
                      <a:pt x="194" y="151"/>
                    </a:lnTo>
                    <a:lnTo>
                      <a:pt x="200" y="157"/>
                    </a:lnTo>
                    <a:lnTo>
                      <a:pt x="200" y="160"/>
                    </a:lnTo>
                    <a:lnTo>
                      <a:pt x="203" y="161"/>
                    </a:lnTo>
                    <a:lnTo>
                      <a:pt x="204" y="161"/>
                    </a:lnTo>
                    <a:lnTo>
                      <a:pt x="206" y="163"/>
                    </a:lnTo>
                    <a:lnTo>
                      <a:pt x="210" y="162"/>
                    </a:lnTo>
                    <a:lnTo>
                      <a:pt x="212" y="163"/>
                    </a:lnTo>
                    <a:lnTo>
                      <a:pt x="215" y="170"/>
                    </a:lnTo>
                    <a:lnTo>
                      <a:pt x="217" y="172"/>
                    </a:lnTo>
                    <a:lnTo>
                      <a:pt x="221" y="173"/>
                    </a:lnTo>
                    <a:lnTo>
                      <a:pt x="222" y="175"/>
                    </a:lnTo>
                    <a:lnTo>
                      <a:pt x="224" y="178"/>
                    </a:lnTo>
                    <a:lnTo>
                      <a:pt x="227" y="185"/>
                    </a:lnTo>
                    <a:lnTo>
                      <a:pt x="227" y="187"/>
                    </a:lnTo>
                    <a:lnTo>
                      <a:pt x="231" y="189"/>
                    </a:lnTo>
                    <a:lnTo>
                      <a:pt x="237" y="189"/>
                    </a:lnTo>
                    <a:lnTo>
                      <a:pt x="238" y="190"/>
                    </a:lnTo>
                    <a:lnTo>
                      <a:pt x="239" y="196"/>
                    </a:lnTo>
                    <a:lnTo>
                      <a:pt x="242" y="198"/>
                    </a:lnTo>
                    <a:lnTo>
                      <a:pt x="245" y="199"/>
                    </a:lnTo>
                    <a:lnTo>
                      <a:pt x="249" y="198"/>
                    </a:lnTo>
                    <a:lnTo>
                      <a:pt x="253" y="202"/>
                    </a:lnTo>
                    <a:lnTo>
                      <a:pt x="241" y="209"/>
                    </a:lnTo>
                    <a:lnTo>
                      <a:pt x="231" y="214"/>
                    </a:lnTo>
                    <a:lnTo>
                      <a:pt x="227" y="219"/>
                    </a:lnTo>
                    <a:lnTo>
                      <a:pt x="222" y="214"/>
                    </a:lnTo>
                    <a:lnTo>
                      <a:pt x="219" y="209"/>
                    </a:lnTo>
                    <a:lnTo>
                      <a:pt x="214" y="205"/>
                    </a:lnTo>
                    <a:lnTo>
                      <a:pt x="209" y="202"/>
                    </a:lnTo>
                    <a:lnTo>
                      <a:pt x="206" y="198"/>
                    </a:lnTo>
                    <a:lnTo>
                      <a:pt x="204" y="192"/>
                    </a:lnTo>
                    <a:lnTo>
                      <a:pt x="199" y="187"/>
                    </a:lnTo>
                    <a:lnTo>
                      <a:pt x="191" y="180"/>
                    </a:lnTo>
                    <a:lnTo>
                      <a:pt x="179" y="172"/>
                    </a:lnTo>
                    <a:lnTo>
                      <a:pt x="176" y="165"/>
                    </a:lnTo>
                    <a:lnTo>
                      <a:pt x="171" y="158"/>
                    </a:lnTo>
                    <a:lnTo>
                      <a:pt x="162" y="151"/>
                    </a:lnTo>
                    <a:lnTo>
                      <a:pt x="156" y="151"/>
                    </a:lnTo>
                    <a:lnTo>
                      <a:pt x="149" y="147"/>
                    </a:lnTo>
                    <a:lnTo>
                      <a:pt x="140" y="139"/>
                    </a:lnTo>
                    <a:lnTo>
                      <a:pt x="132" y="139"/>
                    </a:lnTo>
                    <a:lnTo>
                      <a:pt x="131" y="141"/>
                    </a:lnTo>
                    <a:lnTo>
                      <a:pt x="128" y="141"/>
                    </a:lnTo>
                    <a:lnTo>
                      <a:pt x="126" y="139"/>
                    </a:lnTo>
                    <a:lnTo>
                      <a:pt x="119" y="138"/>
                    </a:lnTo>
                    <a:lnTo>
                      <a:pt x="116" y="136"/>
                    </a:lnTo>
                    <a:lnTo>
                      <a:pt x="113" y="136"/>
                    </a:lnTo>
                    <a:lnTo>
                      <a:pt x="110" y="139"/>
                    </a:lnTo>
                    <a:lnTo>
                      <a:pt x="106" y="139"/>
                    </a:lnTo>
                    <a:lnTo>
                      <a:pt x="104" y="141"/>
                    </a:lnTo>
                    <a:lnTo>
                      <a:pt x="103" y="141"/>
                    </a:lnTo>
                    <a:lnTo>
                      <a:pt x="101" y="136"/>
                    </a:lnTo>
                    <a:lnTo>
                      <a:pt x="97" y="132"/>
                    </a:lnTo>
                    <a:lnTo>
                      <a:pt x="94" y="132"/>
                    </a:lnTo>
                    <a:lnTo>
                      <a:pt x="94" y="136"/>
                    </a:lnTo>
                    <a:lnTo>
                      <a:pt x="90" y="138"/>
                    </a:lnTo>
                    <a:lnTo>
                      <a:pt x="80" y="141"/>
                    </a:lnTo>
                    <a:lnTo>
                      <a:pt x="78" y="141"/>
                    </a:lnTo>
                    <a:lnTo>
                      <a:pt x="73" y="141"/>
                    </a:lnTo>
                    <a:lnTo>
                      <a:pt x="65" y="134"/>
                    </a:lnTo>
                    <a:lnTo>
                      <a:pt x="65" y="131"/>
                    </a:lnTo>
                    <a:lnTo>
                      <a:pt x="63" y="131"/>
                    </a:lnTo>
                    <a:lnTo>
                      <a:pt x="59" y="131"/>
                    </a:lnTo>
                    <a:lnTo>
                      <a:pt x="54" y="127"/>
                    </a:lnTo>
                    <a:lnTo>
                      <a:pt x="52" y="124"/>
                    </a:lnTo>
                    <a:lnTo>
                      <a:pt x="38" y="154"/>
                    </a:lnTo>
                    <a:lnTo>
                      <a:pt x="33" y="147"/>
                    </a:lnTo>
                    <a:lnTo>
                      <a:pt x="32" y="145"/>
                    </a:lnTo>
                    <a:lnTo>
                      <a:pt x="28" y="141"/>
                    </a:lnTo>
                    <a:lnTo>
                      <a:pt x="23" y="141"/>
                    </a:lnTo>
                    <a:lnTo>
                      <a:pt x="22" y="144"/>
                    </a:lnTo>
                    <a:lnTo>
                      <a:pt x="20" y="146"/>
                    </a:lnTo>
                    <a:lnTo>
                      <a:pt x="17" y="147"/>
                    </a:lnTo>
                    <a:lnTo>
                      <a:pt x="15" y="147"/>
                    </a:lnTo>
                    <a:lnTo>
                      <a:pt x="11" y="146"/>
                    </a:lnTo>
                    <a:lnTo>
                      <a:pt x="3" y="146"/>
                    </a:lnTo>
                    <a:lnTo>
                      <a:pt x="1" y="145"/>
                    </a:lnTo>
                    <a:lnTo>
                      <a:pt x="0" y="135"/>
                    </a:lnTo>
                    <a:lnTo>
                      <a:pt x="0" y="120"/>
                    </a:lnTo>
                    <a:lnTo>
                      <a:pt x="1" y="110"/>
                    </a:lnTo>
                    <a:lnTo>
                      <a:pt x="6" y="99"/>
                    </a:lnTo>
                    <a:lnTo>
                      <a:pt x="13" y="76"/>
                    </a:lnTo>
                    <a:lnTo>
                      <a:pt x="15" y="62"/>
                    </a:lnTo>
                    <a:lnTo>
                      <a:pt x="15" y="58"/>
                    </a:lnTo>
                    <a:lnTo>
                      <a:pt x="18" y="42"/>
                    </a:lnTo>
                    <a:lnTo>
                      <a:pt x="22" y="37"/>
                    </a:lnTo>
                    <a:lnTo>
                      <a:pt x="30" y="36"/>
                    </a:lnTo>
                    <a:lnTo>
                      <a:pt x="36" y="32"/>
                    </a:lnTo>
                    <a:lnTo>
                      <a:pt x="40" y="28"/>
                    </a:lnTo>
                    <a:lnTo>
                      <a:pt x="54" y="21"/>
                    </a:lnTo>
                    <a:lnTo>
                      <a:pt x="60" y="20"/>
                    </a:lnTo>
                    <a:lnTo>
                      <a:pt x="69" y="15"/>
                    </a:lnTo>
                    <a:close/>
                  </a:path>
                </a:pathLst>
              </a:custGeom>
              <a:solidFill>
                <a:srgbClr val="D99694"/>
              </a:solidFill>
              <a:ln w="7938">
                <a:solidFill>
                  <a:srgbClr val="1C1329"/>
                </a:solidFill>
                <a:miter lim="800000"/>
                <a:headEnd/>
                <a:tailEnd/>
              </a:ln>
            </p:spPr>
            <p:txBody>
              <a:bodyPr/>
              <a:lstStyle/>
              <a:p>
                <a:endParaRPr lang="en-US"/>
              </a:p>
            </p:txBody>
          </p:sp>
          <p:sp>
            <p:nvSpPr>
              <p:cNvPr id="298" name="Freeform 84"/>
              <p:cNvSpPr>
                <a:spLocks/>
              </p:cNvSpPr>
              <p:nvPr/>
            </p:nvSpPr>
            <p:spPr bwMode="auto">
              <a:xfrm>
                <a:off x="3013" y="2005"/>
                <a:ext cx="62" cy="75"/>
              </a:xfrm>
              <a:custGeom>
                <a:avLst/>
                <a:gdLst>
                  <a:gd name="T0" fmla="*/ 1938 w 58"/>
                  <a:gd name="T1" fmla="*/ 436 h 71"/>
                  <a:gd name="T2" fmla="*/ 2708 w 58"/>
                  <a:gd name="T3" fmla="*/ 6 h 71"/>
                  <a:gd name="T4" fmla="*/ 3644 w 58"/>
                  <a:gd name="T5" fmla="*/ 0 h 71"/>
                  <a:gd name="T6" fmla="*/ 3644 w 58"/>
                  <a:gd name="T7" fmla="*/ 3 h 71"/>
                  <a:gd name="T8" fmla="*/ 4039 w 58"/>
                  <a:gd name="T9" fmla="*/ 6 h 71"/>
                  <a:gd name="T10" fmla="*/ 4041 w 58"/>
                  <a:gd name="T11" fmla="*/ 413 h 71"/>
                  <a:gd name="T12" fmla="*/ 4422 w 58"/>
                  <a:gd name="T13" fmla="*/ 487 h 71"/>
                  <a:gd name="T14" fmla="*/ 4616 w 58"/>
                  <a:gd name="T15" fmla="*/ 543 h 71"/>
                  <a:gd name="T16" fmla="*/ 4727 w 58"/>
                  <a:gd name="T17" fmla="*/ 938 h 71"/>
                  <a:gd name="T18" fmla="*/ 4618 w 58"/>
                  <a:gd name="T19" fmla="*/ 1114 h 71"/>
                  <a:gd name="T20" fmla="*/ 4318 w 58"/>
                  <a:gd name="T21" fmla="*/ 1234 h 71"/>
                  <a:gd name="T22" fmla="*/ 3644 w 58"/>
                  <a:gd name="T23" fmla="*/ 1234 h 71"/>
                  <a:gd name="T24" fmla="*/ 3409 w 58"/>
                  <a:gd name="T25" fmla="*/ 1387 h 71"/>
                  <a:gd name="T26" fmla="*/ 3189 w 58"/>
                  <a:gd name="T27" fmla="*/ 1387 h 71"/>
                  <a:gd name="T28" fmla="*/ 3093 w 58"/>
                  <a:gd name="T29" fmla="*/ 1465 h 71"/>
                  <a:gd name="T30" fmla="*/ 2533 w 58"/>
                  <a:gd name="T31" fmla="*/ 1624 h 71"/>
                  <a:gd name="T32" fmla="*/ 2533 w 58"/>
                  <a:gd name="T33" fmla="*/ 1744 h 71"/>
                  <a:gd name="T34" fmla="*/ 2370 w 58"/>
                  <a:gd name="T35" fmla="*/ 1744 h 71"/>
                  <a:gd name="T36" fmla="*/ 2215 w 58"/>
                  <a:gd name="T37" fmla="*/ 1744 h 71"/>
                  <a:gd name="T38" fmla="*/ 2072 w 58"/>
                  <a:gd name="T39" fmla="*/ 1744 h 71"/>
                  <a:gd name="T40" fmla="*/ 2215 w 58"/>
                  <a:gd name="T41" fmla="*/ 1842 h 71"/>
                  <a:gd name="T42" fmla="*/ 2370 w 58"/>
                  <a:gd name="T43" fmla="*/ 1842 h 71"/>
                  <a:gd name="T44" fmla="*/ 2533 w 58"/>
                  <a:gd name="T45" fmla="*/ 1842 h 71"/>
                  <a:gd name="T46" fmla="*/ 2708 w 58"/>
                  <a:gd name="T47" fmla="*/ 1812 h 71"/>
                  <a:gd name="T48" fmla="*/ 3189 w 58"/>
                  <a:gd name="T49" fmla="*/ 1744 h 71"/>
                  <a:gd name="T50" fmla="*/ 3536 w 58"/>
                  <a:gd name="T51" fmla="*/ 1744 h 71"/>
                  <a:gd name="T52" fmla="*/ 4039 w 58"/>
                  <a:gd name="T53" fmla="*/ 1744 h 71"/>
                  <a:gd name="T54" fmla="*/ 4041 w 58"/>
                  <a:gd name="T55" fmla="*/ 1812 h 71"/>
                  <a:gd name="T56" fmla="*/ 4318 w 58"/>
                  <a:gd name="T57" fmla="*/ 1812 h 71"/>
                  <a:gd name="T58" fmla="*/ 4422 w 58"/>
                  <a:gd name="T59" fmla="*/ 1842 h 71"/>
                  <a:gd name="T60" fmla="*/ 4318 w 58"/>
                  <a:gd name="T61" fmla="*/ 1927 h 71"/>
                  <a:gd name="T62" fmla="*/ 4039 w 58"/>
                  <a:gd name="T63" fmla="*/ 2151 h 71"/>
                  <a:gd name="T64" fmla="*/ 3409 w 58"/>
                  <a:gd name="T65" fmla="*/ 2517 h 71"/>
                  <a:gd name="T66" fmla="*/ 3306 w 58"/>
                  <a:gd name="T67" fmla="*/ 2659 h 71"/>
                  <a:gd name="T68" fmla="*/ 2708 w 58"/>
                  <a:gd name="T69" fmla="*/ 2423 h 71"/>
                  <a:gd name="T70" fmla="*/ 2370 w 58"/>
                  <a:gd name="T71" fmla="*/ 2383 h 71"/>
                  <a:gd name="T72" fmla="*/ 1938 w 58"/>
                  <a:gd name="T73" fmla="*/ 2517 h 71"/>
                  <a:gd name="T74" fmla="*/ 1815 w 58"/>
                  <a:gd name="T75" fmla="*/ 2569 h 71"/>
                  <a:gd name="T76" fmla="*/ 1588 w 58"/>
                  <a:gd name="T77" fmla="*/ 2659 h 71"/>
                  <a:gd name="T78" fmla="*/ 1300 w 58"/>
                  <a:gd name="T79" fmla="*/ 2569 h 71"/>
                  <a:gd name="T80" fmla="*/ 996 w 58"/>
                  <a:gd name="T81" fmla="*/ 2569 h 71"/>
                  <a:gd name="T82" fmla="*/ 5 w 58"/>
                  <a:gd name="T83" fmla="*/ 2569 h 71"/>
                  <a:gd name="T84" fmla="*/ 0 w 58"/>
                  <a:gd name="T85" fmla="*/ 2423 h 71"/>
                  <a:gd name="T86" fmla="*/ 0 w 58"/>
                  <a:gd name="T87" fmla="*/ 2151 h 71"/>
                  <a:gd name="T88" fmla="*/ 0 w 58"/>
                  <a:gd name="T89" fmla="*/ 2136 h 71"/>
                  <a:gd name="T90" fmla="*/ 5 w 58"/>
                  <a:gd name="T91" fmla="*/ 1842 h 71"/>
                  <a:gd name="T92" fmla="*/ 816 w 58"/>
                  <a:gd name="T93" fmla="*/ 1537 h 71"/>
                  <a:gd name="T94" fmla="*/ 932 w 58"/>
                  <a:gd name="T95" fmla="*/ 1234 h 71"/>
                  <a:gd name="T96" fmla="*/ 1138 w 58"/>
                  <a:gd name="T97" fmla="*/ 714 h 71"/>
                  <a:gd name="T98" fmla="*/ 1588 w 58"/>
                  <a:gd name="T99" fmla="*/ 574 h 71"/>
                  <a:gd name="T100" fmla="*/ 1938 w 58"/>
                  <a:gd name="T101" fmla="*/ 436 h 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8"/>
                  <a:gd name="T154" fmla="*/ 0 h 71"/>
                  <a:gd name="T155" fmla="*/ 58 w 58"/>
                  <a:gd name="T156" fmla="*/ 71 h 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8" h="71">
                    <a:moveTo>
                      <a:pt x="23" y="11"/>
                    </a:moveTo>
                    <a:lnTo>
                      <a:pt x="34" y="6"/>
                    </a:lnTo>
                    <a:lnTo>
                      <a:pt x="45" y="0"/>
                    </a:lnTo>
                    <a:lnTo>
                      <a:pt x="45" y="3"/>
                    </a:lnTo>
                    <a:lnTo>
                      <a:pt x="49" y="6"/>
                    </a:lnTo>
                    <a:lnTo>
                      <a:pt x="50" y="10"/>
                    </a:lnTo>
                    <a:lnTo>
                      <a:pt x="54" y="13"/>
                    </a:lnTo>
                    <a:lnTo>
                      <a:pt x="56" y="15"/>
                    </a:lnTo>
                    <a:lnTo>
                      <a:pt x="58" y="25"/>
                    </a:lnTo>
                    <a:lnTo>
                      <a:pt x="57" y="30"/>
                    </a:lnTo>
                    <a:lnTo>
                      <a:pt x="52" y="33"/>
                    </a:lnTo>
                    <a:lnTo>
                      <a:pt x="45" y="33"/>
                    </a:lnTo>
                    <a:lnTo>
                      <a:pt x="42" y="38"/>
                    </a:lnTo>
                    <a:lnTo>
                      <a:pt x="39" y="38"/>
                    </a:lnTo>
                    <a:lnTo>
                      <a:pt x="37" y="40"/>
                    </a:lnTo>
                    <a:lnTo>
                      <a:pt x="32" y="43"/>
                    </a:lnTo>
                    <a:lnTo>
                      <a:pt x="32" y="47"/>
                    </a:lnTo>
                    <a:lnTo>
                      <a:pt x="30" y="47"/>
                    </a:lnTo>
                    <a:lnTo>
                      <a:pt x="27" y="47"/>
                    </a:lnTo>
                    <a:lnTo>
                      <a:pt x="25" y="47"/>
                    </a:lnTo>
                    <a:lnTo>
                      <a:pt x="27" y="50"/>
                    </a:lnTo>
                    <a:lnTo>
                      <a:pt x="30" y="50"/>
                    </a:lnTo>
                    <a:lnTo>
                      <a:pt x="32" y="50"/>
                    </a:lnTo>
                    <a:lnTo>
                      <a:pt x="34" y="48"/>
                    </a:lnTo>
                    <a:lnTo>
                      <a:pt x="39" y="47"/>
                    </a:lnTo>
                    <a:lnTo>
                      <a:pt x="44" y="47"/>
                    </a:lnTo>
                    <a:lnTo>
                      <a:pt x="49" y="47"/>
                    </a:lnTo>
                    <a:lnTo>
                      <a:pt x="50" y="48"/>
                    </a:lnTo>
                    <a:lnTo>
                      <a:pt x="52" y="48"/>
                    </a:lnTo>
                    <a:lnTo>
                      <a:pt x="54" y="50"/>
                    </a:lnTo>
                    <a:lnTo>
                      <a:pt x="52" y="52"/>
                    </a:lnTo>
                    <a:lnTo>
                      <a:pt x="49" y="58"/>
                    </a:lnTo>
                    <a:lnTo>
                      <a:pt x="42" y="67"/>
                    </a:lnTo>
                    <a:lnTo>
                      <a:pt x="40" y="71"/>
                    </a:lnTo>
                    <a:lnTo>
                      <a:pt x="34" y="65"/>
                    </a:lnTo>
                    <a:lnTo>
                      <a:pt x="30" y="63"/>
                    </a:lnTo>
                    <a:lnTo>
                      <a:pt x="23" y="67"/>
                    </a:lnTo>
                    <a:lnTo>
                      <a:pt x="22" y="70"/>
                    </a:lnTo>
                    <a:lnTo>
                      <a:pt x="20" y="71"/>
                    </a:lnTo>
                    <a:lnTo>
                      <a:pt x="17" y="70"/>
                    </a:lnTo>
                    <a:lnTo>
                      <a:pt x="13" y="70"/>
                    </a:lnTo>
                    <a:lnTo>
                      <a:pt x="5" y="70"/>
                    </a:lnTo>
                    <a:lnTo>
                      <a:pt x="0" y="65"/>
                    </a:lnTo>
                    <a:lnTo>
                      <a:pt x="0" y="58"/>
                    </a:lnTo>
                    <a:lnTo>
                      <a:pt x="0" y="57"/>
                    </a:lnTo>
                    <a:lnTo>
                      <a:pt x="5" y="50"/>
                    </a:lnTo>
                    <a:lnTo>
                      <a:pt x="10" y="41"/>
                    </a:lnTo>
                    <a:lnTo>
                      <a:pt x="12" y="33"/>
                    </a:lnTo>
                    <a:lnTo>
                      <a:pt x="15" y="20"/>
                    </a:lnTo>
                    <a:lnTo>
                      <a:pt x="20" y="16"/>
                    </a:lnTo>
                    <a:lnTo>
                      <a:pt x="23" y="11"/>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9" name="Freeform 85"/>
              <p:cNvSpPr>
                <a:spLocks/>
              </p:cNvSpPr>
              <p:nvPr/>
            </p:nvSpPr>
            <p:spPr bwMode="auto">
              <a:xfrm>
                <a:off x="3013" y="2005"/>
                <a:ext cx="62" cy="75"/>
              </a:xfrm>
              <a:custGeom>
                <a:avLst/>
                <a:gdLst>
                  <a:gd name="T0" fmla="*/ 1938 w 58"/>
                  <a:gd name="T1" fmla="*/ 436 h 71"/>
                  <a:gd name="T2" fmla="*/ 2708 w 58"/>
                  <a:gd name="T3" fmla="*/ 6 h 71"/>
                  <a:gd name="T4" fmla="*/ 3644 w 58"/>
                  <a:gd name="T5" fmla="*/ 0 h 71"/>
                  <a:gd name="T6" fmla="*/ 3644 w 58"/>
                  <a:gd name="T7" fmla="*/ 3 h 71"/>
                  <a:gd name="T8" fmla="*/ 4039 w 58"/>
                  <a:gd name="T9" fmla="*/ 6 h 71"/>
                  <a:gd name="T10" fmla="*/ 4041 w 58"/>
                  <a:gd name="T11" fmla="*/ 413 h 71"/>
                  <a:gd name="T12" fmla="*/ 4422 w 58"/>
                  <a:gd name="T13" fmla="*/ 487 h 71"/>
                  <a:gd name="T14" fmla="*/ 4616 w 58"/>
                  <a:gd name="T15" fmla="*/ 543 h 71"/>
                  <a:gd name="T16" fmla="*/ 4727 w 58"/>
                  <a:gd name="T17" fmla="*/ 938 h 71"/>
                  <a:gd name="T18" fmla="*/ 4618 w 58"/>
                  <a:gd name="T19" fmla="*/ 1114 h 71"/>
                  <a:gd name="T20" fmla="*/ 4318 w 58"/>
                  <a:gd name="T21" fmla="*/ 1234 h 71"/>
                  <a:gd name="T22" fmla="*/ 3644 w 58"/>
                  <a:gd name="T23" fmla="*/ 1234 h 71"/>
                  <a:gd name="T24" fmla="*/ 3409 w 58"/>
                  <a:gd name="T25" fmla="*/ 1387 h 71"/>
                  <a:gd name="T26" fmla="*/ 3189 w 58"/>
                  <a:gd name="T27" fmla="*/ 1387 h 71"/>
                  <a:gd name="T28" fmla="*/ 3093 w 58"/>
                  <a:gd name="T29" fmla="*/ 1465 h 71"/>
                  <a:gd name="T30" fmla="*/ 2533 w 58"/>
                  <a:gd name="T31" fmla="*/ 1624 h 71"/>
                  <a:gd name="T32" fmla="*/ 2533 w 58"/>
                  <a:gd name="T33" fmla="*/ 1744 h 71"/>
                  <a:gd name="T34" fmla="*/ 2370 w 58"/>
                  <a:gd name="T35" fmla="*/ 1744 h 71"/>
                  <a:gd name="T36" fmla="*/ 2215 w 58"/>
                  <a:gd name="T37" fmla="*/ 1744 h 71"/>
                  <a:gd name="T38" fmla="*/ 2072 w 58"/>
                  <a:gd name="T39" fmla="*/ 1744 h 71"/>
                  <a:gd name="T40" fmla="*/ 2215 w 58"/>
                  <a:gd name="T41" fmla="*/ 1842 h 71"/>
                  <a:gd name="T42" fmla="*/ 2370 w 58"/>
                  <a:gd name="T43" fmla="*/ 1842 h 71"/>
                  <a:gd name="T44" fmla="*/ 2533 w 58"/>
                  <a:gd name="T45" fmla="*/ 1842 h 71"/>
                  <a:gd name="T46" fmla="*/ 2708 w 58"/>
                  <a:gd name="T47" fmla="*/ 1812 h 71"/>
                  <a:gd name="T48" fmla="*/ 3189 w 58"/>
                  <a:gd name="T49" fmla="*/ 1744 h 71"/>
                  <a:gd name="T50" fmla="*/ 3536 w 58"/>
                  <a:gd name="T51" fmla="*/ 1744 h 71"/>
                  <a:gd name="T52" fmla="*/ 4039 w 58"/>
                  <a:gd name="T53" fmla="*/ 1744 h 71"/>
                  <a:gd name="T54" fmla="*/ 4041 w 58"/>
                  <a:gd name="T55" fmla="*/ 1812 h 71"/>
                  <a:gd name="T56" fmla="*/ 4318 w 58"/>
                  <a:gd name="T57" fmla="*/ 1812 h 71"/>
                  <a:gd name="T58" fmla="*/ 4422 w 58"/>
                  <a:gd name="T59" fmla="*/ 1842 h 71"/>
                  <a:gd name="T60" fmla="*/ 4318 w 58"/>
                  <a:gd name="T61" fmla="*/ 1927 h 71"/>
                  <a:gd name="T62" fmla="*/ 4039 w 58"/>
                  <a:gd name="T63" fmla="*/ 2151 h 71"/>
                  <a:gd name="T64" fmla="*/ 3409 w 58"/>
                  <a:gd name="T65" fmla="*/ 2517 h 71"/>
                  <a:gd name="T66" fmla="*/ 3306 w 58"/>
                  <a:gd name="T67" fmla="*/ 2659 h 71"/>
                  <a:gd name="T68" fmla="*/ 2708 w 58"/>
                  <a:gd name="T69" fmla="*/ 2423 h 71"/>
                  <a:gd name="T70" fmla="*/ 2370 w 58"/>
                  <a:gd name="T71" fmla="*/ 2383 h 71"/>
                  <a:gd name="T72" fmla="*/ 1938 w 58"/>
                  <a:gd name="T73" fmla="*/ 2517 h 71"/>
                  <a:gd name="T74" fmla="*/ 1815 w 58"/>
                  <a:gd name="T75" fmla="*/ 2569 h 71"/>
                  <a:gd name="T76" fmla="*/ 1588 w 58"/>
                  <a:gd name="T77" fmla="*/ 2659 h 71"/>
                  <a:gd name="T78" fmla="*/ 1300 w 58"/>
                  <a:gd name="T79" fmla="*/ 2569 h 71"/>
                  <a:gd name="T80" fmla="*/ 996 w 58"/>
                  <a:gd name="T81" fmla="*/ 2569 h 71"/>
                  <a:gd name="T82" fmla="*/ 5 w 58"/>
                  <a:gd name="T83" fmla="*/ 2569 h 71"/>
                  <a:gd name="T84" fmla="*/ 0 w 58"/>
                  <a:gd name="T85" fmla="*/ 2423 h 71"/>
                  <a:gd name="T86" fmla="*/ 0 w 58"/>
                  <a:gd name="T87" fmla="*/ 2151 h 71"/>
                  <a:gd name="T88" fmla="*/ 0 w 58"/>
                  <a:gd name="T89" fmla="*/ 2136 h 71"/>
                  <a:gd name="T90" fmla="*/ 5 w 58"/>
                  <a:gd name="T91" fmla="*/ 1842 h 71"/>
                  <a:gd name="T92" fmla="*/ 816 w 58"/>
                  <a:gd name="T93" fmla="*/ 1537 h 71"/>
                  <a:gd name="T94" fmla="*/ 932 w 58"/>
                  <a:gd name="T95" fmla="*/ 1234 h 71"/>
                  <a:gd name="T96" fmla="*/ 1138 w 58"/>
                  <a:gd name="T97" fmla="*/ 714 h 71"/>
                  <a:gd name="T98" fmla="*/ 1588 w 58"/>
                  <a:gd name="T99" fmla="*/ 574 h 71"/>
                  <a:gd name="T100" fmla="*/ 1938 w 58"/>
                  <a:gd name="T101" fmla="*/ 436 h 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8"/>
                  <a:gd name="T154" fmla="*/ 0 h 71"/>
                  <a:gd name="T155" fmla="*/ 58 w 58"/>
                  <a:gd name="T156" fmla="*/ 71 h 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8" h="71">
                    <a:moveTo>
                      <a:pt x="23" y="11"/>
                    </a:moveTo>
                    <a:lnTo>
                      <a:pt x="34" y="6"/>
                    </a:lnTo>
                    <a:lnTo>
                      <a:pt x="45" y="0"/>
                    </a:lnTo>
                    <a:lnTo>
                      <a:pt x="45" y="3"/>
                    </a:lnTo>
                    <a:lnTo>
                      <a:pt x="49" y="6"/>
                    </a:lnTo>
                    <a:lnTo>
                      <a:pt x="50" y="10"/>
                    </a:lnTo>
                    <a:lnTo>
                      <a:pt x="54" y="13"/>
                    </a:lnTo>
                    <a:lnTo>
                      <a:pt x="56" y="15"/>
                    </a:lnTo>
                    <a:lnTo>
                      <a:pt x="58" y="25"/>
                    </a:lnTo>
                    <a:lnTo>
                      <a:pt x="57" y="30"/>
                    </a:lnTo>
                    <a:lnTo>
                      <a:pt x="52" y="33"/>
                    </a:lnTo>
                    <a:lnTo>
                      <a:pt x="45" y="33"/>
                    </a:lnTo>
                    <a:lnTo>
                      <a:pt x="42" y="38"/>
                    </a:lnTo>
                    <a:lnTo>
                      <a:pt x="39" y="38"/>
                    </a:lnTo>
                    <a:lnTo>
                      <a:pt x="37" y="40"/>
                    </a:lnTo>
                    <a:lnTo>
                      <a:pt x="32" y="43"/>
                    </a:lnTo>
                    <a:lnTo>
                      <a:pt x="32" y="47"/>
                    </a:lnTo>
                    <a:lnTo>
                      <a:pt x="30" y="47"/>
                    </a:lnTo>
                    <a:lnTo>
                      <a:pt x="27" y="47"/>
                    </a:lnTo>
                    <a:lnTo>
                      <a:pt x="25" y="47"/>
                    </a:lnTo>
                    <a:lnTo>
                      <a:pt x="27" y="50"/>
                    </a:lnTo>
                    <a:lnTo>
                      <a:pt x="30" y="50"/>
                    </a:lnTo>
                    <a:lnTo>
                      <a:pt x="32" y="50"/>
                    </a:lnTo>
                    <a:lnTo>
                      <a:pt x="34" y="48"/>
                    </a:lnTo>
                    <a:lnTo>
                      <a:pt x="39" y="47"/>
                    </a:lnTo>
                    <a:lnTo>
                      <a:pt x="44" y="47"/>
                    </a:lnTo>
                    <a:lnTo>
                      <a:pt x="49" y="47"/>
                    </a:lnTo>
                    <a:lnTo>
                      <a:pt x="50" y="48"/>
                    </a:lnTo>
                    <a:lnTo>
                      <a:pt x="52" y="48"/>
                    </a:lnTo>
                    <a:lnTo>
                      <a:pt x="54" y="50"/>
                    </a:lnTo>
                    <a:lnTo>
                      <a:pt x="52" y="52"/>
                    </a:lnTo>
                    <a:lnTo>
                      <a:pt x="49" y="58"/>
                    </a:lnTo>
                    <a:lnTo>
                      <a:pt x="42" y="67"/>
                    </a:lnTo>
                    <a:lnTo>
                      <a:pt x="40" y="71"/>
                    </a:lnTo>
                    <a:lnTo>
                      <a:pt x="34" y="65"/>
                    </a:lnTo>
                    <a:lnTo>
                      <a:pt x="30" y="63"/>
                    </a:lnTo>
                    <a:lnTo>
                      <a:pt x="23" y="67"/>
                    </a:lnTo>
                    <a:lnTo>
                      <a:pt x="22" y="70"/>
                    </a:lnTo>
                    <a:lnTo>
                      <a:pt x="20" y="71"/>
                    </a:lnTo>
                    <a:lnTo>
                      <a:pt x="17" y="70"/>
                    </a:lnTo>
                    <a:lnTo>
                      <a:pt x="13" y="70"/>
                    </a:lnTo>
                    <a:lnTo>
                      <a:pt x="5" y="70"/>
                    </a:lnTo>
                    <a:lnTo>
                      <a:pt x="0" y="65"/>
                    </a:lnTo>
                    <a:lnTo>
                      <a:pt x="0" y="58"/>
                    </a:lnTo>
                    <a:lnTo>
                      <a:pt x="0" y="57"/>
                    </a:lnTo>
                    <a:lnTo>
                      <a:pt x="5" y="50"/>
                    </a:lnTo>
                    <a:lnTo>
                      <a:pt x="10" y="41"/>
                    </a:lnTo>
                    <a:lnTo>
                      <a:pt x="12" y="33"/>
                    </a:lnTo>
                    <a:lnTo>
                      <a:pt x="15" y="20"/>
                    </a:lnTo>
                    <a:lnTo>
                      <a:pt x="20" y="16"/>
                    </a:lnTo>
                    <a:lnTo>
                      <a:pt x="23" y="11"/>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0" name="Freeform 86"/>
              <p:cNvSpPr>
                <a:spLocks/>
              </p:cNvSpPr>
              <p:nvPr/>
            </p:nvSpPr>
            <p:spPr bwMode="auto">
              <a:xfrm>
                <a:off x="2648" y="1922"/>
                <a:ext cx="621" cy="457"/>
              </a:xfrm>
              <a:custGeom>
                <a:avLst/>
                <a:gdLst>
                  <a:gd name="T0" fmla="*/ 9735 w 580"/>
                  <a:gd name="T1" fmla="*/ 10201 h 435"/>
                  <a:gd name="T2" fmla="*/ 9788 w 580"/>
                  <a:gd name="T3" fmla="*/ 9456 h 435"/>
                  <a:gd name="T4" fmla="*/ 7407 w 580"/>
                  <a:gd name="T5" fmla="*/ 9231 h 435"/>
                  <a:gd name="T6" fmla="*/ 6231 w 580"/>
                  <a:gd name="T7" fmla="*/ 8295 h 435"/>
                  <a:gd name="T8" fmla="*/ 4005 w 580"/>
                  <a:gd name="T9" fmla="*/ 7763 h 435"/>
                  <a:gd name="T10" fmla="*/ 2860 w 580"/>
                  <a:gd name="T11" fmla="*/ 7217 h 435"/>
                  <a:gd name="T12" fmla="*/ 1100 w 580"/>
                  <a:gd name="T13" fmla="*/ 7129 h 435"/>
                  <a:gd name="T14" fmla="*/ 0 w 580"/>
                  <a:gd name="T15" fmla="*/ 6874 h 435"/>
                  <a:gd name="T16" fmla="*/ 6 w 580"/>
                  <a:gd name="T17" fmla="*/ 6372 h 435"/>
                  <a:gd name="T18" fmla="*/ 3418 w 580"/>
                  <a:gd name="T19" fmla="*/ 6282 h 435"/>
                  <a:gd name="T20" fmla="*/ 3919 w 580"/>
                  <a:gd name="T21" fmla="*/ 5110 h 435"/>
                  <a:gd name="T22" fmla="*/ 4196 w 580"/>
                  <a:gd name="T23" fmla="*/ 4510 h 435"/>
                  <a:gd name="T24" fmla="*/ 4613 w 580"/>
                  <a:gd name="T25" fmla="*/ 4221 h 435"/>
                  <a:gd name="T26" fmla="*/ 6322 w 580"/>
                  <a:gd name="T27" fmla="*/ 3906 h 435"/>
                  <a:gd name="T28" fmla="*/ 7143 w 580"/>
                  <a:gd name="T29" fmla="*/ 3081 h 435"/>
                  <a:gd name="T30" fmla="*/ 10470 w 580"/>
                  <a:gd name="T31" fmla="*/ 2015 h 435"/>
                  <a:gd name="T32" fmla="*/ 12014 w 580"/>
                  <a:gd name="T33" fmla="*/ 514 h 435"/>
                  <a:gd name="T34" fmla="*/ 13421 w 580"/>
                  <a:gd name="T35" fmla="*/ 567 h 435"/>
                  <a:gd name="T36" fmla="*/ 14016 w 580"/>
                  <a:gd name="T37" fmla="*/ 489 h 435"/>
                  <a:gd name="T38" fmla="*/ 14746 w 580"/>
                  <a:gd name="T39" fmla="*/ 514 h 435"/>
                  <a:gd name="T40" fmla="*/ 16813 w 580"/>
                  <a:gd name="T41" fmla="*/ 0 h 435"/>
                  <a:gd name="T42" fmla="*/ 17767 w 580"/>
                  <a:gd name="T43" fmla="*/ 6 h 435"/>
                  <a:gd name="T44" fmla="*/ 18589 w 580"/>
                  <a:gd name="T45" fmla="*/ 422 h 435"/>
                  <a:gd name="T46" fmla="*/ 20221 w 580"/>
                  <a:gd name="T47" fmla="*/ 365 h 435"/>
                  <a:gd name="T48" fmla="*/ 20748 w 580"/>
                  <a:gd name="T49" fmla="*/ 8 h 435"/>
                  <a:gd name="T50" fmla="*/ 21615 w 580"/>
                  <a:gd name="T51" fmla="*/ 402 h 435"/>
                  <a:gd name="T52" fmla="*/ 22215 w 580"/>
                  <a:gd name="T53" fmla="*/ 314 h 435"/>
                  <a:gd name="T54" fmla="*/ 23592 w 580"/>
                  <a:gd name="T55" fmla="*/ 383 h 435"/>
                  <a:gd name="T56" fmla="*/ 23949 w 580"/>
                  <a:gd name="T57" fmla="*/ 383 h 435"/>
                  <a:gd name="T58" fmla="*/ 26217 w 580"/>
                  <a:gd name="T59" fmla="*/ 691 h 435"/>
                  <a:gd name="T60" fmla="*/ 28005 w 580"/>
                  <a:gd name="T61" fmla="*/ 1031 h 435"/>
                  <a:gd name="T62" fmla="*/ 30083 w 580"/>
                  <a:gd name="T63" fmla="*/ 1608 h 435"/>
                  <a:gd name="T64" fmla="*/ 31092 w 580"/>
                  <a:gd name="T65" fmla="*/ 2021 h 435"/>
                  <a:gd name="T66" fmla="*/ 32210 w 580"/>
                  <a:gd name="T67" fmla="*/ 2343 h 435"/>
                  <a:gd name="T68" fmla="*/ 32074 w 580"/>
                  <a:gd name="T69" fmla="*/ 2933 h 435"/>
                  <a:gd name="T70" fmla="*/ 30686 w 580"/>
                  <a:gd name="T71" fmla="*/ 3539 h 435"/>
                  <a:gd name="T72" fmla="*/ 31227 w 580"/>
                  <a:gd name="T73" fmla="*/ 3889 h 435"/>
                  <a:gd name="T74" fmla="*/ 32615 w 580"/>
                  <a:gd name="T75" fmla="*/ 3906 h 435"/>
                  <a:gd name="T76" fmla="*/ 33518 w 580"/>
                  <a:gd name="T77" fmla="*/ 3718 h 435"/>
                  <a:gd name="T78" fmla="*/ 34374 w 580"/>
                  <a:gd name="T79" fmla="*/ 4047 h 435"/>
                  <a:gd name="T80" fmla="*/ 34932 w 580"/>
                  <a:gd name="T81" fmla="*/ 4658 h 435"/>
                  <a:gd name="T82" fmla="*/ 35797 w 580"/>
                  <a:gd name="T83" fmla="*/ 4956 h 435"/>
                  <a:gd name="T84" fmla="*/ 36925 w 580"/>
                  <a:gd name="T85" fmla="*/ 5302 h 435"/>
                  <a:gd name="T86" fmla="*/ 43691 w 580"/>
                  <a:gd name="T87" fmla="*/ 6224 h 435"/>
                  <a:gd name="T88" fmla="*/ 52610 w 580"/>
                  <a:gd name="T89" fmla="*/ 6833 h 435"/>
                  <a:gd name="T90" fmla="*/ 42151 w 580"/>
                  <a:gd name="T91" fmla="*/ 9772 h 435"/>
                  <a:gd name="T92" fmla="*/ 35887 w 580"/>
                  <a:gd name="T93" fmla="*/ 10070 h 435"/>
                  <a:gd name="T94" fmla="*/ 32210 w 580"/>
                  <a:gd name="T95" fmla="*/ 10678 h 435"/>
                  <a:gd name="T96" fmla="*/ 30686 w 580"/>
                  <a:gd name="T97" fmla="*/ 10914 h 435"/>
                  <a:gd name="T98" fmla="*/ 27168 w 580"/>
                  <a:gd name="T99" fmla="*/ 10579 h 435"/>
                  <a:gd name="T100" fmla="*/ 23699 w 580"/>
                  <a:gd name="T101" fmla="*/ 11111 h 435"/>
                  <a:gd name="T102" fmla="*/ 19275 w 580"/>
                  <a:gd name="T103" fmla="*/ 11192 h 435"/>
                  <a:gd name="T104" fmla="*/ 16216 w 580"/>
                  <a:gd name="T105" fmla="*/ 10785 h 435"/>
                  <a:gd name="T106" fmla="*/ 11702 w 580"/>
                  <a:gd name="T107" fmla="*/ 10256 h 43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80"/>
                  <a:gd name="T163" fmla="*/ 0 h 435"/>
                  <a:gd name="T164" fmla="*/ 580 w 580"/>
                  <a:gd name="T165" fmla="*/ 435 h 43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80" h="435">
                    <a:moveTo>
                      <a:pt x="128" y="395"/>
                    </a:moveTo>
                    <a:lnTo>
                      <a:pt x="118" y="396"/>
                    </a:lnTo>
                    <a:lnTo>
                      <a:pt x="107" y="394"/>
                    </a:lnTo>
                    <a:lnTo>
                      <a:pt x="109" y="378"/>
                    </a:lnTo>
                    <a:lnTo>
                      <a:pt x="110" y="371"/>
                    </a:lnTo>
                    <a:lnTo>
                      <a:pt x="109" y="365"/>
                    </a:lnTo>
                    <a:lnTo>
                      <a:pt x="104" y="362"/>
                    </a:lnTo>
                    <a:lnTo>
                      <a:pt x="89" y="359"/>
                    </a:lnTo>
                    <a:lnTo>
                      <a:pt x="81" y="355"/>
                    </a:lnTo>
                    <a:lnTo>
                      <a:pt x="78" y="349"/>
                    </a:lnTo>
                    <a:lnTo>
                      <a:pt x="71" y="330"/>
                    </a:lnTo>
                    <a:lnTo>
                      <a:pt x="68" y="319"/>
                    </a:lnTo>
                    <a:lnTo>
                      <a:pt x="64" y="314"/>
                    </a:lnTo>
                    <a:lnTo>
                      <a:pt x="48" y="304"/>
                    </a:lnTo>
                    <a:lnTo>
                      <a:pt x="44" y="299"/>
                    </a:lnTo>
                    <a:lnTo>
                      <a:pt x="39" y="292"/>
                    </a:lnTo>
                    <a:lnTo>
                      <a:pt x="37" y="286"/>
                    </a:lnTo>
                    <a:lnTo>
                      <a:pt x="32" y="278"/>
                    </a:lnTo>
                    <a:lnTo>
                      <a:pt x="26" y="275"/>
                    </a:lnTo>
                    <a:lnTo>
                      <a:pt x="18" y="273"/>
                    </a:lnTo>
                    <a:lnTo>
                      <a:pt x="13" y="274"/>
                    </a:lnTo>
                    <a:lnTo>
                      <a:pt x="6" y="270"/>
                    </a:lnTo>
                    <a:lnTo>
                      <a:pt x="3" y="270"/>
                    </a:lnTo>
                    <a:lnTo>
                      <a:pt x="0" y="266"/>
                    </a:lnTo>
                    <a:lnTo>
                      <a:pt x="1" y="261"/>
                    </a:lnTo>
                    <a:lnTo>
                      <a:pt x="6" y="258"/>
                    </a:lnTo>
                    <a:lnTo>
                      <a:pt x="6" y="246"/>
                    </a:lnTo>
                    <a:lnTo>
                      <a:pt x="13" y="245"/>
                    </a:lnTo>
                    <a:lnTo>
                      <a:pt x="29" y="246"/>
                    </a:lnTo>
                    <a:lnTo>
                      <a:pt x="37" y="243"/>
                    </a:lnTo>
                    <a:lnTo>
                      <a:pt x="41" y="239"/>
                    </a:lnTo>
                    <a:lnTo>
                      <a:pt x="43" y="229"/>
                    </a:lnTo>
                    <a:lnTo>
                      <a:pt x="43" y="197"/>
                    </a:lnTo>
                    <a:lnTo>
                      <a:pt x="46" y="186"/>
                    </a:lnTo>
                    <a:lnTo>
                      <a:pt x="48" y="178"/>
                    </a:lnTo>
                    <a:lnTo>
                      <a:pt x="46" y="174"/>
                    </a:lnTo>
                    <a:lnTo>
                      <a:pt x="46" y="166"/>
                    </a:lnTo>
                    <a:lnTo>
                      <a:pt x="48" y="167"/>
                    </a:lnTo>
                    <a:lnTo>
                      <a:pt x="51" y="162"/>
                    </a:lnTo>
                    <a:lnTo>
                      <a:pt x="55" y="154"/>
                    </a:lnTo>
                    <a:lnTo>
                      <a:pt x="61" y="151"/>
                    </a:lnTo>
                    <a:lnTo>
                      <a:pt x="69" y="151"/>
                    </a:lnTo>
                    <a:lnTo>
                      <a:pt x="71" y="147"/>
                    </a:lnTo>
                    <a:lnTo>
                      <a:pt x="75" y="130"/>
                    </a:lnTo>
                    <a:lnTo>
                      <a:pt x="78" y="119"/>
                    </a:lnTo>
                    <a:lnTo>
                      <a:pt x="103" y="85"/>
                    </a:lnTo>
                    <a:lnTo>
                      <a:pt x="110" y="79"/>
                    </a:lnTo>
                    <a:lnTo>
                      <a:pt x="116" y="77"/>
                    </a:lnTo>
                    <a:lnTo>
                      <a:pt x="122" y="72"/>
                    </a:lnTo>
                    <a:lnTo>
                      <a:pt x="134" y="32"/>
                    </a:lnTo>
                    <a:lnTo>
                      <a:pt x="134" y="21"/>
                    </a:lnTo>
                    <a:lnTo>
                      <a:pt x="135" y="21"/>
                    </a:lnTo>
                    <a:lnTo>
                      <a:pt x="144" y="21"/>
                    </a:lnTo>
                    <a:lnTo>
                      <a:pt x="148" y="23"/>
                    </a:lnTo>
                    <a:lnTo>
                      <a:pt x="150" y="23"/>
                    </a:lnTo>
                    <a:lnTo>
                      <a:pt x="152" y="21"/>
                    </a:lnTo>
                    <a:lnTo>
                      <a:pt x="154" y="20"/>
                    </a:lnTo>
                    <a:lnTo>
                      <a:pt x="155" y="16"/>
                    </a:lnTo>
                    <a:lnTo>
                      <a:pt x="161" y="16"/>
                    </a:lnTo>
                    <a:lnTo>
                      <a:pt x="164" y="21"/>
                    </a:lnTo>
                    <a:lnTo>
                      <a:pt x="165" y="23"/>
                    </a:lnTo>
                    <a:lnTo>
                      <a:pt x="171" y="30"/>
                    </a:lnTo>
                    <a:lnTo>
                      <a:pt x="185" y="0"/>
                    </a:lnTo>
                    <a:lnTo>
                      <a:pt x="187" y="3"/>
                    </a:lnTo>
                    <a:lnTo>
                      <a:pt x="192" y="6"/>
                    </a:lnTo>
                    <a:lnTo>
                      <a:pt x="196" y="6"/>
                    </a:lnTo>
                    <a:lnTo>
                      <a:pt x="198" y="6"/>
                    </a:lnTo>
                    <a:lnTo>
                      <a:pt x="198" y="10"/>
                    </a:lnTo>
                    <a:lnTo>
                      <a:pt x="205" y="17"/>
                    </a:lnTo>
                    <a:lnTo>
                      <a:pt x="211" y="17"/>
                    </a:lnTo>
                    <a:lnTo>
                      <a:pt x="213" y="16"/>
                    </a:lnTo>
                    <a:lnTo>
                      <a:pt x="223" y="14"/>
                    </a:lnTo>
                    <a:lnTo>
                      <a:pt x="226" y="11"/>
                    </a:lnTo>
                    <a:lnTo>
                      <a:pt x="226" y="8"/>
                    </a:lnTo>
                    <a:lnTo>
                      <a:pt x="230" y="8"/>
                    </a:lnTo>
                    <a:lnTo>
                      <a:pt x="234" y="11"/>
                    </a:lnTo>
                    <a:lnTo>
                      <a:pt x="235" y="16"/>
                    </a:lnTo>
                    <a:lnTo>
                      <a:pt x="237" y="16"/>
                    </a:lnTo>
                    <a:lnTo>
                      <a:pt x="238" y="15"/>
                    </a:lnTo>
                    <a:lnTo>
                      <a:pt x="243" y="15"/>
                    </a:lnTo>
                    <a:lnTo>
                      <a:pt x="246" y="11"/>
                    </a:lnTo>
                    <a:lnTo>
                      <a:pt x="248" y="11"/>
                    </a:lnTo>
                    <a:lnTo>
                      <a:pt x="252" y="14"/>
                    </a:lnTo>
                    <a:lnTo>
                      <a:pt x="259" y="15"/>
                    </a:lnTo>
                    <a:lnTo>
                      <a:pt x="261" y="16"/>
                    </a:lnTo>
                    <a:lnTo>
                      <a:pt x="263" y="16"/>
                    </a:lnTo>
                    <a:lnTo>
                      <a:pt x="264" y="15"/>
                    </a:lnTo>
                    <a:lnTo>
                      <a:pt x="273" y="15"/>
                    </a:lnTo>
                    <a:lnTo>
                      <a:pt x="282" y="23"/>
                    </a:lnTo>
                    <a:lnTo>
                      <a:pt x="289" y="27"/>
                    </a:lnTo>
                    <a:lnTo>
                      <a:pt x="295" y="27"/>
                    </a:lnTo>
                    <a:lnTo>
                      <a:pt x="304" y="34"/>
                    </a:lnTo>
                    <a:lnTo>
                      <a:pt x="308" y="41"/>
                    </a:lnTo>
                    <a:lnTo>
                      <a:pt x="312" y="47"/>
                    </a:lnTo>
                    <a:lnTo>
                      <a:pt x="324" y="56"/>
                    </a:lnTo>
                    <a:lnTo>
                      <a:pt x="332" y="63"/>
                    </a:lnTo>
                    <a:lnTo>
                      <a:pt x="337" y="68"/>
                    </a:lnTo>
                    <a:lnTo>
                      <a:pt x="339" y="74"/>
                    </a:lnTo>
                    <a:lnTo>
                      <a:pt x="342" y="78"/>
                    </a:lnTo>
                    <a:lnTo>
                      <a:pt x="347" y="81"/>
                    </a:lnTo>
                    <a:lnTo>
                      <a:pt x="352" y="85"/>
                    </a:lnTo>
                    <a:lnTo>
                      <a:pt x="355" y="90"/>
                    </a:lnTo>
                    <a:lnTo>
                      <a:pt x="360" y="95"/>
                    </a:lnTo>
                    <a:lnTo>
                      <a:pt x="355" y="99"/>
                    </a:lnTo>
                    <a:lnTo>
                      <a:pt x="352" y="113"/>
                    </a:lnTo>
                    <a:lnTo>
                      <a:pt x="349" y="121"/>
                    </a:lnTo>
                    <a:lnTo>
                      <a:pt x="345" y="130"/>
                    </a:lnTo>
                    <a:lnTo>
                      <a:pt x="339" y="137"/>
                    </a:lnTo>
                    <a:lnTo>
                      <a:pt x="339" y="138"/>
                    </a:lnTo>
                    <a:lnTo>
                      <a:pt x="340" y="145"/>
                    </a:lnTo>
                    <a:lnTo>
                      <a:pt x="345" y="150"/>
                    </a:lnTo>
                    <a:lnTo>
                      <a:pt x="353" y="150"/>
                    </a:lnTo>
                    <a:lnTo>
                      <a:pt x="357" y="150"/>
                    </a:lnTo>
                    <a:lnTo>
                      <a:pt x="360" y="151"/>
                    </a:lnTo>
                    <a:lnTo>
                      <a:pt x="362" y="150"/>
                    </a:lnTo>
                    <a:lnTo>
                      <a:pt x="364" y="147"/>
                    </a:lnTo>
                    <a:lnTo>
                      <a:pt x="371" y="144"/>
                    </a:lnTo>
                    <a:lnTo>
                      <a:pt x="375" y="145"/>
                    </a:lnTo>
                    <a:lnTo>
                      <a:pt x="381" y="151"/>
                    </a:lnTo>
                    <a:lnTo>
                      <a:pt x="378" y="156"/>
                    </a:lnTo>
                    <a:lnTo>
                      <a:pt x="377" y="159"/>
                    </a:lnTo>
                    <a:lnTo>
                      <a:pt x="380" y="174"/>
                    </a:lnTo>
                    <a:lnTo>
                      <a:pt x="386" y="179"/>
                    </a:lnTo>
                    <a:lnTo>
                      <a:pt x="388" y="183"/>
                    </a:lnTo>
                    <a:lnTo>
                      <a:pt x="391" y="188"/>
                    </a:lnTo>
                    <a:lnTo>
                      <a:pt x="395" y="191"/>
                    </a:lnTo>
                    <a:lnTo>
                      <a:pt x="397" y="194"/>
                    </a:lnTo>
                    <a:lnTo>
                      <a:pt x="402" y="198"/>
                    </a:lnTo>
                    <a:lnTo>
                      <a:pt x="407" y="204"/>
                    </a:lnTo>
                    <a:lnTo>
                      <a:pt x="420" y="215"/>
                    </a:lnTo>
                    <a:lnTo>
                      <a:pt x="425" y="220"/>
                    </a:lnTo>
                    <a:lnTo>
                      <a:pt x="481" y="240"/>
                    </a:lnTo>
                    <a:lnTo>
                      <a:pt x="542" y="261"/>
                    </a:lnTo>
                    <a:lnTo>
                      <a:pt x="580" y="260"/>
                    </a:lnTo>
                    <a:lnTo>
                      <a:pt x="579" y="263"/>
                    </a:lnTo>
                    <a:lnTo>
                      <a:pt x="572" y="271"/>
                    </a:lnTo>
                    <a:lnTo>
                      <a:pt x="521" y="321"/>
                    </a:lnTo>
                    <a:lnTo>
                      <a:pt x="464" y="378"/>
                    </a:lnTo>
                    <a:lnTo>
                      <a:pt x="418" y="379"/>
                    </a:lnTo>
                    <a:lnTo>
                      <a:pt x="413" y="382"/>
                    </a:lnTo>
                    <a:lnTo>
                      <a:pt x="397" y="388"/>
                    </a:lnTo>
                    <a:lnTo>
                      <a:pt x="390" y="394"/>
                    </a:lnTo>
                    <a:lnTo>
                      <a:pt x="379" y="403"/>
                    </a:lnTo>
                    <a:lnTo>
                      <a:pt x="355" y="411"/>
                    </a:lnTo>
                    <a:lnTo>
                      <a:pt x="345" y="417"/>
                    </a:lnTo>
                    <a:lnTo>
                      <a:pt x="343" y="419"/>
                    </a:lnTo>
                    <a:lnTo>
                      <a:pt x="339" y="420"/>
                    </a:lnTo>
                    <a:lnTo>
                      <a:pt x="332" y="419"/>
                    </a:lnTo>
                    <a:lnTo>
                      <a:pt x="323" y="420"/>
                    </a:lnTo>
                    <a:lnTo>
                      <a:pt x="299" y="408"/>
                    </a:lnTo>
                    <a:lnTo>
                      <a:pt x="285" y="411"/>
                    </a:lnTo>
                    <a:lnTo>
                      <a:pt x="273" y="416"/>
                    </a:lnTo>
                    <a:lnTo>
                      <a:pt x="261" y="428"/>
                    </a:lnTo>
                    <a:lnTo>
                      <a:pt x="244" y="435"/>
                    </a:lnTo>
                    <a:lnTo>
                      <a:pt x="228" y="435"/>
                    </a:lnTo>
                    <a:lnTo>
                      <a:pt x="212" y="431"/>
                    </a:lnTo>
                    <a:lnTo>
                      <a:pt x="200" y="431"/>
                    </a:lnTo>
                    <a:lnTo>
                      <a:pt x="185" y="426"/>
                    </a:lnTo>
                    <a:lnTo>
                      <a:pt x="178" y="417"/>
                    </a:lnTo>
                    <a:lnTo>
                      <a:pt x="152" y="402"/>
                    </a:lnTo>
                    <a:lnTo>
                      <a:pt x="140" y="396"/>
                    </a:lnTo>
                    <a:lnTo>
                      <a:pt x="128" y="395"/>
                    </a:lnTo>
                    <a:close/>
                  </a:path>
                </a:pathLst>
              </a:custGeom>
              <a:solidFill>
                <a:srgbClr val="1737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1" name="Freeform 87"/>
              <p:cNvSpPr>
                <a:spLocks/>
              </p:cNvSpPr>
              <p:nvPr/>
            </p:nvSpPr>
            <p:spPr bwMode="auto">
              <a:xfrm>
                <a:off x="2648" y="1922"/>
                <a:ext cx="621" cy="457"/>
              </a:xfrm>
              <a:custGeom>
                <a:avLst/>
                <a:gdLst>
                  <a:gd name="T0" fmla="*/ 9735 w 580"/>
                  <a:gd name="T1" fmla="*/ 10201 h 435"/>
                  <a:gd name="T2" fmla="*/ 9788 w 580"/>
                  <a:gd name="T3" fmla="*/ 9456 h 435"/>
                  <a:gd name="T4" fmla="*/ 7407 w 580"/>
                  <a:gd name="T5" fmla="*/ 9231 h 435"/>
                  <a:gd name="T6" fmla="*/ 6231 w 580"/>
                  <a:gd name="T7" fmla="*/ 8295 h 435"/>
                  <a:gd name="T8" fmla="*/ 4005 w 580"/>
                  <a:gd name="T9" fmla="*/ 7763 h 435"/>
                  <a:gd name="T10" fmla="*/ 2860 w 580"/>
                  <a:gd name="T11" fmla="*/ 7217 h 435"/>
                  <a:gd name="T12" fmla="*/ 1100 w 580"/>
                  <a:gd name="T13" fmla="*/ 7129 h 435"/>
                  <a:gd name="T14" fmla="*/ 0 w 580"/>
                  <a:gd name="T15" fmla="*/ 6874 h 435"/>
                  <a:gd name="T16" fmla="*/ 6 w 580"/>
                  <a:gd name="T17" fmla="*/ 6372 h 435"/>
                  <a:gd name="T18" fmla="*/ 3418 w 580"/>
                  <a:gd name="T19" fmla="*/ 6282 h 435"/>
                  <a:gd name="T20" fmla="*/ 3919 w 580"/>
                  <a:gd name="T21" fmla="*/ 5110 h 435"/>
                  <a:gd name="T22" fmla="*/ 4196 w 580"/>
                  <a:gd name="T23" fmla="*/ 4510 h 435"/>
                  <a:gd name="T24" fmla="*/ 4613 w 580"/>
                  <a:gd name="T25" fmla="*/ 4221 h 435"/>
                  <a:gd name="T26" fmla="*/ 6322 w 580"/>
                  <a:gd name="T27" fmla="*/ 3906 h 435"/>
                  <a:gd name="T28" fmla="*/ 7143 w 580"/>
                  <a:gd name="T29" fmla="*/ 3081 h 435"/>
                  <a:gd name="T30" fmla="*/ 10470 w 580"/>
                  <a:gd name="T31" fmla="*/ 2015 h 435"/>
                  <a:gd name="T32" fmla="*/ 12014 w 580"/>
                  <a:gd name="T33" fmla="*/ 514 h 435"/>
                  <a:gd name="T34" fmla="*/ 13421 w 580"/>
                  <a:gd name="T35" fmla="*/ 567 h 435"/>
                  <a:gd name="T36" fmla="*/ 14016 w 580"/>
                  <a:gd name="T37" fmla="*/ 489 h 435"/>
                  <a:gd name="T38" fmla="*/ 14746 w 580"/>
                  <a:gd name="T39" fmla="*/ 514 h 435"/>
                  <a:gd name="T40" fmla="*/ 16813 w 580"/>
                  <a:gd name="T41" fmla="*/ 0 h 435"/>
                  <a:gd name="T42" fmla="*/ 17767 w 580"/>
                  <a:gd name="T43" fmla="*/ 6 h 435"/>
                  <a:gd name="T44" fmla="*/ 18589 w 580"/>
                  <a:gd name="T45" fmla="*/ 422 h 435"/>
                  <a:gd name="T46" fmla="*/ 20221 w 580"/>
                  <a:gd name="T47" fmla="*/ 365 h 435"/>
                  <a:gd name="T48" fmla="*/ 20748 w 580"/>
                  <a:gd name="T49" fmla="*/ 8 h 435"/>
                  <a:gd name="T50" fmla="*/ 21615 w 580"/>
                  <a:gd name="T51" fmla="*/ 402 h 435"/>
                  <a:gd name="T52" fmla="*/ 22215 w 580"/>
                  <a:gd name="T53" fmla="*/ 314 h 435"/>
                  <a:gd name="T54" fmla="*/ 23592 w 580"/>
                  <a:gd name="T55" fmla="*/ 383 h 435"/>
                  <a:gd name="T56" fmla="*/ 23949 w 580"/>
                  <a:gd name="T57" fmla="*/ 383 h 435"/>
                  <a:gd name="T58" fmla="*/ 26217 w 580"/>
                  <a:gd name="T59" fmla="*/ 691 h 435"/>
                  <a:gd name="T60" fmla="*/ 28005 w 580"/>
                  <a:gd name="T61" fmla="*/ 1031 h 435"/>
                  <a:gd name="T62" fmla="*/ 30083 w 580"/>
                  <a:gd name="T63" fmla="*/ 1608 h 435"/>
                  <a:gd name="T64" fmla="*/ 31092 w 580"/>
                  <a:gd name="T65" fmla="*/ 2021 h 435"/>
                  <a:gd name="T66" fmla="*/ 32210 w 580"/>
                  <a:gd name="T67" fmla="*/ 2343 h 435"/>
                  <a:gd name="T68" fmla="*/ 32074 w 580"/>
                  <a:gd name="T69" fmla="*/ 2933 h 435"/>
                  <a:gd name="T70" fmla="*/ 30686 w 580"/>
                  <a:gd name="T71" fmla="*/ 3539 h 435"/>
                  <a:gd name="T72" fmla="*/ 31227 w 580"/>
                  <a:gd name="T73" fmla="*/ 3889 h 435"/>
                  <a:gd name="T74" fmla="*/ 32615 w 580"/>
                  <a:gd name="T75" fmla="*/ 3906 h 435"/>
                  <a:gd name="T76" fmla="*/ 33518 w 580"/>
                  <a:gd name="T77" fmla="*/ 3718 h 435"/>
                  <a:gd name="T78" fmla="*/ 34374 w 580"/>
                  <a:gd name="T79" fmla="*/ 4047 h 435"/>
                  <a:gd name="T80" fmla="*/ 34932 w 580"/>
                  <a:gd name="T81" fmla="*/ 4658 h 435"/>
                  <a:gd name="T82" fmla="*/ 35797 w 580"/>
                  <a:gd name="T83" fmla="*/ 4956 h 435"/>
                  <a:gd name="T84" fmla="*/ 36925 w 580"/>
                  <a:gd name="T85" fmla="*/ 5302 h 435"/>
                  <a:gd name="T86" fmla="*/ 43691 w 580"/>
                  <a:gd name="T87" fmla="*/ 6224 h 435"/>
                  <a:gd name="T88" fmla="*/ 52610 w 580"/>
                  <a:gd name="T89" fmla="*/ 6833 h 435"/>
                  <a:gd name="T90" fmla="*/ 42151 w 580"/>
                  <a:gd name="T91" fmla="*/ 9772 h 435"/>
                  <a:gd name="T92" fmla="*/ 35887 w 580"/>
                  <a:gd name="T93" fmla="*/ 10070 h 435"/>
                  <a:gd name="T94" fmla="*/ 32210 w 580"/>
                  <a:gd name="T95" fmla="*/ 10678 h 435"/>
                  <a:gd name="T96" fmla="*/ 30686 w 580"/>
                  <a:gd name="T97" fmla="*/ 10914 h 435"/>
                  <a:gd name="T98" fmla="*/ 27168 w 580"/>
                  <a:gd name="T99" fmla="*/ 10579 h 435"/>
                  <a:gd name="T100" fmla="*/ 23699 w 580"/>
                  <a:gd name="T101" fmla="*/ 11111 h 435"/>
                  <a:gd name="T102" fmla="*/ 19275 w 580"/>
                  <a:gd name="T103" fmla="*/ 11192 h 435"/>
                  <a:gd name="T104" fmla="*/ 16216 w 580"/>
                  <a:gd name="T105" fmla="*/ 10785 h 435"/>
                  <a:gd name="T106" fmla="*/ 11702 w 580"/>
                  <a:gd name="T107" fmla="*/ 10256 h 43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80"/>
                  <a:gd name="T163" fmla="*/ 0 h 435"/>
                  <a:gd name="T164" fmla="*/ 580 w 580"/>
                  <a:gd name="T165" fmla="*/ 435 h 43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80" h="435">
                    <a:moveTo>
                      <a:pt x="128" y="395"/>
                    </a:moveTo>
                    <a:lnTo>
                      <a:pt x="118" y="396"/>
                    </a:lnTo>
                    <a:lnTo>
                      <a:pt x="107" y="394"/>
                    </a:lnTo>
                    <a:lnTo>
                      <a:pt x="109" y="378"/>
                    </a:lnTo>
                    <a:lnTo>
                      <a:pt x="110" y="371"/>
                    </a:lnTo>
                    <a:lnTo>
                      <a:pt x="109" y="365"/>
                    </a:lnTo>
                    <a:lnTo>
                      <a:pt x="104" y="362"/>
                    </a:lnTo>
                    <a:lnTo>
                      <a:pt x="89" y="359"/>
                    </a:lnTo>
                    <a:lnTo>
                      <a:pt x="81" y="355"/>
                    </a:lnTo>
                    <a:lnTo>
                      <a:pt x="78" y="349"/>
                    </a:lnTo>
                    <a:lnTo>
                      <a:pt x="71" y="330"/>
                    </a:lnTo>
                    <a:lnTo>
                      <a:pt x="68" y="319"/>
                    </a:lnTo>
                    <a:lnTo>
                      <a:pt x="64" y="314"/>
                    </a:lnTo>
                    <a:lnTo>
                      <a:pt x="48" y="304"/>
                    </a:lnTo>
                    <a:lnTo>
                      <a:pt x="44" y="299"/>
                    </a:lnTo>
                    <a:lnTo>
                      <a:pt x="39" y="292"/>
                    </a:lnTo>
                    <a:lnTo>
                      <a:pt x="37" y="286"/>
                    </a:lnTo>
                    <a:lnTo>
                      <a:pt x="32" y="278"/>
                    </a:lnTo>
                    <a:lnTo>
                      <a:pt x="26" y="275"/>
                    </a:lnTo>
                    <a:lnTo>
                      <a:pt x="18" y="273"/>
                    </a:lnTo>
                    <a:lnTo>
                      <a:pt x="13" y="274"/>
                    </a:lnTo>
                    <a:lnTo>
                      <a:pt x="6" y="270"/>
                    </a:lnTo>
                    <a:lnTo>
                      <a:pt x="3" y="270"/>
                    </a:lnTo>
                    <a:lnTo>
                      <a:pt x="0" y="266"/>
                    </a:lnTo>
                    <a:lnTo>
                      <a:pt x="1" y="261"/>
                    </a:lnTo>
                    <a:lnTo>
                      <a:pt x="6" y="258"/>
                    </a:lnTo>
                    <a:lnTo>
                      <a:pt x="6" y="246"/>
                    </a:lnTo>
                    <a:lnTo>
                      <a:pt x="13" y="245"/>
                    </a:lnTo>
                    <a:lnTo>
                      <a:pt x="29" y="246"/>
                    </a:lnTo>
                    <a:lnTo>
                      <a:pt x="37" y="243"/>
                    </a:lnTo>
                    <a:lnTo>
                      <a:pt x="41" y="239"/>
                    </a:lnTo>
                    <a:lnTo>
                      <a:pt x="43" y="229"/>
                    </a:lnTo>
                    <a:lnTo>
                      <a:pt x="43" y="197"/>
                    </a:lnTo>
                    <a:lnTo>
                      <a:pt x="46" y="186"/>
                    </a:lnTo>
                    <a:lnTo>
                      <a:pt x="48" y="178"/>
                    </a:lnTo>
                    <a:lnTo>
                      <a:pt x="46" y="174"/>
                    </a:lnTo>
                    <a:lnTo>
                      <a:pt x="46" y="166"/>
                    </a:lnTo>
                    <a:lnTo>
                      <a:pt x="48" y="167"/>
                    </a:lnTo>
                    <a:lnTo>
                      <a:pt x="51" y="162"/>
                    </a:lnTo>
                    <a:lnTo>
                      <a:pt x="55" y="154"/>
                    </a:lnTo>
                    <a:lnTo>
                      <a:pt x="61" y="151"/>
                    </a:lnTo>
                    <a:lnTo>
                      <a:pt x="69" y="151"/>
                    </a:lnTo>
                    <a:lnTo>
                      <a:pt x="71" y="147"/>
                    </a:lnTo>
                    <a:lnTo>
                      <a:pt x="75" y="130"/>
                    </a:lnTo>
                    <a:lnTo>
                      <a:pt x="78" y="119"/>
                    </a:lnTo>
                    <a:lnTo>
                      <a:pt x="103" y="85"/>
                    </a:lnTo>
                    <a:lnTo>
                      <a:pt x="110" y="79"/>
                    </a:lnTo>
                    <a:lnTo>
                      <a:pt x="116" y="77"/>
                    </a:lnTo>
                    <a:lnTo>
                      <a:pt x="122" y="72"/>
                    </a:lnTo>
                    <a:lnTo>
                      <a:pt x="134" y="32"/>
                    </a:lnTo>
                    <a:lnTo>
                      <a:pt x="134" y="21"/>
                    </a:lnTo>
                    <a:lnTo>
                      <a:pt x="135" y="21"/>
                    </a:lnTo>
                    <a:lnTo>
                      <a:pt x="144" y="21"/>
                    </a:lnTo>
                    <a:lnTo>
                      <a:pt x="148" y="23"/>
                    </a:lnTo>
                    <a:lnTo>
                      <a:pt x="150" y="23"/>
                    </a:lnTo>
                    <a:lnTo>
                      <a:pt x="152" y="21"/>
                    </a:lnTo>
                    <a:lnTo>
                      <a:pt x="154" y="20"/>
                    </a:lnTo>
                    <a:lnTo>
                      <a:pt x="155" y="16"/>
                    </a:lnTo>
                    <a:lnTo>
                      <a:pt x="161" y="16"/>
                    </a:lnTo>
                    <a:lnTo>
                      <a:pt x="164" y="21"/>
                    </a:lnTo>
                    <a:lnTo>
                      <a:pt x="165" y="23"/>
                    </a:lnTo>
                    <a:lnTo>
                      <a:pt x="171" y="30"/>
                    </a:lnTo>
                    <a:lnTo>
                      <a:pt x="185" y="0"/>
                    </a:lnTo>
                    <a:lnTo>
                      <a:pt x="187" y="3"/>
                    </a:lnTo>
                    <a:lnTo>
                      <a:pt x="192" y="6"/>
                    </a:lnTo>
                    <a:lnTo>
                      <a:pt x="196" y="6"/>
                    </a:lnTo>
                    <a:lnTo>
                      <a:pt x="198" y="6"/>
                    </a:lnTo>
                    <a:lnTo>
                      <a:pt x="198" y="10"/>
                    </a:lnTo>
                    <a:lnTo>
                      <a:pt x="205" y="17"/>
                    </a:lnTo>
                    <a:lnTo>
                      <a:pt x="211" y="17"/>
                    </a:lnTo>
                    <a:lnTo>
                      <a:pt x="213" y="16"/>
                    </a:lnTo>
                    <a:lnTo>
                      <a:pt x="223" y="14"/>
                    </a:lnTo>
                    <a:lnTo>
                      <a:pt x="226" y="11"/>
                    </a:lnTo>
                    <a:lnTo>
                      <a:pt x="226" y="8"/>
                    </a:lnTo>
                    <a:lnTo>
                      <a:pt x="230" y="8"/>
                    </a:lnTo>
                    <a:lnTo>
                      <a:pt x="234" y="11"/>
                    </a:lnTo>
                    <a:lnTo>
                      <a:pt x="235" y="16"/>
                    </a:lnTo>
                    <a:lnTo>
                      <a:pt x="237" y="16"/>
                    </a:lnTo>
                    <a:lnTo>
                      <a:pt x="238" y="15"/>
                    </a:lnTo>
                    <a:lnTo>
                      <a:pt x="243" y="15"/>
                    </a:lnTo>
                    <a:lnTo>
                      <a:pt x="246" y="11"/>
                    </a:lnTo>
                    <a:lnTo>
                      <a:pt x="248" y="11"/>
                    </a:lnTo>
                    <a:lnTo>
                      <a:pt x="252" y="14"/>
                    </a:lnTo>
                    <a:lnTo>
                      <a:pt x="259" y="15"/>
                    </a:lnTo>
                    <a:lnTo>
                      <a:pt x="261" y="16"/>
                    </a:lnTo>
                    <a:lnTo>
                      <a:pt x="263" y="16"/>
                    </a:lnTo>
                    <a:lnTo>
                      <a:pt x="264" y="15"/>
                    </a:lnTo>
                    <a:lnTo>
                      <a:pt x="273" y="15"/>
                    </a:lnTo>
                    <a:lnTo>
                      <a:pt x="282" y="23"/>
                    </a:lnTo>
                    <a:lnTo>
                      <a:pt x="289" y="27"/>
                    </a:lnTo>
                    <a:lnTo>
                      <a:pt x="295" y="27"/>
                    </a:lnTo>
                    <a:lnTo>
                      <a:pt x="304" y="34"/>
                    </a:lnTo>
                    <a:lnTo>
                      <a:pt x="308" y="41"/>
                    </a:lnTo>
                    <a:lnTo>
                      <a:pt x="312" y="47"/>
                    </a:lnTo>
                    <a:lnTo>
                      <a:pt x="324" y="56"/>
                    </a:lnTo>
                    <a:lnTo>
                      <a:pt x="332" y="63"/>
                    </a:lnTo>
                    <a:lnTo>
                      <a:pt x="337" y="68"/>
                    </a:lnTo>
                    <a:lnTo>
                      <a:pt x="339" y="74"/>
                    </a:lnTo>
                    <a:lnTo>
                      <a:pt x="342" y="78"/>
                    </a:lnTo>
                    <a:lnTo>
                      <a:pt x="347" y="81"/>
                    </a:lnTo>
                    <a:lnTo>
                      <a:pt x="352" y="85"/>
                    </a:lnTo>
                    <a:lnTo>
                      <a:pt x="355" y="90"/>
                    </a:lnTo>
                    <a:lnTo>
                      <a:pt x="360" y="95"/>
                    </a:lnTo>
                    <a:lnTo>
                      <a:pt x="355" y="99"/>
                    </a:lnTo>
                    <a:lnTo>
                      <a:pt x="352" y="113"/>
                    </a:lnTo>
                    <a:lnTo>
                      <a:pt x="349" y="121"/>
                    </a:lnTo>
                    <a:lnTo>
                      <a:pt x="345" y="130"/>
                    </a:lnTo>
                    <a:lnTo>
                      <a:pt x="339" y="137"/>
                    </a:lnTo>
                    <a:lnTo>
                      <a:pt x="339" y="138"/>
                    </a:lnTo>
                    <a:lnTo>
                      <a:pt x="340" y="145"/>
                    </a:lnTo>
                    <a:lnTo>
                      <a:pt x="345" y="150"/>
                    </a:lnTo>
                    <a:lnTo>
                      <a:pt x="353" y="150"/>
                    </a:lnTo>
                    <a:lnTo>
                      <a:pt x="357" y="150"/>
                    </a:lnTo>
                    <a:lnTo>
                      <a:pt x="360" y="151"/>
                    </a:lnTo>
                    <a:lnTo>
                      <a:pt x="362" y="150"/>
                    </a:lnTo>
                    <a:lnTo>
                      <a:pt x="364" y="147"/>
                    </a:lnTo>
                    <a:lnTo>
                      <a:pt x="371" y="144"/>
                    </a:lnTo>
                    <a:lnTo>
                      <a:pt x="375" y="145"/>
                    </a:lnTo>
                    <a:lnTo>
                      <a:pt x="381" y="151"/>
                    </a:lnTo>
                    <a:lnTo>
                      <a:pt x="378" y="156"/>
                    </a:lnTo>
                    <a:lnTo>
                      <a:pt x="377" y="159"/>
                    </a:lnTo>
                    <a:lnTo>
                      <a:pt x="380" y="174"/>
                    </a:lnTo>
                    <a:lnTo>
                      <a:pt x="386" y="179"/>
                    </a:lnTo>
                    <a:lnTo>
                      <a:pt x="388" y="183"/>
                    </a:lnTo>
                    <a:lnTo>
                      <a:pt x="391" y="188"/>
                    </a:lnTo>
                    <a:lnTo>
                      <a:pt x="395" y="191"/>
                    </a:lnTo>
                    <a:lnTo>
                      <a:pt x="397" y="194"/>
                    </a:lnTo>
                    <a:lnTo>
                      <a:pt x="402" y="198"/>
                    </a:lnTo>
                    <a:lnTo>
                      <a:pt x="407" y="204"/>
                    </a:lnTo>
                    <a:lnTo>
                      <a:pt x="420" y="215"/>
                    </a:lnTo>
                    <a:lnTo>
                      <a:pt x="425" y="220"/>
                    </a:lnTo>
                    <a:lnTo>
                      <a:pt x="481" y="240"/>
                    </a:lnTo>
                    <a:lnTo>
                      <a:pt x="542" y="261"/>
                    </a:lnTo>
                    <a:lnTo>
                      <a:pt x="580" y="260"/>
                    </a:lnTo>
                    <a:lnTo>
                      <a:pt x="579" y="263"/>
                    </a:lnTo>
                    <a:lnTo>
                      <a:pt x="572" y="271"/>
                    </a:lnTo>
                    <a:lnTo>
                      <a:pt x="521" y="321"/>
                    </a:lnTo>
                    <a:lnTo>
                      <a:pt x="464" y="378"/>
                    </a:lnTo>
                    <a:lnTo>
                      <a:pt x="418" y="379"/>
                    </a:lnTo>
                    <a:lnTo>
                      <a:pt x="413" y="382"/>
                    </a:lnTo>
                    <a:lnTo>
                      <a:pt x="397" y="388"/>
                    </a:lnTo>
                    <a:lnTo>
                      <a:pt x="390" y="394"/>
                    </a:lnTo>
                    <a:lnTo>
                      <a:pt x="379" y="403"/>
                    </a:lnTo>
                    <a:lnTo>
                      <a:pt x="355" y="411"/>
                    </a:lnTo>
                    <a:lnTo>
                      <a:pt x="345" y="417"/>
                    </a:lnTo>
                    <a:lnTo>
                      <a:pt x="343" y="419"/>
                    </a:lnTo>
                    <a:lnTo>
                      <a:pt x="339" y="420"/>
                    </a:lnTo>
                    <a:lnTo>
                      <a:pt x="332" y="419"/>
                    </a:lnTo>
                    <a:lnTo>
                      <a:pt x="323" y="420"/>
                    </a:lnTo>
                    <a:lnTo>
                      <a:pt x="299" y="408"/>
                    </a:lnTo>
                    <a:lnTo>
                      <a:pt x="285" y="411"/>
                    </a:lnTo>
                    <a:lnTo>
                      <a:pt x="273" y="416"/>
                    </a:lnTo>
                    <a:lnTo>
                      <a:pt x="261" y="428"/>
                    </a:lnTo>
                    <a:lnTo>
                      <a:pt x="244" y="435"/>
                    </a:lnTo>
                    <a:lnTo>
                      <a:pt x="228" y="435"/>
                    </a:lnTo>
                    <a:lnTo>
                      <a:pt x="212" y="431"/>
                    </a:lnTo>
                    <a:lnTo>
                      <a:pt x="200" y="431"/>
                    </a:lnTo>
                    <a:lnTo>
                      <a:pt x="185" y="426"/>
                    </a:lnTo>
                    <a:lnTo>
                      <a:pt x="178" y="417"/>
                    </a:lnTo>
                    <a:lnTo>
                      <a:pt x="152" y="402"/>
                    </a:lnTo>
                    <a:lnTo>
                      <a:pt x="140" y="396"/>
                    </a:lnTo>
                    <a:lnTo>
                      <a:pt x="128" y="395"/>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2" name="Freeform 88"/>
              <p:cNvSpPr>
                <a:spLocks/>
              </p:cNvSpPr>
              <p:nvPr/>
            </p:nvSpPr>
            <p:spPr bwMode="auto">
              <a:xfrm>
                <a:off x="2488" y="2616"/>
                <a:ext cx="67" cy="83"/>
              </a:xfrm>
              <a:custGeom>
                <a:avLst/>
                <a:gdLst>
                  <a:gd name="T0" fmla="*/ 2977 w 63"/>
                  <a:gd name="T1" fmla="*/ 1 h 79"/>
                  <a:gd name="T2" fmla="*/ 3166 w 63"/>
                  <a:gd name="T3" fmla="*/ 1 h 79"/>
                  <a:gd name="T4" fmla="*/ 3341 w 63"/>
                  <a:gd name="T5" fmla="*/ 3 h 79"/>
                  <a:gd name="T6" fmla="*/ 3108 w 63"/>
                  <a:gd name="T7" fmla="*/ 6 h 79"/>
                  <a:gd name="T8" fmla="*/ 2977 w 63"/>
                  <a:gd name="T9" fmla="*/ 314 h 79"/>
                  <a:gd name="T10" fmla="*/ 2977 w 63"/>
                  <a:gd name="T11" fmla="*/ 383 h 79"/>
                  <a:gd name="T12" fmla="*/ 2977 w 63"/>
                  <a:gd name="T13" fmla="*/ 422 h 79"/>
                  <a:gd name="T14" fmla="*/ 3166 w 63"/>
                  <a:gd name="T15" fmla="*/ 489 h 79"/>
                  <a:gd name="T16" fmla="*/ 3434 w 63"/>
                  <a:gd name="T17" fmla="*/ 514 h 79"/>
                  <a:gd name="T18" fmla="*/ 3581 w 63"/>
                  <a:gd name="T19" fmla="*/ 567 h 79"/>
                  <a:gd name="T20" fmla="*/ 3652 w 63"/>
                  <a:gd name="T21" fmla="*/ 691 h 79"/>
                  <a:gd name="T22" fmla="*/ 3652 w 63"/>
                  <a:gd name="T23" fmla="*/ 855 h 79"/>
                  <a:gd name="T24" fmla="*/ 3515 w 63"/>
                  <a:gd name="T25" fmla="*/ 978 h 79"/>
                  <a:gd name="T26" fmla="*/ 3108 w 63"/>
                  <a:gd name="T27" fmla="*/ 1149 h 79"/>
                  <a:gd name="T28" fmla="*/ 2922 w 63"/>
                  <a:gd name="T29" fmla="*/ 1435 h 79"/>
                  <a:gd name="T30" fmla="*/ 2748 w 63"/>
                  <a:gd name="T31" fmla="*/ 1508 h 79"/>
                  <a:gd name="T32" fmla="*/ 2188 w 63"/>
                  <a:gd name="T33" fmla="*/ 1881 h 79"/>
                  <a:gd name="T34" fmla="*/ 1608 w 63"/>
                  <a:gd name="T35" fmla="*/ 2020 h 79"/>
                  <a:gd name="T36" fmla="*/ 1182 w 63"/>
                  <a:gd name="T37" fmla="*/ 2052 h 79"/>
                  <a:gd name="T38" fmla="*/ 1111 w 63"/>
                  <a:gd name="T39" fmla="*/ 2052 h 79"/>
                  <a:gd name="T40" fmla="*/ 817 w 63"/>
                  <a:gd name="T41" fmla="*/ 1953 h 79"/>
                  <a:gd name="T42" fmla="*/ 638 w 63"/>
                  <a:gd name="T43" fmla="*/ 1790 h 79"/>
                  <a:gd name="T44" fmla="*/ 600 w 63"/>
                  <a:gd name="T45" fmla="*/ 1603 h 79"/>
                  <a:gd name="T46" fmla="*/ 600 w 63"/>
                  <a:gd name="T47" fmla="*/ 1435 h 79"/>
                  <a:gd name="T48" fmla="*/ 600 w 63"/>
                  <a:gd name="T49" fmla="*/ 1252 h 79"/>
                  <a:gd name="T50" fmla="*/ 530 w 63"/>
                  <a:gd name="T51" fmla="*/ 1080 h 79"/>
                  <a:gd name="T52" fmla="*/ 6 w 63"/>
                  <a:gd name="T53" fmla="*/ 978 h 79"/>
                  <a:gd name="T54" fmla="*/ 5 w 63"/>
                  <a:gd name="T55" fmla="*/ 567 h 79"/>
                  <a:gd name="T56" fmla="*/ 3 w 63"/>
                  <a:gd name="T57" fmla="*/ 443 h 79"/>
                  <a:gd name="T58" fmla="*/ 0 w 63"/>
                  <a:gd name="T59" fmla="*/ 365 h 79"/>
                  <a:gd name="T60" fmla="*/ 0 w 63"/>
                  <a:gd name="T61" fmla="*/ 383 h 79"/>
                  <a:gd name="T62" fmla="*/ 0 w 63"/>
                  <a:gd name="T63" fmla="*/ 8 h 79"/>
                  <a:gd name="T64" fmla="*/ 3 w 63"/>
                  <a:gd name="T65" fmla="*/ 6 h 79"/>
                  <a:gd name="T66" fmla="*/ 6 w 63"/>
                  <a:gd name="T67" fmla="*/ 6 h 79"/>
                  <a:gd name="T68" fmla="*/ 7 w 63"/>
                  <a:gd name="T69" fmla="*/ 7 h 79"/>
                  <a:gd name="T70" fmla="*/ 600 w 63"/>
                  <a:gd name="T71" fmla="*/ 314 h 79"/>
                  <a:gd name="T72" fmla="*/ 722 w 63"/>
                  <a:gd name="T73" fmla="*/ 422 h 79"/>
                  <a:gd name="T74" fmla="*/ 768 w 63"/>
                  <a:gd name="T75" fmla="*/ 422 h 79"/>
                  <a:gd name="T76" fmla="*/ 983 w 63"/>
                  <a:gd name="T77" fmla="*/ 422 h 79"/>
                  <a:gd name="T78" fmla="*/ 1182 w 63"/>
                  <a:gd name="T79" fmla="*/ 383 h 79"/>
                  <a:gd name="T80" fmla="*/ 1580 w 63"/>
                  <a:gd name="T81" fmla="*/ 365 h 79"/>
                  <a:gd name="T82" fmla="*/ 1710 w 63"/>
                  <a:gd name="T83" fmla="*/ 330 h 79"/>
                  <a:gd name="T84" fmla="*/ 1710 w 63"/>
                  <a:gd name="T85" fmla="*/ 6 h 79"/>
                  <a:gd name="T86" fmla="*/ 1787 w 63"/>
                  <a:gd name="T87" fmla="*/ 4 h 79"/>
                  <a:gd name="T88" fmla="*/ 1819 w 63"/>
                  <a:gd name="T89" fmla="*/ 1 h 79"/>
                  <a:gd name="T90" fmla="*/ 2188 w 63"/>
                  <a:gd name="T91" fmla="*/ 3 h 79"/>
                  <a:gd name="T92" fmla="*/ 2778 w 63"/>
                  <a:gd name="T93" fmla="*/ 0 h 79"/>
                  <a:gd name="T94" fmla="*/ 2977 w 63"/>
                  <a:gd name="T95" fmla="*/ 0 h 79"/>
                  <a:gd name="T96" fmla="*/ 2977 w 63"/>
                  <a:gd name="T97" fmla="*/ 1 h 7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3"/>
                  <a:gd name="T148" fmla="*/ 0 h 79"/>
                  <a:gd name="T149" fmla="*/ 63 w 63"/>
                  <a:gd name="T150" fmla="*/ 79 h 7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3" h="79">
                    <a:moveTo>
                      <a:pt x="52" y="1"/>
                    </a:moveTo>
                    <a:lnTo>
                      <a:pt x="55" y="1"/>
                    </a:lnTo>
                    <a:lnTo>
                      <a:pt x="57" y="3"/>
                    </a:lnTo>
                    <a:lnTo>
                      <a:pt x="53" y="6"/>
                    </a:lnTo>
                    <a:lnTo>
                      <a:pt x="52" y="11"/>
                    </a:lnTo>
                    <a:lnTo>
                      <a:pt x="52" y="15"/>
                    </a:lnTo>
                    <a:lnTo>
                      <a:pt x="52" y="17"/>
                    </a:lnTo>
                    <a:lnTo>
                      <a:pt x="55" y="20"/>
                    </a:lnTo>
                    <a:lnTo>
                      <a:pt x="59" y="21"/>
                    </a:lnTo>
                    <a:lnTo>
                      <a:pt x="62" y="23"/>
                    </a:lnTo>
                    <a:lnTo>
                      <a:pt x="63" y="27"/>
                    </a:lnTo>
                    <a:lnTo>
                      <a:pt x="63" y="33"/>
                    </a:lnTo>
                    <a:lnTo>
                      <a:pt x="60" y="38"/>
                    </a:lnTo>
                    <a:lnTo>
                      <a:pt x="53" y="45"/>
                    </a:lnTo>
                    <a:lnTo>
                      <a:pt x="50" y="55"/>
                    </a:lnTo>
                    <a:lnTo>
                      <a:pt x="47" y="58"/>
                    </a:lnTo>
                    <a:lnTo>
                      <a:pt x="38" y="72"/>
                    </a:lnTo>
                    <a:lnTo>
                      <a:pt x="28" y="77"/>
                    </a:lnTo>
                    <a:lnTo>
                      <a:pt x="21" y="79"/>
                    </a:lnTo>
                    <a:lnTo>
                      <a:pt x="20" y="79"/>
                    </a:lnTo>
                    <a:lnTo>
                      <a:pt x="15" y="75"/>
                    </a:lnTo>
                    <a:lnTo>
                      <a:pt x="11" y="69"/>
                    </a:lnTo>
                    <a:lnTo>
                      <a:pt x="10" y="62"/>
                    </a:lnTo>
                    <a:lnTo>
                      <a:pt x="10" y="55"/>
                    </a:lnTo>
                    <a:lnTo>
                      <a:pt x="10" y="48"/>
                    </a:lnTo>
                    <a:lnTo>
                      <a:pt x="8" y="42"/>
                    </a:lnTo>
                    <a:lnTo>
                      <a:pt x="6" y="38"/>
                    </a:lnTo>
                    <a:lnTo>
                      <a:pt x="5" y="23"/>
                    </a:lnTo>
                    <a:lnTo>
                      <a:pt x="3" y="18"/>
                    </a:lnTo>
                    <a:lnTo>
                      <a:pt x="0" y="14"/>
                    </a:lnTo>
                    <a:lnTo>
                      <a:pt x="0" y="15"/>
                    </a:lnTo>
                    <a:lnTo>
                      <a:pt x="0" y="8"/>
                    </a:lnTo>
                    <a:lnTo>
                      <a:pt x="3" y="6"/>
                    </a:lnTo>
                    <a:lnTo>
                      <a:pt x="6" y="6"/>
                    </a:lnTo>
                    <a:lnTo>
                      <a:pt x="7" y="7"/>
                    </a:lnTo>
                    <a:lnTo>
                      <a:pt x="10" y="11"/>
                    </a:lnTo>
                    <a:lnTo>
                      <a:pt x="13" y="17"/>
                    </a:lnTo>
                    <a:lnTo>
                      <a:pt x="14" y="17"/>
                    </a:lnTo>
                    <a:lnTo>
                      <a:pt x="18" y="17"/>
                    </a:lnTo>
                    <a:lnTo>
                      <a:pt x="21" y="15"/>
                    </a:lnTo>
                    <a:lnTo>
                      <a:pt x="27" y="14"/>
                    </a:lnTo>
                    <a:lnTo>
                      <a:pt x="30" y="12"/>
                    </a:lnTo>
                    <a:lnTo>
                      <a:pt x="30" y="6"/>
                    </a:lnTo>
                    <a:lnTo>
                      <a:pt x="31" y="4"/>
                    </a:lnTo>
                    <a:lnTo>
                      <a:pt x="32" y="1"/>
                    </a:lnTo>
                    <a:lnTo>
                      <a:pt x="38" y="3"/>
                    </a:lnTo>
                    <a:lnTo>
                      <a:pt x="48" y="0"/>
                    </a:lnTo>
                    <a:lnTo>
                      <a:pt x="52" y="0"/>
                    </a:lnTo>
                    <a:lnTo>
                      <a:pt x="52"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3" name="Freeform 89"/>
              <p:cNvSpPr>
                <a:spLocks/>
              </p:cNvSpPr>
              <p:nvPr/>
            </p:nvSpPr>
            <p:spPr bwMode="auto">
              <a:xfrm>
                <a:off x="2488" y="2616"/>
                <a:ext cx="67" cy="83"/>
              </a:xfrm>
              <a:custGeom>
                <a:avLst/>
                <a:gdLst>
                  <a:gd name="T0" fmla="*/ 74 w 63"/>
                  <a:gd name="T1" fmla="*/ 1 h 79"/>
                  <a:gd name="T2" fmla="*/ 79 w 63"/>
                  <a:gd name="T3" fmla="*/ 1 h 79"/>
                  <a:gd name="T4" fmla="*/ 83 w 63"/>
                  <a:gd name="T5" fmla="*/ 3 h 79"/>
                  <a:gd name="T6" fmla="*/ 77 w 63"/>
                  <a:gd name="T7" fmla="*/ 6 h 79"/>
                  <a:gd name="T8" fmla="*/ 74 w 63"/>
                  <a:gd name="T9" fmla="*/ 17 h 79"/>
                  <a:gd name="T10" fmla="*/ 74 w 63"/>
                  <a:gd name="T11" fmla="*/ 21 h 79"/>
                  <a:gd name="T12" fmla="*/ 74 w 63"/>
                  <a:gd name="T13" fmla="*/ 23 h 79"/>
                  <a:gd name="T14" fmla="*/ 79 w 63"/>
                  <a:gd name="T15" fmla="*/ 26 h 79"/>
                  <a:gd name="T16" fmla="*/ 86 w 63"/>
                  <a:gd name="T17" fmla="*/ 27 h 79"/>
                  <a:gd name="T18" fmla="*/ 89 w 63"/>
                  <a:gd name="T19" fmla="*/ 29 h 79"/>
                  <a:gd name="T20" fmla="*/ 91 w 63"/>
                  <a:gd name="T21" fmla="*/ 36 h 79"/>
                  <a:gd name="T22" fmla="*/ 91 w 63"/>
                  <a:gd name="T23" fmla="*/ 45 h 79"/>
                  <a:gd name="T24" fmla="*/ 87 w 63"/>
                  <a:gd name="T25" fmla="*/ 50 h 79"/>
                  <a:gd name="T26" fmla="*/ 77 w 63"/>
                  <a:gd name="T27" fmla="*/ 60 h 79"/>
                  <a:gd name="T28" fmla="*/ 72 w 63"/>
                  <a:gd name="T29" fmla="*/ 74 h 79"/>
                  <a:gd name="T30" fmla="*/ 68 w 63"/>
                  <a:gd name="T31" fmla="*/ 78 h 79"/>
                  <a:gd name="T32" fmla="*/ 55 w 63"/>
                  <a:gd name="T33" fmla="*/ 97 h 79"/>
                  <a:gd name="T34" fmla="*/ 40 w 63"/>
                  <a:gd name="T35" fmla="*/ 104 h 79"/>
                  <a:gd name="T36" fmla="*/ 30 w 63"/>
                  <a:gd name="T37" fmla="*/ 106 h 79"/>
                  <a:gd name="T38" fmla="*/ 28 w 63"/>
                  <a:gd name="T39" fmla="*/ 106 h 79"/>
                  <a:gd name="T40" fmla="*/ 21 w 63"/>
                  <a:gd name="T41" fmla="*/ 101 h 79"/>
                  <a:gd name="T42" fmla="*/ 17 w 63"/>
                  <a:gd name="T43" fmla="*/ 92 h 79"/>
                  <a:gd name="T44" fmla="*/ 16 w 63"/>
                  <a:gd name="T45" fmla="*/ 83 h 79"/>
                  <a:gd name="T46" fmla="*/ 16 w 63"/>
                  <a:gd name="T47" fmla="*/ 74 h 79"/>
                  <a:gd name="T48" fmla="*/ 16 w 63"/>
                  <a:gd name="T49" fmla="*/ 65 h 79"/>
                  <a:gd name="T50" fmla="*/ 14 w 63"/>
                  <a:gd name="T51" fmla="*/ 56 h 79"/>
                  <a:gd name="T52" fmla="*/ 6 w 63"/>
                  <a:gd name="T53" fmla="*/ 50 h 79"/>
                  <a:gd name="T54" fmla="*/ 5 w 63"/>
                  <a:gd name="T55" fmla="*/ 29 h 79"/>
                  <a:gd name="T56" fmla="*/ 3 w 63"/>
                  <a:gd name="T57" fmla="*/ 24 h 79"/>
                  <a:gd name="T58" fmla="*/ 0 w 63"/>
                  <a:gd name="T59" fmla="*/ 20 h 79"/>
                  <a:gd name="T60" fmla="*/ 0 w 63"/>
                  <a:gd name="T61" fmla="*/ 21 h 79"/>
                  <a:gd name="T62" fmla="*/ 0 w 63"/>
                  <a:gd name="T63" fmla="*/ 8 h 79"/>
                  <a:gd name="T64" fmla="*/ 3 w 63"/>
                  <a:gd name="T65" fmla="*/ 6 h 79"/>
                  <a:gd name="T66" fmla="*/ 6 w 63"/>
                  <a:gd name="T67" fmla="*/ 6 h 79"/>
                  <a:gd name="T68" fmla="*/ 7 w 63"/>
                  <a:gd name="T69" fmla="*/ 7 h 79"/>
                  <a:gd name="T70" fmla="*/ 16 w 63"/>
                  <a:gd name="T71" fmla="*/ 17 h 79"/>
                  <a:gd name="T72" fmla="*/ 19 w 63"/>
                  <a:gd name="T73" fmla="*/ 23 h 79"/>
                  <a:gd name="T74" fmla="*/ 20 w 63"/>
                  <a:gd name="T75" fmla="*/ 23 h 79"/>
                  <a:gd name="T76" fmla="*/ 24 w 63"/>
                  <a:gd name="T77" fmla="*/ 23 h 79"/>
                  <a:gd name="T78" fmla="*/ 30 w 63"/>
                  <a:gd name="T79" fmla="*/ 21 h 79"/>
                  <a:gd name="T80" fmla="*/ 39 w 63"/>
                  <a:gd name="T81" fmla="*/ 20 h 79"/>
                  <a:gd name="T82" fmla="*/ 43 w 63"/>
                  <a:gd name="T83" fmla="*/ 18 h 79"/>
                  <a:gd name="T84" fmla="*/ 43 w 63"/>
                  <a:gd name="T85" fmla="*/ 6 h 79"/>
                  <a:gd name="T86" fmla="*/ 44 w 63"/>
                  <a:gd name="T87" fmla="*/ 4 h 79"/>
                  <a:gd name="T88" fmla="*/ 46 w 63"/>
                  <a:gd name="T89" fmla="*/ 1 h 79"/>
                  <a:gd name="T90" fmla="*/ 55 w 63"/>
                  <a:gd name="T91" fmla="*/ 3 h 79"/>
                  <a:gd name="T92" fmla="*/ 69 w 63"/>
                  <a:gd name="T93" fmla="*/ 0 h 79"/>
                  <a:gd name="T94" fmla="*/ 74 w 63"/>
                  <a:gd name="T95" fmla="*/ 0 h 79"/>
                  <a:gd name="T96" fmla="*/ 74 w 63"/>
                  <a:gd name="T97" fmla="*/ 1 h 7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3"/>
                  <a:gd name="T148" fmla="*/ 0 h 79"/>
                  <a:gd name="T149" fmla="*/ 63 w 63"/>
                  <a:gd name="T150" fmla="*/ 79 h 7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3" h="79">
                    <a:moveTo>
                      <a:pt x="52" y="1"/>
                    </a:moveTo>
                    <a:lnTo>
                      <a:pt x="55" y="1"/>
                    </a:lnTo>
                    <a:lnTo>
                      <a:pt x="57" y="3"/>
                    </a:lnTo>
                    <a:lnTo>
                      <a:pt x="53" y="6"/>
                    </a:lnTo>
                    <a:lnTo>
                      <a:pt x="52" y="11"/>
                    </a:lnTo>
                    <a:lnTo>
                      <a:pt x="52" y="15"/>
                    </a:lnTo>
                    <a:lnTo>
                      <a:pt x="52" y="17"/>
                    </a:lnTo>
                    <a:lnTo>
                      <a:pt x="55" y="20"/>
                    </a:lnTo>
                    <a:lnTo>
                      <a:pt x="59" y="21"/>
                    </a:lnTo>
                    <a:lnTo>
                      <a:pt x="62" y="23"/>
                    </a:lnTo>
                    <a:lnTo>
                      <a:pt x="63" y="27"/>
                    </a:lnTo>
                    <a:lnTo>
                      <a:pt x="63" y="33"/>
                    </a:lnTo>
                    <a:lnTo>
                      <a:pt x="60" y="38"/>
                    </a:lnTo>
                    <a:lnTo>
                      <a:pt x="53" y="45"/>
                    </a:lnTo>
                    <a:lnTo>
                      <a:pt x="50" y="55"/>
                    </a:lnTo>
                    <a:lnTo>
                      <a:pt x="47" y="58"/>
                    </a:lnTo>
                    <a:lnTo>
                      <a:pt x="38" y="72"/>
                    </a:lnTo>
                    <a:lnTo>
                      <a:pt x="28" y="77"/>
                    </a:lnTo>
                    <a:lnTo>
                      <a:pt x="21" y="79"/>
                    </a:lnTo>
                    <a:lnTo>
                      <a:pt x="20" y="79"/>
                    </a:lnTo>
                    <a:lnTo>
                      <a:pt x="15" y="75"/>
                    </a:lnTo>
                    <a:lnTo>
                      <a:pt x="11" y="69"/>
                    </a:lnTo>
                    <a:lnTo>
                      <a:pt x="10" y="62"/>
                    </a:lnTo>
                    <a:lnTo>
                      <a:pt x="10" y="55"/>
                    </a:lnTo>
                    <a:lnTo>
                      <a:pt x="10" y="48"/>
                    </a:lnTo>
                    <a:lnTo>
                      <a:pt x="8" y="42"/>
                    </a:lnTo>
                    <a:lnTo>
                      <a:pt x="6" y="38"/>
                    </a:lnTo>
                    <a:lnTo>
                      <a:pt x="5" y="23"/>
                    </a:lnTo>
                    <a:lnTo>
                      <a:pt x="3" y="18"/>
                    </a:lnTo>
                    <a:lnTo>
                      <a:pt x="0" y="14"/>
                    </a:lnTo>
                    <a:lnTo>
                      <a:pt x="0" y="15"/>
                    </a:lnTo>
                    <a:lnTo>
                      <a:pt x="0" y="8"/>
                    </a:lnTo>
                    <a:lnTo>
                      <a:pt x="3" y="6"/>
                    </a:lnTo>
                    <a:lnTo>
                      <a:pt x="6" y="6"/>
                    </a:lnTo>
                    <a:lnTo>
                      <a:pt x="7" y="7"/>
                    </a:lnTo>
                    <a:lnTo>
                      <a:pt x="10" y="11"/>
                    </a:lnTo>
                    <a:lnTo>
                      <a:pt x="13" y="17"/>
                    </a:lnTo>
                    <a:lnTo>
                      <a:pt x="14" y="17"/>
                    </a:lnTo>
                    <a:lnTo>
                      <a:pt x="18" y="17"/>
                    </a:lnTo>
                    <a:lnTo>
                      <a:pt x="21" y="15"/>
                    </a:lnTo>
                    <a:lnTo>
                      <a:pt x="27" y="14"/>
                    </a:lnTo>
                    <a:lnTo>
                      <a:pt x="30" y="12"/>
                    </a:lnTo>
                    <a:lnTo>
                      <a:pt x="30" y="6"/>
                    </a:lnTo>
                    <a:lnTo>
                      <a:pt x="31" y="4"/>
                    </a:lnTo>
                    <a:lnTo>
                      <a:pt x="32" y="1"/>
                    </a:lnTo>
                    <a:lnTo>
                      <a:pt x="38" y="3"/>
                    </a:lnTo>
                    <a:lnTo>
                      <a:pt x="48" y="0"/>
                    </a:lnTo>
                    <a:lnTo>
                      <a:pt x="52" y="0"/>
                    </a:lnTo>
                    <a:lnTo>
                      <a:pt x="52" y="1"/>
                    </a:lnTo>
                    <a:close/>
                  </a:path>
                </a:pathLst>
              </a:custGeom>
              <a:solidFill>
                <a:srgbClr val="17375E"/>
              </a:solidFill>
              <a:ln w="7938">
                <a:solidFill>
                  <a:srgbClr val="1C1329"/>
                </a:solidFill>
                <a:miter lim="800000"/>
                <a:headEnd/>
                <a:tailEnd/>
              </a:ln>
            </p:spPr>
            <p:txBody>
              <a:bodyPr/>
              <a:lstStyle/>
              <a:p>
                <a:pPr>
                  <a:defRPr/>
                </a:pPr>
                <a:endParaRPr lang="en-US">
                  <a:latin typeface="Arial" panose="020B0604020202020204" pitchFamily="34" charset="0"/>
                  <a:ea typeface="ＭＳ Ｐゴシック" panose="020B0600070205080204" pitchFamily="34" charset="-128"/>
                  <a:cs typeface="+mn-cs"/>
                </a:endParaRPr>
              </a:p>
            </p:txBody>
          </p:sp>
          <p:sp>
            <p:nvSpPr>
              <p:cNvPr id="304" name="Freeform 90"/>
              <p:cNvSpPr>
                <a:spLocks/>
              </p:cNvSpPr>
              <p:nvPr/>
            </p:nvSpPr>
            <p:spPr bwMode="auto">
              <a:xfrm>
                <a:off x="2510" y="2358"/>
                <a:ext cx="219" cy="220"/>
              </a:xfrm>
              <a:custGeom>
                <a:avLst/>
                <a:gdLst>
                  <a:gd name="T0" fmla="*/ 5123 w 204"/>
                  <a:gd name="T1" fmla="*/ 501 h 209"/>
                  <a:gd name="T2" fmla="*/ 5639 w 204"/>
                  <a:gd name="T3" fmla="*/ 388 h 209"/>
                  <a:gd name="T4" fmla="*/ 7506 w 204"/>
                  <a:gd name="T5" fmla="*/ 408 h 209"/>
                  <a:gd name="T6" fmla="*/ 9267 w 204"/>
                  <a:gd name="T7" fmla="*/ 369 h 209"/>
                  <a:gd name="T8" fmla="*/ 10703 w 204"/>
                  <a:gd name="T9" fmla="*/ 429 h 209"/>
                  <a:gd name="T10" fmla="*/ 13044 w 204"/>
                  <a:gd name="T11" fmla="*/ 351 h 209"/>
                  <a:gd name="T12" fmla="*/ 15548 w 204"/>
                  <a:gd name="T13" fmla="*/ 351 h 209"/>
                  <a:gd name="T14" fmla="*/ 17918 w 204"/>
                  <a:gd name="T15" fmla="*/ 0 h 209"/>
                  <a:gd name="T16" fmla="*/ 18931 w 204"/>
                  <a:gd name="T17" fmla="*/ 3 h 209"/>
                  <a:gd name="T18" fmla="*/ 19108 w 204"/>
                  <a:gd name="T19" fmla="*/ 333 h 209"/>
                  <a:gd name="T20" fmla="*/ 19346 w 204"/>
                  <a:gd name="T21" fmla="*/ 388 h 209"/>
                  <a:gd name="T22" fmla="*/ 20134 w 204"/>
                  <a:gd name="T23" fmla="*/ 1081 h 209"/>
                  <a:gd name="T24" fmla="*/ 20769 w 204"/>
                  <a:gd name="T25" fmla="*/ 1261 h 209"/>
                  <a:gd name="T26" fmla="*/ 21720 w 204"/>
                  <a:gd name="T27" fmla="*/ 1471 h 209"/>
                  <a:gd name="T28" fmla="*/ 21817 w 204"/>
                  <a:gd name="T29" fmla="*/ 1932 h 209"/>
                  <a:gd name="T30" fmla="*/ 22021 w 204"/>
                  <a:gd name="T31" fmla="*/ 2625 h 209"/>
                  <a:gd name="T32" fmla="*/ 21172 w 204"/>
                  <a:gd name="T33" fmla="*/ 3122 h 209"/>
                  <a:gd name="T34" fmla="*/ 20269 w 204"/>
                  <a:gd name="T35" fmla="*/ 3439 h 209"/>
                  <a:gd name="T36" fmla="*/ 18136 w 204"/>
                  <a:gd name="T37" fmla="*/ 4223 h 209"/>
                  <a:gd name="T38" fmla="*/ 17588 w 204"/>
                  <a:gd name="T39" fmla="*/ 4391 h 209"/>
                  <a:gd name="T40" fmla="*/ 16353 w 204"/>
                  <a:gd name="T41" fmla="*/ 4440 h 209"/>
                  <a:gd name="T42" fmla="*/ 14849 w 204"/>
                  <a:gd name="T43" fmla="*/ 4223 h 209"/>
                  <a:gd name="T44" fmla="*/ 13242 w 204"/>
                  <a:gd name="T45" fmla="*/ 4458 h 209"/>
                  <a:gd name="T46" fmla="*/ 12151 w 204"/>
                  <a:gd name="T47" fmla="*/ 4391 h 209"/>
                  <a:gd name="T48" fmla="*/ 11490 w 204"/>
                  <a:gd name="T49" fmla="*/ 4471 h 209"/>
                  <a:gd name="T50" fmla="*/ 10703 w 204"/>
                  <a:gd name="T51" fmla="*/ 4644 h 209"/>
                  <a:gd name="T52" fmla="*/ 9270 w 204"/>
                  <a:gd name="T53" fmla="*/ 4784 h 209"/>
                  <a:gd name="T54" fmla="*/ 9270 w 204"/>
                  <a:gd name="T55" fmla="*/ 5016 h 209"/>
                  <a:gd name="T56" fmla="*/ 8651 w 204"/>
                  <a:gd name="T57" fmla="*/ 5701 h 209"/>
                  <a:gd name="T58" fmla="*/ 5253 w 204"/>
                  <a:gd name="T59" fmla="*/ 5739 h 209"/>
                  <a:gd name="T60" fmla="*/ 3203 w 204"/>
                  <a:gd name="T61" fmla="*/ 5744 h 209"/>
                  <a:gd name="T62" fmla="*/ 2347 w 204"/>
                  <a:gd name="T63" fmla="*/ 5851 h 209"/>
                  <a:gd name="T64" fmla="*/ 1428 w 204"/>
                  <a:gd name="T65" fmla="*/ 6159 h 209"/>
                  <a:gd name="T66" fmla="*/ 4 w 204"/>
                  <a:gd name="T67" fmla="*/ 6159 h 209"/>
                  <a:gd name="T68" fmla="*/ 0 w 204"/>
                  <a:gd name="T69" fmla="*/ 5655 h 209"/>
                  <a:gd name="T70" fmla="*/ 2 w 204"/>
                  <a:gd name="T71" fmla="*/ 4706 h 209"/>
                  <a:gd name="T72" fmla="*/ 1154 w 204"/>
                  <a:gd name="T73" fmla="*/ 3897 h 209"/>
                  <a:gd name="T74" fmla="*/ 2413 w 204"/>
                  <a:gd name="T75" fmla="*/ 3439 h 209"/>
                  <a:gd name="T76" fmla="*/ 3439 w 204"/>
                  <a:gd name="T77" fmla="*/ 3392 h 209"/>
                  <a:gd name="T78" fmla="*/ 3963 w 204"/>
                  <a:gd name="T79" fmla="*/ 3413 h 209"/>
                  <a:gd name="T80" fmla="*/ 5500 w 204"/>
                  <a:gd name="T81" fmla="*/ 2908 h 209"/>
                  <a:gd name="T82" fmla="*/ 6499 w 204"/>
                  <a:gd name="T83" fmla="*/ 2677 h 209"/>
                  <a:gd name="T84" fmla="*/ 6992 w 204"/>
                  <a:gd name="T85" fmla="*/ 2494 h 209"/>
                  <a:gd name="T86" fmla="*/ 6977 w 204"/>
                  <a:gd name="T87" fmla="*/ 2071 h 209"/>
                  <a:gd name="T88" fmla="*/ 6416 w 204"/>
                  <a:gd name="T89" fmla="*/ 2105 h 209"/>
                  <a:gd name="T90" fmla="*/ 5639 w 204"/>
                  <a:gd name="T91" fmla="*/ 1929 h 209"/>
                  <a:gd name="T92" fmla="*/ 4893 w 204"/>
                  <a:gd name="T93" fmla="*/ 1743 h 209"/>
                  <a:gd name="T94" fmla="*/ 4558 w 204"/>
                  <a:gd name="T95" fmla="*/ 1098 h 2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4"/>
                  <a:gd name="T145" fmla="*/ 0 h 209"/>
                  <a:gd name="T146" fmla="*/ 204 w 204"/>
                  <a:gd name="T147" fmla="*/ 209 h 2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4" h="209">
                    <a:moveTo>
                      <a:pt x="44" y="25"/>
                    </a:moveTo>
                    <a:lnTo>
                      <a:pt x="47" y="18"/>
                    </a:lnTo>
                    <a:lnTo>
                      <a:pt x="47" y="17"/>
                    </a:lnTo>
                    <a:lnTo>
                      <a:pt x="52" y="13"/>
                    </a:lnTo>
                    <a:lnTo>
                      <a:pt x="62" y="12"/>
                    </a:lnTo>
                    <a:lnTo>
                      <a:pt x="70" y="14"/>
                    </a:lnTo>
                    <a:lnTo>
                      <a:pt x="76" y="13"/>
                    </a:lnTo>
                    <a:lnTo>
                      <a:pt x="85" y="12"/>
                    </a:lnTo>
                    <a:lnTo>
                      <a:pt x="89" y="18"/>
                    </a:lnTo>
                    <a:lnTo>
                      <a:pt x="100" y="15"/>
                    </a:lnTo>
                    <a:lnTo>
                      <a:pt x="111" y="14"/>
                    </a:lnTo>
                    <a:lnTo>
                      <a:pt x="120" y="11"/>
                    </a:lnTo>
                    <a:lnTo>
                      <a:pt x="131" y="11"/>
                    </a:lnTo>
                    <a:lnTo>
                      <a:pt x="144" y="11"/>
                    </a:lnTo>
                    <a:lnTo>
                      <a:pt x="163" y="0"/>
                    </a:lnTo>
                    <a:lnTo>
                      <a:pt x="166" y="0"/>
                    </a:lnTo>
                    <a:lnTo>
                      <a:pt x="166" y="2"/>
                    </a:lnTo>
                    <a:lnTo>
                      <a:pt x="176" y="3"/>
                    </a:lnTo>
                    <a:lnTo>
                      <a:pt x="177" y="5"/>
                    </a:lnTo>
                    <a:lnTo>
                      <a:pt x="177" y="10"/>
                    </a:lnTo>
                    <a:lnTo>
                      <a:pt x="177" y="11"/>
                    </a:lnTo>
                    <a:lnTo>
                      <a:pt x="179" y="13"/>
                    </a:lnTo>
                    <a:lnTo>
                      <a:pt x="182" y="31"/>
                    </a:lnTo>
                    <a:lnTo>
                      <a:pt x="185" y="37"/>
                    </a:lnTo>
                    <a:lnTo>
                      <a:pt x="188" y="40"/>
                    </a:lnTo>
                    <a:lnTo>
                      <a:pt x="192" y="43"/>
                    </a:lnTo>
                    <a:lnTo>
                      <a:pt x="196" y="44"/>
                    </a:lnTo>
                    <a:lnTo>
                      <a:pt x="201" y="49"/>
                    </a:lnTo>
                    <a:lnTo>
                      <a:pt x="203" y="54"/>
                    </a:lnTo>
                    <a:lnTo>
                      <a:pt x="203" y="66"/>
                    </a:lnTo>
                    <a:lnTo>
                      <a:pt x="204" y="75"/>
                    </a:lnTo>
                    <a:lnTo>
                      <a:pt x="204" y="88"/>
                    </a:lnTo>
                    <a:lnTo>
                      <a:pt x="201" y="98"/>
                    </a:lnTo>
                    <a:lnTo>
                      <a:pt x="196" y="106"/>
                    </a:lnTo>
                    <a:lnTo>
                      <a:pt x="189" y="114"/>
                    </a:lnTo>
                    <a:lnTo>
                      <a:pt x="188" y="117"/>
                    </a:lnTo>
                    <a:lnTo>
                      <a:pt x="182" y="124"/>
                    </a:lnTo>
                    <a:lnTo>
                      <a:pt x="169" y="143"/>
                    </a:lnTo>
                    <a:lnTo>
                      <a:pt x="166" y="147"/>
                    </a:lnTo>
                    <a:lnTo>
                      <a:pt x="163" y="148"/>
                    </a:lnTo>
                    <a:lnTo>
                      <a:pt x="156" y="147"/>
                    </a:lnTo>
                    <a:lnTo>
                      <a:pt x="151" y="150"/>
                    </a:lnTo>
                    <a:lnTo>
                      <a:pt x="141" y="146"/>
                    </a:lnTo>
                    <a:lnTo>
                      <a:pt x="137" y="143"/>
                    </a:lnTo>
                    <a:lnTo>
                      <a:pt x="129" y="153"/>
                    </a:lnTo>
                    <a:lnTo>
                      <a:pt x="123" y="152"/>
                    </a:lnTo>
                    <a:lnTo>
                      <a:pt x="115" y="150"/>
                    </a:lnTo>
                    <a:lnTo>
                      <a:pt x="112" y="148"/>
                    </a:lnTo>
                    <a:lnTo>
                      <a:pt x="111" y="153"/>
                    </a:lnTo>
                    <a:lnTo>
                      <a:pt x="107" y="153"/>
                    </a:lnTo>
                    <a:lnTo>
                      <a:pt x="103" y="153"/>
                    </a:lnTo>
                    <a:lnTo>
                      <a:pt x="100" y="157"/>
                    </a:lnTo>
                    <a:lnTo>
                      <a:pt x="93" y="160"/>
                    </a:lnTo>
                    <a:lnTo>
                      <a:pt x="86" y="162"/>
                    </a:lnTo>
                    <a:lnTo>
                      <a:pt x="85" y="165"/>
                    </a:lnTo>
                    <a:lnTo>
                      <a:pt x="86" y="170"/>
                    </a:lnTo>
                    <a:lnTo>
                      <a:pt x="78" y="190"/>
                    </a:lnTo>
                    <a:lnTo>
                      <a:pt x="81" y="193"/>
                    </a:lnTo>
                    <a:lnTo>
                      <a:pt x="48" y="193"/>
                    </a:lnTo>
                    <a:lnTo>
                      <a:pt x="48" y="194"/>
                    </a:lnTo>
                    <a:lnTo>
                      <a:pt x="44" y="196"/>
                    </a:lnTo>
                    <a:lnTo>
                      <a:pt x="30" y="195"/>
                    </a:lnTo>
                    <a:lnTo>
                      <a:pt x="26" y="197"/>
                    </a:lnTo>
                    <a:lnTo>
                      <a:pt x="21" y="198"/>
                    </a:lnTo>
                    <a:lnTo>
                      <a:pt x="18" y="201"/>
                    </a:lnTo>
                    <a:lnTo>
                      <a:pt x="14" y="208"/>
                    </a:lnTo>
                    <a:lnTo>
                      <a:pt x="7" y="209"/>
                    </a:lnTo>
                    <a:lnTo>
                      <a:pt x="4" y="208"/>
                    </a:lnTo>
                    <a:lnTo>
                      <a:pt x="0" y="205"/>
                    </a:lnTo>
                    <a:lnTo>
                      <a:pt x="0" y="190"/>
                    </a:lnTo>
                    <a:lnTo>
                      <a:pt x="2" y="170"/>
                    </a:lnTo>
                    <a:lnTo>
                      <a:pt x="2" y="161"/>
                    </a:lnTo>
                    <a:lnTo>
                      <a:pt x="7" y="139"/>
                    </a:lnTo>
                    <a:lnTo>
                      <a:pt x="11" y="132"/>
                    </a:lnTo>
                    <a:lnTo>
                      <a:pt x="15" y="127"/>
                    </a:lnTo>
                    <a:lnTo>
                      <a:pt x="22" y="117"/>
                    </a:lnTo>
                    <a:lnTo>
                      <a:pt x="31" y="109"/>
                    </a:lnTo>
                    <a:lnTo>
                      <a:pt x="32" y="114"/>
                    </a:lnTo>
                    <a:lnTo>
                      <a:pt x="33" y="116"/>
                    </a:lnTo>
                    <a:lnTo>
                      <a:pt x="37" y="116"/>
                    </a:lnTo>
                    <a:lnTo>
                      <a:pt x="41" y="109"/>
                    </a:lnTo>
                    <a:lnTo>
                      <a:pt x="50" y="98"/>
                    </a:lnTo>
                    <a:lnTo>
                      <a:pt x="54" y="95"/>
                    </a:lnTo>
                    <a:lnTo>
                      <a:pt x="60" y="91"/>
                    </a:lnTo>
                    <a:lnTo>
                      <a:pt x="64" y="88"/>
                    </a:lnTo>
                    <a:lnTo>
                      <a:pt x="65" y="84"/>
                    </a:lnTo>
                    <a:lnTo>
                      <a:pt x="65" y="71"/>
                    </a:lnTo>
                    <a:lnTo>
                      <a:pt x="64" y="70"/>
                    </a:lnTo>
                    <a:lnTo>
                      <a:pt x="62" y="69"/>
                    </a:lnTo>
                    <a:lnTo>
                      <a:pt x="59" y="71"/>
                    </a:lnTo>
                    <a:lnTo>
                      <a:pt x="57" y="68"/>
                    </a:lnTo>
                    <a:lnTo>
                      <a:pt x="52" y="65"/>
                    </a:lnTo>
                    <a:lnTo>
                      <a:pt x="48" y="63"/>
                    </a:lnTo>
                    <a:lnTo>
                      <a:pt x="45" y="60"/>
                    </a:lnTo>
                    <a:lnTo>
                      <a:pt x="42" y="53"/>
                    </a:lnTo>
                    <a:lnTo>
                      <a:pt x="42" y="38"/>
                    </a:lnTo>
                    <a:lnTo>
                      <a:pt x="44" y="25"/>
                    </a:lnTo>
                    <a:close/>
                  </a:path>
                </a:pathLst>
              </a:custGeom>
              <a:solidFill>
                <a:srgbClr val="1737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5" name="Freeform 91"/>
              <p:cNvSpPr>
                <a:spLocks/>
              </p:cNvSpPr>
              <p:nvPr/>
            </p:nvSpPr>
            <p:spPr bwMode="auto">
              <a:xfrm>
                <a:off x="2510" y="2358"/>
                <a:ext cx="219" cy="220"/>
              </a:xfrm>
              <a:custGeom>
                <a:avLst/>
                <a:gdLst>
                  <a:gd name="T0" fmla="*/ 5123 w 204"/>
                  <a:gd name="T1" fmla="*/ 501 h 209"/>
                  <a:gd name="T2" fmla="*/ 5639 w 204"/>
                  <a:gd name="T3" fmla="*/ 388 h 209"/>
                  <a:gd name="T4" fmla="*/ 7506 w 204"/>
                  <a:gd name="T5" fmla="*/ 408 h 209"/>
                  <a:gd name="T6" fmla="*/ 9267 w 204"/>
                  <a:gd name="T7" fmla="*/ 369 h 209"/>
                  <a:gd name="T8" fmla="*/ 10703 w 204"/>
                  <a:gd name="T9" fmla="*/ 429 h 209"/>
                  <a:gd name="T10" fmla="*/ 13044 w 204"/>
                  <a:gd name="T11" fmla="*/ 351 h 209"/>
                  <a:gd name="T12" fmla="*/ 15548 w 204"/>
                  <a:gd name="T13" fmla="*/ 351 h 209"/>
                  <a:gd name="T14" fmla="*/ 17918 w 204"/>
                  <a:gd name="T15" fmla="*/ 0 h 209"/>
                  <a:gd name="T16" fmla="*/ 18931 w 204"/>
                  <a:gd name="T17" fmla="*/ 3 h 209"/>
                  <a:gd name="T18" fmla="*/ 19108 w 204"/>
                  <a:gd name="T19" fmla="*/ 333 h 209"/>
                  <a:gd name="T20" fmla="*/ 19346 w 204"/>
                  <a:gd name="T21" fmla="*/ 388 h 209"/>
                  <a:gd name="T22" fmla="*/ 20134 w 204"/>
                  <a:gd name="T23" fmla="*/ 1081 h 209"/>
                  <a:gd name="T24" fmla="*/ 20769 w 204"/>
                  <a:gd name="T25" fmla="*/ 1261 h 209"/>
                  <a:gd name="T26" fmla="*/ 21720 w 204"/>
                  <a:gd name="T27" fmla="*/ 1471 h 209"/>
                  <a:gd name="T28" fmla="*/ 21817 w 204"/>
                  <a:gd name="T29" fmla="*/ 1932 h 209"/>
                  <a:gd name="T30" fmla="*/ 22021 w 204"/>
                  <a:gd name="T31" fmla="*/ 2625 h 209"/>
                  <a:gd name="T32" fmla="*/ 21172 w 204"/>
                  <a:gd name="T33" fmla="*/ 3122 h 209"/>
                  <a:gd name="T34" fmla="*/ 20269 w 204"/>
                  <a:gd name="T35" fmla="*/ 3439 h 209"/>
                  <a:gd name="T36" fmla="*/ 18136 w 204"/>
                  <a:gd name="T37" fmla="*/ 4223 h 209"/>
                  <a:gd name="T38" fmla="*/ 17588 w 204"/>
                  <a:gd name="T39" fmla="*/ 4391 h 209"/>
                  <a:gd name="T40" fmla="*/ 16353 w 204"/>
                  <a:gd name="T41" fmla="*/ 4440 h 209"/>
                  <a:gd name="T42" fmla="*/ 14849 w 204"/>
                  <a:gd name="T43" fmla="*/ 4223 h 209"/>
                  <a:gd name="T44" fmla="*/ 13242 w 204"/>
                  <a:gd name="T45" fmla="*/ 4458 h 209"/>
                  <a:gd name="T46" fmla="*/ 12151 w 204"/>
                  <a:gd name="T47" fmla="*/ 4391 h 209"/>
                  <a:gd name="T48" fmla="*/ 11490 w 204"/>
                  <a:gd name="T49" fmla="*/ 4471 h 209"/>
                  <a:gd name="T50" fmla="*/ 10703 w 204"/>
                  <a:gd name="T51" fmla="*/ 4644 h 209"/>
                  <a:gd name="T52" fmla="*/ 9270 w 204"/>
                  <a:gd name="T53" fmla="*/ 4784 h 209"/>
                  <a:gd name="T54" fmla="*/ 9270 w 204"/>
                  <a:gd name="T55" fmla="*/ 5016 h 209"/>
                  <a:gd name="T56" fmla="*/ 8651 w 204"/>
                  <a:gd name="T57" fmla="*/ 5701 h 209"/>
                  <a:gd name="T58" fmla="*/ 5253 w 204"/>
                  <a:gd name="T59" fmla="*/ 5739 h 209"/>
                  <a:gd name="T60" fmla="*/ 3203 w 204"/>
                  <a:gd name="T61" fmla="*/ 5744 h 209"/>
                  <a:gd name="T62" fmla="*/ 2347 w 204"/>
                  <a:gd name="T63" fmla="*/ 5851 h 209"/>
                  <a:gd name="T64" fmla="*/ 1428 w 204"/>
                  <a:gd name="T65" fmla="*/ 6159 h 209"/>
                  <a:gd name="T66" fmla="*/ 4 w 204"/>
                  <a:gd name="T67" fmla="*/ 6159 h 209"/>
                  <a:gd name="T68" fmla="*/ 0 w 204"/>
                  <a:gd name="T69" fmla="*/ 5655 h 209"/>
                  <a:gd name="T70" fmla="*/ 2 w 204"/>
                  <a:gd name="T71" fmla="*/ 4706 h 209"/>
                  <a:gd name="T72" fmla="*/ 1154 w 204"/>
                  <a:gd name="T73" fmla="*/ 3897 h 209"/>
                  <a:gd name="T74" fmla="*/ 2413 w 204"/>
                  <a:gd name="T75" fmla="*/ 3439 h 209"/>
                  <a:gd name="T76" fmla="*/ 3439 w 204"/>
                  <a:gd name="T77" fmla="*/ 3392 h 209"/>
                  <a:gd name="T78" fmla="*/ 3963 w 204"/>
                  <a:gd name="T79" fmla="*/ 3413 h 209"/>
                  <a:gd name="T80" fmla="*/ 5500 w 204"/>
                  <a:gd name="T81" fmla="*/ 2908 h 209"/>
                  <a:gd name="T82" fmla="*/ 6499 w 204"/>
                  <a:gd name="T83" fmla="*/ 2677 h 209"/>
                  <a:gd name="T84" fmla="*/ 6992 w 204"/>
                  <a:gd name="T85" fmla="*/ 2494 h 209"/>
                  <a:gd name="T86" fmla="*/ 6977 w 204"/>
                  <a:gd name="T87" fmla="*/ 2071 h 209"/>
                  <a:gd name="T88" fmla="*/ 6416 w 204"/>
                  <a:gd name="T89" fmla="*/ 2105 h 209"/>
                  <a:gd name="T90" fmla="*/ 5639 w 204"/>
                  <a:gd name="T91" fmla="*/ 1929 h 209"/>
                  <a:gd name="T92" fmla="*/ 4893 w 204"/>
                  <a:gd name="T93" fmla="*/ 1743 h 209"/>
                  <a:gd name="T94" fmla="*/ 4558 w 204"/>
                  <a:gd name="T95" fmla="*/ 1098 h 2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4"/>
                  <a:gd name="T145" fmla="*/ 0 h 209"/>
                  <a:gd name="T146" fmla="*/ 204 w 204"/>
                  <a:gd name="T147" fmla="*/ 209 h 2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4" h="209">
                    <a:moveTo>
                      <a:pt x="44" y="25"/>
                    </a:moveTo>
                    <a:lnTo>
                      <a:pt x="47" y="18"/>
                    </a:lnTo>
                    <a:lnTo>
                      <a:pt x="47" y="17"/>
                    </a:lnTo>
                    <a:lnTo>
                      <a:pt x="52" y="13"/>
                    </a:lnTo>
                    <a:lnTo>
                      <a:pt x="62" y="12"/>
                    </a:lnTo>
                    <a:lnTo>
                      <a:pt x="70" y="14"/>
                    </a:lnTo>
                    <a:lnTo>
                      <a:pt x="76" y="13"/>
                    </a:lnTo>
                    <a:lnTo>
                      <a:pt x="85" y="12"/>
                    </a:lnTo>
                    <a:lnTo>
                      <a:pt x="89" y="18"/>
                    </a:lnTo>
                    <a:lnTo>
                      <a:pt x="100" y="15"/>
                    </a:lnTo>
                    <a:lnTo>
                      <a:pt x="111" y="14"/>
                    </a:lnTo>
                    <a:lnTo>
                      <a:pt x="120" y="11"/>
                    </a:lnTo>
                    <a:lnTo>
                      <a:pt x="131" y="11"/>
                    </a:lnTo>
                    <a:lnTo>
                      <a:pt x="144" y="11"/>
                    </a:lnTo>
                    <a:lnTo>
                      <a:pt x="163" y="0"/>
                    </a:lnTo>
                    <a:lnTo>
                      <a:pt x="166" y="0"/>
                    </a:lnTo>
                    <a:lnTo>
                      <a:pt x="166" y="2"/>
                    </a:lnTo>
                    <a:lnTo>
                      <a:pt x="176" y="3"/>
                    </a:lnTo>
                    <a:lnTo>
                      <a:pt x="177" y="5"/>
                    </a:lnTo>
                    <a:lnTo>
                      <a:pt x="177" y="10"/>
                    </a:lnTo>
                    <a:lnTo>
                      <a:pt x="177" y="11"/>
                    </a:lnTo>
                    <a:lnTo>
                      <a:pt x="179" y="13"/>
                    </a:lnTo>
                    <a:lnTo>
                      <a:pt x="182" y="31"/>
                    </a:lnTo>
                    <a:lnTo>
                      <a:pt x="185" y="37"/>
                    </a:lnTo>
                    <a:lnTo>
                      <a:pt x="188" y="40"/>
                    </a:lnTo>
                    <a:lnTo>
                      <a:pt x="192" y="43"/>
                    </a:lnTo>
                    <a:lnTo>
                      <a:pt x="196" y="44"/>
                    </a:lnTo>
                    <a:lnTo>
                      <a:pt x="201" y="49"/>
                    </a:lnTo>
                    <a:lnTo>
                      <a:pt x="203" y="54"/>
                    </a:lnTo>
                    <a:lnTo>
                      <a:pt x="203" y="66"/>
                    </a:lnTo>
                    <a:lnTo>
                      <a:pt x="204" y="75"/>
                    </a:lnTo>
                    <a:lnTo>
                      <a:pt x="204" y="88"/>
                    </a:lnTo>
                    <a:lnTo>
                      <a:pt x="201" y="98"/>
                    </a:lnTo>
                    <a:lnTo>
                      <a:pt x="196" y="106"/>
                    </a:lnTo>
                    <a:lnTo>
                      <a:pt x="189" y="114"/>
                    </a:lnTo>
                    <a:lnTo>
                      <a:pt x="188" y="117"/>
                    </a:lnTo>
                    <a:lnTo>
                      <a:pt x="182" y="124"/>
                    </a:lnTo>
                    <a:lnTo>
                      <a:pt x="169" y="143"/>
                    </a:lnTo>
                    <a:lnTo>
                      <a:pt x="166" y="147"/>
                    </a:lnTo>
                    <a:lnTo>
                      <a:pt x="163" y="148"/>
                    </a:lnTo>
                    <a:lnTo>
                      <a:pt x="156" y="147"/>
                    </a:lnTo>
                    <a:lnTo>
                      <a:pt x="151" y="150"/>
                    </a:lnTo>
                    <a:lnTo>
                      <a:pt x="141" y="146"/>
                    </a:lnTo>
                    <a:lnTo>
                      <a:pt x="137" y="143"/>
                    </a:lnTo>
                    <a:lnTo>
                      <a:pt x="129" y="153"/>
                    </a:lnTo>
                    <a:lnTo>
                      <a:pt x="123" y="152"/>
                    </a:lnTo>
                    <a:lnTo>
                      <a:pt x="115" y="150"/>
                    </a:lnTo>
                    <a:lnTo>
                      <a:pt x="112" y="148"/>
                    </a:lnTo>
                    <a:lnTo>
                      <a:pt x="111" y="153"/>
                    </a:lnTo>
                    <a:lnTo>
                      <a:pt x="107" y="153"/>
                    </a:lnTo>
                    <a:lnTo>
                      <a:pt x="103" y="153"/>
                    </a:lnTo>
                    <a:lnTo>
                      <a:pt x="100" y="157"/>
                    </a:lnTo>
                    <a:lnTo>
                      <a:pt x="93" y="160"/>
                    </a:lnTo>
                    <a:lnTo>
                      <a:pt x="86" y="162"/>
                    </a:lnTo>
                    <a:lnTo>
                      <a:pt x="85" y="165"/>
                    </a:lnTo>
                    <a:lnTo>
                      <a:pt x="86" y="170"/>
                    </a:lnTo>
                    <a:lnTo>
                      <a:pt x="78" y="190"/>
                    </a:lnTo>
                    <a:lnTo>
                      <a:pt x="81" y="193"/>
                    </a:lnTo>
                    <a:lnTo>
                      <a:pt x="48" y="193"/>
                    </a:lnTo>
                    <a:lnTo>
                      <a:pt x="48" y="194"/>
                    </a:lnTo>
                    <a:lnTo>
                      <a:pt x="44" y="196"/>
                    </a:lnTo>
                    <a:lnTo>
                      <a:pt x="30" y="195"/>
                    </a:lnTo>
                    <a:lnTo>
                      <a:pt x="26" y="197"/>
                    </a:lnTo>
                    <a:lnTo>
                      <a:pt x="21" y="198"/>
                    </a:lnTo>
                    <a:lnTo>
                      <a:pt x="18" y="201"/>
                    </a:lnTo>
                    <a:lnTo>
                      <a:pt x="14" y="208"/>
                    </a:lnTo>
                    <a:lnTo>
                      <a:pt x="7" y="209"/>
                    </a:lnTo>
                    <a:lnTo>
                      <a:pt x="4" y="208"/>
                    </a:lnTo>
                    <a:lnTo>
                      <a:pt x="0" y="205"/>
                    </a:lnTo>
                    <a:lnTo>
                      <a:pt x="0" y="190"/>
                    </a:lnTo>
                    <a:lnTo>
                      <a:pt x="2" y="170"/>
                    </a:lnTo>
                    <a:lnTo>
                      <a:pt x="2" y="161"/>
                    </a:lnTo>
                    <a:lnTo>
                      <a:pt x="7" y="139"/>
                    </a:lnTo>
                    <a:lnTo>
                      <a:pt x="11" y="132"/>
                    </a:lnTo>
                    <a:lnTo>
                      <a:pt x="15" y="127"/>
                    </a:lnTo>
                    <a:lnTo>
                      <a:pt x="22" y="117"/>
                    </a:lnTo>
                    <a:lnTo>
                      <a:pt x="31" y="109"/>
                    </a:lnTo>
                    <a:lnTo>
                      <a:pt x="32" y="114"/>
                    </a:lnTo>
                    <a:lnTo>
                      <a:pt x="33" y="116"/>
                    </a:lnTo>
                    <a:lnTo>
                      <a:pt x="37" y="116"/>
                    </a:lnTo>
                    <a:lnTo>
                      <a:pt x="41" y="109"/>
                    </a:lnTo>
                    <a:lnTo>
                      <a:pt x="50" y="98"/>
                    </a:lnTo>
                    <a:lnTo>
                      <a:pt x="54" y="95"/>
                    </a:lnTo>
                    <a:lnTo>
                      <a:pt x="60" y="91"/>
                    </a:lnTo>
                    <a:lnTo>
                      <a:pt x="64" y="88"/>
                    </a:lnTo>
                    <a:lnTo>
                      <a:pt x="65" y="84"/>
                    </a:lnTo>
                    <a:lnTo>
                      <a:pt x="65" y="71"/>
                    </a:lnTo>
                    <a:lnTo>
                      <a:pt x="64" y="70"/>
                    </a:lnTo>
                    <a:lnTo>
                      <a:pt x="62" y="69"/>
                    </a:lnTo>
                    <a:lnTo>
                      <a:pt x="59" y="71"/>
                    </a:lnTo>
                    <a:lnTo>
                      <a:pt x="57" y="68"/>
                    </a:lnTo>
                    <a:lnTo>
                      <a:pt x="52" y="65"/>
                    </a:lnTo>
                    <a:lnTo>
                      <a:pt x="48" y="63"/>
                    </a:lnTo>
                    <a:lnTo>
                      <a:pt x="45" y="60"/>
                    </a:lnTo>
                    <a:lnTo>
                      <a:pt x="42" y="53"/>
                    </a:lnTo>
                    <a:lnTo>
                      <a:pt x="42" y="38"/>
                    </a:lnTo>
                    <a:lnTo>
                      <a:pt x="44" y="25"/>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6" name="Freeform 92"/>
              <p:cNvSpPr>
                <a:spLocks/>
              </p:cNvSpPr>
              <p:nvPr/>
            </p:nvSpPr>
            <p:spPr bwMode="auto">
              <a:xfrm>
                <a:off x="2481" y="2564"/>
                <a:ext cx="76" cy="70"/>
              </a:xfrm>
              <a:custGeom>
                <a:avLst/>
                <a:gdLst>
                  <a:gd name="T0" fmla="*/ 4259 w 71"/>
                  <a:gd name="T1" fmla="*/ 4 h 67"/>
                  <a:gd name="T2" fmla="*/ 4734 w 71"/>
                  <a:gd name="T3" fmla="*/ 3 h 67"/>
                  <a:gd name="T4" fmla="*/ 4886 w 71"/>
                  <a:gd name="T5" fmla="*/ 0 h 67"/>
                  <a:gd name="T6" fmla="*/ 5230 w 71"/>
                  <a:gd name="T7" fmla="*/ 4 h 67"/>
                  <a:gd name="T8" fmla="*/ 5992 w 71"/>
                  <a:gd name="T9" fmla="*/ 341 h 67"/>
                  <a:gd name="T10" fmla="*/ 6245 w 71"/>
                  <a:gd name="T11" fmla="*/ 529 h 67"/>
                  <a:gd name="T12" fmla="*/ 6408 w 71"/>
                  <a:gd name="T13" fmla="*/ 636 h 67"/>
                  <a:gd name="T14" fmla="*/ 6215 w 71"/>
                  <a:gd name="T15" fmla="*/ 752 h 67"/>
                  <a:gd name="T16" fmla="*/ 5592 w 71"/>
                  <a:gd name="T17" fmla="*/ 936 h 67"/>
                  <a:gd name="T18" fmla="*/ 5424 w 71"/>
                  <a:gd name="T19" fmla="*/ 896 h 67"/>
                  <a:gd name="T20" fmla="*/ 5091 w 71"/>
                  <a:gd name="T21" fmla="*/ 896 h 67"/>
                  <a:gd name="T22" fmla="*/ 5091 w 71"/>
                  <a:gd name="T23" fmla="*/ 863 h 67"/>
                  <a:gd name="T24" fmla="*/ 4880 w 71"/>
                  <a:gd name="T25" fmla="*/ 863 h 67"/>
                  <a:gd name="T26" fmla="*/ 3979 w 71"/>
                  <a:gd name="T27" fmla="*/ 936 h 67"/>
                  <a:gd name="T28" fmla="*/ 3472 w 71"/>
                  <a:gd name="T29" fmla="*/ 902 h 67"/>
                  <a:gd name="T30" fmla="*/ 3369 w 71"/>
                  <a:gd name="T31" fmla="*/ 942 h 67"/>
                  <a:gd name="T32" fmla="*/ 3147 w 71"/>
                  <a:gd name="T33" fmla="*/ 1022 h 67"/>
                  <a:gd name="T34" fmla="*/ 3147 w 71"/>
                  <a:gd name="T35" fmla="*/ 1114 h 67"/>
                  <a:gd name="T36" fmla="*/ 2940 w 71"/>
                  <a:gd name="T37" fmla="*/ 1122 h 67"/>
                  <a:gd name="T38" fmla="*/ 2397 w 71"/>
                  <a:gd name="T39" fmla="*/ 1164 h 67"/>
                  <a:gd name="T40" fmla="*/ 2159 w 71"/>
                  <a:gd name="T41" fmla="*/ 1172 h 67"/>
                  <a:gd name="T42" fmla="*/ 1760 w 71"/>
                  <a:gd name="T43" fmla="*/ 1216 h 67"/>
                  <a:gd name="T44" fmla="*/ 1536 w 71"/>
                  <a:gd name="T45" fmla="*/ 1172 h 67"/>
                  <a:gd name="T46" fmla="*/ 1253 w 71"/>
                  <a:gd name="T47" fmla="*/ 1074 h 67"/>
                  <a:gd name="T48" fmla="*/ 1094 w 71"/>
                  <a:gd name="T49" fmla="*/ 1022 h 67"/>
                  <a:gd name="T50" fmla="*/ 955 w 71"/>
                  <a:gd name="T51" fmla="*/ 1022 h 67"/>
                  <a:gd name="T52" fmla="*/ 778 w 71"/>
                  <a:gd name="T53" fmla="*/ 1022 h 67"/>
                  <a:gd name="T54" fmla="*/ 5 w 71"/>
                  <a:gd name="T55" fmla="*/ 1028 h 67"/>
                  <a:gd name="T56" fmla="*/ 5 w 71"/>
                  <a:gd name="T57" fmla="*/ 1164 h 67"/>
                  <a:gd name="T58" fmla="*/ 5 w 71"/>
                  <a:gd name="T59" fmla="*/ 1122 h 67"/>
                  <a:gd name="T60" fmla="*/ 0 w 71"/>
                  <a:gd name="T61" fmla="*/ 1068 h 67"/>
                  <a:gd name="T62" fmla="*/ 0 w 71"/>
                  <a:gd name="T63" fmla="*/ 1022 h 67"/>
                  <a:gd name="T64" fmla="*/ 0 w 71"/>
                  <a:gd name="T65" fmla="*/ 936 h 67"/>
                  <a:gd name="T66" fmla="*/ 7 w 71"/>
                  <a:gd name="T67" fmla="*/ 725 h 67"/>
                  <a:gd name="T68" fmla="*/ 892 w 71"/>
                  <a:gd name="T69" fmla="*/ 631 h 67"/>
                  <a:gd name="T70" fmla="*/ 1253 w 71"/>
                  <a:gd name="T71" fmla="*/ 406 h 67"/>
                  <a:gd name="T72" fmla="*/ 1760 w 71"/>
                  <a:gd name="T73" fmla="*/ 286 h 67"/>
                  <a:gd name="T74" fmla="*/ 2159 w 71"/>
                  <a:gd name="T75" fmla="*/ 11 h 67"/>
                  <a:gd name="T76" fmla="*/ 2397 w 71"/>
                  <a:gd name="T77" fmla="*/ 10 h 67"/>
                  <a:gd name="T78" fmla="*/ 2648 w 71"/>
                  <a:gd name="T79" fmla="*/ 251 h 67"/>
                  <a:gd name="T80" fmla="*/ 3034 w 71"/>
                  <a:gd name="T81" fmla="*/ 262 h 67"/>
                  <a:gd name="T82" fmla="*/ 3606 w 71"/>
                  <a:gd name="T83" fmla="*/ 251 h 67"/>
                  <a:gd name="T84" fmla="*/ 3979 w 71"/>
                  <a:gd name="T85" fmla="*/ 6 h 67"/>
                  <a:gd name="T86" fmla="*/ 4259 w 71"/>
                  <a:gd name="T87" fmla="*/ 4 h 6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
                  <a:gd name="T133" fmla="*/ 0 h 67"/>
                  <a:gd name="T134" fmla="*/ 71 w 71"/>
                  <a:gd name="T135" fmla="*/ 67 h 6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 h="67">
                    <a:moveTo>
                      <a:pt x="47" y="4"/>
                    </a:moveTo>
                    <a:lnTo>
                      <a:pt x="52" y="3"/>
                    </a:lnTo>
                    <a:lnTo>
                      <a:pt x="55" y="0"/>
                    </a:lnTo>
                    <a:lnTo>
                      <a:pt x="59" y="4"/>
                    </a:lnTo>
                    <a:lnTo>
                      <a:pt x="67" y="20"/>
                    </a:lnTo>
                    <a:lnTo>
                      <a:pt x="70" y="30"/>
                    </a:lnTo>
                    <a:lnTo>
                      <a:pt x="71" y="35"/>
                    </a:lnTo>
                    <a:lnTo>
                      <a:pt x="69" y="42"/>
                    </a:lnTo>
                    <a:lnTo>
                      <a:pt x="62" y="52"/>
                    </a:lnTo>
                    <a:lnTo>
                      <a:pt x="60" y="50"/>
                    </a:lnTo>
                    <a:lnTo>
                      <a:pt x="57" y="50"/>
                    </a:lnTo>
                    <a:lnTo>
                      <a:pt x="57" y="49"/>
                    </a:lnTo>
                    <a:lnTo>
                      <a:pt x="54" y="49"/>
                    </a:lnTo>
                    <a:lnTo>
                      <a:pt x="44" y="52"/>
                    </a:lnTo>
                    <a:lnTo>
                      <a:pt x="38" y="51"/>
                    </a:lnTo>
                    <a:lnTo>
                      <a:pt x="37" y="53"/>
                    </a:lnTo>
                    <a:lnTo>
                      <a:pt x="35" y="56"/>
                    </a:lnTo>
                    <a:lnTo>
                      <a:pt x="35" y="61"/>
                    </a:lnTo>
                    <a:lnTo>
                      <a:pt x="33" y="63"/>
                    </a:lnTo>
                    <a:lnTo>
                      <a:pt x="27" y="64"/>
                    </a:lnTo>
                    <a:lnTo>
                      <a:pt x="24" y="66"/>
                    </a:lnTo>
                    <a:lnTo>
                      <a:pt x="20" y="67"/>
                    </a:lnTo>
                    <a:lnTo>
                      <a:pt x="18" y="66"/>
                    </a:lnTo>
                    <a:lnTo>
                      <a:pt x="15" y="60"/>
                    </a:lnTo>
                    <a:lnTo>
                      <a:pt x="13" y="56"/>
                    </a:lnTo>
                    <a:lnTo>
                      <a:pt x="11" y="56"/>
                    </a:lnTo>
                    <a:lnTo>
                      <a:pt x="8" y="56"/>
                    </a:lnTo>
                    <a:lnTo>
                      <a:pt x="5" y="57"/>
                    </a:lnTo>
                    <a:lnTo>
                      <a:pt x="5" y="64"/>
                    </a:lnTo>
                    <a:lnTo>
                      <a:pt x="5" y="63"/>
                    </a:lnTo>
                    <a:lnTo>
                      <a:pt x="0" y="59"/>
                    </a:lnTo>
                    <a:lnTo>
                      <a:pt x="0" y="56"/>
                    </a:lnTo>
                    <a:lnTo>
                      <a:pt x="0" y="52"/>
                    </a:lnTo>
                    <a:lnTo>
                      <a:pt x="7" y="41"/>
                    </a:lnTo>
                    <a:lnTo>
                      <a:pt x="10" y="34"/>
                    </a:lnTo>
                    <a:lnTo>
                      <a:pt x="15" y="24"/>
                    </a:lnTo>
                    <a:lnTo>
                      <a:pt x="20" y="16"/>
                    </a:lnTo>
                    <a:lnTo>
                      <a:pt x="24" y="11"/>
                    </a:lnTo>
                    <a:lnTo>
                      <a:pt x="27" y="10"/>
                    </a:lnTo>
                    <a:lnTo>
                      <a:pt x="30" y="13"/>
                    </a:lnTo>
                    <a:lnTo>
                      <a:pt x="34" y="14"/>
                    </a:lnTo>
                    <a:lnTo>
                      <a:pt x="40" y="13"/>
                    </a:lnTo>
                    <a:lnTo>
                      <a:pt x="44" y="6"/>
                    </a:lnTo>
                    <a:lnTo>
                      <a:pt x="47" y="4"/>
                    </a:lnTo>
                    <a:close/>
                  </a:path>
                </a:pathLst>
              </a:custGeom>
              <a:solidFill>
                <a:srgbClr val="0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7" name="Freeform 93"/>
              <p:cNvSpPr>
                <a:spLocks/>
              </p:cNvSpPr>
              <p:nvPr/>
            </p:nvSpPr>
            <p:spPr bwMode="auto">
              <a:xfrm>
                <a:off x="2481" y="2564"/>
                <a:ext cx="76" cy="70"/>
              </a:xfrm>
              <a:custGeom>
                <a:avLst/>
                <a:gdLst>
                  <a:gd name="T0" fmla="*/ 4259 w 71"/>
                  <a:gd name="T1" fmla="*/ 4 h 67"/>
                  <a:gd name="T2" fmla="*/ 4734 w 71"/>
                  <a:gd name="T3" fmla="*/ 3 h 67"/>
                  <a:gd name="T4" fmla="*/ 4886 w 71"/>
                  <a:gd name="T5" fmla="*/ 0 h 67"/>
                  <a:gd name="T6" fmla="*/ 5230 w 71"/>
                  <a:gd name="T7" fmla="*/ 4 h 67"/>
                  <a:gd name="T8" fmla="*/ 5992 w 71"/>
                  <a:gd name="T9" fmla="*/ 341 h 67"/>
                  <a:gd name="T10" fmla="*/ 6245 w 71"/>
                  <a:gd name="T11" fmla="*/ 529 h 67"/>
                  <a:gd name="T12" fmla="*/ 6408 w 71"/>
                  <a:gd name="T13" fmla="*/ 636 h 67"/>
                  <a:gd name="T14" fmla="*/ 6215 w 71"/>
                  <a:gd name="T15" fmla="*/ 752 h 67"/>
                  <a:gd name="T16" fmla="*/ 5592 w 71"/>
                  <a:gd name="T17" fmla="*/ 936 h 67"/>
                  <a:gd name="T18" fmla="*/ 5424 w 71"/>
                  <a:gd name="T19" fmla="*/ 896 h 67"/>
                  <a:gd name="T20" fmla="*/ 5091 w 71"/>
                  <a:gd name="T21" fmla="*/ 896 h 67"/>
                  <a:gd name="T22" fmla="*/ 5091 w 71"/>
                  <a:gd name="T23" fmla="*/ 863 h 67"/>
                  <a:gd name="T24" fmla="*/ 4880 w 71"/>
                  <a:gd name="T25" fmla="*/ 863 h 67"/>
                  <a:gd name="T26" fmla="*/ 3979 w 71"/>
                  <a:gd name="T27" fmla="*/ 936 h 67"/>
                  <a:gd name="T28" fmla="*/ 3472 w 71"/>
                  <a:gd name="T29" fmla="*/ 902 h 67"/>
                  <a:gd name="T30" fmla="*/ 3369 w 71"/>
                  <a:gd name="T31" fmla="*/ 942 h 67"/>
                  <a:gd name="T32" fmla="*/ 3147 w 71"/>
                  <a:gd name="T33" fmla="*/ 1022 h 67"/>
                  <a:gd name="T34" fmla="*/ 3147 w 71"/>
                  <a:gd name="T35" fmla="*/ 1114 h 67"/>
                  <a:gd name="T36" fmla="*/ 2940 w 71"/>
                  <a:gd name="T37" fmla="*/ 1122 h 67"/>
                  <a:gd name="T38" fmla="*/ 2397 w 71"/>
                  <a:gd name="T39" fmla="*/ 1164 h 67"/>
                  <a:gd name="T40" fmla="*/ 2159 w 71"/>
                  <a:gd name="T41" fmla="*/ 1172 h 67"/>
                  <a:gd name="T42" fmla="*/ 1760 w 71"/>
                  <a:gd name="T43" fmla="*/ 1216 h 67"/>
                  <a:gd name="T44" fmla="*/ 1536 w 71"/>
                  <a:gd name="T45" fmla="*/ 1172 h 67"/>
                  <a:gd name="T46" fmla="*/ 1253 w 71"/>
                  <a:gd name="T47" fmla="*/ 1074 h 67"/>
                  <a:gd name="T48" fmla="*/ 1094 w 71"/>
                  <a:gd name="T49" fmla="*/ 1022 h 67"/>
                  <a:gd name="T50" fmla="*/ 955 w 71"/>
                  <a:gd name="T51" fmla="*/ 1022 h 67"/>
                  <a:gd name="T52" fmla="*/ 778 w 71"/>
                  <a:gd name="T53" fmla="*/ 1022 h 67"/>
                  <a:gd name="T54" fmla="*/ 5 w 71"/>
                  <a:gd name="T55" fmla="*/ 1028 h 67"/>
                  <a:gd name="T56" fmla="*/ 5 w 71"/>
                  <a:gd name="T57" fmla="*/ 1164 h 67"/>
                  <a:gd name="T58" fmla="*/ 5 w 71"/>
                  <a:gd name="T59" fmla="*/ 1122 h 67"/>
                  <a:gd name="T60" fmla="*/ 0 w 71"/>
                  <a:gd name="T61" fmla="*/ 1068 h 67"/>
                  <a:gd name="T62" fmla="*/ 0 w 71"/>
                  <a:gd name="T63" fmla="*/ 1022 h 67"/>
                  <a:gd name="T64" fmla="*/ 0 w 71"/>
                  <a:gd name="T65" fmla="*/ 936 h 67"/>
                  <a:gd name="T66" fmla="*/ 7 w 71"/>
                  <a:gd name="T67" fmla="*/ 725 h 67"/>
                  <a:gd name="T68" fmla="*/ 892 w 71"/>
                  <a:gd name="T69" fmla="*/ 631 h 67"/>
                  <a:gd name="T70" fmla="*/ 1253 w 71"/>
                  <a:gd name="T71" fmla="*/ 406 h 67"/>
                  <a:gd name="T72" fmla="*/ 1760 w 71"/>
                  <a:gd name="T73" fmla="*/ 286 h 67"/>
                  <a:gd name="T74" fmla="*/ 2159 w 71"/>
                  <a:gd name="T75" fmla="*/ 11 h 67"/>
                  <a:gd name="T76" fmla="*/ 2397 w 71"/>
                  <a:gd name="T77" fmla="*/ 10 h 67"/>
                  <a:gd name="T78" fmla="*/ 2648 w 71"/>
                  <a:gd name="T79" fmla="*/ 251 h 67"/>
                  <a:gd name="T80" fmla="*/ 3034 w 71"/>
                  <a:gd name="T81" fmla="*/ 262 h 67"/>
                  <a:gd name="T82" fmla="*/ 3606 w 71"/>
                  <a:gd name="T83" fmla="*/ 251 h 67"/>
                  <a:gd name="T84" fmla="*/ 3979 w 71"/>
                  <a:gd name="T85" fmla="*/ 6 h 67"/>
                  <a:gd name="T86" fmla="*/ 4259 w 71"/>
                  <a:gd name="T87" fmla="*/ 4 h 6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
                  <a:gd name="T133" fmla="*/ 0 h 67"/>
                  <a:gd name="T134" fmla="*/ 71 w 71"/>
                  <a:gd name="T135" fmla="*/ 67 h 6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 h="67">
                    <a:moveTo>
                      <a:pt x="47" y="4"/>
                    </a:moveTo>
                    <a:lnTo>
                      <a:pt x="52" y="3"/>
                    </a:lnTo>
                    <a:lnTo>
                      <a:pt x="55" y="0"/>
                    </a:lnTo>
                    <a:lnTo>
                      <a:pt x="59" y="4"/>
                    </a:lnTo>
                    <a:lnTo>
                      <a:pt x="67" y="20"/>
                    </a:lnTo>
                    <a:lnTo>
                      <a:pt x="70" y="30"/>
                    </a:lnTo>
                    <a:lnTo>
                      <a:pt x="71" y="35"/>
                    </a:lnTo>
                    <a:lnTo>
                      <a:pt x="69" y="42"/>
                    </a:lnTo>
                    <a:lnTo>
                      <a:pt x="62" y="52"/>
                    </a:lnTo>
                    <a:lnTo>
                      <a:pt x="60" y="50"/>
                    </a:lnTo>
                    <a:lnTo>
                      <a:pt x="57" y="50"/>
                    </a:lnTo>
                    <a:lnTo>
                      <a:pt x="57" y="49"/>
                    </a:lnTo>
                    <a:lnTo>
                      <a:pt x="54" y="49"/>
                    </a:lnTo>
                    <a:lnTo>
                      <a:pt x="44" y="52"/>
                    </a:lnTo>
                    <a:lnTo>
                      <a:pt x="38" y="51"/>
                    </a:lnTo>
                    <a:lnTo>
                      <a:pt x="37" y="53"/>
                    </a:lnTo>
                    <a:lnTo>
                      <a:pt x="35" y="56"/>
                    </a:lnTo>
                    <a:lnTo>
                      <a:pt x="35" y="61"/>
                    </a:lnTo>
                    <a:lnTo>
                      <a:pt x="33" y="63"/>
                    </a:lnTo>
                    <a:lnTo>
                      <a:pt x="27" y="64"/>
                    </a:lnTo>
                    <a:lnTo>
                      <a:pt x="24" y="66"/>
                    </a:lnTo>
                    <a:lnTo>
                      <a:pt x="20" y="67"/>
                    </a:lnTo>
                    <a:lnTo>
                      <a:pt x="18" y="66"/>
                    </a:lnTo>
                    <a:lnTo>
                      <a:pt x="15" y="60"/>
                    </a:lnTo>
                    <a:lnTo>
                      <a:pt x="13" y="56"/>
                    </a:lnTo>
                    <a:lnTo>
                      <a:pt x="11" y="56"/>
                    </a:lnTo>
                    <a:lnTo>
                      <a:pt x="8" y="56"/>
                    </a:lnTo>
                    <a:lnTo>
                      <a:pt x="5" y="57"/>
                    </a:lnTo>
                    <a:lnTo>
                      <a:pt x="5" y="64"/>
                    </a:lnTo>
                    <a:lnTo>
                      <a:pt x="5" y="63"/>
                    </a:lnTo>
                    <a:lnTo>
                      <a:pt x="0" y="59"/>
                    </a:lnTo>
                    <a:lnTo>
                      <a:pt x="0" y="56"/>
                    </a:lnTo>
                    <a:lnTo>
                      <a:pt x="0" y="52"/>
                    </a:lnTo>
                    <a:lnTo>
                      <a:pt x="7" y="41"/>
                    </a:lnTo>
                    <a:lnTo>
                      <a:pt x="10" y="34"/>
                    </a:lnTo>
                    <a:lnTo>
                      <a:pt x="15" y="24"/>
                    </a:lnTo>
                    <a:lnTo>
                      <a:pt x="20" y="16"/>
                    </a:lnTo>
                    <a:lnTo>
                      <a:pt x="24" y="11"/>
                    </a:lnTo>
                    <a:lnTo>
                      <a:pt x="27" y="10"/>
                    </a:lnTo>
                    <a:lnTo>
                      <a:pt x="30" y="13"/>
                    </a:lnTo>
                    <a:lnTo>
                      <a:pt x="34" y="14"/>
                    </a:lnTo>
                    <a:lnTo>
                      <a:pt x="40" y="13"/>
                    </a:lnTo>
                    <a:lnTo>
                      <a:pt x="44" y="6"/>
                    </a:lnTo>
                    <a:lnTo>
                      <a:pt x="47" y="4"/>
                    </a:lnTo>
                    <a:close/>
                  </a:path>
                </a:pathLst>
              </a:custGeom>
              <a:solidFill>
                <a:srgbClr val="17375E"/>
              </a:solidFill>
              <a:ln w="7938">
                <a:solidFill>
                  <a:srgbClr val="1C1329"/>
                </a:solidFill>
                <a:miter lim="800000"/>
                <a:headEnd/>
                <a:tailEnd/>
              </a:ln>
            </p:spPr>
            <p:txBody>
              <a:bodyPr/>
              <a:lstStyle/>
              <a:p>
                <a:endParaRPr lang="en-US"/>
              </a:p>
            </p:txBody>
          </p:sp>
          <p:sp>
            <p:nvSpPr>
              <p:cNvPr id="308" name="Freeform 94"/>
              <p:cNvSpPr>
                <a:spLocks/>
              </p:cNvSpPr>
              <p:nvPr/>
            </p:nvSpPr>
            <p:spPr bwMode="auto">
              <a:xfrm>
                <a:off x="2637" y="2904"/>
                <a:ext cx="131" cy="310"/>
              </a:xfrm>
              <a:custGeom>
                <a:avLst/>
                <a:gdLst>
                  <a:gd name="T0" fmla="*/ 611 w 123"/>
                  <a:gd name="T1" fmla="*/ 0 h 295"/>
                  <a:gd name="T2" fmla="*/ 1754 w 123"/>
                  <a:gd name="T3" fmla="*/ 8 h 295"/>
                  <a:gd name="T4" fmla="*/ 2603 w 123"/>
                  <a:gd name="T5" fmla="*/ 5 h 295"/>
                  <a:gd name="T6" fmla="*/ 2809 w 123"/>
                  <a:gd name="T7" fmla="*/ 316 h 295"/>
                  <a:gd name="T8" fmla="*/ 3091 w 123"/>
                  <a:gd name="T9" fmla="*/ 813 h 295"/>
                  <a:gd name="T10" fmla="*/ 3632 w 123"/>
                  <a:gd name="T11" fmla="*/ 1018 h 295"/>
                  <a:gd name="T12" fmla="*/ 3632 w 123"/>
                  <a:gd name="T13" fmla="*/ 1671 h 295"/>
                  <a:gd name="T14" fmla="*/ 3348 w 123"/>
                  <a:gd name="T15" fmla="*/ 2645 h 295"/>
                  <a:gd name="T16" fmla="*/ 2992 w 123"/>
                  <a:gd name="T17" fmla="*/ 2974 h 295"/>
                  <a:gd name="T18" fmla="*/ 3850 w 123"/>
                  <a:gd name="T19" fmla="*/ 3805 h 295"/>
                  <a:gd name="T20" fmla="*/ 4100 w 123"/>
                  <a:gd name="T21" fmla="*/ 4289 h 295"/>
                  <a:gd name="T22" fmla="*/ 4512 w 123"/>
                  <a:gd name="T23" fmla="*/ 4507 h 295"/>
                  <a:gd name="T24" fmla="*/ 4388 w 123"/>
                  <a:gd name="T25" fmla="*/ 4794 h 295"/>
                  <a:gd name="T26" fmla="*/ 4805 w 123"/>
                  <a:gd name="T27" fmla="*/ 4883 h 295"/>
                  <a:gd name="T28" fmla="*/ 5276 w 123"/>
                  <a:gd name="T29" fmla="*/ 4755 h 295"/>
                  <a:gd name="T30" fmla="*/ 5902 w 123"/>
                  <a:gd name="T31" fmla="*/ 5090 h 295"/>
                  <a:gd name="T32" fmla="*/ 6079 w 123"/>
                  <a:gd name="T33" fmla="*/ 4977 h 295"/>
                  <a:gd name="T34" fmla="*/ 5276 w 123"/>
                  <a:gd name="T35" fmla="*/ 4491 h 295"/>
                  <a:gd name="T36" fmla="*/ 5204 w 123"/>
                  <a:gd name="T37" fmla="*/ 4201 h 295"/>
                  <a:gd name="T38" fmla="*/ 6586 w 123"/>
                  <a:gd name="T39" fmla="*/ 4794 h 295"/>
                  <a:gd name="T40" fmla="*/ 7738 w 123"/>
                  <a:gd name="T41" fmla="*/ 5383 h 295"/>
                  <a:gd name="T42" fmla="*/ 7594 w 123"/>
                  <a:gd name="T43" fmla="*/ 5907 h 295"/>
                  <a:gd name="T44" fmla="*/ 7594 w 123"/>
                  <a:gd name="T45" fmla="*/ 6677 h 295"/>
                  <a:gd name="T46" fmla="*/ 6821 w 123"/>
                  <a:gd name="T47" fmla="*/ 6855 h 295"/>
                  <a:gd name="T48" fmla="*/ 6138 w 123"/>
                  <a:gd name="T49" fmla="*/ 7117 h 295"/>
                  <a:gd name="T50" fmla="*/ 6138 w 123"/>
                  <a:gd name="T51" fmla="*/ 7374 h 295"/>
                  <a:gd name="T52" fmla="*/ 6404 w 123"/>
                  <a:gd name="T53" fmla="*/ 7777 h 295"/>
                  <a:gd name="T54" fmla="*/ 5708 w 123"/>
                  <a:gd name="T55" fmla="*/ 7749 h 295"/>
                  <a:gd name="T56" fmla="*/ 5708 w 123"/>
                  <a:gd name="T57" fmla="*/ 7490 h 295"/>
                  <a:gd name="T58" fmla="*/ 5032 w 123"/>
                  <a:gd name="T59" fmla="*/ 7309 h 295"/>
                  <a:gd name="T60" fmla="*/ 4388 w 123"/>
                  <a:gd name="T61" fmla="*/ 7017 h 295"/>
                  <a:gd name="T62" fmla="*/ 3850 w 123"/>
                  <a:gd name="T63" fmla="*/ 6618 h 295"/>
                  <a:gd name="T64" fmla="*/ 4120 w 123"/>
                  <a:gd name="T65" fmla="*/ 6207 h 295"/>
                  <a:gd name="T66" fmla="*/ 4512 w 123"/>
                  <a:gd name="T67" fmla="*/ 5657 h 295"/>
                  <a:gd name="T68" fmla="*/ 4120 w 123"/>
                  <a:gd name="T69" fmla="*/ 5131 h 295"/>
                  <a:gd name="T70" fmla="*/ 2256 w 123"/>
                  <a:gd name="T71" fmla="*/ 5251 h 295"/>
                  <a:gd name="T72" fmla="*/ 1301 w 123"/>
                  <a:gd name="T73" fmla="*/ 4755 h 295"/>
                  <a:gd name="T74" fmla="*/ 891 w 123"/>
                  <a:gd name="T75" fmla="*/ 4644 h 295"/>
                  <a:gd name="T76" fmla="*/ 5 w 123"/>
                  <a:gd name="T77" fmla="*/ 4507 h 295"/>
                  <a:gd name="T78" fmla="*/ 0 w 123"/>
                  <a:gd name="T79" fmla="*/ 4289 h 295"/>
                  <a:gd name="T80" fmla="*/ 693 w 123"/>
                  <a:gd name="T81" fmla="*/ 3598 h 295"/>
                  <a:gd name="T82" fmla="*/ 1011 w 123"/>
                  <a:gd name="T83" fmla="*/ 3279 h 295"/>
                  <a:gd name="T84" fmla="*/ 1783 w 123"/>
                  <a:gd name="T85" fmla="*/ 3120 h 295"/>
                  <a:gd name="T86" fmla="*/ 1301 w 123"/>
                  <a:gd name="T87" fmla="*/ 2884 h 295"/>
                  <a:gd name="T88" fmla="*/ 1301 w 123"/>
                  <a:gd name="T89" fmla="*/ 2302 h 295"/>
                  <a:gd name="T90" fmla="*/ 1572 w 123"/>
                  <a:gd name="T91" fmla="*/ 1671 h 295"/>
                  <a:gd name="T92" fmla="*/ 1899 w 123"/>
                  <a:gd name="T93" fmla="*/ 1459 h 295"/>
                  <a:gd name="T94" fmla="*/ 2256 w 123"/>
                  <a:gd name="T95" fmla="*/ 1181 h 295"/>
                  <a:gd name="T96" fmla="*/ 1674 w 123"/>
                  <a:gd name="T97" fmla="*/ 635 h 295"/>
                  <a:gd name="T98" fmla="*/ 1077 w 123"/>
                  <a:gd name="T99" fmla="*/ 301 h 295"/>
                  <a:gd name="T100" fmla="*/ 611 w 123"/>
                  <a:gd name="T101" fmla="*/ 4 h 2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3"/>
                  <a:gd name="T154" fmla="*/ 0 h 295"/>
                  <a:gd name="T155" fmla="*/ 123 w 123"/>
                  <a:gd name="T156" fmla="*/ 295 h 2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3" h="295">
                    <a:moveTo>
                      <a:pt x="9" y="4"/>
                    </a:moveTo>
                    <a:lnTo>
                      <a:pt x="9" y="1"/>
                    </a:lnTo>
                    <a:lnTo>
                      <a:pt x="9" y="0"/>
                    </a:lnTo>
                    <a:lnTo>
                      <a:pt x="17" y="4"/>
                    </a:lnTo>
                    <a:lnTo>
                      <a:pt x="25" y="4"/>
                    </a:lnTo>
                    <a:lnTo>
                      <a:pt x="27" y="8"/>
                    </a:lnTo>
                    <a:lnTo>
                      <a:pt x="28" y="8"/>
                    </a:lnTo>
                    <a:lnTo>
                      <a:pt x="37" y="5"/>
                    </a:lnTo>
                    <a:lnTo>
                      <a:pt x="40" y="5"/>
                    </a:lnTo>
                    <a:lnTo>
                      <a:pt x="42" y="8"/>
                    </a:lnTo>
                    <a:lnTo>
                      <a:pt x="43" y="8"/>
                    </a:lnTo>
                    <a:lnTo>
                      <a:pt x="44" y="11"/>
                    </a:lnTo>
                    <a:lnTo>
                      <a:pt x="43" y="17"/>
                    </a:lnTo>
                    <a:lnTo>
                      <a:pt x="43" y="22"/>
                    </a:lnTo>
                    <a:lnTo>
                      <a:pt x="48" y="30"/>
                    </a:lnTo>
                    <a:lnTo>
                      <a:pt x="50" y="33"/>
                    </a:lnTo>
                    <a:lnTo>
                      <a:pt x="54" y="34"/>
                    </a:lnTo>
                    <a:lnTo>
                      <a:pt x="57" y="39"/>
                    </a:lnTo>
                    <a:lnTo>
                      <a:pt x="57" y="43"/>
                    </a:lnTo>
                    <a:lnTo>
                      <a:pt x="55" y="48"/>
                    </a:lnTo>
                    <a:lnTo>
                      <a:pt x="57" y="63"/>
                    </a:lnTo>
                    <a:lnTo>
                      <a:pt x="59" y="88"/>
                    </a:lnTo>
                    <a:lnTo>
                      <a:pt x="55" y="97"/>
                    </a:lnTo>
                    <a:lnTo>
                      <a:pt x="52" y="100"/>
                    </a:lnTo>
                    <a:lnTo>
                      <a:pt x="48" y="106"/>
                    </a:lnTo>
                    <a:lnTo>
                      <a:pt x="47" y="109"/>
                    </a:lnTo>
                    <a:lnTo>
                      <a:pt x="47" y="113"/>
                    </a:lnTo>
                    <a:lnTo>
                      <a:pt x="55" y="128"/>
                    </a:lnTo>
                    <a:lnTo>
                      <a:pt x="59" y="144"/>
                    </a:lnTo>
                    <a:lnTo>
                      <a:pt x="60" y="144"/>
                    </a:lnTo>
                    <a:lnTo>
                      <a:pt x="60" y="152"/>
                    </a:lnTo>
                    <a:lnTo>
                      <a:pt x="63" y="159"/>
                    </a:lnTo>
                    <a:lnTo>
                      <a:pt x="64" y="162"/>
                    </a:lnTo>
                    <a:lnTo>
                      <a:pt x="69" y="166"/>
                    </a:lnTo>
                    <a:lnTo>
                      <a:pt x="70" y="169"/>
                    </a:lnTo>
                    <a:lnTo>
                      <a:pt x="70" y="170"/>
                    </a:lnTo>
                    <a:lnTo>
                      <a:pt x="69" y="176"/>
                    </a:lnTo>
                    <a:lnTo>
                      <a:pt x="69" y="179"/>
                    </a:lnTo>
                    <a:lnTo>
                      <a:pt x="69" y="182"/>
                    </a:lnTo>
                    <a:lnTo>
                      <a:pt x="70" y="186"/>
                    </a:lnTo>
                    <a:lnTo>
                      <a:pt x="72" y="186"/>
                    </a:lnTo>
                    <a:lnTo>
                      <a:pt x="75" y="186"/>
                    </a:lnTo>
                    <a:lnTo>
                      <a:pt x="78" y="186"/>
                    </a:lnTo>
                    <a:lnTo>
                      <a:pt x="81" y="180"/>
                    </a:lnTo>
                    <a:lnTo>
                      <a:pt x="82" y="180"/>
                    </a:lnTo>
                    <a:lnTo>
                      <a:pt x="85" y="186"/>
                    </a:lnTo>
                    <a:lnTo>
                      <a:pt x="88" y="186"/>
                    </a:lnTo>
                    <a:lnTo>
                      <a:pt x="92" y="192"/>
                    </a:lnTo>
                    <a:lnTo>
                      <a:pt x="93" y="193"/>
                    </a:lnTo>
                    <a:lnTo>
                      <a:pt x="95" y="192"/>
                    </a:lnTo>
                    <a:lnTo>
                      <a:pt x="95" y="188"/>
                    </a:lnTo>
                    <a:lnTo>
                      <a:pt x="88" y="172"/>
                    </a:lnTo>
                    <a:lnTo>
                      <a:pt x="86" y="170"/>
                    </a:lnTo>
                    <a:lnTo>
                      <a:pt x="82" y="169"/>
                    </a:lnTo>
                    <a:lnTo>
                      <a:pt x="81" y="167"/>
                    </a:lnTo>
                    <a:lnTo>
                      <a:pt x="81" y="164"/>
                    </a:lnTo>
                    <a:lnTo>
                      <a:pt x="81" y="159"/>
                    </a:lnTo>
                    <a:lnTo>
                      <a:pt x="86" y="165"/>
                    </a:lnTo>
                    <a:lnTo>
                      <a:pt x="92" y="170"/>
                    </a:lnTo>
                    <a:lnTo>
                      <a:pt x="103" y="182"/>
                    </a:lnTo>
                    <a:lnTo>
                      <a:pt x="108" y="189"/>
                    </a:lnTo>
                    <a:lnTo>
                      <a:pt x="118" y="198"/>
                    </a:lnTo>
                    <a:lnTo>
                      <a:pt x="121" y="203"/>
                    </a:lnTo>
                    <a:lnTo>
                      <a:pt x="123" y="212"/>
                    </a:lnTo>
                    <a:lnTo>
                      <a:pt x="121" y="217"/>
                    </a:lnTo>
                    <a:lnTo>
                      <a:pt x="118" y="223"/>
                    </a:lnTo>
                    <a:lnTo>
                      <a:pt x="121" y="232"/>
                    </a:lnTo>
                    <a:lnTo>
                      <a:pt x="118" y="238"/>
                    </a:lnTo>
                    <a:lnTo>
                      <a:pt x="118" y="253"/>
                    </a:lnTo>
                    <a:lnTo>
                      <a:pt x="117" y="256"/>
                    </a:lnTo>
                    <a:lnTo>
                      <a:pt x="112" y="258"/>
                    </a:lnTo>
                    <a:lnTo>
                      <a:pt x="107" y="259"/>
                    </a:lnTo>
                    <a:lnTo>
                      <a:pt x="98" y="263"/>
                    </a:lnTo>
                    <a:lnTo>
                      <a:pt x="96" y="266"/>
                    </a:lnTo>
                    <a:lnTo>
                      <a:pt x="96" y="269"/>
                    </a:lnTo>
                    <a:lnTo>
                      <a:pt x="95" y="273"/>
                    </a:lnTo>
                    <a:lnTo>
                      <a:pt x="95" y="278"/>
                    </a:lnTo>
                    <a:lnTo>
                      <a:pt x="96" y="280"/>
                    </a:lnTo>
                    <a:lnTo>
                      <a:pt x="100" y="284"/>
                    </a:lnTo>
                    <a:lnTo>
                      <a:pt x="98" y="288"/>
                    </a:lnTo>
                    <a:lnTo>
                      <a:pt x="100" y="295"/>
                    </a:lnTo>
                    <a:lnTo>
                      <a:pt x="98" y="295"/>
                    </a:lnTo>
                    <a:lnTo>
                      <a:pt x="90" y="295"/>
                    </a:lnTo>
                    <a:lnTo>
                      <a:pt x="89" y="294"/>
                    </a:lnTo>
                    <a:lnTo>
                      <a:pt x="92" y="289"/>
                    </a:lnTo>
                    <a:lnTo>
                      <a:pt x="92" y="287"/>
                    </a:lnTo>
                    <a:lnTo>
                      <a:pt x="89" y="284"/>
                    </a:lnTo>
                    <a:lnTo>
                      <a:pt x="85" y="282"/>
                    </a:lnTo>
                    <a:lnTo>
                      <a:pt x="82" y="281"/>
                    </a:lnTo>
                    <a:lnTo>
                      <a:pt x="79" y="277"/>
                    </a:lnTo>
                    <a:lnTo>
                      <a:pt x="72" y="271"/>
                    </a:lnTo>
                    <a:lnTo>
                      <a:pt x="70" y="268"/>
                    </a:lnTo>
                    <a:lnTo>
                      <a:pt x="69" y="266"/>
                    </a:lnTo>
                    <a:lnTo>
                      <a:pt x="66" y="263"/>
                    </a:lnTo>
                    <a:lnTo>
                      <a:pt x="62" y="253"/>
                    </a:lnTo>
                    <a:lnTo>
                      <a:pt x="60" y="251"/>
                    </a:lnTo>
                    <a:lnTo>
                      <a:pt x="62" y="243"/>
                    </a:lnTo>
                    <a:lnTo>
                      <a:pt x="66" y="240"/>
                    </a:lnTo>
                    <a:lnTo>
                      <a:pt x="65" y="234"/>
                    </a:lnTo>
                    <a:lnTo>
                      <a:pt x="70" y="230"/>
                    </a:lnTo>
                    <a:lnTo>
                      <a:pt x="72" y="225"/>
                    </a:lnTo>
                    <a:lnTo>
                      <a:pt x="70" y="213"/>
                    </a:lnTo>
                    <a:lnTo>
                      <a:pt x="70" y="206"/>
                    </a:lnTo>
                    <a:lnTo>
                      <a:pt x="67" y="199"/>
                    </a:lnTo>
                    <a:lnTo>
                      <a:pt x="65" y="195"/>
                    </a:lnTo>
                    <a:lnTo>
                      <a:pt x="63" y="195"/>
                    </a:lnTo>
                    <a:lnTo>
                      <a:pt x="41" y="196"/>
                    </a:lnTo>
                    <a:lnTo>
                      <a:pt x="35" y="199"/>
                    </a:lnTo>
                    <a:lnTo>
                      <a:pt x="33" y="198"/>
                    </a:lnTo>
                    <a:lnTo>
                      <a:pt x="26" y="191"/>
                    </a:lnTo>
                    <a:lnTo>
                      <a:pt x="21" y="180"/>
                    </a:lnTo>
                    <a:lnTo>
                      <a:pt x="17" y="179"/>
                    </a:lnTo>
                    <a:lnTo>
                      <a:pt x="16" y="177"/>
                    </a:lnTo>
                    <a:lnTo>
                      <a:pt x="15" y="176"/>
                    </a:lnTo>
                    <a:lnTo>
                      <a:pt x="14" y="175"/>
                    </a:lnTo>
                    <a:lnTo>
                      <a:pt x="7" y="175"/>
                    </a:lnTo>
                    <a:lnTo>
                      <a:pt x="5" y="170"/>
                    </a:lnTo>
                    <a:lnTo>
                      <a:pt x="0" y="170"/>
                    </a:lnTo>
                    <a:lnTo>
                      <a:pt x="0" y="164"/>
                    </a:lnTo>
                    <a:lnTo>
                      <a:pt x="0" y="162"/>
                    </a:lnTo>
                    <a:lnTo>
                      <a:pt x="5" y="155"/>
                    </a:lnTo>
                    <a:lnTo>
                      <a:pt x="9" y="147"/>
                    </a:lnTo>
                    <a:lnTo>
                      <a:pt x="11" y="136"/>
                    </a:lnTo>
                    <a:lnTo>
                      <a:pt x="12" y="126"/>
                    </a:lnTo>
                    <a:lnTo>
                      <a:pt x="12" y="125"/>
                    </a:lnTo>
                    <a:lnTo>
                      <a:pt x="17" y="124"/>
                    </a:lnTo>
                    <a:lnTo>
                      <a:pt x="21" y="122"/>
                    </a:lnTo>
                    <a:lnTo>
                      <a:pt x="27" y="121"/>
                    </a:lnTo>
                    <a:lnTo>
                      <a:pt x="28" y="118"/>
                    </a:lnTo>
                    <a:lnTo>
                      <a:pt x="27" y="114"/>
                    </a:lnTo>
                    <a:lnTo>
                      <a:pt x="24" y="113"/>
                    </a:lnTo>
                    <a:lnTo>
                      <a:pt x="21" y="109"/>
                    </a:lnTo>
                    <a:lnTo>
                      <a:pt x="21" y="107"/>
                    </a:lnTo>
                    <a:lnTo>
                      <a:pt x="21" y="97"/>
                    </a:lnTo>
                    <a:lnTo>
                      <a:pt x="21" y="87"/>
                    </a:lnTo>
                    <a:lnTo>
                      <a:pt x="21" y="81"/>
                    </a:lnTo>
                    <a:lnTo>
                      <a:pt x="25" y="70"/>
                    </a:lnTo>
                    <a:lnTo>
                      <a:pt x="24" y="63"/>
                    </a:lnTo>
                    <a:lnTo>
                      <a:pt x="25" y="58"/>
                    </a:lnTo>
                    <a:lnTo>
                      <a:pt x="27" y="55"/>
                    </a:lnTo>
                    <a:lnTo>
                      <a:pt x="30" y="55"/>
                    </a:lnTo>
                    <a:lnTo>
                      <a:pt x="35" y="52"/>
                    </a:lnTo>
                    <a:lnTo>
                      <a:pt x="35" y="49"/>
                    </a:lnTo>
                    <a:lnTo>
                      <a:pt x="35" y="45"/>
                    </a:lnTo>
                    <a:lnTo>
                      <a:pt x="32" y="43"/>
                    </a:lnTo>
                    <a:lnTo>
                      <a:pt x="30" y="30"/>
                    </a:lnTo>
                    <a:lnTo>
                      <a:pt x="26" y="25"/>
                    </a:lnTo>
                    <a:lnTo>
                      <a:pt x="24" y="19"/>
                    </a:lnTo>
                    <a:lnTo>
                      <a:pt x="21" y="15"/>
                    </a:lnTo>
                    <a:lnTo>
                      <a:pt x="18" y="10"/>
                    </a:lnTo>
                    <a:lnTo>
                      <a:pt x="11" y="10"/>
                    </a:lnTo>
                    <a:lnTo>
                      <a:pt x="11" y="5"/>
                    </a:lnTo>
                    <a:lnTo>
                      <a:pt x="9" y="4"/>
                    </a:lnTo>
                    <a:close/>
                  </a:path>
                </a:pathLst>
              </a:custGeom>
              <a:solidFill>
                <a:srgbClr val="DBE5F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9" name="Freeform 95"/>
              <p:cNvSpPr>
                <a:spLocks/>
              </p:cNvSpPr>
              <p:nvPr/>
            </p:nvSpPr>
            <p:spPr bwMode="auto">
              <a:xfrm>
                <a:off x="2637" y="2904"/>
                <a:ext cx="131" cy="310"/>
              </a:xfrm>
              <a:custGeom>
                <a:avLst/>
                <a:gdLst>
                  <a:gd name="T0" fmla="*/ 611 w 123"/>
                  <a:gd name="T1" fmla="*/ 0 h 295"/>
                  <a:gd name="T2" fmla="*/ 1754 w 123"/>
                  <a:gd name="T3" fmla="*/ 8 h 295"/>
                  <a:gd name="T4" fmla="*/ 2603 w 123"/>
                  <a:gd name="T5" fmla="*/ 5 h 295"/>
                  <a:gd name="T6" fmla="*/ 2809 w 123"/>
                  <a:gd name="T7" fmla="*/ 316 h 295"/>
                  <a:gd name="T8" fmla="*/ 3091 w 123"/>
                  <a:gd name="T9" fmla="*/ 813 h 295"/>
                  <a:gd name="T10" fmla="*/ 3632 w 123"/>
                  <a:gd name="T11" fmla="*/ 1018 h 295"/>
                  <a:gd name="T12" fmla="*/ 3632 w 123"/>
                  <a:gd name="T13" fmla="*/ 1671 h 295"/>
                  <a:gd name="T14" fmla="*/ 3348 w 123"/>
                  <a:gd name="T15" fmla="*/ 2645 h 295"/>
                  <a:gd name="T16" fmla="*/ 2992 w 123"/>
                  <a:gd name="T17" fmla="*/ 2974 h 295"/>
                  <a:gd name="T18" fmla="*/ 3850 w 123"/>
                  <a:gd name="T19" fmla="*/ 3805 h 295"/>
                  <a:gd name="T20" fmla="*/ 4100 w 123"/>
                  <a:gd name="T21" fmla="*/ 4289 h 295"/>
                  <a:gd name="T22" fmla="*/ 4512 w 123"/>
                  <a:gd name="T23" fmla="*/ 4507 h 295"/>
                  <a:gd name="T24" fmla="*/ 4388 w 123"/>
                  <a:gd name="T25" fmla="*/ 4794 h 295"/>
                  <a:gd name="T26" fmla="*/ 4805 w 123"/>
                  <a:gd name="T27" fmla="*/ 4883 h 295"/>
                  <a:gd name="T28" fmla="*/ 5276 w 123"/>
                  <a:gd name="T29" fmla="*/ 4755 h 295"/>
                  <a:gd name="T30" fmla="*/ 5902 w 123"/>
                  <a:gd name="T31" fmla="*/ 5090 h 295"/>
                  <a:gd name="T32" fmla="*/ 6079 w 123"/>
                  <a:gd name="T33" fmla="*/ 4977 h 295"/>
                  <a:gd name="T34" fmla="*/ 5276 w 123"/>
                  <a:gd name="T35" fmla="*/ 4491 h 295"/>
                  <a:gd name="T36" fmla="*/ 5204 w 123"/>
                  <a:gd name="T37" fmla="*/ 4201 h 295"/>
                  <a:gd name="T38" fmla="*/ 6586 w 123"/>
                  <a:gd name="T39" fmla="*/ 4794 h 295"/>
                  <a:gd name="T40" fmla="*/ 7738 w 123"/>
                  <a:gd name="T41" fmla="*/ 5383 h 295"/>
                  <a:gd name="T42" fmla="*/ 7594 w 123"/>
                  <a:gd name="T43" fmla="*/ 5907 h 295"/>
                  <a:gd name="T44" fmla="*/ 7594 w 123"/>
                  <a:gd name="T45" fmla="*/ 6677 h 295"/>
                  <a:gd name="T46" fmla="*/ 6821 w 123"/>
                  <a:gd name="T47" fmla="*/ 6855 h 295"/>
                  <a:gd name="T48" fmla="*/ 6138 w 123"/>
                  <a:gd name="T49" fmla="*/ 7117 h 295"/>
                  <a:gd name="T50" fmla="*/ 6138 w 123"/>
                  <a:gd name="T51" fmla="*/ 7374 h 295"/>
                  <a:gd name="T52" fmla="*/ 6404 w 123"/>
                  <a:gd name="T53" fmla="*/ 7777 h 295"/>
                  <a:gd name="T54" fmla="*/ 5708 w 123"/>
                  <a:gd name="T55" fmla="*/ 7749 h 295"/>
                  <a:gd name="T56" fmla="*/ 5708 w 123"/>
                  <a:gd name="T57" fmla="*/ 7490 h 295"/>
                  <a:gd name="T58" fmla="*/ 5032 w 123"/>
                  <a:gd name="T59" fmla="*/ 7309 h 295"/>
                  <a:gd name="T60" fmla="*/ 4388 w 123"/>
                  <a:gd name="T61" fmla="*/ 7017 h 295"/>
                  <a:gd name="T62" fmla="*/ 3850 w 123"/>
                  <a:gd name="T63" fmla="*/ 6618 h 295"/>
                  <a:gd name="T64" fmla="*/ 4120 w 123"/>
                  <a:gd name="T65" fmla="*/ 6207 h 295"/>
                  <a:gd name="T66" fmla="*/ 4512 w 123"/>
                  <a:gd name="T67" fmla="*/ 5657 h 295"/>
                  <a:gd name="T68" fmla="*/ 4120 w 123"/>
                  <a:gd name="T69" fmla="*/ 5131 h 295"/>
                  <a:gd name="T70" fmla="*/ 2256 w 123"/>
                  <a:gd name="T71" fmla="*/ 5251 h 295"/>
                  <a:gd name="T72" fmla="*/ 1301 w 123"/>
                  <a:gd name="T73" fmla="*/ 4755 h 295"/>
                  <a:gd name="T74" fmla="*/ 891 w 123"/>
                  <a:gd name="T75" fmla="*/ 4644 h 295"/>
                  <a:gd name="T76" fmla="*/ 5 w 123"/>
                  <a:gd name="T77" fmla="*/ 4507 h 295"/>
                  <a:gd name="T78" fmla="*/ 0 w 123"/>
                  <a:gd name="T79" fmla="*/ 4289 h 295"/>
                  <a:gd name="T80" fmla="*/ 693 w 123"/>
                  <a:gd name="T81" fmla="*/ 3598 h 295"/>
                  <a:gd name="T82" fmla="*/ 1011 w 123"/>
                  <a:gd name="T83" fmla="*/ 3279 h 295"/>
                  <a:gd name="T84" fmla="*/ 1783 w 123"/>
                  <a:gd name="T85" fmla="*/ 3120 h 295"/>
                  <a:gd name="T86" fmla="*/ 1301 w 123"/>
                  <a:gd name="T87" fmla="*/ 2884 h 295"/>
                  <a:gd name="T88" fmla="*/ 1301 w 123"/>
                  <a:gd name="T89" fmla="*/ 2302 h 295"/>
                  <a:gd name="T90" fmla="*/ 1572 w 123"/>
                  <a:gd name="T91" fmla="*/ 1671 h 295"/>
                  <a:gd name="T92" fmla="*/ 1899 w 123"/>
                  <a:gd name="T93" fmla="*/ 1459 h 295"/>
                  <a:gd name="T94" fmla="*/ 2256 w 123"/>
                  <a:gd name="T95" fmla="*/ 1181 h 295"/>
                  <a:gd name="T96" fmla="*/ 1674 w 123"/>
                  <a:gd name="T97" fmla="*/ 635 h 295"/>
                  <a:gd name="T98" fmla="*/ 1077 w 123"/>
                  <a:gd name="T99" fmla="*/ 301 h 295"/>
                  <a:gd name="T100" fmla="*/ 611 w 123"/>
                  <a:gd name="T101" fmla="*/ 4 h 2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3"/>
                  <a:gd name="T154" fmla="*/ 0 h 295"/>
                  <a:gd name="T155" fmla="*/ 123 w 123"/>
                  <a:gd name="T156" fmla="*/ 295 h 2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3" h="295">
                    <a:moveTo>
                      <a:pt x="9" y="4"/>
                    </a:moveTo>
                    <a:lnTo>
                      <a:pt x="9" y="1"/>
                    </a:lnTo>
                    <a:lnTo>
                      <a:pt x="9" y="0"/>
                    </a:lnTo>
                    <a:lnTo>
                      <a:pt x="17" y="4"/>
                    </a:lnTo>
                    <a:lnTo>
                      <a:pt x="25" y="4"/>
                    </a:lnTo>
                    <a:lnTo>
                      <a:pt x="27" y="8"/>
                    </a:lnTo>
                    <a:lnTo>
                      <a:pt x="28" y="8"/>
                    </a:lnTo>
                    <a:lnTo>
                      <a:pt x="37" y="5"/>
                    </a:lnTo>
                    <a:lnTo>
                      <a:pt x="40" y="5"/>
                    </a:lnTo>
                    <a:lnTo>
                      <a:pt x="42" y="8"/>
                    </a:lnTo>
                    <a:lnTo>
                      <a:pt x="43" y="8"/>
                    </a:lnTo>
                    <a:lnTo>
                      <a:pt x="44" y="11"/>
                    </a:lnTo>
                    <a:lnTo>
                      <a:pt x="43" y="17"/>
                    </a:lnTo>
                    <a:lnTo>
                      <a:pt x="43" y="22"/>
                    </a:lnTo>
                    <a:lnTo>
                      <a:pt x="48" y="30"/>
                    </a:lnTo>
                    <a:lnTo>
                      <a:pt x="50" y="33"/>
                    </a:lnTo>
                    <a:lnTo>
                      <a:pt x="54" y="34"/>
                    </a:lnTo>
                    <a:lnTo>
                      <a:pt x="57" y="39"/>
                    </a:lnTo>
                    <a:lnTo>
                      <a:pt x="57" y="43"/>
                    </a:lnTo>
                    <a:lnTo>
                      <a:pt x="55" y="48"/>
                    </a:lnTo>
                    <a:lnTo>
                      <a:pt x="57" y="63"/>
                    </a:lnTo>
                    <a:lnTo>
                      <a:pt x="59" y="88"/>
                    </a:lnTo>
                    <a:lnTo>
                      <a:pt x="55" y="97"/>
                    </a:lnTo>
                    <a:lnTo>
                      <a:pt x="52" y="100"/>
                    </a:lnTo>
                    <a:lnTo>
                      <a:pt x="48" y="106"/>
                    </a:lnTo>
                    <a:lnTo>
                      <a:pt x="47" y="109"/>
                    </a:lnTo>
                    <a:lnTo>
                      <a:pt x="47" y="113"/>
                    </a:lnTo>
                    <a:lnTo>
                      <a:pt x="55" y="128"/>
                    </a:lnTo>
                    <a:lnTo>
                      <a:pt x="59" y="144"/>
                    </a:lnTo>
                    <a:lnTo>
                      <a:pt x="60" y="144"/>
                    </a:lnTo>
                    <a:lnTo>
                      <a:pt x="60" y="152"/>
                    </a:lnTo>
                    <a:lnTo>
                      <a:pt x="63" y="159"/>
                    </a:lnTo>
                    <a:lnTo>
                      <a:pt x="64" y="162"/>
                    </a:lnTo>
                    <a:lnTo>
                      <a:pt x="69" y="166"/>
                    </a:lnTo>
                    <a:lnTo>
                      <a:pt x="70" y="169"/>
                    </a:lnTo>
                    <a:lnTo>
                      <a:pt x="70" y="170"/>
                    </a:lnTo>
                    <a:lnTo>
                      <a:pt x="69" y="176"/>
                    </a:lnTo>
                    <a:lnTo>
                      <a:pt x="69" y="179"/>
                    </a:lnTo>
                    <a:lnTo>
                      <a:pt x="69" y="182"/>
                    </a:lnTo>
                    <a:lnTo>
                      <a:pt x="70" y="186"/>
                    </a:lnTo>
                    <a:lnTo>
                      <a:pt x="72" y="186"/>
                    </a:lnTo>
                    <a:lnTo>
                      <a:pt x="75" y="186"/>
                    </a:lnTo>
                    <a:lnTo>
                      <a:pt x="78" y="186"/>
                    </a:lnTo>
                    <a:lnTo>
                      <a:pt x="81" y="180"/>
                    </a:lnTo>
                    <a:lnTo>
                      <a:pt x="82" y="180"/>
                    </a:lnTo>
                    <a:lnTo>
                      <a:pt x="85" y="186"/>
                    </a:lnTo>
                    <a:lnTo>
                      <a:pt x="88" y="186"/>
                    </a:lnTo>
                    <a:lnTo>
                      <a:pt x="92" y="192"/>
                    </a:lnTo>
                    <a:lnTo>
                      <a:pt x="93" y="193"/>
                    </a:lnTo>
                    <a:lnTo>
                      <a:pt x="95" y="192"/>
                    </a:lnTo>
                    <a:lnTo>
                      <a:pt x="95" y="188"/>
                    </a:lnTo>
                    <a:lnTo>
                      <a:pt x="88" y="172"/>
                    </a:lnTo>
                    <a:lnTo>
                      <a:pt x="86" y="170"/>
                    </a:lnTo>
                    <a:lnTo>
                      <a:pt x="82" y="169"/>
                    </a:lnTo>
                    <a:lnTo>
                      <a:pt x="81" y="167"/>
                    </a:lnTo>
                    <a:lnTo>
                      <a:pt x="81" y="164"/>
                    </a:lnTo>
                    <a:lnTo>
                      <a:pt x="81" y="159"/>
                    </a:lnTo>
                    <a:lnTo>
                      <a:pt x="86" y="165"/>
                    </a:lnTo>
                    <a:lnTo>
                      <a:pt x="92" y="170"/>
                    </a:lnTo>
                    <a:lnTo>
                      <a:pt x="103" y="182"/>
                    </a:lnTo>
                    <a:lnTo>
                      <a:pt x="108" y="189"/>
                    </a:lnTo>
                    <a:lnTo>
                      <a:pt x="118" y="198"/>
                    </a:lnTo>
                    <a:lnTo>
                      <a:pt x="121" y="203"/>
                    </a:lnTo>
                    <a:lnTo>
                      <a:pt x="123" y="212"/>
                    </a:lnTo>
                    <a:lnTo>
                      <a:pt x="121" y="217"/>
                    </a:lnTo>
                    <a:lnTo>
                      <a:pt x="118" y="223"/>
                    </a:lnTo>
                    <a:lnTo>
                      <a:pt x="121" y="232"/>
                    </a:lnTo>
                    <a:lnTo>
                      <a:pt x="118" y="238"/>
                    </a:lnTo>
                    <a:lnTo>
                      <a:pt x="118" y="253"/>
                    </a:lnTo>
                    <a:lnTo>
                      <a:pt x="117" y="256"/>
                    </a:lnTo>
                    <a:lnTo>
                      <a:pt x="112" y="258"/>
                    </a:lnTo>
                    <a:lnTo>
                      <a:pt x="107" y="259"/>
                    </a:lnTo>
                    <a:lnTo>
                      <a:pt x="98" y="263"/>
                    </a:lnTo>
                    <a:lnTo>
                      <a:pt x="96" y="266"/>
                    </a:lnTo>
                    <a:lnTo>
                      <a:pt x="96" y="269"/>
                    </a:lnTo>
                    <a:lnTo>
                      <a:pt x="95" y="273"/>
                    </a:lnTo>
                    <a:lnTo>
                      <a:pt x="95" y="278"/>
                    </a:lnTo>
                    <a:lnTo>
                      <a:pt x="96" y="280"/>
                    </a:lnTo>
                    <a:lnTo>
                      <a:pt x="100" y="284"/>
                    </a:lnTo>
                    <a:lnTo>
                      <a:pt x="98" y="288"/>
                    </a:lnTo>
                    <a:lnTo>
                      <a:pt x="100" y="295"/>
                    </a:lnTo>
                    <a:lnTo>
                      <a:pt x="98" y="295"/>
                    </a:lnTo>
                    <a:lnTo>
                      <a:pt x="90" y="295"/>
                    </a:lnTo>
                    <a:lnTo>
                      <a:pt x="89" y="294"/>
                    </a:lnTo>
                    <a:lnTo>
                      <a:pt x="92" y="289"/>
                    </a:lnTo>
                    <a:lnTo>
                      <a:pt x="92" y="287"/>
                    </a:lnTo>
                    <a:lnTo>
                      <a:pt x="89" y="284"/>
                    </a:lnTo>
                    <a:lnTo>
                      <a:pt x="85" y="282"/>
                    </a:lnTo>
                    <a:lnTo>
                      <a:pt x="82" y="281"/>
                    </a:lnTo>
                    <a:lnTo>
                      <a:pt x="79" y="277"/>
                    </a:lnTo>
                    <a:lnTo>
                      <a:pt x="72" y="271"/>
                    </a:lnTo>
                    <a:lnTo>
                      <a:pt x="70" y="268"/>
                    </a:lnTo>
                    <a:lnTo>
                      <a:pt x="69" y="266"/>
                    </a:lnTo>
                    <a:lnTo>
                      <a:pt x="66" y="263"/>
                    </a:lnTo>
                    <a:lnTo>
                      <a:pt x="62" y="253"/>
                    </a:lnTo>
                    <a:lnTo>
                      <a:pt x="60" y="251"/>
                    </a:lnTo>
                    <a:lnTo>
                      <a:pt x="62" y="243"/>
                    </a:lnTo>
                    <a:lnTo>
                      <a:pt x="66" y="240"/>
                    </a:lnTo>
                    <a:lnTo>
                      <a:pt x="65" y="234"/>
                    </a:lnTo>
                    <a:lnTo>
                      <a:pt x="70" y="230"/>
                    </a:lnTo>
                    <a:lnTo>
                      <a:pt x="72" y="225"/>
                    </a:lnTo>
                    <a:lnTo>
                      <a:pt x="70" y="213"/>
                    </a:lnTo>
                    <a:lnTo>
                      <a:pt x="70" y="206"/>
                    </a:lnTo>
                    <a:lnTo>
                      <a:pt x="67" y="199"/>
                    </a:lnTo>
                    <a:lnTo>
                      <a:pt x="65" y="195"/>
                    </a:lnTo>
                    <a:lnTo>
                      <a:pt x="63" y="195"/>
                    </a:lnTo>
                    <a:lnTo>
                      <a:pt x="41" y="196"/>
                    </a:lnTo>
                    <a:lnTo>
                      <a:pt x="35" y="199"/>
                    </a:lnTo>
                    <a:lnTo>
                      <a:pt x="33" y="198"/>
                    </a:lnTo>
                    <a:lnTo>
                      <a:pt x="26" y="191"/>
                    </a:lnTo>
                    <a:lnTo>
                      <a:pt x="21" y="180"/>
                    </a:lnTo>
                    <a:lnTo>
                      <a:pt x="17" y="179"/>
                    </a:lnTo>
                    <a:lnTo>
                      <a:pt x="16" y="177"/>
                    </a:lnTo>
                    <a:lnTo>
                      <a:pt x="15" y="176"/>
                    </a:lnTo>
                    <a:lnTo>
                      <a:pt x="14" y="175"/>
                    </a:lnTo>
                    <a:lnTo>
                      <a:pt x="7" y="175"/>
                    </a:lnTo>
                    <a:lnTo>
                      <a:pt x="5" y="170"/>
                    </a:lnTo>
                    <a:lnTo>
                      <a:pt x="0" y="170"/>
                    </a:lnTo>
                    <a:lnTo>
                      <a:pt x="0" y="164"/>
                    </a:lnTo>
                    <a:lnTo>
                      <a:pt x="0" y="162"/>
                    </a:lnTo>
                    <a:lnTo>
                      <a:pt x="5" y="155"/>
                    </a:lnTo>
                    <a:lnTo>
                      <a:pt x="9" y="147"/>
                    </a:lnTo>
                    <a:lnTo>
                      <a:pt x="11" y="136"/>
                    </a:lnTo>
                    <a:lnTo>
                      <a:pt x="12" y="126"/>
                    </a:lnTo>
                    <a:lnTo>
                      <a:pt x="12" y="125"/>
                    </a:lnTo>
                    <a:lnTo>
                      <a:pt x="17" y="124"/>
                    </a:lnTo>
                    <a:lnTo>
                      <a:pt x="21" y="122"/>
                    </a:lnTo>
                    <a:lnTo>
                      <a:pt x="27" y="121"/>
                    </a:lnTo>
                    <a:lnTo>
                      <a:pt x="28" y="118"/>
                    </a:lnTo>
                    <a:lnTo>
                      <a:pt x="27" y="114"/>
                    </a:lnTo>
                    <a:lnTo>
                      <a:pt x="24" y="113"/>
                    </a:lnTo>
                    <a:lnTo>
                      <a:pt x="21" y="109"/>
                    </a:lnTo>
                    <a:lnTo>
                      <a:pt x="21" y="107"/>
                    </a:lnTo>
                    <a:lnTo>
                      <a:pt x="21" y="97"/>
                    </a:lnTo>
                    <a:lnTo>
                      <a:pt x="21" y="87"/>
                    </a:lnTo>
                    <a:lnTo>
                      <a:pt x="21" y="81"/>
                    </a:lnTo>
                    <a:lnTo>
                      <a:pt x="25" y="70"/>
                    </a:lnTo>
                    <a:lnTo>
                      <a:pt x="24" y="63"/>
                    </a:lnTo>
                    <a:lnTo>
                      <a:pt x="25" y="58"/>
                    </a:lnTo>
                    <a:lnTo>
                      <a:pt x="27" y="55"/>
                    </a:lnTo>
                    <a:lnTo>
                      <a:pt x="30" y="55"/>
                    </a:lnTo>
                    <a:lnTo>
                      <a:pt x="35" y="52"/>
                    </a:lnTo>
                    <a:lnTo>
                      <a:pt x="35" y="49"/>
                    </a:lnTo>
                    <a:lnTo>
                      <a:pt x="35" y="45"/>
                    </a:lnTo>
                    <a:lnTo>
                      <a:pt x="32" y="43"/>
                    </a:lnTo>
                    <a:lnTo>
                      <a:pt x="30" y="30"/>
                    </a:lnTo>
                    <a:lnTo>
                      <a:pt x="26" y="25"/>
                    </a:lnTo>
                    <a:lnTo>
                      <a:pt x="24" y="19"/>
                    </a:lnTo>
                    <a:lnTo>
                      <a:pt x="21" y="15"/>
                    </a:lnTo>
                    <a:lnTo>
                      <a:pt x="18" y="10"/>
                    </a:lnTo>
                    <a:lnTo>
                      <a:pt x="11" y="10"/>
                    </a:lnTo>
                    <a:lnTo>
                      <a:pt x="11" y="5"/>
                    </a:lnTo>
                    <a:lnTo>
                      <a:pt x="9" y="4"/>
                    </a:lnTo>
                    <a:close/>
                  </a:path>
                </a:pathLst>
              </a:custGeom>
              <a:solidFill>
                <a:srgbClr val="17375E"/>
              </a:solidFill>
              <a:ln w="8001">
                <a:solidFill>
                  <a:srgbClr val="1C1329"/>
                </a:solidFill>
                <a:miter lim="800000"/>
                <a:headEnd/>
                <a:tailEnd/>
              </a:ln>
            </p:spPr>
            <p:txBody>
              <a:bodyPr/>
              <a:lstStyle/>
              <a:p>
                <a:endParaRPr lang="en-US"/>
              </a:p>
            </p:txBody>
          </p:sp>
          <p:sp>
            <p:nvSpPr>
              <p:cNvPr id="310" name="Freeform 96"/>
              <p:cNvSpPr>
                <a:spLocks/>
              </p:cNvSpPr>
              <p:nvPr/>
            </p:nvSpPr>
            <p:spPr bwMode="auto">
              <a:xfrm>
                <a:off x="2522" y="2950"/>
                <a:ext cx="442" cy="657"/>
              </a:xfrm>
              <a:custGeom>
                <a:avLst/>
                <a:gdLst>
                  <a:gd name="T0" fmla="*/ 35986 w 413"/>
                  <a:gd name="T1" fmla="*/ 0 h 625"/>
                  <a:gd name="T2" fmla="*/ 36445 w 413"/>
                  <a:gd name="T3" fmla="*/ 449 h 625"/>
                  <a:gd name="T4" fmla="*/ 35023 w 413"/>
                  <a:gd name="T5" fmla="*/ 1280 h 625"/>
                  <a:gd name="T6" fmla="*/ 35023 w 413"/>
                  <a:gd name="T7" fmla="*/ 2450 h 625"/>
                  <a:gd name="T8" fmla="*/ 35487 w 413"/>
                  <a:gd name="T9" fmla="*/ 3653 h 625"/>
                  <a:gd name="T10" fmla="*/ 35986 w 413"/>
                  <a:gd name="T11" fmla="*/ 3935 h 625"/>
                  <a:gd name="T12" fmla="*/ 36445 w 413"/>
                  <a:gd name="T13" fmla="*/ 4343 h 625"/>
                  <a:gd name="T14" fmla="*/ 35676 w 413"/>
                  <a:gd name="T15" fmla="*/ 4929 h 625"/>
                  <a:gd name="T16" fmla="*/ 34054 w 413"/>
                  <a:gd name="T17" fmla="*/ 5659 h 625"/>
                  <a:gd name="T18" fmla="*/ 32689 w 413"/>
                  <a:gd name="T19" fmla="*/ 6172 h 625"/>
                  <a:gd name="T20" fmla="*/ 30466 w 413"/>
                  <a:gd name="T21" fmla="*/ 6798 h 625"/>
                  <a:gd name="T22" fmla="*/ 24945 w 413"/>
                  <a:gd name="T23" fmla="*/ 7348 h 625"/>
                  <a:gd name="T24" fmla="*/ 22311 w 413"/>
                  <a:gd name="T25" fmla="*/ 8050 h 625"/>
                  <a:gd name="T26" fmla="*/ 20911 w 413"/>
                  <a:gd name="T27" fmla="*/ 8726 h 625"/>
                  <a:gd name="T28" fmla="*/ 19539 w 413"/>
                  <a:gd name="T29" fmla="*/ 8895 h 625"/>
                  <a:gd name="T30" fmla="*/ 16355 w 413"/>
                  <a:gd name="T31" fmla="*/ 9668 h 625"/>
                  <a:gd name="T32" fmla="*/ 16539 w 413"/>
                  <a:gd name="T33" fmla="*/ 10682 h 625"/>
                  <a:gd name="T34" fmla="*/ 17199 w 413"/>
                  <a:gd name="T35" fmla="*/ 11079 h 625"/>
                  <a:gd name="T36" fmla="*/ 18201 w 413"/>
                  <a:gd name="T37" fmla="*/ 12096 h 625"/>
                  <a:gd name="T38" fmla="*/ 17426 w 413"/>
                  <a:gd name="T39" fmla="*/ 14050 h 625"/>
                  <a:gd name="T40" fmla="*/ 18411 w 413"/>
                  <a:gd name="T41" fmla="*/ 13942 h 625"/>
                  <a:gd name="T42" fmla="*/ 16143 w 413"/>
                  <a:gd name="T43" fmla="*/ 14865 h 625"/>
                  <a:gd name="T44" fmla="*/ 11447 w 413"/>
                  <a:gd name="T45" fmla="*/ 15363 h 625"/>
                  <a:gd name="T46" fmla="*/ 9340 w 413"/>
                  <a:gd name="T47" fmla="*/ 15706 h 625"/>
                  <a:gd name="T48" fmla="*/ 8727 w 413"/>
                  <a:gd name="T49" fmla="*/ 16270 h 625"/>
                  <a:gd name="T50" fmla="*/ 9504 w 413"/>
                  <a:gd name="T51" fmla="*/ 16856 h 625"/>
                  <a:gd name="T52" fmla="*/ 6769 w 413"/>
                  <a:gd name="T53" fmla="*/ 16014 h 625"/>
                  <a:gd name="T54" fmla="*/ 5160 w 413"/>
                  <a:gd name="T55" fmla="*/ 13011 h 625"/>
                  <a:gd name="T56" fmla="*/ 5426 w 413"/>
                  <a:gd name="T57" fmla="*/ 12096 h 625"/>
                  <a:gd name="T58" fmla="*/ 8153 w 413"/>
                  <a:gd name="T59" fmla="*/ 10998 h 625"/>
                  <a:gd name="T60" fmla="*/ 9003 w 413"/>
                  <a:gd name="T61" fmla="*/ 9073 h 625"/>
                  <a:gd name="T62" fmla="*/ 9996 w 413"/>
                  <a:gd name="T63" fmla="*/ 8087 h 625"/>
                  <a:gd name="T64" fmla="*/ 9504 w 413"/>
                  <a:gd name="T65" fmla="*/ 6650 h 625"/>
                  <a:gd name="T66" fmla="*/ 5160 w 413"/>
                  <a:gd name="T67" fmla="*/ 5742 h 625"/>
                  <a:gd name="T68" fmla="*/ 885 w 413"/>
                  <a:gd name="T69" fmla="*/ 5659 h 625"/>
                  <a:gd name="T70" fmla="*/ 0 w 413"/>
                  <a:gd name="T71" fmla="*/ 4689 h 625"/>
                  <a:gd name="T72" fmla="*/ 11202 w 413"/>
                  <a:gd name="T73" fmla="*/ 3739 h 625"/>
                  <a:gd name="T74" fmla="*/ 13111 w 413"/>
                  <a:gd name="T75" fmla="*/ 4136 h 625"/>
                  <a:gd name="T76" fmla="*/ 15456 w 413"/>
                  <a:gd name="T77" fmla="*/ 4422 h 625"/>
                  <a:gd name="T78" fmla="*/ 15104 w 413"/>
                  <a:gd name="T79" fmla="*/ 5175 h 625"/>
                  <a:gd name="T80" fmla="*/ 15017 w 413"/>
                  <a:gd name="T81" fmla="*/ 5659 h 625"/>
                  <a:gd name="T82" fmla="*/ 15512 w 413"/>
                  <a:gd name="T83" fmla="*/ 6160 h 625"/>
                  <a:gd name="T84" fmla="*/ 17277 w 413"/>
                  <a:gd name="T85" fmla="*/ 6484 h 625"/>
                  <a:gd name="T86" fmla="*/ 17300 w 413"/>
                  <a:gd name="T87" fmla="*/ 6807 h 625"/>
                  <a:gd name="T88" fmla="*/ 18201 w 413"/>
                  <a:gd name="T89" fmla="*/ 6484 h 625"/>
                  <a:gd name="T90" fmla="*/ 17767 w 413"/>
                  <a:gd name="T91" fmla="*/ 6083 h 625"/>
                  <a:gd name="T92" fmla="*/ 19123 w 413"/>
                  <a:gd name="T93" fmla="*/ 5788 h 625"/>
                  <a:gd name="T94" fmla="*/ 19960 w 413"/>
                  <a:gd name="T95" fmla="*/ 5121 h 625"/>
                  <a:gd name="T96" fmla="*/ 19960 w 413"/>
                  <a:gd name="T97" fmla="*/ 4343 h 625"/>
                  <a:gd name="T98" fmla="*/ 17426 w 413"/>
                  <a:gd name="T99" fmla="*/ 3446 h 625"/>
                  <a:gd name="T100" fmla="*/ 16283 w 413"/>
                  <a:gd name="T101" fmla="*/ 2707 h 625"/>
                  <a:gd name="T102" fmla="*/ 16143 w 413"/>
                  <a:gd name="T103" fmla="*/ 2004 h 625"/>
                  <a:gd name="T104" fmla="*/ 19479 w 413"/>
                  <a:gd name="T105" fmla="*/ 1049 h 625"/>
                  <a:gd name="T106" fmla="*/ 20911 w 413"/>
                  <a:gd name="T107" fmla="*/ 997 h 625"/>
                  <a:gd name="T108" fmla="*/ 22379 w 413"/>
                  <a:gd name="T109" fmla="*/ 1158 h 625"/>
                  <a:gd name="T110" fmla="*/ 25995 w 413"/>
                  <a:gd name="T111" fmla="*/ 1049 h 625"/>
                  <a:gd name="T112" fmla="*/ 28467 w 413"/>
                  <a:gd name="T113" fmla="*/ 703 h 625"/>
                  <a:gd name="T114" fmla="*/ 32603 w 413"/>
                  <a:gd name="T115" fmla="*/ 548 h 62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13"/>
                  <a:gd name="T175" fmla="*/ 0 h 625"/>
                  <a:gd name="T176" fmla="*/ 413 w 413"/>
                  <a:gd name="T177" fmla="*/ 625 h 62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13" h="625">
                    <a:moveTo>
                      <a:pt x="386" y="16"/>
                    </a:moveTo>
                    <a:lnTo>
                      <a:pt x="396" y="7"/>
                    </a:lnTo>
                    <a:lnTo>
                      <a:pt x="406" y="1"/>
                    </a:lnTo>
                    <a:lnTo>
                      <a:pt x="408" y="0"/>
                    </a:lnTo>
                    <a:lnTo>
                      <a:pt x="411" y="1"/>
                    </a:lnTo>
                    <a:lnTo>
                      <a:pt x="413" y="6"/>
                    </a:lnTo>
                    <a:lnTo>
                      <a:pt x="411" y="6"/>
                    </a:lnTo>
                    <a:lnTo>
                      <a:pt x="413" y="18"/>
                    </a:lnTo>
                    <a:lnTo>
                      <a:pt x="409" y="22"/>
                    </a:lnTo>
                    <a:lnTo>
                      <a:pt x="406" y="28"/>
                    </a:lnTo>
                    <a:lnTo>
                      <a:pt x="402" y="38"/>
                    </a:lnTo>
                    <a:lnTo>
                      <a:pt x="398" y="48"/>
                    </a:lnTo>
                    <a:lnTo>
                      <a:pt x="399" y="64"/>
                    </a:lnTo>
                    <a:lnTo>
                      <a:pt x="402" y="78"/>
                    </a:lnTo>
                    <a:lnTo>
                      <a:pt x="402" y="88"/>
                    </a:lnTo>
                    <a:lnTo>
                      <a:pt x="398" y="91"/>
                    </a:lnTo>
                    <a:lnTo>
                      <a:pt x="399" y="98"/>
                    </a:lnTo>
                    <a:lnTo>
                      <a:pt x="402" y="98"/>
                    </a:lnTo>
                    <a:lnTo>
                      <a:pt x="401" y="122"/>
                    </a:lnTo>
                    <a:lnTo>
                      <a:pt x="402" y="136"/>
                    </a:lnTo>
                    <a:lnTo>
                      <a:pt x="401" y="142"/>
                    </a:lnTo>
                    <a:lnTo>
                      <a:pt x="404" y="143"/>
                    </a:lnTo>
                    <a:lnTo>
                      <a:pt x="406" y="142"/>
                    </a:lnTo>
                    <a:lnTo>
                      <a:pt x="408" y="146"/>
                    </a:lnTo>
                    <a:lnTo>
                      <a:pt x="405" y="152"/>
                    </a:lnTo>
                    <a:lnTo>
                      <a:pt x="408" y="152"/>
                    </a:lnTo>
                    <a:lnTo>
                      <a:pt x="413" y="153"/>
                    </a:lnTo>
                    <a:lnTo>
                      <a:pt x="413" y="160"/>
                    </a:lnTo>
                    <a:lnTo>
                      <a:pt x="408" y="167"/>
                    </a:lnTo>
                    <a:lnTo>
                      <a:pt x="405" y="173"/>
                    </a:lnTo>
                    <a:lnTo>
                      <a:pt x="399" y="180"/>
                    </a:lnTo>
                    <a:lnTo>
                      <a:pt x="405" y="183"/>
                    </a:lnTo>
                    <a:lnTo>
                      <a:pt x="404" y="188"/>
                    </a:lnTo>
                    <a:lnTo>
                      <a:pt x="402" y="193"/>
                    </a:lnTo>
                    <a:lnTo>
                      <a:pt x="397" y="196"/>
                    </a:lnTo>
                    <a:lnTo>
                      <a:pt x="386" y="209"/>
                    </a:lnTo>
                    <a:lnTo>
                      <a:pt x="382" y="215"/>
                    </a:lnTo>
                    <a:lnTo>
                      <a:pt x="371" y="221"/>
                    </a:lnTo>
                    <a:lnTo>
                      <a:pt x="375" y="225"/>
                    </a:lnTo>
                    <a:lnTo>
                      <a:pt x="371" y="230"/>
                    </a:lnTo>
                    <a:lnTo>
                      <a:pt x="364" y="235"/>
                    </a:lnTo>
                    <a:lnTo>
                      <a:pt x="356" y="241"/>
                    </a:lnTo>
                    <a:lnTo>
                      <a:pt x="348" y="242"/>
                    </a:lnTo>
                    <a:lnTo>
                      <a:pt x="345" y="251"/>
                    </a:lnTo>
                    <a:lnTo>
                      <a:pt x="335" y="256"/>
                    </a:lnTo>
                    <a:lnTo>
                      <a:pt x="323" y="256"/>
                    </a:lnTo>
                    <a:lnTo>
                      <a:pt x="315" y="259"/>
                    </a:lnTo>
                    <a:lnTo>
                      <a:pt x="284" y="272"/>
                    </a:lnTo>
                    <a:lnTo>
                      <a:pt x="264" y="287"/>
                    </a:lnTo>
                    <a:lnTo>
                      <a:pt x="262" y="293"/>
                    </a:lnTo>
                    <a:lnTo>
                      <a:pt x="258" y="297"/>
                    </a:lnTo>
                    <a:lnTo>
                      <a:pt x="252" y="297"/>
                    </a:lnTo>
                    <a:lnTo>
                      <a:pt x="251" y="298"/>
                    </a:lnTo>
                    <a:lnTo>
                      <a:pt x="254" y="301"/>
                    </a:lnTo>
                    <a:lnTo>
                      <a:pt x="242" y="314"/>
                    </a:lnTo>
                    <a:lnTo>
                      <a:pt x="237" y="323"/>
                    </a:lnTo>
                    <a:lnTo>
                      <a:pt x="234" y="321"/>
                    </a:lnTo>
                    <a:lnTo>
                      <a:pt x="232" y="314"/>
                    </a:lnTo>
                    <a:lnTo>
                      <a:pt x="227" y="325"/>
                    </a:lnTo>
                    <a:lnTo>
                      <a:pt x="221" y="328"/>
                    </a:lnTo>
                    <a:lnTo>
                      <a:pt x="213" y="335"/>
                    </a:lnTo>
                    <a:lnTo>
                      <a:pt x="201" y="348"/>
                    </a:lnTo>
                    <a:lnTo>
                      <a:pt x="192" y="354"/>
                    </a:lnTo>
                    <a:lnTo>
                      <a:pt x="186" y="360"/>
                    </a:lnTo>
                    <a:lnTo>
                      <a:pt x="179" y="362"/>
                    </a:lnTo>
                    <a:lnTo>
                      <a:pt x="177" y="382"/>
                    </a:lnTo>
                    <a:lnTo>
                      <a:pt x="178" y="389"/>
                    </a:lnTo>
                    <a:lnTo>
                      <a:pt x="187" y="396"/>
                    </a:lnTo>
                    <a:lnTo>
                      <a:pt x="191" y="400"/>
                    </a:lnTo>
                    <a:lnTo>
                      <a:pt x="191" y="405"/>
                    </a:lnTo>
                    <a:lnTo>
                      <a:pt x="192" y="407"/>
                    </a:lnTo>
                    <a:lnTo>
                      <a:pt x="193" y="412"/>
                    </a:lnTo>
                    <a:lnTo>
                      <a:pt x="201" y="434"/>
                    </a:lnTo>
                    <a:lnTo>
                      <a:pt x="202" y="448"/>
                    </a:lnTo>
                    <a:lnTo>
                      <a:pt x="203" y="451"/>
                    </a:lnTo>
                    <a:lnTo>
                      <a:pt x="206" y="448"/>
                    </a:lnTo>
                    <a:lnTo>
                      <a:pt x="209" y="449"/>
                    </a:lnTo>
                    <a:lnTo>
                      <a:pt x="209" y="465"/>
                    </a:lnTo>
                    <a:lnTo>
                      <a:pt x="208" y="489"/>
                    </a:lnTo>
                    <a:lnTo>
                      <a:pt x="198" y="520"/>
                    </a:lnTo>
                    <a:lnTo>
                      <a:pt x="199" y="527"/>
                    </a:lnTo>
                    <a:lnTo>
                      <a:pt x="202" y="520"/>
                    </a:lnTo>
                    <a:lnTo>
                      <a:pt x="208" y="515"/>
                    </a:lnTo>
                    <a:lnTo>
                      <a:pt x="208" y="517"/>
                    </a:lnTo>
                    <a:lnTo>
                      <a:pt x="206" y="525"/>
                    </a:lnTo>
                    <a:lnTo>
                      <a:pt x="202" y="533"/>
                    </a:lnTo>
                    <a:lnTo>
                      <a:pt x="192" y="544"/>
                    </a:lnTo>
                    <a:lnTo>
                      <a:pt x="182" y="551"/>
                    </a:lnTo>
                    <a:lnTo>
                      <a:pt x="168" y="556"/>
                    </a:lnTo>
                    <a:lnTo>
                      <a:pt x="160" y="557"/>
                    </a:lnTo>
                    <a:lnTo>
                      <a:pt x="134" y="564"/>
                    </a:lnTo>
                    <a:lnTo>
                      <a:pt x="128" y="569"/>
                    </a:lnTo>
                    <a:lnTo>
                      <a:pt x="123" y="573"/>
                    </a:lnTo>
                    <a:lnTo>
                      <a:pt x="116" y="576"/>
                    </a:lnTo>
                    <a:lnTo>
                      <a:pt x="109" y="578"/>
                    </a:lnTo>
                    <a:lnTo>
                      <a:pt x="106" y="581"/>
                    </a:lnTo>
                    <a:lnTo>
                      <a:pt x="101" y="589"/>
                    </a:lnTo>
                    <a:lnTo>
                      <a:pt x="94" y="597"/>
                    </a:lnTo>
                    <a:lnTo>
                      <a:pt x="93" y="597"/>
                    </a:lnTo>
                    <a:lnTo>
                      <a:pt x="99" y="602"/>
                    </a:lnTo>
                    <a:lnTo>
                      <a:pt x="103" y="607"/>
                    </a:lnTo>
                    <a:lnTo>
                      <a:pt x="108" y="604"/>
                    </a:lnTo>
                    <a:lnTo>
                      <a:pt x="110" y="600"/>
                    </a:lnTo>
                    <a:lnTo>
                      <a:pt x="108" y="625"/>
                    </a:lnTo>
                    <a:lnTo>
                      <a:pt x="103" y="623"/>
                    </a:lnTo>
                    <a:lnTo>
                      <a:pt x="78" y="625"/>
                    </a:lnTo>
                    <a:lnTo>
                      <a:pt x="77" y="605"/>
                    </a:lnTo>
                    <a:lnTo>
                      <a:pt x="77" y="594"/>
                    </a:lnTo>
                    <a:lnTo>
                      <a:pt x="75" y="588"/>
                    </a:lnTo>
                    <a:lnTo>
                      <a:pt x="72" y="528"/>
                    </a:lnTo>
                    <a:lnTo>
                      <a:pt x="64" y="500"/>
                    </a:lnTo>
                    <a:lnTo>
                      <a:pt x="59" y="479"/>
                    </a:lnTo>
                    <a:lnTo>
                      <a:pt x="59" y="465"/>
                    </a:lnTo>
                    <a:lnTo>
                      <a:pt x="59" y="455"/>
                    </a:lnTo>
                    <a:lnTo>
                      <a:pt x="61" y="448"/>
                    </a:lnTo>
                    <a:lnTo>
                      <a:pt x="65" y="441"/>
                    </a:lnTo>
                    <a:lnTo>
                      <a:pt x="74" y="436"/>
                    </a:lnTo>
                    <a:lnTo>
                      <a:pt x="79" y="431"/>
                    </a:lnTo>
                    <a:lnTo>
                      <a:pt x="92" y="408"/>
                    </a:lnTo>
                    <a:lnTo>
                      <a:pt x="96" y="388"/>
                    </a:lnTo>
                    <a:lnTo>
                      <a:pt x="109" y="364"/>
                    </a:lnTo>
                    <a:lnTo>
                      <a:pt x="107" y="347"/>
                    </a:lnTo>
                    <a:lnTo>
                      <a:pt x="103" y="338"/>
                    </a:lnTo>
                    <a:lnTo>
                      <a:pt x="102" y="326"/>
                    </a:lnTo>
                    <a:lnTo>
                      <a:pt x="109" y="313"/>
                    </a:lnTo>
                    <a:lnTo>
                      <a:pt x="110" y="308"/>
                    </a:lnTo>
                    <a:lnTo>
                      <a:pt x="113" y="298"/>
                    </a:lnTo>
                    <a:lnTo>
                      <a:pt x="112" y="290"/>
                    </a:lnTo>
                    <a:lnTo>
                      <a:pt x="113" y="267"/>
                    </a:lnTo>
                    <a:lnTo>
                      <a:pt x="110" y="252"/>
                    </a:lnTo>
                    <a:lnTo>
                      <a:pt x="108" y="246"/>
                    </a:lnTo>
                    <a:lnTo>
                      <a:pt x="107" y="235"/>
                    </a:lnTo>
                    <a:lnTo>
                      <a:pt x="101" y="229"/>
                    </a:lnTo>
                    <a:lnTo>
                      <a:pt x="79" y="222"/>
                    </a:lnTo>
                    <a:lnTo>
                      <a:pt x="59" y="213"/>
                    </a:lnTo>
                    <a:lnTo>
                      <a:pt x="48" y="211"/>
                    </a:lnTo>
                    <a:lnTo>
                      <a:pt x="37" y="208"/>
                    </a:lnTo>
                    <a:lnTo>
                      <a:pt x="21" y="209"/>
                    </a:lnTo>
                    <a:lnTo>
                      <a:pt x="10" y="209"/>
                    </a:lnTo>
                    <a:lnTo>
                      <a:pt x="10" y="194"/>
                    </a:lnTo>
                    <a:lnTo>
                      <a:pt x="6" y="193"/>
                    </a:lnTo>
                    <a:lnTo>
                      <a:pt x="5" y="184"/>
                    </a:lnTo>
                    <a:lnTo>
                      <a:pt x="0" y="174"/>
                    </a:lnTo>
                    <a:lnTo>
                      <a:pt x="115" y="134"/>
                    </a:lnTo>
                    <a:lnTo>
                      <a:pt x="122" y="134"/>
                    </a:lnTo>
                    <a:lnTo>
                      <a:pt x="123" y="136"/>
                    </a:lnTo>
                    <a:lnTo>
                      <a:pt x="127" y="138"/>
                    </a:lnTo>
                    <a:lnTo>
                      <a:pt x="132" y="148"/>
                    </a:lnTo>
                    <a:lnTo>
                      <a:pt x="139" y="155"/>
                    </a:lnTo>
                    <a:lnTo>
                      <a:pt x="141" y="157"/>
                    </a:lnTo>
                    <a:lnTo>
                      <a:pt x="147" y="153"/>
                    </a:lnTo>
                    <a:lnTo>
                      <a:pt x="168" y="152"/>
                    </a:lnTo>
                    <a:lnTo>
                      <a:pt x="171" y="152"/>
                    </a:lnTo>
                    <a:lnTo>
                      <a:pt x="173" y="157"/>
                    </a:lnTo>
                    <a:lnTo>
                      <a:pt x="176" y="164"/>
                    </a:lnTo>
                    <a:lnTo>
                      <a:pt x="177" y="170"/>
                    </a:lnTo>
                    <a:lnTo>
                      <a:pt x="178" y="183"/>
                    </a:lnTo>
                    <a:lnTo>
                      <a:pt x="176" y="187"/>
                    </a:lnTo>
                    <a:lnTo>
                      <a:pt x="171" y="191"/>
                    </a:lnTo>
                    <a:lnTo>
                      <a:pt x="171" y="198"/>
                    </a:lnTo>
                    <a:lnTo>
                      <a:pt x="168" y="199"/>
                    </a:lnTo>
                    <a:lnTo>
                      <a:pt x="166" y="208"/>
                    </a:lnTo>
                    <a:lnTo>
                      <a:pt x="168" y="209"/>
                    </a:lnTo>
                    <a:lnTo>
                      <a:pt x="171" y="220"/>
                    </a:lnTo>
                    <a:lnTo>
                      <a:pt x="175" y="224"/>
                    </a:lnTo>
                    <a:lnTo>
                      <a:pt x="177" y="225"/>
                    </a:lnTo>
                    <a:lnTo>
                      <a:pt x="178" y="228"/>
                    </a:lnTo>
                    <a:lnTo>
                      <a:pt x="185" y="234"/>
                    </a:lnTo>
                    <a:lnTo>
                      <a:pt x="188" y="239"/>
                    </a:lnTo>
                    <a:lnTo>
                      <a:pt x="191" y="239"/>
                    </a:lnTo>
                    <a:lnTo>
                      <a:pt x="195" y="241"/>
                    </a:lnTo>
                    <a:lnTo>
                      <a:pt x="198" y="244"/>
                    </a:lnTo>
                    <a:lnTo>
                      <a:pt x="198" y="246"/>
                    </a:lnTo>
                    <a:lnTo>
                      <a:pt x="195" y="251"/>
                    </a:lnTo>
                    <a:lnTo>
                      <a:pt x="196" y="252"/>
                    </a:lnTo>
                    <a:lnTo>
                      <a:pt x="204" y="252"/>
                    </a:lnTo>
                    <a:lnTo>
                      <a:pt x="206" y="252"/>
                    </a:lnTo>
                    <a:lnTo>
                      <a:pt x="204" y="246"/>
                    </a:lnTo>
                    <a:lnTo>
                      <a:pt x="206" y="241"/>
                    </a:lnTo>
                    <a:lnTo>
                      <a:pt x="203" y="237"/>
                    </a:lnTo>
                    <a:lnTo>
                      <a:pt x="201" y="235"/>
                    </a:lnTo>
                    <a:lnTo>
                      <a:pt x="201" y="230"/>
                    </a:lnTo>
                    <a:lnTo>
                      <a:pt x="203" y="225"/>
                    </a:lnTo>
                    <a:lnTo>
                      <a:pt x="203" y="224"/>
                    </a:lnTo>
                    <a:lnTo>
                      <a:pt x="204" y="220"/>
                    </a:lnTo>
                    <a:lnTo>
                      <a:pt x="213" y="216"/>
                    </a:lnTo>
                    <a:lnTo>
                      <a:pt x="218" y="215"/>
                    </a:lnTo>
                    <a:lnTo>
                      <a:pt x="223" y="213"/>
                    </a:lnTo>
                    <a:lnTo>
                      <a:pt x="224" y="209"/>
                    </a:lnTo>
                    <a:lnTo>
                      <a:pt x="225" y="194"/>
                    </a:lnTo>
                    <a:lnTo>
                      <a:pt x="227" y="189"/>
                    </a:lnTo>
                    <a:lnTo>
                      <a:pt x="224" y="180"/>
                    </a:lnTo>
                    <a:lnTo>
                      <a:pt x="227" y="173"/>
                    </a:lnTo>
                    <a:lnTo>
                      <a:pt x="228" y="168"/>
                    </a:lnTo>
                    <a:lnTo>
                      <a:pt x="227" y="160"/>
                    </a:lnTo>
                    <a:lnTo>
                      <a:pt x="224" y="155"/>
                    </a:lnTo>
                    <a:lnTo>
                      <a:pt x="214" y="146"/>
                    </a:lnTo>
                    <a:lnTo>
                      <a:pt x="209" y="139"/>
                    </a:lnTo>
                    <a:lnTo>
                      <a:pt x="198" y="127"/>
                    </a:lnTo>
                    <a:lnTo>
                      <a:pt x="193" y="122"/>
                    </a:lnTo>
                    <a:lnTo>
                      <a:pt x="187" y="116"/>
                    </a:lnTo>
                    <a:lnTo>
                      <a:pt x="185" y="108"/>
                    </a:lnTo>
                    <a:lnTo>
                      <a:pt x="185" y="101"/>
                    </a:lnTo>
                    <a:lnTo>
                      <a:pt x="183" y="95"/>
                    </a:lnTo>
                    <a:lnTo>
                      <a:pt x="183" y="84"/>
                    </a:lnTo>
                    <a:lnTo>
                      <a:pt x="182" y="79"/>
                    </a:lnTo>
                    <a:lnTo>
                      <a:pt x="182" y="74"/>
                    </a:lnTo>
                    <a:lnTo>
                      <a:pt x="183" y="63"/>
                    </a:lnTo>
                    <a:lnTo>
                      <a:pt x="189" y="52"/>
                    </a:lnTo>
                    <a:lnTo>
                      <a:pt x="192" y="40"/>
                    </a:lnTo>
                    <a:lnTo>
                      <a:pt x="220" y="40"/>
                    </a:lnTo>
                    <a:lnTo>
                      <a:pt x="223" y="40"/>
                    </a:lnTo>
                    <a:lnTo>
                      <a:pt x="227" y="37"/>
                    </a:lnTo>
                    <a:lnTo>
                      <a:pt x="233" y="37"/>
                    </a:lnTo>
                    <a:lnTo>
                      <a:pt x="237" y="37"/>
                    </a:lnTo>
                    <a:lnTo>
                      <a:pt x="242" y="43"/>
                    </a:lnTo>
                    <a:lnTo>
                      <a:pt x="246" y="44"/>
                    </a:lnTo>
                    <a:lnTo>
                      <a:pt x="247" y="45"/>
                    </a:lnTo>
                    <a:lnTo>
                      <a:pt x="254" y="43"/>
                    </a:lnTo>
                    <a:lnTo>
                      <a:pt x="259" y="43"/>
                    </a:lnTo>
                    <a:lnTo>
                      <a:pt x="268" y="38"/>
                    </a:lnTo>
                    <a:lnTo>
                      <a:pt x="290" y="40"/>
                    </a:lnTo>
                    <a:lnTo>
                      <a:pt x="295" y="40"/>
                    </a:lnTo>
                    <a:lnTo>
                      <a:pt x="297" y="38"/>
                    </a:lnTo>
                    <a:lnTo>
                      <a:pt x="306" y="29"/>
                    </a:lnTo>
                    <a:lnTo>
                      <a:pt x="316" y="28"/>
                    </a:lnTo>
                    <a:lnTo>
                      <a:pt x="322" y="27"/>
                    </a:lnTo>
                    <a:lnTo>
                      <a:pt x="333" y="30"/>
                    </a:lnTo>
                    <a:lnTo>
                      <a:pt x="338" y="32"/>
                    </a:lnTo>
                    <a:lnTo>
                      <a:pt x="345" y="30"/>
                    </a:lnTo>
                    <a:lnTo>
                      <a:pt x="368" y="22"/>
                    </a:lnTo>
                    <a:lnTo>
                      <a:pt x="382" y="18"/>
                    </a:lnTo>
                    <a:lnTo>
                      <a:pt x="38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1" name="Freeform 97"/>
              <p:cNvSpPr>
                <a:spLocks/>
              </p:cNvSpPr>
              <p:nvPr/>
            </p:nvSpPr>
            <p:spPr bwMode="auto">
              <a:xfrm>
                <a:off x="2522" y="2950"/>
                <a:ext cx="442" cy="657"/>
              </a:xfrm>
              <a:custGeom>
                <a:avLst/>
                <a:gdLst>
                  <a:gd name="T0" fmla="*/ 35986 w 413"/>
                  <a:gd name="T1" fmla="*/ 0 h 625"/>
                  <a:gd name="T2" fmla="*/ 36445 w 413"/>
                  <a:gd name="T3" fmla="*/ 449 h 625"/>
                  <a:gd name="T4" fmla="*/ 35023 w 413"/>
                  <a:gd name="T5" fmla="*/ 1280 h 625"/>
                  <a:gd name="T6" fmla="*/ 35023 w 413"/>
                  <a:gd name="T7" fmla="*/ 2450 h 625"/>
                  <a:gd name="T8" fmla="*/ 35487 w 413"/>
                  <a:gd name="T9" fmla="*/ 3653 h 625"/>
                  <a:gd name="T10" fmla="*/ 35986 w 413"/>
                  <a:gd name="T11" fmla="*/ 3935 h 625"/>
                  <a:gd name="T12" fmla="*/ 36445 w 413"/>
                  <a:gd name="T13" fmla="*/ 4343 h 625"/>
                  <a:gd name="T14" fmla="*/ 35676 w 413"/>
                  <a:gd name="T15" fmla="*/ 4929 h 625"/>
                  <a:gd name="T16" fmla="*/ 34054 w 413"/>
                  <a:gd name="T17" fmla="*/ 5659 h 625"/>
                  <a:gd name="T18" fmla="*/ 32689 w 413"/>
                  <a:gd name="T19" fmla="*/ 6172 h 625"/>
                  <a:gd name="T20" fmla="*/ 30466 w 413"/>
                  <a:gd name="T21" fmla="*/ 6798 h 625"/>
                  <a:gd name="T22" fmla="*/ 24945 w 413"/>
                  <a:gd name="T23" fmla="*/ 7348 h 625"/>
                  <a:gd name="T24" fmla="*/ 22311 w 413"/>
                  <a:gd name="T25" fmla="*/ 8050 h 625"/>
                  <a:gd name="T26" fmla="*/ 20911 w 413"/>
                  <a:gd name="T27" fmla="*/ 8726 h 625"/>
                  <a:gd name="T28" fmla="*/ 19539 w 413"/>
                  <a:gd name="T29" fmla="*/ 8895 h 625"/>
                  <a:gd name="T30" fmla="*/ 16355 w 413"/>
                  <a:gd name="T31" fmla="*/ 9668 h 625"/>
                  <a:gd name="T32" fmla="*/ 16539 w 413"/>
                  <a:gd name="T33" fmla="*/ 10682 h 625"/>
                  <a:gd name="T34" fmla="*/ 17199 w 413"/>
                  <a:gd name="T35" fmla="*/ 11079 h 625"/>
                  <a:gd name="T36" fmla="*/ 18201 w 413"/>
                  <a:gd name="T37" fmla="*/ 12096 h 625"/>
                  <a:gd name="T38" fmla="*/ 17426 w 413"/>
                  <a:gd name="T39" fmla="*/ 14050 h 625"/>
                  <a:gd name="T40" fmla="*/ 18411 w 413"/>
                  <a:gd name="T41" fmla="*/ 13942 h 625"/>
                  <a:gd name="T42" fmla="*/ 16143 w 413"/>
                  <a:gd name="T43" fmla="*/ 14865 h 625"/>
                  <a:gd name="T44" fmla="*/ 11447 w 413"/>
                  <a:gd name="T45" fmla="*/ 15363 h 625"/>
                  <a:gd name="T46" fmla="*/ 9340 w 413"/>
                  <a:gd name="T47" fmla="*/ 15706 h 625"/>
                  <a:gd name="T48" fmla="*/ 8727 w 413"/>
                  <a:gd name="T49" fmla="*/ 16270 h 625"/>
                  <a:gd name="T50" fmla="*/ 9504 w 413"/>
                  <a:gd name="T51" fmla="*/ 16856 h 625"/>
                  <a:gd name="T52" fmla="*/ 6769 w 413"/>
                  <a:gd name="T53" fmla="*/ 16014 h 625"/>
                  <a:gd name="T54" fmla="*/ 5160 w 413"/>
                  <a:gd name="T55" fmla="*/ 13011 h 625"/>
                  <a:gd name="T56" fmla="*/ 5426 w 413"/>
                  <a:gd name="T57" fmla="*/ 12096 h 625"/>
                  <a:gd name="T58" fmla="*/ 8153 w 413"/>
                  <a:gd name="T59" fmla="*/ 10998 h 625"/>
                  <a:gd name="T60" fmla="*/ 9003 w 413"/>
                  <a:gd name="T61" fmla="*/ 9073 h 625"/>
                  <a:gd name="T62" fmla="*/ 9996 w 413"/>
                  <a:gd name="T63" fmla="*/ 8087 h 625"/>
                  <a:gd name="T64" fmla="*/ 9504 w 413"/>
                  <a:gd name="T65" fmla="*/ 6650 h 625"/>
                  <a:gd name="T66" fmla="*/ 5160 w 413"/>
                  <a:gd name="T67" fmla="*/ 5742 h 625"/>
                  <a:gd name="T68" fmla="*/ 885 w 413"/>
                  <a:gd name="T69" fmla="*/ 5659 h 625"/>
                  <a:gd name="T70" fmla="*/ 0 w 413"/>
                  <a:gd name="T71" fmla="*/ 4689 h 625"/>
                  <a:gd name="T72" fmla="*/ 11202 w 413"/>
                  <a:gd name="T73" fmla="*/ 3739 h 625"/>
                  <a:gd name="T74" fmla="*/ 13111 w 413"/>
                  <a:gd name="T75" fmla="*/ 4136 h 625"/>
                  <a:gd name="T76" fmla="*/ 15456 w 413"/>
                  <a:gd name="T77" fmla="*/ 4422 h 625"/>
                  <a:gd name="T78" fmla="*/ 15104 w 413"/>
                  <a:gd name="T79" fmla="*/ 5175 h 625"/>
                  <a:gd name="T80" fmla="*/ 15017 w 413"/>
                  <a:gd name="T81" fmla="*/ 5659 h 625"/>
                  <a:gd name="T82" fmla="*/ 15512 w 413"/>
                  <a:gd name="T83" fmla="*/ 6160 h 625"/>
                  <a:gd name="T84" fmla="*/ 17277 w 413"/>
                  <a:gd name="T85" fmla="*/ 6484 h 625"/>
                  <a:gd name="T86" fmla="*/ 17300 w 413"/>
                  <a:gd name="T87" fmla="*/ 6807 h 625"/>
                  <a:gd name="T88" fmla="*/ 18201 w 413"/>
                  <a:gd name="T89" fmla="*/ 6484 h 625"/>
                  <a:gd name="T90" fmla="*/ 17767 w 413"/>
                  <a:gd name="T91" fmla="*/ 6083 h 625"/>
                  <a:gd name="T92" fmla="*/ 19123 w 413"/>
                  <a:gd name="T93" fmla="*/ 5788 h 625"/>
                  <a:gd name="T94" fmla="*/ 19960 w 413"/>
                  <a:gd name="T95" fmla="*/ 5121 h 625"/>
                  <a:gd name="T96" fmla="*/ 19960 w 413"/>
                  <a:gd name="T97" fmla="*/ 4343 h 625"/>
                  <a:gd name="T98" fmla="*/ 17426 w 413"/>
                  <a:gd name="T99" fmla="*/ 3446 h 625"/>
                  <a:gd name="T100" fmla="*/ 16283 w 413"/>
                  <a:gd name="T101" fmla="*/ 2707 h 625"/>
                  <a:gd name="T102" fmla="*/ 16143 w 413"/>
                  <a:gd name="T103" fmla="*/ 2004 h 625"/>
                  <a:gd name="T104" fmla="*/ 19479 w 413"/>
                  <a:gd name="T105" fmla="*/ 1049 h 625"/>
                  <a:gd name="T106" fmla="*/ 20911 w 413"/>
                  <a:gd name="T107" fmla="*/ 997 h 625"/>
                  <a:gd name="T108" fmla="*/ 22379 w 413"/>
                  <a:gd name="T109" fmla="*/ 1158 h 625"/>
                  <a:gd name="T110" fmla="*/ 25995 w 413"/>
                  <a:gd name="T111" fmla="*/ 1049 h 625"/>
                  <a:gd name="T112" fmla="*/ 28467 w 413"/>
                  <a:gd name="T113" fmla="*/ 703 h 625"/>
                  <a:gd name="T114" fmla="*/ 32603 w 413"/>
                  <a:gd name="T115" fmla="*/ 548 h 62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13"/>
                  <a:gd name="T175" fmla="*/ 0 h 625"/>
                  <a:gd name="T176" fmla="*/ 413 w 413"/>
                  <a:gd name="T177" fmla="*/ 625 h 62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13" h="625">
                    <a:moveTo>
                      <a:pt x="386" y="16"/>
                    </a:moveTo>
                    <a:lnTo>
                      <a:pt x="396" y="7"/>
                    </a:lnTo>
                    <a:lnTo>
                      <a:pt x="406" y="1"/>
                    </a:lnTo>
                    <a:lnTo>
                      <a:pt x="408" y="0"/>
                    </a:lnTo>
                    <a:lnTo>
                      <a:pt x="411" y="1"/>
                    </a:lnTo>
                    <a:lnTo>
                      <a:pt x="413" y="6"/>
                    </a:lnTo>
                    <a:lnTo>
                      <a:pt x="411" y="6"/>
                    </a:lnTo>
                    <a:lnTo>
                      <a:pt x="413" y="18"/>
                    </a:lnTo>
                    <a:lnTo>
                      <a:pt x="409" y="22"/>
                    </a:lnTo>
                    <a:lnTo>
                      <a:pt x="406" y="28"/>
                    </a:lnTo>
                    <a:lnTo>
                      <a:pt x="402" y="38"/>
                    </a:lnTo>
                    <a:lnTo>
                      <a:pt x="398" y="48"/>
                    </a:lnTo>
                    <a:lnTo>
                      <a:pt x="399" y="64"/>
                    </a:lnTo>
                    <a:lnTo>
                      <a:pt x="402" y="78"/>
                    </a:lnTo>
                    <a:lnTo>
                      <a:pt x="402" y="88"/>
                    </a:lnTo>
                    <a:lnTo>
                      <a:pt x="398" y="91"/>
                    </a:lnTo>
                    <a:lnTo>
                      <a:pt x="399" y="98"/>
                    </a:lnTo>
                    <a:lnTo>
                      <a:pt x="402" y="98"/>
                    </a:lnTo>
                    <a:lnTo>
                      <a:pt x="401" y="122"/>
                    </a:lnTo>
                    <a:lnTo>
                      <a:pt x="402" y="136"/>
                    </a:lnTo>
                    <a:lnTo>
                      <a:pt x="401" y="142"/>
                    </a:lnTo>
                    <a:lnTo>
                      <a:pt x="404" y="143"/>
                    </a:lnTo>
                    <a:lnTo>
                      <a:pt x="406" y="142"/>
                    </a:lnTo>
                    <a:lnTo>
                      <a:pt x="408" y="146"/>
                    </a:lnTo>
                    <a:lnTo>
                      <a:pt x="405" y="152"/>
                    </a:lnTo>
                    <a:lnTo>
                      <a:pt x="408" y="152"/>
                    </a:lnTo>
                    <a:lnTo>
                      <a:pt x="413" y="153"/>
                    </a:lnTo>
                    <a:lnTo>
                      <a:pt x="413" y="160"/>
                    </a:lnTo>
                    <a:lnTo>
                      <a:pt x="408" y="167"/>
                    </a:lnTo>
                    <a:lnTo>
                      <a:pt x="405" y="173"/>
                    </a:lnTo>
                    <a:lnTo>
                      <a:pt x="399" y="180"/>
                    </a:lnTo>
                    <a:lnTo>
                      <a:pt x="405" y="183"/>
                    </a:lnTo>
                    <a:lnTo>
                      <a:pt x="404" y="188"/>
                    </a:lnTo>
                    <a:lnTo>
                      <a:pt x="402" y="193"/>
                    </a:lnTo>
                    <a:lnTo>
                      <a:pt x="397" y="196"/>
                    </a:lnTo>
                    <a:lnTo>
                      <a:pt x="386" y="209"/>
                    </a:lnTo>
                    <a:lnTo>
                      <a:pt x="382" y="215"/>
                    </a:lnTo>
                    <a:lnTo>
                      <a:pt x="371" y="221"/>
                    </a:lnTo>
                    <a:lnTo>
                      <a:pt x="375" y="225"/>
                    </a:lnTo>
                    <a:lnTo>
                      <a:pt x="371" y="230"/>
                    </a:lnTo>
                    <a:lnTo>
                      <a:pt x="364" y="235"/>
                    </a:lnTo>
                    <a:lnTo>
                      <a:pt x="356" y="241"/>
                    </a:lnTo>
                    <a:lnTo>
                      <a:pt x="348" y="242"/>
                    </a:lnTo>
                    <a:lnTo>
                      <a:pt x="345" y="251"/>
                    </a:lnTo>
                    <a:lnTo>
                      <a:pt x="335" y="256"/>
                    </a:lnTo>
                    <a:lnTo>
                      <a:pt x="323" y="256"/>
                    </a:lnTo>
                    <a:lnTo>
                      <a:pt x="315" y="259"/>
                    </a:lnTo>
                    <a:lnTo>
                      <a:pt x="284" y="272"/>
                    </a:lnTo>
                    <a:lnTo>
                      <a:pt x="264" y="287"/>
                    </a:lnTo>
                    <a:lnTo>
                      <a:pt x="262" y="293"/>
                    </a:lnTo>
                    <a:lnTo>
                      <a:pt x="258" y="297"/>
                    </a:lnTo>
                    <a:lnTo>
                      <a:pt x="252" y="297"/>
                    </a:lnTo>
                    <a:lnTo>
                      <a:pt x="251" y="298"/>
                    </a:lnTo>
                    <a:lnTo>
                      <a:pt x="254" y="301"/>
                    </a:lnTo>
                    <a:lnTo>
                      <a:pt x="242" y="314"/>
                    </a:lnTo>
                    <a:lnTo>
                      <a:pt x="237" y="323"/>
                    </a:lnTo>
                    <a:lnTo>
                      <a:pt x="234" y="321"/>
                    </a:lnTo>
                    <a:lnTo>
                      <a:pt x="232" y="314"/>
                    </a:lnTo>
                    <a:lnTo>
                      <a:pt x="227" y="325"/>
                    </a:lnTo>
                    <a:lnTo>
                      <a:pt x="221" y="328"/>
                    </a:lnTo>
                    <a:lnTo>
                      <a:pt x="213" y="335"/>
                    </a:lnTo>
                    <a:lnTo>
                      <a:pt x="201" y="348"/>
                    </a:lnTo>
                    <a:lnTo>
                      <a:pt x="192" y="354"/>
                    </a:lnTo>
                    <a:lnTo>
                      <a:pt x="186" y="360"/>
                    </a:lnTo>
                    <a:lnTo>
                      <a:pt x="179" y="362"/>
                    </a:lnTo>
                    <a:lnTo>
                      <a:pt x="177" y="382"/>
                    </a:lnTo>
                    <a:lnTo>
                      <a:pt x="178" y="389"/>
                    </a:lnTo>
                    <a:lnTo>
                      <a:pt x="187" y="396"/>
                    </a:lnTo>
                    <a:lnTo>
                      <a:pt x="191" y="400"/>
                    </a:lnTo>
                    <a:lnTo>
                      <a:pt x="191" y="405"/>
                    </a:lnTo>
                    <a:lnTo>
                      <a:pt x="192" y="407"/>
                    </a:lnTo>
                    <a:lnTo>
                      <a:pt x="193" y="412"/>
                    </a:lnTo>
                    <a:lnTo>
                      <a:pt x="201" y="434"/>
                    </a:lnTo>
                    <a:lnTo>
                      <a:pt x="202" y="448"/>
                    </a:lnTo>
                    <a:lnTo>
                      <a:pt x="203" y="451"/>
                    </a:lnTo>
                    <a:lnTo>
                      <a:pt x="206" y="448"/>
                    </a:lnTo>
                    <a:lnTo>
                      <a:pt x="209" y="449"/>
                    </a:lnTo>
                    <a:lnTo>
                      <a:pt x="209" y="465"/>
                    </a:lnTo>
                    <a:lnTo>
                      <a:pt x="208" y="489"/>
                    </a:lnTo>
                    <a:lnTo>
                      <a:pt x="198" y="520"/>
                    </a:lnTo>
                    <a:lnTo>
                      <a:pt x="199" y="527"/>
                    </a:lnTo>
                    <a:lnTo>
                      <a:pt x="202" y="520"/>
                    </a:lnTo>
                    <a:lnTo>
                      <a:pt x="208" y="515"/>
                    </a:lnTo>
                    <a:lnTo>
                      <a:pt x="208" y="517"/>
                    </a:lnTo>
                    <a:lnTo>
                      <a:pt x="206" y="525"/>
                    </a:lnTo>
                    <a:lnTo>
                      <a:pt x="202" y="533"/>
                    </a:lnTo>
                    <a:lnTo>
                      <a:pt x="192" y="544"/>
                    </a:lnTo>
                    <a:lnTo>
                      <a:pt x="182" y="551"/>
                    </a:lnTo>
                    <a:lnTo>
                      <a:pt x="168" y="556"/>
                    </a:lnTo>
                    <a:lnTo>
                      <a:pt x="160" y="557"/>
                    </a:lnTo>
                    <a:lnTo>
                      <a:pt x="134" y="564"/>
                    </a:lnTo>
                    <a:lnTo>
                      <a:pt x="128" y="569"/>
                    </a:lnTo>
                    <a:lnTo>
                      <a:pt x="123" y="573"/>
                    </a:lnTo>
                    <a:lnTo>
                      <a:pt x="116" y="576"/>
                    </a:lnTo>
                    <a:lnTo>
                      <a:pt x="109" y="578"/>
                    </a:lnTo>
                    <a:lnTo>
                      <a:pt x="106" y="581"/>
                    </a:lnTo>
                    <a:lnTo>
                      <a:pt x="101" y="589"/>
                    </a:lnTo>
                    <a:lnTo>
                      <a:pt x="94" y="597"/>
                    </a:lnTo>
                    <a:lnTo>
                      <a:pt x="93" y="597"/>
                    </a:lnTo>
                    <a:lnTo>
                      <a:pt x="99" y="602"/>
                    </a:lnTo>
                    <a:lnTo>
                      <a:pt x="103" y="607"/>
                    </a:lnTo>
                    <a:lnTo>
                      <a:pt x="108" y="604"/>
                    </a:lnTo>
                    <a:lnTo>
                      <a:pt x="110" y="600"/>
                    </a:lnTo>
                    <a:lnTo>
                      <a:pt x="108" y="625"/>
                    </a:lnTo>
                    <a:lnTo>
                      <a:pt x="103" y="623"/>
                    </a:lnTo>
                    <a:lnTo>
                      <a:pt x="78" y="625"/>
                    </a:lnTo>
                    <a:lnTo>
                      <a:pt x="77" y="605"/>
                    </a:lnTo>
                    <a:lnTo>
                      <a:pt x="77" y="594"/>
                    </a:lnTo>
                    <a:lnTo>
                      <a:pt x="75" y="588"/>
                    </a:lnTo>
                    <a:lnTo>
                      <a:pt x="72" y="528"/>
                    </a:lnTo>
                    <a:lnTo>
                      <a:pt x="64" y="500"/>
                    </a:lnTo>
                    <a:lnTo>
                      <a:pt x="59" y="479"/>
                    </a:lnTo>
                    <a:lnTo>
                      <a:pt x="59" y="465"/>
                    </a:lnTo>
                    <a:lnTo>
                      <a:pt x="59" y="455"/>
                    </a:lnTo>
                    <a:lnTo>
                      <a:pt x="61" y="448"/>
                    </a:lnTo>
                    <a:lnTo>
                      <a:pt x="65" y="441"/>
                    </a:lnTo>
                    <a:lnTo>
                      <a:pt x="74" y="436"/>
                    </a:lnTo>
                    <a:lnTo>
                      <a:pt x="79" y="431"/>
                    </a:lnTo>
                    <a:lnTo>
                      <a:pt x="92" y="408"/>
                    </a:lnTo>
                    <a:lnTo>
                      <a:pt x="96" y="388"/>
                    </a:lnTo>
                    <a:lnTo>
                      <a:pt x="109" y="364"/>
                    </a:lnTo>
                    <a:lnTo>
                      <a:pt x="107" y="347"/>
                    </a:lnTo>
                    <a:lnTo>
                      <a:pt x="103" y="338"/>
                    </a:lnTo>
                    <a:lnTo>
                      <a:pt x="102" y="326"/>
                    </a:lnTo>
                    <a:lnTo>
                      <a:pt x="109" y="313"/>
                    </a:lnTo>
                    <a:lnTo>
                      <a:pt x="110" y="308"/>
                    </a:lnTo>
                    <a:lnTo>
                      <a:pt x="113" y="298"/>
                    </a:lnTo>
                    <a:lnTo>
                      <a:pt x="112" y="290"/>
                    </a:lnTo>
                    <a:lnTo>
                      <a:pt x="113" y="267"/>
                    </a:lnTo>
                    <a:lnTo>
                      <a:pt x="110" y="252"/>
                    </a:lnTo>
                    <a:lnTo>
                      <a:pt x="108" y="246"/>
                    </a:lnTo>
                    <a:lnTo>
                      <a:pt x="107" y="235"/>
                    </a:lnTo>
                    <a:lnTo>
                      <a:pt x="101" y="229"/>
                    </a:lnTo>
                    <a:lnTo>
                      <a:pt x="79" y="222"/>
                    </a:lnTo>
                    <a:lnTo>
                      <a:pt x="59" y="213"/>
                    </a:lnTo>
                    <a:lnTo>
                      <a:pt x="48" y="211"/>
                    </a:lnTo>
                    <a:lnTo>
                      <a:pt x="37" y="208"/>
                    </a:lnTo>
                    <a:lnTo>
                      <a:pt x="21" y="209"/>
                    </a:lnTo>
                    <a:lnTo>
                      <a:pt x="10" y="209"/>
                    </a:lnTo>
                    <a:lnTo>
                      <a:pt x="10" y="194"/>
                    </a:lnTo>
                    <a:lnTo>
                      <a:pt x="6" y="193"/>
                    </a:lnTo>
                    <a:lnTo>
                      <a:pt x="5" y="184"/>
                    </a:lnTo>
                    <a:lnTo>
                      <a:pt x="0" y="174"/>
                    </a:lnTo>
                    <a:lnTo>
                      <a:pt x="115" y="134"/>
                    </a:lnTo>
                    <a:lnTo>
                      <a:pt x="122" y="134"/>
                    </a:lnTo>
                    <a:lnTo>
                      <a:pt x="123" y="136"/>
                    </a:lnTo>
                    <a:lnTo>
                      <a:pt x="127" y="138"/>
                    </a:lnTo>
                    <a:lnTo>
                      <a:pt x="132" y="148"/>
                    </a:lnTo>
                    <a:lnTo>
                      <a:pt x="139" y="155"/>
                    </a:lnTo>
                    <a:lnTo>
                      <a:pt x="141" y="157"/>
                    </a:lnTo>
                    <a:lnTo>
                      <a:pt x="147" y="153"/>
                    </a:lnTo>
                    <a:lnTo>
                      <a:pt x="168" y="152"/>
                    </a:lnTo>
                    <a:lnTo>
                      <a:pt x="171" y="152"/>
                    </a:lnTo>
                    <a:lnTo>
                      <a:pt x="173" y="157"/>
                    </a:lnTo>
                    <a:lnTo>
                      <a:pt x="176" y="164"/>
                    </a:lnTo>
                    <a:lnTo>
                      <a:pt x="177" y="170"/>
                    </a:lnTo>
                    <a:lnTo>
                      <a:pt x="178" y="183"/>
                    </a:lnTo>
                    <a:lnTo>
                      <a:pt x="176" y="187"/>
                    </a:lnTo>
                    <a:lnTo>
                      <a:pt x="171" y="191"/>
                    </a:lnTo>
                    <a:lnTo>
                      <a:pt x="171" y="198"/>
                    </a:lnTo>
                    <a:lnTo>
                      <a:pt x="168" y="199"/>
                    </a:lnTo>
                    <a:lnTo>
                      <a:pt x="166" y="208"/>
                    </a:lnTo>
                    <a:lnTo>
                      <a:pt x="168" y="209"/>
                    </a:lnTo>
                    <a:lnTo>
                      <a:pt x="171" y="220"/>
                    </a:lnTo>
                    <a:lnTo>
                      <a:pt x="175" y="224"/>
                    </a:lnTo>
                    <a:lnTo>
                      <a:pt x="177" y="225"/>
                    </a:lnTo>
                    <a:lnTo>
                      <a:pt x="178" y="228"/>
                    </a:lnTo>
                    <a:lnTo>
                      <a:pt x="185" y="234"/>
                    </a:lnTo>
                    <a:lnTo>
                      <a:pt x="188" y="239"/>
                    </a:lnTo>
                    <a:lnTo>
                      <a:pt x="191" y="239"/>
                    </a:lnTo>
                    <a:lnTo>
                      <a:pt x="195" y="241"/>
                    </a:lnTo>
                    <a:lnTo>
                      <a:pt x="198" y="244"/>
                    </a:lnTo>
                    <a:lnTo>
                      <a:pt x="198" y="246"/>
                    </a:lnTo>
                    <a:lnTo>
                      <a:pt x="195" y="251"/>
                    </a:lnTo>
                    <a:lnTo>
                      <a:pt x="196" y="252"/>
                    </a:lnTo>
                    <a:lnTo>
                      <a:pt x="204" y="252"/>
                    </a:lnTo>
                    <a:lnTo>
                      <a:pt x="206" y="252"/>
                    </a:lnTo>
                    <a:lnTo>
                      <a:pt x="204" y="246"/>
                    </a:lnTo>
                    <a:lnTo>
                      <a:pt x="206" y="241"/>
                    </a:lnTo>
                    <a:lnTo>
                      <a:pt x="203" y="237"/>
                    </a:lnTo>
                    <a:lnTo>
                      <a:pt x="201" y="235"/>
                    </a:lnTo>
                    <a:lnTo>
                      <a:pt x="201" y="230"/>
                    </a:lnTo>
                    <a:lnTo>
                      <a:pt x="203" y="225"/>
                    </a:lnTo>
                    <a:lnTo>
                      <a:pt x="203" y="224"/>
                    </a:lnTo>
                    <a:lnTo>
                      <a:pt x="204" y="220"/>
                    </a:lnTo>
                    <a:lnTo>
                      <a:pt x="213" y="216"/>
                    </a:lnTo>
                    <a:lnTo>
                      <a:pt x="218" y="215"/>
                    </a:lnTo>
                    <a:lnTo>
                      <a:pt x="223" y="213"/>
                    </a:lnTo>
                    <a:lnTo>
                      <a:pt x="224" y="209"/>
                    </a:lnTo>
                    <a:lnTo>
                      <a:pt x="225" y="194"/>
                    </a:lnTo>
                    <a:lnTo>
                      <a:pt x="227" y="189"/>
                    </a:lnTo>
                    <a:lnTo>
                      <a:pt x="224" y="180"/>
                    </a:lnTo>
                    <a:lnTo>
                      <a:pt x="227" y="173"/>
                    </a:lnTo>
                    <a:lnTo>
                      <a:pt x="228" y="168"/>
                    </a:lnTo>
                    <a:lnTo>
                      <a:pt x="227" y="160"/>
                    </a:lnTo>
                    <a:lnTo>
                      <a:pt x="224" y="155"/>
                    </a:lnTo>
                    <a:lnTo>
                      <a:pt x="214" y="146"/>
                    </a:lnTo>
                    <a:lnTo>
                      <a:pt x="209" y="139"/>
                    </a:lnTo>
                    <a:lnTo>
                      <a:pt x="198" y="127"/>
                    </a:lnTo>
                    <a:lnTo>
                      <a:pt x="193" y="122"/>
                    </a:lnTo>
                    <a:lnTo>
                      <a:pt x="187" y="116"/>
                    </a:lnTo>
                    <a:lnTo>
                      <a:pt x="185" y="108"/>
                    </a:lnTo>
                    <a:lnTo>
                      <a:pt x="185" y="101"/>
                    </a:lnTo>
                    <a:lnTo>
                      <a:pt x="183" y="95"/>
                    </a:lnTo>
                    <a:lnTo>
                      <a:pt x="183" y="84"/>
                    </a:lnTo>
                    <a:lnTo>
                      <a:pt x="182" y="79"/>
                    </a:lnTo>
                    <a:lnTo>
                      <a:pt x="182" y="74"/>
                    </a:lnTo>
                    <a:lnTo>
                      <a:pt x="183" y="63"/>
                    </a:lnTo>
                    <a:lnTo>
                      <a:pt x="189" y="52"/>
                    </a:lnTo>
                    <a:lnTo>
                      <a:pt x="192" y="40"/>
                    </a:lnTo>
                    <a:lnTo>
                      <a:pt x="220" y="40"/>
                    </a:lnTo>
                    <a:lnTo>
                      <a:pt x="223" y="40"/>
                    </a:lnTo>
                    <a:lnTo>
                      <a:pt x="227" y="37"/>
                    </a:lnTo>
                    <a:lnTo>
                      <a:pt x="233" y="37"/>
                    </a:lnTo>
                    <a:lnTo>
                      <a:pt x="237" y="37"/>
                    </a:lnTo>
                    <a:lnTo>
                      <a:pt x="242" y="43"/>
                    </a:lnTo>
                    <a:lnTo>
                      <a:pt x="246" y="44"/>
                    </a:lnTo>
                    <a:lnTo>
                      <a:pt x="247" y="45"/>
                    </a:lnTo>
                    <a:lnTo>
                      <a:pt x="254" y="43"/>
                    </a:lnTo>
                    <a:lnTo>
                      <a:pt x="259" y="43"/>
                    </a:lnTo>
                    <a:lnTo>
                      <a:pt x="268" y="38"/>
                    </a:lnTo>
                    <a:lnTo>
                      <a:pt x="290" y="40"/>
                    </a:lnTo>
                    <a:lnTo>
                      <a:pt x="295" y="40"/>
                    </a:lnTo>
                    <a:lnTo>
                      <a:pt x="297" y="38"/>
                    </a:lnTo>
                    <a:lnTo>
                      <a:pt x="306" y="29"/>
                    </a:lnTo>
                    <a:lnTo>
                      <a:pt x="316" y="28"/>
                    </a:lnTo>
                    <a:lnTo>
                      <a:pt x="322" y="27"/>
                    </a:lnTo>
                    <a:lnTo>
                      <a:pt x="333" y="30"/>
                    </a:lnTo>
                    <a:lnTo>
                      <a:pt x="338" y="32"/>
                    </a:lnTo>
                    <a:lnTo>
                      <a:pt x="345" y="30"/>
                    </a:lnTo>
                    <a:lnTo>
                      <a:pt x="368" y="22"/>
                    </a:lnTo>
                    <a:lnTo>
                      <a:pt x="382" y="18"/>
                    </a:lnTo>
                    <a:lnTo>
                      <a:pt x="386" y="16"/>
                    </a:lnTo>
                    <a:close/>
                  </a:path>
                </a:pathLst>
              </a:custGeom>
              <a:solidFill>
                <a:srgbClr val="17375E"/>
              </a:solidFill>
              <a:ln w="7938">
                <a:solidFill>
                  <a:srgbClr val="1C1329"/>
                </a:solidFill>
                <a:miter lim="800000"/>
                <a:headEnd/>
                <a:tailEnd/>
              </a:ln>
            </p:spPr>
            <p:txBody>
              <a:bodyPr/>
              <a:lstStyle/>
              <a:p>
                <a:endParaRPr lang="en-US"/>
              </a:p>
            </p:txBody>
          </p:sp>
          <p:sp>
            <p:nvSpPr>
              <p:cNvPr id="312" name="Freeform 98"/>
              <p:cNvSpPr>
                <a:spLocks/>
              </p:cNvSpPr>
              <p:nvPr/>
            </p:nvSpPr>
            <p:spPr bwMode="auto">
              <a:xfrm>
                <a:off x="2556" y="3565"/>
                <a:ext cx="51" cy="60"/>
              </a:xfrm>
              <a:custGeom>
                <a:avLst/>
                <a:gdLst>
                  <a:gd name="T0" fmla="*/ 5009 w 47"/>
                  <a:gd name="T1" fmla="*/ 0 h 57"/>
                  <a:gd name="T2" fmla="*/ 8247 w 47"/>
                  <a:gd name="T3" fmla="*/ 9 h 57"/>
                  <a:gd name="T4" fmla="*/ 9628 w 47"/>
                  <a:gd name="T5" fmla="*/ 4 h 57"/>
                  <a:gd name="T6" fmla="*/ 9848 w 47"/>
                  <a:gd name="T7" fmla="*/ 9 h 57"/>
                  <a:gd name="T8" fmla="*/ 9848 w 47"/>
                  <a:gd name="T9" fmla="*/ 584 h 57"/>
                  <a:gd name="T10" fmla="*/ 10447 w 47"/>
                  <a:gd name="T11" fmla="*/ 1138 h 57"/>
                  <a:gd name="T12" fmla="*/ 9145 w 47"/>
                  <a:gd name="T13" fmla="*/ 1198 h 57"/>
                  <a:gd name="T14" fmla="*/ 8177 w 47"/>
                  <a:gd name="T15" fmla="*/ 1494 h 57"/>
                  <a:gd name="T16" fmla="*/ 7158 w 47"/>
                  <a:gd name="T17" fmla="*/ 1656 h 57"/>
                  <a:gd name="T18" fmla="*/ 5009 w 47"/>
                  <a:gd name="T19" fmla="*/ 1629 h 57"/>
                  <a:gd name="T20" fmla="*/ 1517 w 47"/>
                  <a:gd name="T21" fmla="*/ 1548 h 57"/>
                  <a:gd name="T22" fmla="*/ 1 w 47"/>
                  <a:gd name="T23" fmla="*/ 1198 h 57"/>
                  <a:gd name="T24" fmla="*/ 0 w 47"/>
                  <a:gd name="T25" fmla="*/ 991 h 57"/>
                  <a:gd name="T26" fmla="*/ 3 w 47"/>
                  <a:gd name="T27" fmla="*/ 681 h 57"/>
                  <a:gd name="T28" fmla="*/ 1786 w 47"/>
                  <a:gd name="T29" fmla="*/ 369 h 57"/>
                  <a:gd name="T30" fmla="*/ 2687 w 47"/>
                  <a:gd name="T31" fmla="*/ 5 h 57"/>
                  <a:gd name="T32" fmla="*/ 5009 w 47"/>
                  <a:gd name="T33" fmla="*/ 0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57"/>
                  <a:gd name="T53" fmla="*/ 47 w 47"/>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57">
                    <a:moveTo>
                      <a:pt x="23" y="0"/>
                    </a:moveTo>
                    <a:lnTo>
                      <a:pt x="38" y="9"/>
                    </a:lnTo>
                    <a:lnTo>
                      <a:pt x="43" y="4"/>
                    </a:lnTo>
                    <a:lnTo>
                      <a:pt x="45" y="9"/>
                    </a:lnTo>
                    <a:lnTo>
                      <a:pt x="45" y="21"/>
                    </a:lnTo>
                    <a:lnTo>
                      <a:pt x="47" y="39"/>
                    </a:lnTo>
                    <a:lnTo>
                      <a:pt x="42" y="41"/>
                    </a:lnTo>
                    <a:lnTo>
                      <a:pt x="37" y="51"/>
                    </a:lnTo>
                    <a:lnTo>
                      <a:pt x="33" y="57"/>
                    </a:lnTo>
                    <a:lnTo>
                      <a:pt x="23" y="55"/>
                    </a:lnTo>
                    <a:lnTo>
                      <a:pt x="6" y="52"/>
                    </a:lnTo>
                    <a:lnTo>
                      <a:pt x="1" y="41"/>
                    </a:lnTo>
                    <a:lnTo>
                      <a:pt x="0" y="34"/>
                    </a:lnTo>
                    <a:lnTo>
                      <a:pt x="3" y="24"/>
                    </a:lnTo>
                    <a:lnTo>
                      <a:pt x="8" y="12"/>
                    </a:lnTo>
                    <a:lnTo>
                      <a:pt x="13" y="5"/>
                    </a:lnTo>
                    <a:lnTo>
                      <a:pt x="23" y="0"/>
                    </a:lnTo>
                    <a:close/>
                  </a:path>
                </a:pathLst>
              </a:custGeom>
              <a:solidFill>
                <a:srgbClr val="1F49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3" name="Freeform 99"/>
              <p:cNvSpPr>
                <a:spLocks/>
              </p:cNvSpPr>
              <p:nvPr/>
            </p:nvSpPr>
            <p:spPr bwMode="auto">
              <a:xfrm>
                <a:off x="2556" y="3565"/>
                <a:ext cx="51" cy="60"/>
              </a:xfrm>
              <a:custGeom>
                <a:avLst/>
                <a:gdLst>
                  <a:gd name="T0" fmla="*/ 5009 w 47"/>
                  <a:gd name="T1" fmla="*/ 0 h 57"/>
                  <a:gd name="T2" fmla="*/ 8247 w 47"/>
                  <a:gd name="T3" fmla="*/ 9 h 57"/>
                  <a:gd name="T4" fmla="*/ 9628 w 47"/>
                  <a:gd name="T5" fmla="*/ 4 h 57"/>
                  <a:gd name="T6" fmla="*/ 9848 w 47"/>
                  <a:gd name="T7" fmla="*/ 9 h 57"/>
                  <a:gd name="T8" fmla="*/ 9848 w 47"/>
                  <a:gd name="T9" fmla="*/ 584 h 57"/>
                  <a:gd name="T10" fmla="*/ 10447 w 47"/>
                  <a:gd name="T11" fmla="*/ 1138 h 57"/>
                  <a:gd name="T12" fmla="*/ 9145 w 47"/>
                  <a:gd name="T13" fmla="*/ 1198 h 57"/>
                  <a:gd name="T14" fmla="*/ 8177 w 47"/>
                  <a:gd name="T15" fmla="*/ 1494 h 57"/>
                  <a:gd name="T16" fmla="*/ 7158 w 47"/>
                  <a:gd name="T17" fmla="*/ 1656 h 57"/>
                  <a:gd name="T18" fmla="*/ 5009 w 47"/>
                  <a:gd name="T19" fmla="*/ 1629 h 57"/>
                  <a:gd name="T20" fmla="*/ 1517 w 47"/>
                  <a:gd name="T21" fmla="*/ 1548 h 57"/>
                  <a:gd name="T22" fmla="*/ 1 w 47"/>
                  <a:gd name="T23" fmla="*/ 1198 h 57"/>
                  <a:gd name="T24" fmla="*/ 0 w 47"/>
                  <a:gd name="T25" fmla="*/ 991 h 57"/>
                  <a:gd name="T26" fmla="*/ 3 w 47"/>
                  <a:gd name="T27" fmla="*/ 681 h 57"/>
                  <a:gd name="T28" fmla="*/ 1786 w 47"/>
                  <a:gd name="T29" fmla="*/ 369 h 57"/>
                  <a:gd name="T30" fmla="*/ 2687 w 47"/>
                  <a:gd name="T31" fmla="*/ 5 h 57"/>
                  <a:gd name="T32" fmla="*/ 5009 w 47"/>
                  <a:gd name="T33" fmla="*/ 0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57"/>
                  <a:gd name="T53" fmla="*/ 47 w 47"/>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57">
                    <a:moveTo>
                      <a:pt x="23" y="0"/>
                    </a:moveTo>
                    <a:lnTo>
                      <a:pt x="38" y="9"/>
                    </a:lnTo>
                    <a:lnTo>
                      <a:pt x="43" y="4"/>
                    </a:lnTo>
                    <a:lnTo>
                      <a:pt x="45" y="9"/>
                    </a:lnTo>
                    <a:lnTo>
                      <a:pt x="45" y="21"/>
                    </a:lnTo>
                    <a:lnTo>
                      <a:pt x="47" y="39"/>
                    </a:lnTo>
                    <a:lnTo>
                      <a:pt x="42" y="41"/>
                    </a:lnTo>
                    <a:lnTo>
                      <a:pt x="37" y="51"/>
                    </a:lnTo>
                    <a:lnTo>
                      <a:pt x="33" y="57"/>
                    </a:lnTo>
                    <a:lnTo>
                      <a:pt x="23" y="55"/>
                    </a:lnTo>
                    <a:lnTo>
                      <a:pt x="6" y="52"/>
                    </a:lnTo>
                    <a:lnTo>
                      <a:pt x="1" y="41"/>
                    </a:lnTo>
                    <a:lnTo>
                      <a:pt x="0" y="34"/>
                    </a:lnTo>
                    <a:lnTo>
                      <a:pt x="3" y="24"/>
                    </a:lnTo>
                    <a:lnTo>
                      <a:pt x="8" y="12"/>
                    </a:lnTo>
                    <a:lnTo>
                      <a:pt x="13" y="5"/>
                    </a:lnTo>
                    <a:lnTo>
                      <a:pt x="23" y="0"/>
                    </a:lnTo>
                    <a:close/>
                  </a:path>
                </a:pathLst>
              </a:custGeom>
              <a:solidFill>
                <a:srgbClr val="9BBB59"/>
              </a:solidFill>
              <a:ln w="7938">
                <a:solidFill>
                  <a:srgbClr val="1C1329"/>
                </a:solidFill>
                <a:miter lim="800000"/>
                <a:headEnd/>
                <a:tailEnd/>
              </a:ln>
            </p:spPr>
            <p:txBody>
              <a:bodyPr/>
              <a:lstStyle/>
              <a:p>
                <a:endParaRPr lang="en-US"/>
              </a:p>
            </p:txBody>
          </p:sp>
          <p:sp>
            <p:nvSpPr>
              <p:cNvPr id="314" name="Freeform 100"/>
              <p:cNvSpPr>
                <a:spLocks/>
              </p:cNvSpPr>
              <p:nvPr/>
            </p:nvSpPr>
            <p:spPr bwMode="auto">
              <a:xfrm>
                <a:off x="2321" y="3155"/>
                <a:ext cx="323" cy="284"/>
              </a:xfrm>
              <a:custGeom>
                <a:avLst/>
                <a:gdLst>
                  <a:gd name="T0" fmla="*/ 16698 w 302"/>
                  <a:gd name="T1" fmla="*/ 1 h 270"/>
                  <a:gd name="T2" fmla="*/ 16768 w 302"/>
                  <a:gd name="T3" fmla="*/ 388 h 270"/>
                  <a:gd name="T4" fmla="*/ 19101 w 302"/>
                  <a:gd name="T5" fmla="*/ 369 h 270"/>
                  <a:gd name="T6" fmla="*/ 20784 w 302"/>
                  <a:gd name="T7" fmla="*/ 499 h 270"/>
                  <a:gd name="T8" fmla="*/ 24406 w 302"/>
                  <a:gd name="T9" fmla="*/ 951 h 270"/>
                  <a:gd name="T10" fmla="*/ 24994 w 302"/>
                  <a:gd name="T11" fmla="*/ 1441 h 270"/>
                  <a:gd name="T12" fmla="*/ 25428 w 302"/>
                  <a:gd name="T13" fmla="*/ 2029 h 270"/>
                  <a:gd name="T14" fmla="*/ 25428 w 302"/>
                  <a:gd name="T15" fmla="*/ 2889 h 270"/>
                  <a:gd name="T16" fmla="*/ 25158 w 302"/>
                  <a:gd name="T17" fmla="*/ 3326 h 270"/>
                  <a:gd name="T18" fmla="*/ 24534 w 302"/>
                  <a:gd name="T19" fmla="*/ 4042 h 270"/>
                  <a:gd name="T20" fmla="*/ 25158 w 302"/>
                  <a:gd name="T21" fmla="*/ 4762 h 270"/>
                  <a:gd name="T22" fmla="*/ 23640 w 302"/>
                  <a:gd name="T23" fmla="*/ 5980 h 270"/>
                  <a:gd name="T24" fmla="*/ 22103 w 302"/>
                  <a:gd name="T25" fmla="*/ 6759 h 270"/>
                  <a:gd name="T26" fmla="*/ 21031 w 302"/>
                  <a:gd name="T27" fmla="*/ 7109 h 270"/>
                  <a:gd name="T28" fmla="*/ 20784 w 302"/>
                  <a:gd name="T29" fmla="*/ 7600 h 270"/>
                  <a:gd name="T30" fmla="*/ 20756 w 302"/>
                  <a:gd name="T31" fmla="*/ 7600 h 270"/>
                  <a:gd name="T32" fmla="*/ 19433 w 302"/>
                  <a:gd name="T33" fmla="*/ 7271 h 270"/>
                  <a:gd name="T34" fmla="*/ 17753 w 302"/>
                  <a:gd name="T35" fmla="*/ 7140 h 270"/>
                  <a:gd name="T36" fmla="*/ 16073 w 302"/>
                  <a:gd name="T37" fmla="*/ 7140 h 270"/>
                  <a:gd name="T38" fmla="*/ 14051 w 302"/>
                  <a:gd name="T39" fmla="*/ 6959 h 270"/>
                  <a:gd name="T40" fmla="*/ 12844 w 302"/>
                  <a:gd name="T41" fmla="*/ 6880 h 270"/>
                  <a:gd name="T42" fmla="*/ 11467 w 302"/>
                  <a:gd name="T43" fmla="*/ 6702 h 270"/>
                  <a:gd name="T44" fmla="*/ 9908 w 302"/>
                  <a:gd name="T45" fmla="*/ 6671 h 270"/>
                  <a:gd name="T46" fmla="*/ 8892 w 302"/>
                  <a:gd name="T47" fmla="*/ 6426 h 270"/>
                  <a:gd name="T48" fmla="*/ 8290 w 302"/>
                  <a:gd name="T49" fmla="*/ 5829 h 270"/>
                  <a:gd name="T50" fmla="*/ 7660 w 302"/>
                  <a:gd name="T51" fmla="*/ 5269 h 270"/>
                  <a:gd name="T52" fmla="*/ 6335 w 302"/>
                  <a:gd name="T53" fmla="*/ 4857 h 270"/>
                  <a:gd name="T54" fmla="*/ 4539 w 302"/>
                  <a:gd name="T55" fmla="*/ 4618 h 270"/>
                  <a:gd name="T56" fmla="*/ 1965 w 302"/>
                  <a:gd name="T57" fmla="*/ 3720 h 270"/>
                  <a:gd name="T58" fmla="*/ 1494 w 302"/>
                  <a:gd name="T59" fmla="*/ 3238 h 270"/>
                  <a:gd name="T60" fmla="*/ 2 w 302"/>
                  <a:gd name="T61" fmla="*/ 2648 h 270"/>
                  <a:gd name="T62" fmla="*/ 0 w 302"/>
                  <a:gd name="T63" fmla="*/ 2391 h 270"/>
                  <a:gd name="T64" fmla="*/ 4 w 302"/>
                  <a:gd name="T65" fmla="*/ 2483 h 270"/>
                  <a:gd name="T66" fmla="*/ 2248 w 302"/>
                  <a:gd name="T67" fmla="*/ 2517 h 270"/>
                  <a:gd name="T68" fmla="*/ 3599 w 302"/>
                  <a:gd name="T69" fmla="*/ 2483 h 270"/>
                  <a:gd name="T70" fmla="*/ 4379 w 302"/>
                  <a:gd name="T71" fmla="*/ 2483 h 270"/>
                  <a:gd name="T72" fmla="*/ 4684 w 302"/>
                  <a:gd name="T73" fmla="*/ 2612 h 270"/>
                  <a:gd name="T74" fmla="*/ 5386 w 302"/>
                  <a:gd name="T75" fmla="*/ 2595 h 270"/>
                  <a:gd name="T76" fmla="*/ 6162 w 302"/>
                  <a:gd name="T77" fmla="*/ 2467 h 270"/>
                  <a:gd name="T78" fmla="*/ 6795 w 302"/>
                  <a:gd name="T79" fmla="*/ 2161 h 270"/>
                  <a:gd name="T80" fmla="*/ 7162 w 302"/>
                  <a:gd name="T81" fmla="*/ 2056 h 270"/>
                  <a:gd name="T82" fmla="*/ 7660 w 302"/>
                  <a:gd name="T83" fmla="*/ 1929 h 270"/>
                  <a:gd name="T84" fmla="*/ 8290 w 302"/>
                  <a:gd name="T85" fmla="*/ 1767 h 270"/>
                  <a:gd name="T86" fmla="*/ 8476 w 302"/>
                  <a:gd name="T87" fmla="*/ 1658 h 270"/>
                  <a:gd name="T88" fmla="*/ 9177 w 302"/>
                  <a:gd name="T89" fmla="*/ 1597 h 270"/>
                  <a:gd name="T90" fmla="*/ 9223 w 302"/>
                  <a:gd name="T91" fmla="*/ 1518 h 270"/>
                  <a:gd name="T92" fmla="*/ 9483 w 302"/>
                  <a:gd name="T93" fmla="*/ 1441 h 270"/>
                  <a:gd name="T94" fmla="*/ 9908 w 302"/>
                  <a:gd name="T95" fmla="*/ 1354 h 270"/>
                  <a:gd name="T96" fmla="*/ 10171 w 302"/>
                  <a:gd name="T97" fmla="*/ 1372 h 270"/>
                  <a:gd name="T98" fmla="*/ 10498 w 302"/>
                  <a:gd name="T99" fmla="*/ 1287 h 270"/>
                  <a:gd name="T100" fmla="*/ 10878 w 302"/>
                  <a:gd name="T101" fmla="*/ 1287 h 270"/>
                  <a:gd name="T102" fmla="*/ 11601 w 302"/>
                  <a:gd name="T103" fmla="*/ 1354 h 270"/>
                  <a:gd name="T104" fmla="*/ 12069 w 302"/>
                  <a:gd name="T105" fmla="*/ 1224 h 270"/>
                  <a:gd name="T106" fmla="*/ 11284 w 302"/>
                  <a:gd name="T107" fmla="*/ 1013 h 270"/>
                  <a:gd name="T108" fmla="*/ 11467 w 302"/>
                  <a:gd name="T109" fmla="*/ 859 h 270"/>
                  <a:gd name="T110" fmla="*/ 11467 w 302"/>
                  <a:gd name="T111" fmla="*/ 676 h 270"/>
                  <a:gd name="T112" fmla="*/ 11601 w 302"/>
                  <a:gd name="T113" fmla="*/ 388 h 270"/>
                  <a:gd name="T114" fmla="*/ 12264 w 302"/>
                  <a:gd name="T115" fmla="*/ 369 h 270"/>
                  <a:gd name="T116" fmla="*/ 12965 w 302"/>
                  <a:gd name="T117" fmla="*/ 4 h 270"/>
                  <a:gd name="T118" fmla="*/ 14766 w 302"/>
                  <a:gd name="T119" fmla="*/ 0 h 270"/>
                  <a:gd name="T120" fmla="*/ 15520 w 302"/>
                  <a:gd name="T121" fmla="*/ 1 h 270"/>
                  <a:gd name="T122" fmla="*/ 16156 w 302"/>
                  <a:gd name="T123" fmla="*/ 1 h 27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02"/>
                  <a:gd name="T187" fmla="*/ 0 h 270"/>
                  <a:gd name="T188" fmla="*/ 302 w 302"/>
                  <a:gd name="T189" fmla="*/ 270 h 27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02" h="270">
                    <a:moveTo>
                      <a:pt x="192" y="1"/>
                    </a:moveTo>
                    <a:lnTo>
                      <a:pt x="197" y="1"/>
                    </a:lnTo>
                    <a:lnTo>
                      <a:pt x="198" y="0"/>
                    </a:lnTo>
                    <a:lnTo>
                      <a:pt x="198" y="14"/>
                    </a:lnTo>
                    <a:lnTo>
                      <a:pt x="210" y="14"/>
                    </a:lnTo>
                    <a:lnTo>
                      <a:pt x="226" y="13"/>
                    </a:lnTo>
                    <a:lnTo>
                      <a:pt x="236" y="16"/>
                    </a:lnTo>
                    <a:lnTo>
                      <a:pt x="247" y="19"/>
                    </a:lnTo>
                    <a:lnTo>
                      <a:pt x="268" y="27"/>
                    </a:lnTo>
                    <a:lnTo>
                      <a:pt x="290" y="34"/>
                    </a:lnTo>
                    <a:lnTo>
                      <a:pt x="295" y="40"/>
                    </a:lnTo>
                    <a:lnTo>
                      <a:pt x="296" y="51"/>
                    </a:lnTo>
                    <a:lnTo>
                      <a:pt x="298" y="57"/>
                    </a:lnTo>
                    <a:lnTo>
                      <a:pt x="302" y="72"/>
                    </a:lnTo>
                    <a:lnTo>
                      <a:pt x="301" y="95"/>
                    </a:lnTo>
                    <a:lnTo>
                      <a:pt x="302" y="103"/>
                    </a:lnTo>
                    <a:lnTo>
                      <a:pt x="298" y="113"/>
                    </a:lnTo>
                    <a:lnTo>
                      <a:pt x="298" y="118"/>
                    </a:lnTo>
                    <a:lnTo>
                      <a:pt x="290" y="131"/>
                    </a:lnTo>
                    <a:lnTo>
                      <a:pt x="291" y="143"/>
                    </a:lnTo>
                    <a:lnTo>
                      <a:pt x="295" y="151"/>
                    </a:lnTo>
                    <a:lnTo>
                      <a:pt x="298" y="169"/>
                    </a:lnTo>
                    <a:lnTo>
                      <a:pt x="284" y="192"/>
                    </a:lnTo>
                    <a:lnTo>
                      <a:pt x="280" y="213"/>
                    </a:lnTo>
                    <a:lnTo>
                      <a:pt x="268" y="236"/>
                    </a:lnTo>
                    <a:lnTo>
                      <a:pt x="262" y="240"/>
                    </a:lnTo>
                    <a:lnTo>
                      <a:pt x="253" y="245"/>
                    </a:lnTo>
                    <a:lnTo>
                      <a:pt x="249" y="252"/>
                    </a:lnTo>
                    <a:lnTo>
                      <a:pt x="247" y="259"/>
                    </a:lnTo>
                    <a:lnTo>
                      <a:pt x="247" y="270"/>
                    </a:lnTo>
                    <a:lnTo>
                      <a:pt x="246" y="270"/>
                    </a:lnTo>
                    <a:lnTo>
                      <a:pt x="242" y="270"/>
                    </a:lnTo>
                    <a:lnTo>
                      <a:pt x="231" y="259"/>
                    </a:lnTo>
                    <a:lnTo>
                      <a:pt x="217" y="254"/>
                    </a:lnTo>
                    <a:lnTo>
                      <a:pt x="209" y="254"/>
                    </a:lnTo>
                    <a:lnTo>
                      <a:pt x="200" y="255"/>
                    </a:lnTo>
                    <a:lnTo>
                      <a:pt x="191" y="254"/>
                    </a:lnTo>
                    <a:lnTo>
                      <a:pt x="174" y="249"/>
                    </a:lnTo>
                    <a:lnTo>
                      <a:pt x="167" y="248"/>
                    </a:lnTo>
                    <a:lnTo>
                      <a:pt x="160" y="251"/>
                    </a:lnTo>
                    <a:lnTo>
                      <a:pt x="152" y="245"/>
                    </a:lnTo>
                    <a:lnTo>
                      <a:pt x="145" y="243"/>
                    </a:lnTo>
                    <a:lnTo>
                      <a:pt x="136" y="238"/>
                    </a:lnTo>
                    <a:lnTo>
                      <a:pt x="126" y="238"/>
                    </a:lnTo>
                    <a:lnTo>
                      <a:pt x="118" y="237"/>
                    </a:lnTo>
                    <a:lnTo>
                      <a:pt x="111" y="233"/>
                    </a:lnTo>
                    <a:lnTo>
                      <a:pt x="106" y="228"/>
                    </a:lnTo>
                    <a:lnTo>
                      <a:pt x="102" y="220"/>
                    </a:lnTo>
                    <a:lnTo>
                      <a:pt x="98" y="207"/>
                    </a:lnTo>
                    <a:lnTo>
                      <a:pt x="98" y="192"/>
                    </a:lnTo>
                    <a:lnTo>
                      <a:pt x="91" y="187"/>
                    </a:lnTo>
                    <a:lnTo>
                      <a:pt x="81" y="184"/>
                    </a:lnTo>
                    <a:lnTo>
                      <a:pt x="75" y="174"/>
                    </a:lnTo>
                    <a:lnTo>
                      <a:pt x="66" y="169"/>
                    </a:lnTo>
                    <a:lnTo>
                      <a:pt x="54" y="165"/>
                    </a:lnTo>
                    <a:lnTo>
                      <a:pt x="33" y="145"/>
                    </a:lnTo>
                    <a:lnTo>
                      <a:pt x="23" y="133"/>
                    </a:lnTo>
                    <a:lnTo>
                      <a:pt x="19" y="123"/>
                    </a:lnTo>
                    <a:lnTo>
                      <a:pt x="18" y="115"/>
                    </a:lnTo>
                    <a:lnTo>
                      <a:pt x="11" y="109"/>
                    </a:lnTo>
                    <a:lnTo>
                      <a:pt x="2" y="95"/>
                    </a:lnTo>
                    <a:lnTo>
                      <a:pt x="0" y="90"/>
                    </a:lnTo>
                    <a:lnTo>
                      <a:pt x="0" y="85"/>
                    </a:lnTo>
                    <a:lnTo>
                      <a:pt x="2" y="87"/>
                    </a:lnTo>
                    <a:lnTo>
                      <a:pt x="4" y="88"/>
                    </a:lnTo>
                    <a:lnTo>
                      <a:pt x="18" y="85"/>
                    </a:lnTo>
                    <a:lnTo>
                      <a:pt x="27" y="90"/>
                    </a:lnTo>
                    <a:lnTo>
                      <a:pt x="40" y="88"/>
                    </a:lnTo>
                    <a:lnTo>
                      <a:pt x="43" y="88"/>
                    </a:lnTo>
                    <a:lnTo>
                      <a:pt x="48" y="88"/>
                    </a:lnTo>
                    <a:lnTo>
                      <a:pt x="51" y="88"/>
                    </a:lnTo>
                    <a:lnTo>
                      <a:pt x="52" y="92"/>
                    </a:lnTo>
                    <a:lnTo>
                      <a:pt x="55" y="93"/>
                    </a:lnTo>
                    <a:lnTo>
                      <a:pt x="60" y="92"/>
                    </a:lnTo>
                    <a:lnTo>
                      <a:pt x="64" y="92"/>
                    </a:lnTo>
                    <a:lnTo>
                      <a:pt x="70" y="87"/>
                    </a:lnTo>
                    <a:lnTo>
                      <a:pt x="73" y="87"/>
                    </a:lnTo>
                    <a:lnTo>
                      <a:pt x="78" y="83"/>
                    </a:lnTo>
                    <a:lnTo>
                      <a:pt x="81" y="77"/>
                    </a:lnTo>
                    <a:lnTo>
                      <a:pt x="85" y="77"/>
                    </a:lnTo>
                    <a:lnTo>
                      <a:pt x="85" y="74"/>
                    </a:lnTo>
                    <a:lnTo>
                      <a:pt x="89" y="72"/>
                    </a:lnTo>
                    <a:lnTo>
                      <a:pt x="91" y="68"/>
                    </a:lnTo>
                    <a:lnTo>
                      <a:pt x="95" y="65"/>
                    </a:lnTo>
                    <a:lnTo>
                      <a:pt x="98" y="64"/>
                    </a:lnTo>
                    <a:lnTo>
                      <a:pt x="99" y="61"/>
                    </a:lnTo>
                    <a:lnTo>
                      <a:pt x="100" y="59"/>
                    </a:lnTo>
                    <a:lnTo>
                      <a:pt x="106" y="57"/>
                    </a:lnTo>
                    <a:lnTo>
                      <a:pt x="108" y="58"/>
                    </a:lnTo>
                    <a:lnTo>
                      <a:pt x="109" y="57"/>
                    </a:lnTo>
                    <a:lnTo>
                      <a:pt x="109" y="55"/>
                    </a:lnTo>
                    <a:lnTo>
                      <a:pt x="109" y="52"/>
                    </a:lnTo>
                    <a:lnTo>
                      <a:pt x="112" y="51"/>
                    </a:lnTo>
                    <a:lnTo>
                      <a:pt x="115" y="49"/>
                    </a:lnTo>
                    <a:lnTo>
                      <a:pt x="118" y="48"/>
                    </a:lnTo>
                    <a:lnTo>
                      <a:pt x="121" y="49"/>
                    </a:lnTo>
                    <a:lnTo>
                      <a:pt x="123" y="48"/>
                    </a:lnTo>
                    <a:lnTo>
                      <a:pt x="124" y="46"/>
                    </a:lnTo>
                    <a:lnTo>
                      <a:pt x="126" y="44"/>
                    </a:lnTo>
                    <a:lnTo>
                      <a:pt x="129" y="46"/>
                    </a:lnTo>
                    <a:lnTo>
                      <a:pt x="134" y="48"/>
                    </a:lnTo>
                    <a:lnTo>
                      <a:pt x="137" y="48"/>
                    </a:lnTo>
                    <a:lnTo>
                      <a:pt x="139" y="46"/>
                    </a:lnTo>
                    <a:lnTo>
                      <a:pt x="143" y="44"/>
                    </a:lnTo>
                    <a:lnTo>
                      <a:pt x="141" y="40"/>
                    </a:lnTo>
                    <a:lnTo>
                      <a:pt x="134" y="37"/>
                    </a:lnTo>
                    <a:lnTo>
                      <a:pt x="134" y="34"/>
                    </a:lnTo>
                    <a:lnTo>
                      <a:pt x="136" y="30"/>
                    </a:lnTo>
                    <a:lnTo>
                      <a:pt x="136" y="29"/>
                    </a:lnTo>
                    <a:lnTo>
                      <a:pt x="136" y="25"/>
                    </a:lnTo>
                    <a:lnTo>
                      <a:pt x="136" y="19"/>
                    </a:lnTo>
                    <a:lnTo>
                      <a:pt x="137" y="14"/>
                    </a:lnTo>
                    <a:lnTo>
                      <a:pt x="140" y="13"/>
                    </a:lnTo>
                    <a:lnTo>
                      <a:pt x="145" y="13"/>
                    </a:lnTo>
                    <a:lnTo>
                      <a:pt x="150" y="8"/>
                    </a:lnTo>
                    <a:lnTo>
                      <a:pt x="154" y="4"/>
                    </a:lnTo>
                    <a:lnTo>
                      <a:pt x="166" y="4"/>
                    </a:lnTo>
                    <a:lnTo>
                      <a:pt x="175" y="0"/>
                    </a:lnTo>
                    <a:lnTo>
                      <a:pt x="177" y="0"/>
                    </a:lnTo>
                    <a:lnTo>
                      <a:pt x="182" y="1"/>
                    </a:lnTo>
                    <a:lnTo>
                      <a:pt x="186" y="3"/>
                    </a:lnTo>
                    <a:lnTo>
                      <a:pt x="192" y="1"/>
                    </a:lnTo>
                    <a:close/>
                  </a:path>
                </a:pathLst>
              </a:custGeom>
              <a:solidFill>
                <a:srgbClr val="DBE5F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5" name="Freeform 101"/>
              <p:cNvSpPr>
                <a:spLocks/>
              </p:cNvSpPr>
              <p:nvPr/>
            </p:nvSpPr>
            <p:spPr bwMode="auto">
              <a:xfrm>
                <a:off x="2321" y="3155"/>
                <a:ext cx="323" cy="284"/>
              </a:xfrm>
              <a:custGeom>
                <a:avLst/>
                <a:gdLst>
                  <a:gd name="T0" fmla="*/ 16698 w 302"/>
                  <a:gd name="T1" fmla="*/ 1 h 270"/>
                  <a:gd name="T2" fmla="*/ 16768 w 302"/>
                  <a:gd name="T3" fmla="*/ 388 h 270"/>
                  <a:gd name="T4" fmla="*/ 19101 w 302"/>
                  <a:gd name="T5" fmla="*/ 369 h 270"/>
                  <a:gd name="T6" fmla="*/ 20784 w 302"/>
                  <a:gd name="T7" fmla="*/ 499 h 270"/>
                  <a:gd name="T8" fmla="*/ 24406 w 302"/>
                  <a:gd name="T9" fmla="*/ 951 h 270"/>
                  <a:gd name="T10" fmla="*/ 24994 w 302"/>
                  <a:gd name="T11" fmla="*/ 1441 h 270"/>
                  <a:gd name="T12" fmla="*/ 25428 w 302"/>
                  <a:gd name="T13" fmla="*/ 2029 h 270"/>
                  <a:gd name="T14" fmla="*/ 25428 w 302"/>
                  <a:gd name="T15" fmla="*/ 2889 h 270"/>
                  <a:gd name="T16" fmla="*/ 25158 w 302"/>
                  <a:gd name="T17" fmla="*/ 3326 h 270"/>
                  <a:gd name="T18" fmla="*/ 24534 w 302"/>
                  <a:gd name="T19" fmla="*/ 4042 h 270"/>
                  <a:gd name="T20" fmla="*/ 25158 w 302"/>
                  <a:gd name="T21" fmla="*/ 4762 h 270"/>
                  <a:gd name="T22" fmla="*/ 23640 w 302"/>
                  <a:gd name="T23" fmla="*/ 5980 h 270"/>
                  <a:gd name="T24" fmla="*/ 22103 w 302"/>
                  <a:gd name="T25" fmla="*/ 6759 h 270"/>
                  <a:gd name="T26" fmla="*/ 21031 w 302"/>
                  <a:gd name="T27" fmla="*/ 7109 h 270"/>
                  <a:gd name="T28" fmla="*/ 20784 w 302"/>
                  <a:gd name="T29" fmla="*/ 7600 h 270"/>
                  <a:gd name="T30" fmla="*/ 20756 w 302"/>
                  <a:gd name="T31" fmla="*/ 7600 h 270"/>
                  <a:gd name="T32" fmla="*/ 19433 w 302"/>
                  <a:gd name="T33" fmla="*/ 7271 h 270"/>
                  <a:gd name="T34" fmla="*/ 17753 w 302"/>
                  <a:gd name="T35" fmla="*/ 7140 h 270"/>
                  <a:gd name="T36" fmla="*/ 16073 w 302"/>
                  <a:gd name="T37" fmla="*/ 7140 h 270"/>
                  <a:gd name="T38" fmla="*/ 14051 w 302"/>
                  <a:gd name="T39" fmla="*/ 6959 h 270"/>
                  <a:gd name="T40" fmla="*/ 12844 w 302"/>
                  <a:gd name="T41" fmla="*/ 6880 h 270"/>
                  <a:gd name="T42" fmla="*/ 11467 w 302"/>
                  <a:gd name="T43" fmla="*/ 6702 h 270"/>
                  <a:gd name="T44" fmla="*/ 9908 w 302"/>
                  <a:gd name="T45" fmla="*/ 6671 h 270"/>
                  <a:gd name="T46" fmla="*/ 8892 w 302"/>
                  <a:gd name="T47" fmla="*/ 6426 h 270"/>
                  <a:gd name="T48" fmla="*/ 8290 w 302"/>
                  <a:gd name="T49" fmla="*/ 5829 h 270"/>
                  <a:gd name="T50" fmla="*/ 7660 w 302"/>
                  <a:gd name="T51" fmla="*/ 5269 h 270"/>
                  <a:gd name="T52" fmla="*/ 6335 w 302"/>
                  <a:gd name="T53" fmla="*/ 4857 h 270"/>
                  <a:gd name="T54" fmla="*/ 4539 w 302"/>
                  <a:gd name="T55" fmla="*/ 4618 h 270"/>
                  <a:gd name="T56" fmla="*/ 1965 w 302"/>
                  <a:gd name="T57" fmla="*/ 3720 h 270"/>
                  <a:gd name="T58" fmla="*/ 1494 w 302"/>
                  <a:gd name="T59" fmla="*/ 3238 h 270"/>
                  <a:gd name="T60" fmla="*/ 2 w 302"/>
                  <a:gd name="T61" fmla="*/ 2648 h 270"/>
                  <a:gd name="T62" fmla="*/ 0 w 302"/>
                  <a:gd name="T63" fmla="*/ 2391 h 270"/>
                  <a:gd name="T64" fmla="*/ 4 w 302"/>
                  <a:gd name="T65" fmla="*/ 2483 h 270"/>
                  <a:gd name="T66" fmla="*/ 2248 w 302"/>
                  <a:gd name="T67" fmla="*/ 2517 h 270"/>
                  <a:gd name="T68" fmla="*/ 3599 w 302"/>
                  <a:gd name="T69" fmla="*/ 2483 h 270"/>
                  <a:gd name="T70" fmla="*/ 4379 w 302"/>
                  <a:gd name="T71" fmla="*/ 2483 h 270"/>
                  <a:gd name="T72" fmla="*/ 4684 w 302"/>
                  <a:gd name="T73" fmla="*/ 2612 h 270"/>
                  <a:gd name="T74" fmla="*/ 5386 w 302"/>
                  <a:gd name="T75" fmla="*/ 2595 h 270"/>
                  <a:gd name="T76" fmla="*/ 6162 w 302"/>
                  <a:gd name="T77" fmla="*/ 2467 h 270"/>
                  <a:gd name="T78" fmla="*/ 6795 w 302"/>
                  <a:gd name="T79" fmla="*/ 2161 h 270"/>
                  <a:gd name="T80" fmla="*/ 7162 w 302"/>
                  <a:gd name="T81" fmla="*/ 2056 h 270"/>
                  <a:gd name="T82" fmla="*/ 7660 w 302"/>
                  <a:gd name="T83" fmla="*/ 1929 h 270"/>
                  <a:gd name="T84" fmla="*/ 8290 w 302"/>
                  <a:gd name="T85" fmla="*/ 1767 h 270"/>
                  <a:gd name="T86" fmla="*/ 8476 w 302"/>
                  <a:gd name="T87" fmla="*/ 1658 h 270"/>
                  <a:gd name="T88" fmla="*/ 9177 w 302"/>
                  <a:gd name="T89" fmla="*/ 1597 h 270"/>
                  <a:gd name="T90" fmla="*/ 9223 w 302"/>
                  <a:gd name="T91" fmla="*/ 1518 h 270"/>
                  <a:gd name="T92" fmla="*/ 9483 w 302"/>
                  <a:gd name="T93" fmla="*/ 1441 h 270"/>
                  <a:gd name="T94" fmla="*/ 9908 w 302"/>
                  <a:gd name="T95" fmla="*/ 1354 h 270"/>
                  <a:gd name="T96" fmla="*/ 10171 w 302"/>
                  <a:gd name="T97" fmla="*/ 1372 h 270"/>
                  <a:gd name="T98" fmla="*/ 10498 w 302"/>
                  <a:gd name="T99" fmla="*/ 1287 h 270"/>
                  <a:gd name="T100" fmla="*/ 10878 w 302"/>
                  <a:gd name="T101" fmla="*/ 1287 h 270"/>
                  <a:gd name="T102" fmla="*/ 11601 w 302"/>
                  <a:gd name="T103" fmla="*/ 1354 h 270"/>
                  <a:gd name="T104" fmla="*/ 12069 w 302"/>
                  <a:gd name="T105" fmla="*/ 1224 h 270"/>
                  <a:gd name="T106" fmla="*/ 11284 w 302"/>
                  <a:gd name="T107" fmla="*/ 1013 h 270"/>
                  <a:gd name="T108" fmla="*/ 11467 w 302"/>
                  <a:gd name="T109" fmla="*/ 859 h 270"/>
                  <a:gd name="T110" fmla="*/ 11467 w 302"/>
                  <a:gd name="T111" fmla="*/ 676 h 270"/>
                  <a:gd name="T112" fmla="*/ 11601 w 302"/>
                  <a:gd name="T113" fmla="*/ 388 h 270"/>
                  <a:gd name="T114" fmla="*/ 12264 w 302"/>
                  <a:gd name="T115" fmla="*/ 369 h 270"/>
                  <a:gd name="T116" fmla="*/ 12965 w 302"/>
                  <a:gd name="T117" fmla="*/ 4 h 270"/>
                  <a:gd name="T118" fmla="*/ 14766 w 302"/>
                  <a:gd name="T119" fmla="*/ 0 h 270"/>
                  <a:gd name="T120" fmla="*/ 15520 w 302"/>
                  <a:gd name="T121" fmla="*/ 1 h 270"/>
                  <a:gd name="T122" fmla="*/ 16156 w 302"/>
                  <a:gd name="T123" fmla="*/ 1 h 27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02"/>
                  <a:gd name="T187" fmla="*/ 0 h 270"/>
                  <a:gd name="T188" fmla="*/ 302 w 302"/>
                  <a:gd name="T189" fmla="*/ 270 h 27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02" h="270">
                    <a:moveTo>
                      <a:pt x="192" y="1"/>
                    </a:moveTo>
                    <a:lnTo>
                      <a:pt x="197" y="1"/>
                    </a:lnTo>
                    <a:lnTo>
                      <a:pt x="198" y="0"/>
                    </a:lnTo>
                    <a:lnTo>
                      <a:pt x="198" y="14"/>
                    </a:lnTo>
                    <a:lnTo>
                      <a:pt x="210" y="14"/>
                    </a:lnTo>
                    <a:lnTo>
                      <a:pt x="226" y="13"/>
                    </a:lnTo>
                    <a:lnTo>
                      <a:pt x="236" y="16"/>
                    </a:lnTo>
                    <a:lnTo>
                      <a:pt x="247" y="19"/>
                    </a:lnTo>
                    <a:lnTo>
                      <a:pt x="268" y="27"/>
                    </a:lnTo>
                    <a:lnTo>
                      <a:pt x="290" y="34"/>
                    </a:lnTo>
                    <a:lnTo>
                      <a:pt x="295" y="40"/>
                    </a:lnTo>
                    <a:lnTo>
                      <a:pt x="296" y="51"/>
                    </a:lnTo>
                    <a:lnTo>
                      <a:pt x="298" y="57"/>
                    </a:lnTo>
                    <a:lnTo>
                      <a:pt x="302" y="72"/>
                    </a:lnTo>
                    <a:lnTo>
                      <a:pt x="301" y="95"/>
                    </a:lnTo>
                    <a:lnTo>
                      <a:pt x="302" y="103"/>
                    </a:lnTo>
                    <a:lnTo>
                      <a:pt x="298" y="113"/>
                    </a:lnTo>
                    <a:lnTo>
                      <a:pt x="298" y="118"/>
                    </a:lnTo>
                    <a:lnTo>
                      <a:pt x="290" y="131"/>
                    </a:lnTo>
                    <a:lnTo>
                      <a:pt x="291" y="143"/>
                    </a:lnTo>
                    <a:lnTo>
                      <a:pt x="295" y="151"/>
                    </a:lnTo>
                    <a:lnTo>
                      <a:pt x="298" y="169"/>
                    </a:lnTo>
                    <a:lnTo>
                      <a:pt x="284" y="192"/>
                    </a:lnTo>
                    <a:lnTo>
                      <a:pt x="280" y="213"/>
                    </a:lnTo>
                    <a:lnTo>
                      <a:pt x="268" y="236"/>
                    </a:lnTo>
                    <a:lnTo>
                      <a:pt x="262" y="240"/>
                    </a:lnTo>
                    <a:lnTo>
                      <a:pt x="253" y="245"/>
                    </a:lnTo>
                    <a:lnTo>
                      <a:pt x="249" y="252"/>
                    </a:lnTo>
                    <a:lnTo>
                      <a:pt x="247" y="259"/>
                    </a:lnTo>
                    <a:lnTo>
                      <a:pt x="247" y="270"/>
                    </a:lnTo>
                    <a:lnTo>
                      <a:pt x="246" y="270"/>
                    </a:lnTo>
                    <a:lnTo>
                      <a:pt x="242" y="270"/>
                    </a:lnTo>
                    <a:lnTo>
                      <a:pt x="231" y="259"/>
                    </a:lnTo>
                    <a:lnTo>
                      <a:pt x="217" y="254"/>
                    </a:lnTo>
                    <a:lnTo>
                      <a:pt x="209" y="254"/>
                    </a:lnTo>
                    <a:lnTo>
                      <a:pt x="200" y="255"/>
                    </a:lnTo>
                    <a:lnTo>
                      <a:pt x="191" y="254"/>
                    </a:lnTo>
                    <a:lnTo>
                      <a:pt x="174" y="249"/>
                    </a:lnTo>
                    <a:lnTo>
                      <a:pt x="167" y="248"/>
                    </a:lnTo>
                    <a:lnTo>
                      <a:pt x="160" y="251"/>
                    </a:lnTo>
                    <a:lnTo>
                      <a:pt x="152" y="245"/>
                    </a:lnTo>
                    <a:lnTo>
                      <a:pt x="145" y="243"/>
                    </a:lnTo>
                    <a:lnTo>
                      <a:pt x="136" y="238"/>
                    </a:lnTo>
                    <a:lnTo>
                      <a:pt x="126" y="238"/>
                    </a:lnTo>
                    <a:lnTo>
                      <a:pt x="118" y="237"/>
                    </a:lnTo>
                    <a:lnTo>
                      <a:pt x="111" y="233"/>
                    </a:lnTo>
                    <a:lnTo>
                      <a:pt x="106" y="228"/>
                    </a:lnTo>
                    <a:lnTo>
                      <a:pt x="102" y="220"/>
                    </a:lnTo>
                    <a:lnTo>
                      <a:pt x="98" y="207"/>
                    </a:lnTo>
                    <a:lnTo>
                      <a:pt x="98" y="192"/>
                    </a:lnTo>
                    <a:lnTo>
                      <a:pt x="91" y="187"/>
                    </a:lnTo>
                    <a:lnTo>
                      <a:pt x="81" y="184"/>
                    </a:lnTo>
                    <a:lnTo>
                      <a:pt x="75" y="174"/>
                    </a:lnTo>
                    <a:lnTo>
                      <a:pt x="66" y="169"/>
                    </a:lnTo>
                    <a:lnTo>
                      <a:pt x="54" y="165"/>
                    </a:lnTo>
                    <a:lnTo>
                      <a:pt x="33" y="145"/>
                    </a:lnTo>
                    <a:lnTo>
                      <a:pt x="23" y="133"/>
                    </a:lnTo>
                    <a:lnTo>
                      <a:pt x="19" y="123"/>
                    </a:lnTo>
                    <a:lnTo>
                      <a:pt x="18" y="115"/>
                    </a:lnTo>
                    <a:lnTo>
                      <a:pt x="11" y="109"/>
                    </a:lnTo>
                    <a:lnTo>
                      <a:pt x="2" y="95"/>
                    </a:lnTo>
                    <a:lnTo>
                      <a:pt x="0" y="90"/>
                    </a:lnTo>
                    <a:lnTo>
                      <a:pt x="0" y="85"/>
                    </a:lnTo>
                    <a:lnTo>
                      <a:pt x="2" y="87"/>
                    </a:lnTo>
                    <a:lnTo>
                      <a:pt x="4" y="88"/>
                    </a:lnTo>
                    <a:lnTo>
                      <a:pt x="18" y="85"/>
                    </a:lnTo>
                    <a:lnTo>
                      <a:pt x="27" y="90"/>
                    </a:lnTo>
                    <a:lnTo>
                      <a:pt x="40" y="88"/>
                    </a:lnTo>
                    <a:lnTo>
                      <a:pt x="43" y="88"/>
                    </a:lnTo>
                    <a:lnTo>
                      <a:pt x="48" y="88"/>
                    </a:lnTo>
                    <a:lnTo>
                      <a:pt x="51" y="88"/>
                    </a:lnTo>
                    <a:lnTo>
                      <a:pt x="52" y="92"/>
                    </a:lnTo>
                    <a:lnTo>
                      <a:pt x="55" y="93"/>
                    </a:lnTo>
                    <a:lnTo>
                      <a:pt x="60" y="92"/>
                    </a:lnTo>
                    <a:lnTo>
                      <a:pt x="64" y="92"/>
                    </a:lnTo>
                    <a:lnTo>
                      <a:pt x="70" y="87"/>
                    </a:lnTo>
                    <a:lnTo>
                      <a:pt x="73" y="87"/>
                    </a:lnTo>
                    <a:lnTo>
                      <a:pt x="78" y="83"/>
                    </a:lnTo>
                    <a:lnTo>
                      <a:pt x="81" y="77"/>
                    </a:lnTo>
                    <a:lnTo>
                      <a:pt x="85" y="77"/>
                    </a:lnTo>
                    <a:lnTo>
                      <a:pt x="85" y="74"/>
                    </a:lnTo>
                    <a:lnTo>
                      <a:pt x="89" y="72"/>
                    </a:lnTo>
                    <a:lnTo>
                      <a:pt x="91" y="68"/>
                    </a:lnTo>
                    <a:lnTo>
                      <a:pt x="95" y="65"/>
                    </a:lnTo>
                    <a:lnTo>
                      <a:pt x="98" y="64"/>
                    </a:lnTo>
                    <a:lnTo>
                      <a:pt x="99" y="61"/>
                    </a:lnTo>
                    <a:lnTo>
                      <a:pt x="100" y="59"/>
                    </a:lnTo>
                    <a:lnTo>
                      <a:pt x="106" y="57"/>
                    </a:lnTo>
                    <a:lnTo>
                      <a:pt x="108" y="58"/>
                    </a:lnTo>
                    <a:lnTo>
                      <a:pt x="109" y="57"/>
                    </a:lnTo>
                    <a:lnTo>
                      <a:pt x="109" y="55"/>
                    </a:lnTo>
                    <a:lnTo>
                      <a:pt x="109" y="52"/>
                    </a:lnTo>
                    <a:lnTo>
                      <a:pt x="112" y="51"/>
                    </a:lnTo>
                    <a:lnTo>
                      <a:pt x="115" y="49"/>
                    </a:lnTo>
                    <a:lnTo>
                      <a:pt x="118" y="48"/>
                    </a:lnTo>
                    <a:lnTo>
                      <a:pt x="121" y="49"/>
                    </a:lnTo>
                    <a:lnTo>
                      <a:pt x="123" y="48"/>
                    </a:lnTo>
                    <a:lnTo>
                      <a:pt x="124" y="46"/>
                    </a:lnTo>
                    <a:lnTo>
                      <a:pt x="126" y="44"/>
                    </a:lnTo>
                    <a:lnTo>
                      <a:pt x="129" y="46"/>
                    </a:lnTo>
                    <a:lnTo>
                      <a:pt x="134" y="48"/>
                    </a:lnTo>
                    <a:lnTo>
                      <a:pt x="137" y="48"/>
                    </a:lnTo>
                    <a:lnTo>
                      <a:pt x="139" y="46"/>
                    </a:lnTo>
                    <a:lnTo>
                      <a:pt x="143" y="44"/>
                    </a:lnTo>
                    <a:lnTo>
                      <a:pt x="141" y="40"/>
                    </a:lnTo>
                    <a:lnTo>
                      <a:pt x="134" y="37"/>
                    </a:lnTo>
                    <a:lnTo>
                      <a:pt x="134" y="34"/>
                    </a:lnTo>
                    <a:lnTo>
                      <a:pt x="136" y="30"/>
                    </a:lnTo>
                    <a:lnTo>
                      <a:pt x="136" y="29"/>
                    </a:lnTo>
                    <a:lnTo>
                      <a:pt x="136" y="25"/>
                    </a:lnTo>
                    <a:lnTo>
                      <a:pt x="136" y="19"/>
                    </a:lnTo>
                    <a:lnTo>
                      <a:pt x="137" y="14"/>
                    </a:lnTo>
                    <a:lnTo>
                      <a:pt x="140" y="13"/>
                    </a:lnTo>
                    <a:lnTo>
                      <a:pt x="145" y="13"/>
                    </a:lnTo>
                    <a:lnTo>
                      <a:pt x="150" y="8"/>
                    </a:lnTo>
                    <a:lnTo>
                      <a:pt x="154" y="4"/>
                    </a:lnTo>
                    <a:lnTo>
                      <a:pt x="166" y="4"/>
                    </a:lnTo>
                    <a:lnTo>
                      <a:pt x="175" y="0"/>
                    </a:lnTo>
                    <a:lnTo>
                      <a:pt x="177" y="0"/>
                    </a:lnTo>
                    <a:lnTo>
                      <a:pt x="182" y="1"/>
                    </a:lnTo>
                    <a:lnTo>
                      <a:pt x="186" y="3"/>
                    </a:lnTo>
                    <a:lnTo>
                      <a:pt x="192" y="1"/>
                    </a:lnTo>
                    <a:close/>
                  </a:path>
                </a:pathLst>
              </a:custGeom>
              <a:solidFill>
                <a:srgbClr val="17375E"/>
              </a:solidFill>
              <a:ln w="7938">
                <a:solidFill>
                  <a:srgbClr val="1C1329"/>
                </a:solidFill>
                <a:miter lim="800000"/>
                <a:headEnd/>
                <a:tailEnd/>
              </a:ln>
            </p:spPr>
            <p:txBody>
              <a:bodyPr/>
              <a:lstStyle/>
              <a:p>
                <a:endParaRPr lang="en-US"/>
              </a:p>
            </p:txBody>
          </p:sp>
          <p:sp>
            <p:nvSpPr>
              <p:cNvPr id="316" name="Freeform 102"/>
              <p:cNvSpPr>
                <a:spLocks/>
              </p:cNvSpPr>
              <p:nvPr/>
            </p:nvSpPr>
            <p:spPr bwMode="auto">
              <a:xfrm>
                <a:off x="2296" y="1240"/>
                <a:ext cx="461" cy="399"/>
              </a:xfrm>
              <a:custGeom>
                <a:avLst/>
                <a:gdLst>
                  <a:gd name="T0" fmla="*/ 33704 w 431"/>
                  <a:gd name="T1" fmla="*/ 2189 h 380"/>
                  <a:gd name="T2" fmla="*/ 32364 w 431"/>
                  <a:gd name="T3" fmla="*/ 3235 h 380"/>
                  <a:gd name="T4" fmla="*/ 32012 w 431"/>
                  <a:gd name="T5" fmla="*/ 3613 h 380"/>
                  <a:gd name="T6" fmla="*/ 30890 w 431"/>
                  <a:gd name="T7" fmla="*/ 3702 h 380"/>
                  <a:gd name="T8" fmla="*/ 29102 w 431"/>
                  <a:gd name="T9" fmla="*/ 3133 h 380"/>
                  <a:gd name="T10" fmla="*/ 28289 w 431"/>
                  <a:gd name="T11" fmla="*/ 2695 h 380"/>
                  <a:gd name="T12" fmla="*/ 27146 w 431"/>
                  <a:gd name="T13" fmla="*/ 2189 h 380"/>
                  <a:gd name="T14" fmla="*/ 26283 w 431"/>
                  <a:gd name="T15" fmla="*/ 1654 h 380"/>
                  <a:gd name="T16" fmla="*/ 25844 w 431"/>
                  <a:gd name="T17" fmla="*/ 1654 h 380"/>
                  <a:gd name="T18" fmla="*/ 25450 w 431"/>
                  <a:gd name="T19" fmla="*/ 1986 h 380"/>
                  <a:gd name="T20" fmla="*/ 26283 w 431"/>
                  <a:gd name="T21" fmla="*/ 2298 h 380"/>
                  <a:gd name="T22" fmla="*/ 26511 w 431"/>
                  <a:gd name="T23" fmla="*/ 2695 h 380"/>
                  <a:gd name="T24" fmla="*/ 28880 w 431"/>
                  <a:gd name="T25" fmla="*/ 3526 h 380"/>
                  <a:gd name="T26" fmla="*/ 29642 w 431"/>
                  <a:gd name="T27" fmla="*/ 4081 h 380"/>
                  <a:gd name="T28" fmla="*/ 30699 w 431"/>
                  <a:gd name="T29" fmla="*/ 4843 h 380"/>
                  <a:gd name="T30" fmla="*/ 31942 w 431"/>
                  <a:gd name="T31" fmla="*/ 5546 h 380"/>
                  <a:gd name="T32" fmla="*/ 33736 w 431"/>
                  <a:gd name="T33" fmla="*/ 6407 h 380"/>
                  <a:gd name="T34" fmla="*/ 35122 w 431"/>
                  <a:gd name="T35" fmla="*/ 7063 h 380"/>
                  <a:gd name="T36" fmla="*/ 36543 w 431"/>
                  <a:gd name="T37" fmla="*/ 7426 h 380"/>
                  <a:gd name="T38" fmla="*/ 35613 w 431"/>
                  <a:gd name="T39" fmla="*/ 7426 h 380"/>
                  <a:gd name="T40" fmla="*/ 35686 w 431"/>
                  <a:gd name="T41" fmla="*/ 8073 h 380"/>
                  <a:gd name="T42" fmla="*/ 34051 w 431"/>
                  <a:gd name="T43" fmla="*/ 8506 h 380"/>
                  <a:gd name="T44" fmla="*/ 30890 w 431"/>
                  <a:gd name="T45" fmla="*/ 9477 h 380"/>
                  <a:gd name="T46" fmla="*/ 22530 w 431"/>
                  <a:gd name="T47" fmla="*/ 9346 h 380"/>
                  <a:gd name="T48" fmla="*/ 22530 w 431"/>
                  <a:gd name="T49" fmla="*/ 9114 h 380"/>
                  <a:gd name="T50" fmla="*/ 20255 w 431"/>
                  <a:gd name="T51" fmla="*/ 9346 h 380"/>
                  <a:gd name="T52" fmla="*/ 10880 w 431"/>
                  <a:gd name="T53" fmla="*/ 9346 h 380"/>
                  <a:gd name="T54" fmla="*/ 1496 w 431"/>
                  <a:gd name="T55" fmla="*/ 9346 h 380"/>
                  <a:gd name="T56" fmla="*/ 1496 w 431"/>
                  <a:gd name="T57" fmla="*/ 6813 h 380"/>
                  <a:gd name="T58" fmla="*/ 1496 w 431"/>
                  <a:gd name="T59" fmla="*/ 4081 h 380"/>
                  <a:gd name="T60" fmla="*/ 5 w 431"/>
                  <a:gd name="T61" fmla="*/ 2218 h 380"/>
                  <a:gd name="T62" fmla="*/ 1 w 431"/>
                  <a:gd name="T63" fmla="*/ 1824 h 380"/>
                  <a:gd name="T64" fmla="*/ 3 w 431"/>
                  <a:gd name="T65" fmla="*/ 1399 h 380"/>
                  <a:gd name="T66" fmla="*/ 873 w 431"/>
                  <a:gd name="T67" fmla="*/ 1119 h 380"/>
                  <a:gd name="T68" fmla="*/ 5 w 431"/>
                  <a:gd name="T69" fmla="*/ 360 h 380"/>
                  <a:gd name="T70" fmla="*/ 1069 w 431"/>
                  <a:gd name="T71" fmla="*/ 0 h 380"/>
                  <a:gd name="T72" fmla="*/ 2104 w 431"/>
                  <a:gd name="T73" fmla="*/ 5 h 380"/>
                  <a:gd name="T74" fmla="*/ 5370 w 431"/>
                  <a:gd name="T75" fmla="*/ 3 h 380"/>
                  <a:gd name="T76" fmla="*/ 9200 w 431"/>
                  <a:gd name="T77" fmla="*/ 378 h 380"/>
                  <a:gd name="T78" fmla="*/ 11189 w 431"/>
                  <a:gd name="T79" fmla="*/ 532 h 380"/>
                  <a:gd name="T80" fmla="*/ 13717 w 431"/>
                  <a:gd name="T81" fmla="*/ 679 h 380"/>
                  <a:gd name="T82" fmla="*/ 15915 w 431"/>
                  <a:gd name="T83" fmla="*/ 587 h 380"/>
                  <a:gd name="T84" fmla="*/ 18583 w 431"/>
                  <a:gd name="T85" fmla="*/ 7 h 380"/>
                  <a:gd name="T86" fmla="*/ 20255 w 431"/>
                  <a:gd name="T87" fmla="*/ 5 h 380"/>
                  <a:gd name="T88" fmla="*/ 19252 w 431"/>
                  <a:gd name="T89" fmla="*/ 327 h 380"/>
                  <a:gd name="T90" fmla="*/ 20739 w 431"/>
                  <a:gd name="T91" fmla="*/ 7 h 380"/>
                  <a:gd name="T92" fmla="*/ 21763 w 431"/>
                  <a:gd name="T93" fmla="*/ 7 h 380"/>
                  <a:gd name="T94" fmla="*/ 23832 w 431"/>
                  <a:gd name="T95" fmla="*/ 3 h 380"/>
                  <a:gd name="T96" fmla="*/ 24404 w 431"/>
                  <a:gd name="T97" fmla="*/ 296 h 380"/>
                  <a:gd name="T98" fmla="*/ 25437 w 431"/>
                  <a:gd name="T99" fmla="*/ 417 h 380"/>
                  <a:gd name="T100" fmla="*/ 26833 w 431"/>
                  <a:gd name="T101" fmla="*/ 587 h 380"/>
                  <a:gd name="T102" fmla="*/ 27826 w 431"/>
                  <a:gd name="T103" fmla="*/ 483 h 380"/>
                  <a:gd name="T104" fmla="*/ 30568 w 431"/>
                  <a:gd name="T105" fmla="*/ 438 h 380"/>
                  <a:gd name="T106" fmla="*/ 31193 w 431"/>
                  <a:gd name="T107" fmla="*/ 507 h 38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31"/>
                  <a:gd name="T163" fmla="*/ 0 h 380"/>
                  <a:gd name="T164" fmla="*/ 431 w 431"/>
                  <a:gd name="T165" fmla="*/ 380 h 38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31" h="380">
                    <a:moveTo>
                      <a:pt x="371" y="24"/>
                    </a:moveTo>
                    <a:lnTo>
                      <a:pt x="384" y="60"/>
                    </a:lnTo>
                    <a:lnTo>
                      <a:pt x="396" y="87"/>
                    </a:lnTo>
                    <a:lnTo>
                      <a:pt x="390" y="99"/>
                    </a:lnTo>
                    <a:lnTo>
                      <a:pt x="387" y="113"/>
                    </a:lnTo>
                    <a:lnTo>
                      <a:pt x="381" y="129"/>
                    </a:lnTo>
                    <a:lnTo>
                      <a:pt x="379" y="134"/>
                    </a:lnTo>
                    <a:lnTo>
                      <a:pt x="379" y="139"/>
                    </a:lnTo>
                    <a:lnTo>
                      <a:pt x="379" y="144"/>
                    </a:lnTo>
                    <a:lnTo>
                      <a:pt x="376" y="145"/>
                    </a:lnTo>
                    <a:lnTo>
                      <a:pt x="371" y="147"/>
                    </a:lnTo>
                    <a:lnTo>
                      <a:pt x="365" y="147"/>
                    </a:lnTo>
                    <a:lnTo>
                      <a:pt x="359" y="144"/>
                    </a:lnTo>
                    <a:lnTo>
                      <a:pt x="351" y="134"/>
                    </a:lnTo>
                    <a:lnTo>
                      <a:pt x="343" y="126"/>
                    </a:lnTo>
                    <a:lnTo>
                      <a:pt x="336" y="117"/>
                    </a:lnTo>
                    <a:lnTo>
                      <a:pt x="334" y="114"/>
                    </a:lnTo>
                    <a:lnTo>
                      <a:pt x="333" y="107"/>
                    </a:lnTo>
                    <a:lnTo>
                      <a:pt x="330" y="101"/>
                    </a:lnTo>
                    <a:lnTo>
                      <a:pt x="323" y="92"/>
                    </a:lnTo>
                    <a:lnTo>
                      <a:pt x="320" y="87"/>
                    </a:lnTo>
                    <a:lnTo>
                      <a:pt x="314" y="82"/>
                    </a:lnTo>
                    <a:lnTo>
                      <a:pt x="312" y="69"/>
                    </a:lnTo>
                    <a:lnTo>
                      <a:pt x="310" y="66"/>
                    </a:lnTo>
                    <a:lnTo>
                      <a:pt x="308" y="63"/>
                    </a:lnTo>
                    <a:lnTo>
                      <a:pt x="307" y="62"/>
                    </a:lnTo>
                    <a:lnTo>
                      <a:pt x="304" y="66"/>
                    </a:lnTo>
                    <a:lnTo>
                      <a:pt x="305" y="68"/>
                    </a:lnTo>
                    <a:lnTo>
                      <a:pt x="302" y="71"/>
                    </a:lnTo>
                    <a:lnTo>
                      <a:pt x="301" y="79"/>
                    </a:lnTo>
                    <a:lnTo>
                      <a:pt x="302" y="82"/>
                    </a:lnTo>
                    <a:lnTo>
                      <a:pt x="308" y="87"/>
                    </a:lnTo>
                    <a:lnTo>
                      <a:pt x="310" y="91"/>
                    </a:lnTo>
                    <a:lnTo>
                      <a:pt x="311" y="94"/>
                    </a:lnTo>
                    <a:lnTo>
                      <a:pt x="311" y="101"/>
                    </a:lnTo>
                    <a:lnTo>
                      <a:pt x="312" y="107"/>
                    </a:lnTo>
                    <a:lnTo>
                      <a:pt x="323" y="123"/>
                    </a:lnTo>
                    <a:lnTo>
                      <a:pt x="334" y="136"/>
                    </a:lnTo>
                    <a:lnTo>
                      <a:pt x="341" y="140"/>
                    </a:lnTo>
                    <a:lnTo>
                      <a:pt x="345" y="142"/>
                    </a:lnTo>
                    <a:lnTo>
                      <a:pt x="345" y="157"/>
                    </a:lnTo>
                    <a:lnTo>
                      <a:pt x="349" y="162"/>
                    </a:lnTo>
                    <a:lnTo>
                      <a:pt x="356" y="170"/>
                    </a:lnTo>
                    <a:lnTo>
                      <a:pt x="361" y="186"/>
                    </a:lnTo>
                    <a:lnTo>
                      <a:pt x="362" y="193"/>
                    </a:lnTo>
                    <a:lnTo>
                      <a:pt x="365" y="199"/>
                    </a:lnTo>
                    <a:lnTo>
                      <a:pt x="374" y="212"/>
                    </a:lnTo>
                    <a:lnTo>
                      <a:pt x="377" y="222"/>
                    </a:lnTo>
                    <a:lnTo>
                      <a:pt x="384" y="231"/>
                    </a:lnTo>
                    <a:lnTo>
                      <a:pt x="393" y="249"/>
                    </a:lnTo>
                    <a:lnTo>
                      <a:pt x="397" y="256"/>
                    </a:lnTo>
                    <a:lnTo>
                      <a:pt x="400" y="259"/>
                    </a:lnTo>
                    <a:lnTo>
                      <a:pt x="409" y="275"/>
                    </a:lnTo>
                    <a:lnTo>
                      <a:pt x="414" y="282"/>
                    </a:lnTo>
                    <a:lnTo>
                      <a:pt x="425" y="291"/>
                    </a:lnTo>
                    <a:lnTo>
                      <a:pt x="427" y="292"/>
                    </a:lnTo>
                    <a:lnTo>
                      <a:pt x="431" y="297"/>
                    </a:lnTo>
                    <a:lnTo>
                      <a:pt x="431" y="298"/>
                    </a:lnTo>
                    <a:lnTo>
                      <a:pt x="422" y="295"/>
                    </a:lnTo>
                    <a:lnTo>
                      <a:pt x="420" y="297"/>
                    </a:lnTo>
                    <a:lnTo>
                      <a:pt x="420" y="298"/>
                    </a:lnTo>
                    <a:lnTo>
                      <a:pt x="420" y="304"/>
                    </a:lnTo>
                    <a:lnTo>
                      <a:pt x="422" y="320"/>
                    </a:lnTo>
                    <a:lnTo>
                      <a:pt x="424" y="328"/>
                    </a:lnTo>
                    <a:lnTo>
                      <a:pt x="409" y="342"/>
                    </a:lnTo>
                    <a:lnTo>
                      <a:pt x="400" y="338"/>
                    </a:lnTo>
                    <a:lnTo>
                      <a:pt x="391" y="358"/>
                    </a:lnTo>
                    <a:lnTo>
                      <a:pt x="371" y="363"/>
                    </a:lnTo>
                    <a:lnTo>
                      <a:pt x="365" y="379"/>
                    </a:lnTo>
                    <a:lnTo>
                      <a:pt x="346" y="380"/>
                    </a:lnTo>
                    <a:lnTo>
                      <a:pt x="333" y="371"/>
                    </a:lnTo>
                    <a:lnTo>
                      <a:pt x="265" y="371"/>
                    </a:lnTo>
                    <a:lnTo>
                      <a:pt x="269" y="363"/>
                    </a:lnTo>
                    <a:lnTo>
                      <a:pt x="266" y="364"/>
                    </a:lnTo>
                    <a:lnTo>
                      <a:pt x="265" y="363"/>
                    </a:lnTo>
                    <a:lnTo>
                      <a:pt x="263" y="363"/>
                    </a:lnTo>
                    <a:lnTo>
                      <a:pt x="257" y="371"/>
                    </a:lnTo>
                    <a:lnTo>
                      <a:pt x="238" y="371"/>
                    </a:lnTo>
                    <a:lnTo>
                      <a:pt x="200" y="371"/>
                    </a:lnTo>
                    <a:lnTo>
                      <a:pt x="164" y="371"/>
                    </a:lnTo>
                    <a:lnTo>
                      <a:pt x="128" y="371"/>
                    </a:lnTo>
                    <a:lnTo>
                      <a:pt x="91" y="371"/>
                    </a:lnTo>
                    <a:lnTo>
                      <a:pt x="55" y="371"/>
                    </a:lnTo>
                    <a:lnTo>
                      <a:pt x="18" y="371"/>
                    </a:lnTo>
                    <a:lnTo>
                      <a:pt x="18" y="346"/>
                    </a:lnTo>
                    <a:lnTo>
                      <a:pt x="18" y="310"/>
                    </a:lnTo>
                    <a:lnTo>
                      <a:pt x="18" y="272"/>
                    </a:lnTo>
                    <a:lnTo>
                      <a:pt x="18" y="236"/>
                    </a:lnTo>
                    <a:lnTo>
                      <a:pt x="18" y="199"/>
                    </a:lnTo>
                    <a:lnTo>
                      <a:pt x="18" y="162"/>
                    </a:lnTo>
                    <a:lnTo>
                      <a:pt x="18" y="126"/>
                    </a:lnTo>
                    <a:lnTo>
                      <a:pt x="18" y="99"/>
                    </a:lnTo>
                    <a:lnTo>
                      <a:pt x="5" y="88"/>
                    </a:lnTo>
                    <a:lnTo>
                      <a:pt x="7" y="81"/>
                    </a:lnTo>
                    <a:lnTo>
                      <a:pt x="7" y="78"/>
                    </a:lnTo>
                    <a:lnTo>
                      <a:pt x="1" y="72"/>
                    </a:lnTo>
                    <a:lnTo>
                      <a:pt x="0" y="60"/>
                    </a:lnTo>
                    <a:lnTo>
                      <a:pt x="0" y="58"/>
                    </a:lnTo>
                    <a:lnTo>
                      <a:pt x="3" y="55"/>
                    </a:lnTo>
                    <a:lnTo>
                      <a:pt x="8" y="51"/>
                    </a:lnTo>
                    <a:lnTo>
                      <a:pt x="10" y="51"/>
                    </a:lnTo>
                    <a:lnTo>
                      <a:pt x="10" y="45"/>
                    </a:lnTo>
                    <a:lnTo>
                      <a:pt x="8" y="35"/>
                    </a:lnTo>
                    <a:lnTo>
                      <a:pt x="7" y="18"/>
                    </a:lnTo>
                    <a:lnTo>
                      <a:pt x="5" y="14"/>
                    </a:lnTo>
                    <a:lnTo>
                      <a:pt x="5" y="12"/>
                    </a:lnTo>
                    <a:lnTo>
                      <a:pt x="11" y="7"/>
                    </a:lnTo>
                    <a:lnTo>
                      <a:pt x="13" y="0"/>
                    </a:lnTo>
                    <a:lnTo>
                      <a:pt x="18" y="0"/>
                    </a:lnTo>
                    <a:lnTo>
                      <a:pt x="20" y="3"/>
                    </a:lnTo>
                    <a:lnTo>
                      <a:pt x="25" y="5"/>
                    </a:lnTo>
                    <a:lnTo>
                      <a:pt x="39" y="2"/>
                    </a:lnTo>
                    <a:lnTo>
                      <a:pt x="48" y="2"/>
                    </a:lnTo>
                    <a:lnTo>
                      <a:pt x="63" y="3"/>
                    </a:lnTo>
                    <a:lnTo>
                      <a:pt x="87" y="7"/>
                    </a:lnTo>
                    <a:lnTo>
                      <a:pt x="100" y="11"/>
                    </a:lnTo>
                    <a:lnTo>
                      <a:pt x="108" y="15"/>
                    </a:lnTo>
                    <a:lnTo>
                      <a:pt x="120" y="17"/>
                    </a:lnTo>
                    <a:lnTo>
                      <a:pt x="125" y="19"/>
                    </a:lnTo>
                    <a:lnTo>
                      <a:pt x="131" y="22"/>
                    </a:lnTo>
                    <a:lnTo>
                      <a:pt x="142" y="22"/>
                    </a:lnTo>
                    <a:lnTo>
                      <a:pt x="151" y="24"/>
                    </a:lnTo>
                    <a:lnTo>
                      <a:pt x="161" y="27"/>
                    </a:lnTo>
                    <a:lnTo>
                      <a:pt x="169" y="31"/>
                    </a:lnTo>
                    <a:lnTo>
                      <a:pt x="179" y="30"/>
                    </a:lnTo>
                    <a:lnTo>
                      <a:pt x="189" y="24"/>
                    </a:lnTo>
                    <a:lnTo>
                      <a:pt x="200" y="17"/>
                    </a:lnTo>
                    <a:lnTo>
                      <a:pt x="212" y="12"/>
                    </a:lnTo>
                    <a:lnTo>
                      <a:pt x="219" y="7"/>
                    </a:lnTo>
                    <a:lnTo>
                      <a:pt x="228" y="7"/>
                    </a:lnTo>
                    <a:lnTo>
                      <a:pt x="235" y="5"/>
                    </a:lnTo>
                    <a:lnTo>
                      <a:pt x="238" y="5"/>
                    </a:lnTo>
                    <a:lnTo>
                      <a:pt x="237" y="7"/>
                    </a:lnTo>
                    <a:lnTo>
                      <a:pt x="228" y="10"/>
                    </a:lnTo>
                    <a:lnTo>
                      <a:pt x="227" y="12"/>
                    </a:lnTo>
                    <a:lnTo>
                      <a:pt x="228" y="12"/>
                    </a:lnTo>
                    <a:lnTo>
                      <a:pt x="242" y="10"/>
                    </a:lnTo>
                    <a:lnTo>
                      <a:pt x="245" y="7"/>
                    </a:lnTo>
                    <a:lnTo>
                      <a:pt x="248" y="3"/>
                    </a:lnTo>
                    <a:lnTo>
                      <a:pt x="254" y="7"/>
                    </a:lnTo>
                    <a:lnTo>
                      <a:pt x="256" y="7"/>
                    </a:lnTo>
                    <a:lnTo>
                      <a:pt x="273" y="7"/>
                    </a:lnTo>
                    <a:lnTo>
                      <a:pt x="275" y="7"/>
                    </a:lnTo>
                    <a:lnTo>
                      <a:pt x="282" y="3"/>
                    </a:lnTo>
                    <a:lnTo>
                      <a:pt x="283" y="5"/>
                    </a:lnTo>
                    <a:lnTo>
                      <a:pt x="285" y="9"/>
                    </a:lnTo>
                    <a:lnTo>
                      <a:pt x="288" y="10"/>
                    </a:lnTo>
                    <a:lnTo>
                      <a:pt x="290" y="12"/>
                    </a:lnTo>
                    <a:lnTo>
                      <a:pt x="293" y="14"/>
                    </a:lnTo>
                    <a:lnTo>
                      <a:pt x="300" y="17"/>
                    </a:lnTo>
                    <a:lnTo>
                      <a:pt x="303" y="21"/>
                    </a:lnTo>
                    <a:lnTo>
                      <a:pt x="307" y="24"/>
                    </a:lnTo>
                    <a:lnTo>
                      <a:pt x="316" y="24"/>
                    </a:lnTo>
                    <a:lnTo>
                      <a:pt x="321" y="24"/>
                    </a:lnTo>
                    <a:lnTo>
                      <a:pt x="323" y="21"/>
                    </a:lnTo>
                    <a:lnTo>
                      <a:pt x="327" y="20"/>
                    </a:lnTo>
                    <a:lnTo>
                      <a:pt x="329" y="24"/>
                    </a:lnTo>
                    <a:lnTo>
                      <a:pt x="346" y="22"/>
                    </a:lnTo>
                    <a:lnTo>
                      <a:pt x="359" y="18"/>
                    </a:lnTo>
                    <a:lnTo>
                      <a:pt x="367" y="12"/>
                    </a:lnTo>
                    <a:lnTo>
                      <a:pt x="368" y="18"/>
                    </a:lnTo>
                    <a:lnTo>
                      <a:pt x="369" y="21"/>
                    </a:lnTo>
                    <a:lnTo>
                      <a:pt x="371" y="24"/>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7" name="Freeform 103"/>
              <p:cNvSpPr>
                <a:spLocks/>
              </p:cNvSpPr>
              <p:nvPr/>
            </p:nvSpPr>
            <p:spPr bwMode="auto">
              <a:xfrm>
                <a:off x="2296" y="1240"/>
                <a:ext cx="461" cy="399"/>
              </a:xfrm>
              <a:custGeom>
                <a:avLst/>
                <a:gdLst>
                  <a:gd name="T0" fmla="*/ 33704 w 431"/>
                  <a:gd name="T1" fmla="*/ 2189 h 380"/>
                  <a:gd name="T2" fmla="*/ 32364 w 431"/>
                  <a:gd name="T3" fmla="*/ 3235 h 380"/>
                  <a:gd name="T4" fmla="*/ 32012 w 431"/>
                  <a:gd name="T5" fmla="*/ 3613 h 380"/>
                  <a:gd name="T6" fmla="*/ 30890 w 431"/>
                  <a:gd name="T7" fmla="*/ 3702 h 380"/>
                  <a:gd name="T8" fmla="*/ 29102 w 431"/>
                  <a:gd name="T9" fmla="*/ 3133 h 380"/>
                  <a:gd name="T10" fmla="*/ 28289 w 431"/>
                  <a:gd name="T11" fmla="*/ 2695 h 380"/>
                  <a:gd name="T12" fmla="*/ 27146 w 431"/>
                  <a:gd name="T13" fmla="*/ 2189 h 380"/>
                  <a:gd name="T14" fmla="*/ 26283 w 431"/>
                  <a:gd name="T15" fmla="*/ 1654 h 380"/>
                  <a:gd name="T16" fmla="*/ 25844 w 431"/>
                  <a:gd name="T17" fmla="*/ 1654 h 380"/>
                  <a:gd name="T18" fmla="*/ 25450 w 431"/>
                  <a:gd name="T19" fmla="*/ 1986 h 380"/>
                  <a:gd name="T20" fmla="*/ 26283 w 431"/>
                  <a:gd name="T21" fmla="*/ 2298 h 380"/>
                  <a:gd name="T22" fmla="*/ 26511 w 431"/>
                  <a:gd name="T23" fmla="*/ 2695 h 380"/>
                  <a:gd name="T24" fmla="*/ 28880 w 431"/>
                  <a:gd name="T25" fmla="*/ 3526 h 380"/>
                  <a:gd name="T26" fmla="*/ 29642 w 431"/>
                  <a:gd name="T27" fmla="*/ 4081 h 380"/>
                  <a:gd name="T28" fmla="*/ 30699 w 431"/>
                  <a:gd name="T29" fmla="*/ 4843 h 380"/>
                  <a:gd name="T30" fmla="*/ 31942 w 431"/>
                  <a:gd name="T31" fmla="*/ 5546 h 380"/>
                  <a:gd name="T32" fmla="*/ 33736 w 431"/>
                  <a:gd name="T33" fmla="*/ 6407 h 380"/>
                  <a:gd name="T34" fmla="*/ 35122 w 431"/>
                  <a:gd name="T35" fmla="*/ 7063 h 380"/>
                  <a:gd name="T36" fmla="*/ 36543 w 431"/>
                  <a:gd name="T37" fmla="*/ 7426 h 380"/>
                  <a:gd name="T38" fmla="*/ 35613 w 431"/>
                  <a:gd name="T39" fmla="*/ 7426 h 380"/>
                  <a:gd name="T40" fmla="*/ 35686 w 431"/>
                  <a:gd name="T41" fmla="*/ 8073 h 380"/>
                  <a:gd name="T42" fmla="*/ 34051 w 431"/>
                  <a:gd name="T43" fmla="*/ 8506 h 380"/>
                  <a:gd name="T44" fmla="*/ 30890 w 431"/>
                  <a:gd name="T45" fmla="*/ 9477 h 380"/>
                  <a:gd name="T46" fmla="*/ 22530 w 431"/>
                  <a:gd name="T47" fmla="*/ 9346 h 380"/>
                  <a:gd name="T48" fmla="*/ 22530 w 431"/>
                  <a:gd name="T49" fmla="*/ 9114 h 380"/>
                  <a:gd name="T50" fmla="*/ 20255 w 431"/>
                  <a:gd name="T51" fmla="*/ 9346 h 380"/>
                  <a:gd name="T52" fmla="*/ 10880 w 431"/>
                  <a:gd name="T53" fmla="*/ 9346 h 380"/>
                  <a:gd name="T54" fmla="*/ 1496 w 431"/>
                  <a:gd name="T55" fmla="*/ 9346 h 380"/>
                  <a:gd name="T56" fmla="*/ 1496 w 431"/>
                  <a:gd name="T57" fmla="*/ 6813 h 380"/>
                  <a:gd name="T58" fmla="*/ 1496 w 431"/>
                  <a:gd name="T59" fmla="*/ 4081 h 380"/>
                  <a:gd name="T60" fmla="*/ 5 w 431"/>
                  <a:gd name="T61" fmla="*/ 2218 h 380"/>
                  <a:gd name="T62" fmla="*/ 1 w 431"/>
                  <a:gd name="T63" fmla="*/ 1824 h 380"/>
                  <a:gd name="T64" fmla="*/ 3 w 431"/>
                  <a:gd name="T65" fmla="*/ 1399 h 380"/>
                  <a:gd name="T66" fmla="*/ 873 w 431"/>
                  <a:gd name="T67" fmla="*/ 1119 h 380"/>
                  <a:gd name="T68" fmla="*/ 5 w 431"/>
                  <a:gd name="T69" fmla="*/ 360 h 380"/>
                  <a:gd name="T70" fmla="*/ 1069 w 431"/>
                  <a:gd name="T71" fmla="*/ 0 h 380"/>
                  <a:gd name="T72" fmla="*/ 2104 w 431"/>
                  <a:gd name="T73" fmla="*/ 5 h 380"/>
                  <a:gd name="T74" fmla="*/ 5370 w 431"/>
                  <a:gd name="T75" fmla="*/ 3 h 380"/>
                  <a:gd name="T76" fmla="*/ 9200 w 431"/>
                  <a:gd name="T77" fmla="*/ 378 h 380"/>
                  <a:gd name="T78" fmla="*/ 11189 w 431"/>
                  <a:gd name="T79" fmla="*/ 532 h 380"/>
                  <a:gd name="T80" fmla="*/ 13717 w 431"/>
                  <a:gd name="T81" fmla="*/ 679 h 380"/>
                  <a:gd name="T82" fmla="*/ 15915 w 431"/>
                  <a:gd name="T83" fmla="*/ 587 h 380"/>
                  <a:gd name="T84" fmla="*/ 18583 w 431"/>
                  <a:gd name="T85" fmla="*/ 7 h 380"/>
                  <a:gd name="T86" fmla="*/ 20255 w 431"/>
                  <a:gd name="T87" fmla="*/ 5 h 380"/>
                  <a:gd name="T88" fmla="*/ 19252 w 431"/>
                  <a:gd name="T89" fmla="*/ 327 h 380"/>
                  <a:gd name="T90" fmla="*/ 20739 w 431"/>
                  <a:gd name="T91" fmla="*/ 7 h 380"/>
                  <a:gd name="T92" fmla="*/ 21763 w 431"/>
                  <a:gd name="T93" fmla="*/ 7 h 380"/>
                  <a:gd name="T94" fmla="*/ 23832 w 431"/>
                  <a:gd name="T95" fmla="*/ 3 h 380"/>
                  <a:gd name="T96" fmla="*/ 24404 w 431"/>
                  <a:gd name="T97" fmla="*/ 296 h 380"/>
                  <a:gd name="T98" fmla="*/ 25437 w 431"/>
                  <a:gd name="T99" fmla="*/ 417 h 380"/>
                  <a:gd name="T100" fmla="*/ 26833 w 431"/>
                  <a:gd name="T101" fmla="*/ 587 h 380"/>
                  <a:gd name="T102" fmla="*/ 27826 w 431"/>
                  <a:gd name="T103" fmla="*/ 483 h 380"/>
                  <a:gd name="T104" fmla="*/ 30568 w 431"/>
                  <a:gd name="T105" fmla="*/ 438 h 380"/>
                  <a:gd name="T106" fmla="*/ 31193 w 431"/>
                  <a:gd name="T107" fmla="*/ 507 h 38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31"/>
                  <a:gd name="T163" fmla="*/ 0 h 380"/>
                  <a:gd name="T164" fmla="*/ 431 w 431"/>
                  <a:gd name="T165" fmla="*/ 380 h 38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31" h="380">
                    <a:moveTo>
                      <a:pt x="371" y="24"/>
                    </a:moveTo>
                    <a:lnTo>
                      <a:pt x="384" y="60"/>
                    </a:lnTo>
                    <a:lnTo>
                      <a:pt x="396" y="87"/>
                    </a:lnTo>
                    <a:lnTo>
                      <a:pt x="390" y="99"/>
                    </a:lnTo>
                    <a:lnTo>
                      <a:pt x="387" y="113"/>
                    </a:lnTo>
                    <a:lnTo>
                      <a:pt x="381" y="129"/>
                    </a:lnTo>
                    <a:lnTo>
                      <a:pt x="379" y="134"/>
                    </a:lnTo>
                    <a:lnTo>
                      <a:pt x="379" y="139"/>
                    </a:lnTo>
                    <a:lnTo>
                      <a:pt x="379" y="144"/>
                    </a:lnTo>
                    <a:lnTo>
                      <a:pt x="376" y="145"/>
                    </a:lnTo>
                    <a:lnTo>
                      <a:pt x="371" y="147"/>
                    </a:lnTo>
                    <a:lnTo>
                      <a:pt x="365" y="147"/>
                    </a:lnTo>
                    <a:lnTo>
                      <a:pt x="359" y="144"/>
                    </a:lnTo>
                    <a:lnTo>
                      <a:pt x="351" y="134"/>
                    </a:lnTo>
                    <a:lnTo>
                      <a:pt x="343" y="126"/>
                    </a:lnTo>
                    <a:lnTo>
                      <a:pt x="336" y="117"/>
                    </a:lnTo>
                    <a:lnTo>
                      <a:pt x="334" y="114"/>
                    </a:lnTo>
                    <a:lnTo>
                      <a:pt x="333" y="107"/>
                    </a:lnTo>
                    <a:lnTo>
                      <a:pt x="330" y="101"/>
                    </a:lnTo>
                    <a:lnTo>
                      <a:pt x="323" y="92"/>
                    </a:lnTo>
                    <a:lnTo>
                      <a:pt x="320" y="87"/>
                    </a:lnTo>
                    <a:lnTo>
                      <a:pt x="314" y="82"/>
                    </a:lnTo>
                    <a:lnTo>
                      <a:pt x="312" y="69"/>
                    </a:lnTo>
                    <a:lnTo>
                      <a:pt x="310" y="66"/>
                    </a:lnTo>
                    <a:lnTo>
                      <a:pt x="308" y="63"/>
                    </a:lnTo>
                    <a:lnTo>
                      <a:pt x="307" y="62"/>
                    </a:lnTo>
                    <a:lnTo>
                      <a:pt x="304" y="66"/>
                    </a:lnTo>
                    <a:lnTo>
                      <a:pt x="305" y="68"/>
                    </a:lnTo>
                    <a:lnTo>
                      <a:pt x="302" y="71"/>
                    </a:lnTo>
                    <a:lnTo>
                      <a:pt x="301" y="79"/>
                    </a:lnTo>
                    <a:lnTo>
                      <a:pt x="302" y="82"/>
                    </a:lnTo>
                    <a:lnTo>
                      <a:pt x="308" y="87"/>
                    </a:lnTo>
                    <a:lnTo>
                      <a:pt x="310" y="91"/>
                    </a:lnTo>
                    <a:lnTo>
                      <a:pt x="311" y="94"/>
                    </a:lnTo>
                    <a:lnTo>
                      <a:pt x="311" y="101"/>
                    </a:lnTo>
                    <a:lnTo>
                      <a:pt x="312" y="107"/>
                    </a:lnTo>
                    <a:lnTo>
                      <a:pt x="323" y="123"/>
                    </a:lnTo>
                    <a:lnTo>
                      <a:pt x="334" y="136"/>
                    </a:lnTo>
                    <a:lnTo>
                      <a:pt x="341" y="140"/>
                    </a:lnTo>
                    <a:lnTo>
                      <a:pt x="345" y="142"/>
                    </a:lnTo>
                    <a:lnTo>
                      <a:pt x="345" y="157"/>
                    </a:lnTo>
                    <a:lnTo>
                      <a:pt x="349" y="162"/>
                    </a:lnTo>
                    <a:lnTo>
                      <a:pt x="356" y="170"/>
                    </a:lnTo>
                    <a:lnTo>
                      <a:pt x="361" y="186"/>
                    </a:lnTo>
                    <a:lnTo>
                      <a:pt x="362" y="193"/>
                    </a:lnTo>
                    <a:lnTo>
                      <a:pt x="365" y="199"/>
                    </a:lnTo>
                    <a:lnTo>
                      <a:pt x="374" y="212"/>
                    </a:lnTo>
                    <a:lnTo>
                      <a:pt x="377" y="222"/>
                    </a:lnTo>
                    <a:lnTo>
                      <a:pt x="384" y="231"/>
                    </a:lnTo>
                    <a:lnTo>
                      <a:pt x="393" y="249"/>
                    </a:lnTo>
                    <a:lnTo>
                      <a:pt x="397" y="256"/>
                    </a:lnTo>
                    <a:lnTo>
                      <a:pt x="400" y="259"/>
                    </a:lnTo>
                    <a:lnTo>
                      <a:pt x="409" y="275"/>
                    </a:lnTo>
                    <a:lnTo>
                      <a:pt x="414" y="282"/>
                    </a:lnTo>
                    <a:lnTo>
                      <a:pt x="425" y="291"/>
                    </a:lnTo>
                    <a:lnTo>
                      <a:pt x="427" y="292"/>
                    </a:lnTo>
                    <a:lnTo>
                      <a:pt x="431" y="297"/>
                    </a:lnTo>
                    <a:lnTo>
                      <a:pt x="431" y="298"/>
                    </a:lnTo>
                    <a:lnTo>
                      <a:pt x="422" y="295"/>
                    </a:lnTo>
                    <a:lnTo>
                      <a:pt x="420" y="297"/>
                    </a:lnTo>
                    <a:lnTo>
                      <a:pt x="420" y="298"/>
                    </a:lnTo>
                    <a:lnTo>
                      <a:pt x="420" y="304"/>
                    </a:lnTo>
                    <a:lnTo>
                      <a:pt x="422" y="320"/>
                    </a:lnTo>
                    <a:lnTo>
                      <a:pt x="424" y="328"/>
                    </a:lnTo>
                    <a:lnTo>
                      <a:pt x="409" y="342"/>
                    </a:lnTo>
                    <a:lnTo>
                      <a:pt x="400" y="338"/>
                    </a:lnTo>
                    <a:lnTo>
                      <a:pt x="391" y="358"/>
                    </a:lnTo>
                    <a:lnTo>
                      <a:pt x="371" y="363"/>
                    </a:lnTo>
                    <a:lnTo>
                      <a:pt x="365" y="379"/>
                    </a:lnTo>
                    <a:lnTo>
                      <a:pt x="346" y="380"/>
                    </a:lnTo>
                    <a:lnTo>
                      <a:pt x="333" y="371"/>
                    </a:lnTo>
                    <a:lnTo>
                      <a:pt x="265" y="371"/>
                    </a:lnTo>
                    <a:lnTo>
                      <a:pt x="269" y="363"/>
                    </a:lnTo>
                    <a:lnTo>
                      <a:pt x="266" y="364"/>
                    </a:lnTo>
                    <a:lnTo>
                      <a:pt x="265" y="363"/>
                    </a:lnTo>
                    <a:lnTo>
                      <a:pt x="263" y="363"/>
                    </a:lnTo>
                    <a:lnTo>
                      <a:pt x="257" y="371"/>
                    </a:lnTo>
                    <a:lnTo>
                      <a:pt x="238" y="371"/>
                    </a:lnTo>
                    <a:lnTo>
                      <a:pt x="200" y="371"/>
                    </a:lnTo>
                    <a:lnTo>
                      <a:pt x="164" y="371"/>
                    </a:lnTo>
                    <a:lnTo>
                      <a:pt x="128" y="371"/>
                    </a:lnTo>
                    <a:lnTo>
                      <a:pt x="91" y="371"/>
                    </a:lnTo>
                    <a:lnTo>
                      <a:pt x="55" y="371"/>
                    </a:lnTo>
                    <a:lnTo>
                      <a:pt x="18" y="371"/>
                    </a:lnTo>
                    <a:lnTo>
                      <a:pt x="18" y="346"/>
                    </a:lnTo>
                    <a:lnTo>
                      <a:pt x="18" y="310"/>
                    </a:lnTo>
                    <a:lnTo>
                      <a:pt x="18" y="272"/>
                    </a:lnTo>
                    <a:lnTo>
                      <a:pt x="18" y="236"/>
                    </a:lnTo>
                    <a:lnTo>
                      <a:pt x="18" y="199"/>
                    </a:lnTo>
                    <a:lnTo>
                      <a:pt x="18" y="162"/>
                    </a:lnTo>
                    <a:lnTo>
                      <a:pt x="18" y="126"/>
                    </a:lnTo>
                    <a:lnTo>
                      <a:pt x="18" y="99"/>
                    </a:lnTo>
                    <a:lnTo>
                      <a:pt x="5" y="88"/>
                    </a:lnTo>
                    <a:lnTo>
                      <a:pt x="7" y="81"/>
                    </a:lnTo>
                    <a:lnTo>
                      <a:pt x="7" y="78"/>
                    </a:lnTo>
                    <a:lnTo>
                      <a:pt x="1" y="72"/>
                    </a:lnTo>
                    <a:lnTo>
                      <a:pt x="0" y="60"/>
                    </a:lnTo>
                    <a:lnTo>
                      <a:pt x="0" y="58"/>
                    </a:lnTo>
                    <a:lnTo>
                      <a:pt x="3" y="55"/>
                    </a:lnTo>
                    <a:lnTo>
                      <a:pt x="8" y="51"/>
                    </a:lnTo>
                    <a:lnTo>
                      <a:pt x="10" y="51"/>
                    </a:lnTo>
                    <a:lnTo>
                      <a:pt x="10" y="45"/>
                    </a:lnTo>
                    <a:lnTo>
                      <a:pt x="8" y="35"/>
                    </a:lnTo>
                    <a:lnTo>
                      <a:pt x="7" y="18"/>
                    </a:lnTo>
                    <a:lnTo>
                      <a:pt x="5" y="14"/>
                    </a:lnTo>
                    <a:lnTo>
                      <a:pt x="5" y="12"/>
                    </a:lnTo>
                    <a:lnTo>
                      <a:pt x="11" y="7"/>
                    </a:lnTo>
                    <a:lnTo>
                      <a:pt x="13" y="0"/>
                    </a:lnTo>
                    <a:lnTo>
                      <a:pt x="18" y="0"/>
                    </a:lnTo>
                    <a:lnTo>
                      <a:pt x="20" y="3"/>
                    </a:lnTo>
                    <a:lnTo>
                      <a:pt x="25" y="5"/>
                    </a:lnTo>
                    <a:lnTo>
                      <a:pt x="39" y="2"/>
                    </a:lnTo>
                    <a:lnTo>
                      <a:pt x="48" y="2"/>
                    </a:lnTo>
                    <a:lnTo>
                      <a:pt x="63" y="3"/>
                    </a:lnTo>
                    <a:lnTo>
                      <a:pt x="87" y="7"/>
                    </a:lnTo>
                    <a:lnTo>
                      <a:pt x="100" y="11"/>
                    </a:lnTo>
                    <a:lnTo>
                      <a:pt x="108" y="15"/>
                    </a:lnTo>
                    <a:lnTo>
                      <a:pt x="120" y="17"/>
                    </a:lnTo>
                    <a:lnTo>
                      <a:pt x="125" y="19"/>
                    </a:lnTo>
                    <a:lnTo>
                      <a:pt x="131" y="22"/>
                    </a:lnTo>
                    <a:lnTo>
                      <a:pt x="142" y="22"/>
                    </a:lnTo>
                    <a:lnTo>
                      <a:pt x="151" y="24"/>
                    </a:lnTo>
                    <a:lnTo>
                      <a:pt x="161" y="27"/>
                    </a:lnTo>
                    <a:lnTo>
                      <a:pt x="169" y="31"/>
                    </a:lnTo>
                    <a:lnTo>
                      <a:pt x="179" y="30"/>
                    </a:lnTo>
                    <a:lnTo>
                      <a:pt x="189" y="24"/>
                    </a:lnTo>
                    <a:lnTo>
                      <a:pt x="200" y="17"/>
                    </a:lnTo>
                    <a:lnTo>
                      <a:pt x="212" y="12"/>
                    </a:lnTo>
                    <a:lnTo>
                      <a:pt x="219" y="7"/>
                    </a:lnTo>
                    <a:lnTo>
                      <a:pt x="228" y="7"/>
                    </a:lnTo>
                    <a:lnTo>
                      <a:pt x="235" y="5"/>
                    </a:lnTo>
                    <a:lnTo>
                      <a:pt x="238" y="5"/>
                    </a:lnTo>
                    <a:lnTo>
                      <a:pt x="237" y="7"/>
                    </a:lnTo>
                    <a:lnTo>
                      <a:pt x="228" y="10"/>
                    </a:lnTo>
                    <a:lnTo>
                      <a:pt x="227" y="12"/>
                    </a:lnTo>
                    <a:lnTo>
                      <a:pt x="228" y="12"/>
                    </a:lnTo>
                    <a:lnTo>
                      <a:pt x="242" y="10"/>
                    </a:lnTo>
                    <a:lnTo>
                      <a:pt x="245" y="7"/>
                    </a:lnTo>
                    <a:lnTo>
                      <a:pt x="248" y="3"/>
                    </a:lnTo>
                    <a:lnTo>
                      <a:pt x="254" y="7"/>
                    </a:lnTo>
                    <a:lnTo>
                      <a:pt x="256" y="7"/>
                    </a:lnTo>
                    <a:lnTo>
                      <a:pt x="273" y="7"/>
                    </a:lnTo>
                    <a:lnTo>
                      <a:pt x="275" y="7"/>
                    </a:lnTo>
                    <a:lnTo>
                      <a:pt x="282" y="3"/>
                    </a:lnTo>
                    <a:lnTo>
                      <a:pt x="283" y="5"/>
                    </a:lnTo>
                    <a:lnTo>
                      <a:pt x="285" y="9"/>
                    </a:lnTo>
                    <a:lnTo>
                      <a:pt x="288" y="10"/>
                    </a:lnTo>
                    <a:lnTo>
                      <a:pt x="290" y="12"/>
                    </a:lnTo>
                    <a:lnTo>
                      <a:pt x="293" y="14"/>
                    </a:lnTo>
                    <a:lnTo>
                      <a:pt x="300" y="17"/>
                    </a:lnTo>
                    <a:lnTo>
                      <a:pt x="303" y="21"/>
                    </a:lnTo>
                    <a:lnTo>
                      <a:pt x="307" y="24"/>
                    </a:lnTo>
                    <a:lnTo>
                      <a:pt x="316" y="24"/>
                    </a:lnTo>
                    <a:lnTo>
                      <a:pt x="321" y="24"/>
                    </a:lnTo>
                    <a:lnTo>
                      <a:pt x="323" y="21"/>
                    </a:lnTo>
                    <a:lnTo>
                      <a:pt x="327" y="20"/>
                    </a:lnTo>
                    <a:lnTo>
                      <a:pt x="329" y="24"/>
                    </a:lnTo>
                    <a:lnTo>
                      <a:pt x="346" y="22"/>
                    </a:lnTo>
                    <a:lnTo>
                      <a:pt x="359" y="18"/>
                    </a:lnTo>
                    <a:lnTo>
                      <a:pt x="367" y="12"/>
                    </a:lnTo>
                    <a:lnTo>
                      <a:pt x="368" y="18"/>
                    </a:lnTo>
                    <a:lnTo>
                      <a:pt x="369" y="21"/>
                    </a:lnTo>
                    <a:lnTo>
                      <a:pt x="371" y="24"/>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18" name="Freeform 104"/>
              <p:cNvSpPr>
                <a:spLocks/>
              </p:cNvSpPr>
              <p:nvPr/>
            </p:nvSpPr>
            <p:spPr bwMode="auto">
              <a:xfrm>
                <a:off x="2186" y="1586"/>
                <a:ext cx="686" cy="790"/>
              </a:xfrm>
              <a:custGeom>
                <a:avLst/>
                <a:gdLst>
                  <a:gd name="T0" fmla="*/ 47203 w 641"/>
                  <a:gd name="T1" fmla="*/ 330 h 752"/>
                  <a:gd name="T2" fmla="*/ 50137 w 641"/>
                  <a:gd name="T3" fmla="*/ 803 h 752"/>
                  <a:gd name="T4" fmla="*/ 51789 w 641"/>
                  <a:gd name="T5" fmla="*/ 1856 h 752"/>
                  <a:gd name="T6" fmla="*/ 51941 w 641"/>
                  <a:gd name="T7" fmla="*/ 3237 h 752"/>
                  <a:gd name="T8" fmla="*/ 53433 w 641"/>
                  <a:gd name="T9" fmla="*/ 4368 h 752"/>
                  <a:gd name="T10" fmla="*/ 55390 w 641"/>
                  <a:gd name="T11" fmla="*/ 4821 h 752"/>
                  <a:gd name="T12" fmla="*/ 56468 w 641"/>
                  <a:gd name="T13" fmla="*/ 5046 h 752"/>
                  <a:gd name="T14" fmla="*/ 54501 w 641"/>
                  <a:gd name="T15" fmla="*/ 5590 h 752"/>
                  <a:gd name="T16" fmla="*/ 51577 w 641"/>
                  <a:gd name="T17" fmla="*/ 5982 h 752"/>
                  <a:gd name="T18" fmla="*/ 50676 w 641"/>
                  <a:gd name="T19" fmla="*/ 7008 h 752"/>
                  <a:gd name="T20" fmla="*/ 49485 w 641"/>
                  <a:gd name="T21" fmla="*/ 8536 h 752"/>
                  <a:gd name="T22" fmla="*/ 48194 w 641"/>
                  <a:gd name="T23" fmla="*/ 10249 h 752"/>
                  <a:gd name="T24" fmla="*/ 44726 w 641"/>
                  <a:gd name="T25" fmla="*/ 11639 h 752"/>
                  <a:gd name="T26" fmla="*/ 42810 w 641"/>
                  <a:gd name="T27" fmla="*/ 12239 h 752"/>
                  <a:gd name="T28" fmla="*/ 42065 w 641"/>
                  <a:gd name="T29" fmla="*/ 12758 h 752"/>
                  <a:gd name="T30" fmla="*/ 41792 w 641"/>
                  <a:gd name="T31" fmla="*/ 14206 h 752"/>
                  <a:gd name="T32" fmla="*/ 39089 w 641"/>
                  <a:gd name="T33" fmla="*/ 14587 h 752"/>
                  <a:gd name="T34" fmla="*/ 37977 w 641"/>
                  <a:gd name="T35" fmla="*/ 15199 h 752"/>
                  <a:gd name="T36" fmla="*/ 39595 w 641"/>
                  <a:gd name="T37" fmla="*/ 15324 h 752"/>
                  <a:gd name="T38" fmla="*/ 41344 w 641"/>
                  <a:gd name="T39" fmla="*/ 15871 h 752"/>
                  <a:gd name="T40" fmla="*/ 43919 w 641"/>
                  <a:gd name="T41" fmla="*/ 16505 h 752"/>
                  <a:gd name="T42" fmla="*/ 45815 w 641"/>
                  <a:gd name="T43" fmla="*/ 17532 h 752"/>
                  <a:gd name="T44" fmla="*/ 47589 w 641"/>
                  <a:gd name="T45" fmla="*/ 18079 h 752"/>
                  <a:gd name="T46" fmla="*/ 43638 w 641"/>
                  <a:gd name="T47" fmla="*/ 18512 h 752"/>
                  <a:gd name="T48" fmla="*/ 41111 w 641"/>
                  <a:gd name="T49" fmla="*/ 18945 h 752"/>
                  <a:gd name="T50" fmla="*/ 37378 w 641"/>
                  <a:gd name="T51" fmla="*/ 19320 h 752"/>
                  <a:gd name="T52" fmla="*/ 34129 w 641"/>
                  <a:gd name="T53" fmla="*/ 19335 h 752"/>
                  <a:gd name="T54" fmla="*/ 31339 w 641"/>
                  <a:gd name="T55" fmla="*/ 19342 h 752"/>
                  <a:gd name="T56" fmla="*/ 29594 w 641"/>
                  <a:gd name="T57" fmla="*/ 19102 h 752"/>
                  <a:gd name="T58" fmla="*/ 25632 w 641"/>
                  <a:gd name="T59" fmla="*/ 18588 h 752"/>
                  <a:gd name="T60" fmla="*/ 22561 w 641"/>
                  <a:gd name="T61" fmla="*/ 18730 h 752"/>
                  <a:gd name="T62" fmla="*/ 19752 w 641"/>
                  <a:gd name="T63" fmla="*/ 18079 h 752"/>
                  <a:gd name="T64" fmla="*/ 18456 w 641"/>
                  <a:gd name="T65" fmla="*/ 17369 h 752"/>
                  <a:gd name="T66" fmla="*/ 15453 w 641"/>
                  <a:gd name="T67" fmla="*/ 16604 h 752"/>
                  <a:gd name="T68" fmla="*/ 13725 w 641"/>
                  <a:gd name="T69" fmla="*/ 15967 h 752"/>
                  <a:gd name="T70" fmla="*/ 11355 w 641"/>
                  <a:gd name="T71" fmla="*/ 15108 h 752"/>
                  <a:gd name="T72" fmla="*/ 8656 w 641"/>
                  <a:gd name="T73" fmla="*/ 14791 h 752"/>
                  <a:gd name="T74" fmla="*/ 6165 w 641"/>
                  <a:gd name="T75" fmla="*/ 14373 h 752"/>
                  <a:gd name="T76" fmla="*/ 5906 w 641"/>
                  <a:gd name="T77" fmla="*/ 13323 h 752"/>
                  <a:gd name="T78" fmla="*/ 2801 w 641"/>
                  <a:gd name="T79" fmla="*/ 12053 h 752"/>
                  <a:gd name="T80" fmla="*/ 2998 w 641"/>
                  <a:gd name="T81" fmla="*/ 11560 h 752"/>
                  <a:gd name="T82" fmla="*/ 1421 w 641"/>
                  <a:gd name="T83" fmla="*/ 10570 h 752"/>
                  <a:gd name="T84" fmla="*/ 0 w 641"/>
                  <a:gd name="T85" fmla="*/ 10367 h 752"/>
                  <a:gd name="T86" fmla="*/ 773 w 641"/>
                  <a:gd name="T87" fmla="*/ 9654 h 752"/>
                  <a:gd name="T88" fmla="*/ 1241 w 641"/>
                  <a:gd name="T89" fmla="*/ 9096 h 752"/>
                  <a:gd name="T90" fmla="*/ 1421 w 641"/>
                  <a:gd name="T91" fmla="*/ 8554 h 752"/>
                  <a:gd name="T92" fmla="*/ 3474 w 641"/>
                  <a:gd name="T93" fmla="*/ 7576 h 752"/>
                  <a:gd name="T94" fmla="*/ 4877 w 641"/>
                  <a:gd name="T95" fmla="*/ 7286 h 752"/>
                  <a:gd name="T96" fmla="*/ 7327 w 641"/>
                  <a:gd name="T97" fmla="*/ 5477 h 752"/>
                  <a:gd name="T98" fmla="*/ 10697 w 641"/>
                  <a:gd name="T99" fmla="*/ 2993 h 752"/>
                  <a:gd name="T100" fmla="*/ 17199 w 641"/>
                  <a:gd name="T101" fmla="*/ 1080 h 752"/>
                  <a:gd name="T102" fmla="*/ 29981 w 641"/>
                  <a:gd name="T103" fmla="*/ 1080 h 752"/>
                  <a:gd name="T104" fmla="*/ 32595 w 641"/>
                  <a:gd name="T105" fmla="*/ 928 h 752"/>
                  <a:gd name="T106" fmla="*/ 39595 w 641"/>
                  <a:gd name="T107" fmla="*/ 1360 h 752"/>
                  <a:gd name="T108" fmla="*/ 44246 w 641"/>
                  <a:gd name="T109" fmla="*/ 299 h 7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41"/>
                  <a:gd name="T166" fmla="*/ 0 h 752"/>
                  <a:gd name="T167" fmla="*/ 641 w 641"/>
                  <a:gd name="T168" fmla="*/ 752 h 75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41" h="752">
                    <a:moveTo>
                      <a:pt x="503" y="10"/>
                    </a:moveTo>
                    <a:lnTo>
                      <a:pt x="513" y="13"/>
                    </a:lnTo>
                    <a:lnTo>
                      <a:pt x="528" y="0"/>
                    </a:lnTo>
                    <a:lnTo>
                      <a:pt x="537" y="12"/>
                    </a:lnTo>
                    <a:lnTo>
                      <a:pt x="547" y="15"/>
                    </a:lnTo>
                    <a:lnTo>
                      <a:pt x="555" y="20"/>
                    </a:lnTo>
                    <a:lnTo>
                      <a:pt x="563" y="29"/>
                    </a:lnTo>
                    <a:lnTo>
                      <a:pt x="569" y="31"/>
                    </a:lnTo>
                    <a:lnTo>
                      <a:pt x="576" y="43"/>
                    </a:lnTo>
                    <a:lnTo>
                      <a:pt x="578" y="53"/>
                    </a:lnTo>
                    <a:lnTo>
                      <a:pt x="579" y="61"/>
                    </a:lnTo>
                    <a:lnTo>
                      <a:pt x="589" y="72"/>
                    </a:lnTo>
                    <a:lnTo>
                      <a:pt x="592" y="77"/>
                    </a:lnTo>
                    <a:lnTo>
                      <a:pt x="589" y="77"/>
                    </a:lnTo>
                    <a:lnTo>
                      <a:pt x="591" y="103"/>
                    </a:lnTo>
                    <a:lnTo>
                      <a:pt x="591" y="125"/>
                    </a:lnTo>
                    <a:lnTo>
                      <a:pt x="593" y="141"/>
                    </a:lnTo>
                    <a:lnTo>
                      <a:pt x="598" y="161"/>
                    </a:lnTo>
                    <a:lnTo>
                      <a:pt x="601" y="166"/>
                    </a:lnTo>
                    <a:lnTo>
                      <a:pt x="606" y="169"/>
                    </a:lnTo>
                    <a:lnTo>
                      <a:pt x="616" y="173"/>
                    </a:lnTo>
                    <a:lnTo>
                      <a:pt x="620" y="175"/>
                    </a:lnTo>
                    <a:lnTo>
                      <a:pt x="625" y="178"/>
                    </a:lnTo>
                    <a:lnTo>
                      <a:pt x="629" y="187"/>
                    </a:lnTo>
                    <a:lnTo>
                      <a:pt x="632" y="185"/>
                    </a:lnTo>
                    <a:lnTo>
                      <a:pt x="634" y="187"/>
                    </a:lnTo>
                    <a:lnTo>
                      <a:pt x="637" y="187"/>
                    </a:lnTo>
                    <a:lnTo>
                      <a:pt x="641" y="194"/>
                    </a:lnTo>
                    <a:lnTo>
                      <a:pt x="639" y="201"/>
                    </a:lnTo>
                    <a:lnTo>
                      <a:pt x="633" y="210"/>
                    </a:lnTo>
                    <a:lnTo>
                      <a:pt x="624" y="214"/>
                    </a:lnTo>
                    <a:lnTo>
                      <a:pt x="618" y="216"/>
                    </a:lnTo>
                    <a:lnTo>
                      <a:pt x="604" y="222"/>
                    </a:lnTo>
                    <a:lnTo>
                      <a:pt x="599" y="227"/>
                    </a:lnTo>
                    <a:lnTo>
                      <a:pt x="594" y="230"/>
                    </a:lnTo>
                    <a:lnTo>
                      <a:pt x="585" y="232"/>
                    </a:lnTo>
                    <a:lnTo>
                      <a:pt x="582" y="237"/>
                    </a:lnTo>
                    <a:lnTo>
                      <a:pt x="579" y="252"/>
                    </a:lnTo>
                    <a:lnTo>
                      <a:pt x="579" y="257"/>
                    </a:lnTo>
                    <a:lnTo>
                      <a:pt x="576" y="271"/>
                    </a:lnTo>
                    <a:lnTo>
                      <a:pt x="570" y="294"/>
                    </a:lnTo>
                    <a:lnTo>
                      <a:pt x="566" y="305"/>
                    </a:lnTo>
                    <a:lnTo>
                      <a:pt x="563" y="315"/>
                    </a:lnTo>
                    <a:lnTo>
                      <a:pt x="563" y="330"/>
                    </a:lnTo>
                    <a:lnTo>
                      <a:pt x="565" y="340"/>
                    </a:lnTo>
                    <a:lnTo>
                      <a:pt x="565" y="352"/>
                    </a:lnTo>
                    <a:lnTo>
                      <a:pt x="553" y="391"/>
                    </a:lnTo>
                    <a:lnTo>
                      <a:pt x="547" y="396"/>
                    </a:lnTo>
                    <a:lnTo>
                      <a:pt x="541" y="398"/>
                    </a:lnTo>
                    <a:lnTo>
                      <a:pt x="534" y="405"/>
                    </a:lnTo>
                    <a:lnTo>
                      <a:pt x="510" y="439"/>
                    </a:lnTo>
                    <a:lnTo>
                      <a:pt x="507" y="449"/>
                    </a:lnTo>
                    <a:lnTo>
                      <a:pt x="502" y="466"/>
                    </a:lnTo>
                    <a:lnTo>
                      <a:pt x="500" y="470"/>
                    </a:lnTo>
                    <a:lnTo>
                      <a:pt x="492" y="470"/>
                    </a:lnTo>
                    <a:lnTo>
                      <a:pt x="486" y="473"/>
                    </a:lnTo>
                    <a:lnTo>
                      <a:pt x="482" y="482"/>
                    </a:lnTo>
                    <a:lnTo>
                      <a:pt x="480" y="487"/>
                    </a:lnTo>
                    <a:lnTo>
                      <a:pt x="477" y="485"/>
                    </a:lnTo>
                    <a:lnTo>
                      <a:pt x="477" y="493"/>
                    </a:lnTo>
                    <a:lnTo>
                      <a:pt x="479" y="498"/>
                    </a:lnTo>
                    <a:lnTo>
                      <a:pt x="477" y="506"/>
                    </a:lnTo>
                    <a:lnTo>
                      <a:pt x="474" y="516"/>
                    </a:lnTo>
                    <a:lnTo>
                      <a:pt x="474" y="549"/>
                    </a:lnTo>
                    <a:lnTo>
                      <a:pt x="473" y="559"/>
                    </a:lnTo>
                    <a:lnTo>
                      <a:pt x="469" y="563"/>
                    </a:lnTo>
                    <a:lnTo>
                      <a:pt x="460" y="566"/>
                    </a:lnTo>
                    <a:lnTo>
                      <a:pt x="444" y="564"/>
                    </a:lnTo>
                    <a:lnTo>
                      <a:pt x="437" y="566"/>
                    </a:lnTo>
                    <a:lnTo>
                      <a:pt x="437" y="578"/>
                    </a:lnTo>
                    <a:lnTo>
                      <a:pt x="432" y="581"/>
                    </a:lnTo>
                    <a:lnTo>
                      <a:pt x="431" y="586"/>
                    </a:lnTo>
                    <a:lnTo>
                      <a:pt x="434" y="590"/>
                    </a:lnTo>
                    <a:lnTo>
                      <a:pt x="438" y="590"/>
                    </a:lnTo>
                    <a:lnTo>
                      <a:pt x="444" y="593"/>
                    </a:lnTo>
                    <a:lnTo>
                      <a:pt x="450" y="593"/>
                    </a:lnTo>
                    <a:lnTo>
                      <a:pt x="458" y="595"/>
                    </a:lnTo>
                    <a:lnTo>
                      <a:pt x="464" y="598"/>
                    </a:lnTo>
                    <a:lnTo>
                      <a:pt x="469" y="605"/>
                    </a:lnTo>
                    <a:lnTo>
                      <a:pt x="470" y="612"/>
                    </a:lnTo>
                    <a:lnTo>
                      <a:pt x="475" y="619"/>
                    </a:lnTo>
                    <a:lnTo>
                      <a:pt x="480" y="623"/>
                    </a:lnTo>
                    <a:lnTo>
                      <a:pt x="496" y="634"/>
                    </a:lnTo>
                    <a:lnTo>
                      <a:pt x="499" y="639"/>
                    </a:lnTo>
                    <a:lnTo>
                      <a:pt x="502" y="650"/>
                    </a:lnTo>
                    <a:lnTo>
                      <a:pt x="510" y="669"/>
                    </a:lnTo>
                    <a:lnTo>
                      <a:pt x="513" y="675"/>
                    </a:lnTo>
                    <a:lnTo>
                      <a:pt x="520" y="679"/>
                    </a:lnTo>
                    <a:lnTo>
                      <a:pt x="536" y="682"/>
                    </a:lnTo>
                    <a:lnTo>
                      <a:pt x="540" y="685"/>
                    </a:lnTo>
                    <a:lnTo>
                      <a:pt x="541" y="691"/>
                    </a:lnTo>
                    <a:lnTo>
                      <a:pt x="540" y="698"/>
                    </a:lnTo>
                    <a:lnTo>
                      <a:pt x="539" y="714"/>
                    </a:lnTo>
                    <a:lnTo>
                      <a:pt x="525" y="715"/>
                    </a:lnTo>
                    <a:lnTo>
                      <a:pt x="515" y="715"/>
                    </a:lnTo>
                    <a:lnTo>
                      <a:pt x="495" y="714"/>
                    </a:lnTo>
                    <a:lnTo>
                      <a:pt x="486" y="714"/>
                    </a:lnTo>
                    <a:lnTo>
                      <a:pt x="479" y="718"/>
                    </a:lnTo>
                    <a:lnTo>
                      <a:pt x="467" y="733"/>
                    </a:lnTo>
                    <a:lnTo>
                      <a:pt x="467" y="731"/>
                    </a:lnTo>
                    <a:lnTo>
                      <a:pt x="467" y="733"/>
                    </a:lnTo>
                    <a:lnTo>
                      <a:pt x="448" y="744"/>
                    </a:lnTo>
                    <a:lnTo>
                      <a:pt x="435" y="744"/>
                    </a:lnTo>
                    <a:lnTo>
                      <a:pt x="424" y="744"/>
                    </a:lnTo>
                    <a:lnTo>
                      <a:pt x="414" y="748"/>
                    </a:lnTo>
                    <a:lnTo>
                      <a:pt x="404" y="749"/>
                    </a:lnTo>
                    <a:lnTo>
                      <a:pt x="393" y="752"/>
                    </a:lnTo>
                    <a:lnTo>
                      <a:pt x="388" y="746"/>
                    </a:lnTo>
                    <a:lnTo>
                      <a:pt x="379" y="748"/>
                    </a:lnTo>
                    <a:lnTo>
                      <a:pt x="373" y="748"/>
                    </a:lnTo>
                    <a:lnTo>
                      <a:pt x="365" y="746"/>
                    </a:lnTo>
                    <a:lnTo>
                      <a:pt x="355" y="748"/>
                    </a:lnTo>
                    <a:lnTo>
                      <a:pt x="350" y="751"/>
                    </a:lnTo>
                    <a:lnTo>
                      <a:pt x="346" y="751"/>
                    </a:lnTo>
                    <a:lnTo>
                      <a:pt x="341" y="748"/>
                    </a:lnTo>
                    <a:lnTo>
                      <a:pt x="335" y="740"/>
                    </a:lnTo>
                    <a:lnTo>
                      <a:pt x="326" y="736"/>
                    </a:lnTo>
                    <a:lnTo>
                      <a:pt x="308" y="717"/>
                    </a:lnTo>
                    <a:lnTo>
                      <a:pt x="301" y="711"/>
                    </a:lnTo>
                    <a:lnTo>
                      <a:pt x="292" y="720"/>
                    </a:lnTo>
                    <a:lnTo>
                      <a:pt x="283" y="721"/>
                    </a:lnTo>
                    <a:lnTo>
                      <a:pt x="265" y="716"/>
                    </a:lnTo>
                    <a:lnTo>
                      <a:pt x="260" y="722"/>
                    </a:lnTo>
                    <a:lnTo>
                      <a:pt x="256" y="724"/>
                    </a:lnTo>
                    <a:lnTo>
                      <a:pt x="240" y="717"/>
                    </a:lnTo>
                    <a:lnTo>
                      <a:pt x="237" y="710"/>
                    </a:lnTo>
                    <a:lnTo>
                      <a:pt x="232" y="705"/>
                    </a:lnTo>
                    <a:lnTo>
                      <a:pt x="224" y="698"/>
                    </a:lnTo>
                    <a:lnTo>
                      <a:pt x="218" y="691"/>
                    </a:lnTo>
                    <a:lnTo>
                      <a:pt x="215" y="685"/>
                    </a:lnTo>
                    <a:lnTo>
                      <a:pt x="214" y="679"/>
                    </a:lnTo>
                    <a:lnTo>
                      <a:pt x="209" y="672"/>
                    </a:lnTo>
                    <a:lnTo>
                      <a:pt x="189" y="658"/>
                    </a:lnTo>
                    <a:lnTo>
                      <a:pt x="182" y="655"/>
                    </a:lnTo>
                    <a:lnTo>
                      <a:pt x="180" y="648"/>
                    </a:lnTo>
                    <a:lnTo>
                      <a:pt x="176" y="641"/>
                    </a:lnTo>
                    <a:lnTo>
                      <a:pt x="174" y="634"/>
                    </a:lnTo>
                    <a:lnTo>
                      <a:pt x="170" y="628"/>
                    </a:lnTo>
                    <a:lnTo>
                      <a:pt x="163" y="623"/>
                    </a:lnTo>
                    <a:lnTo>
                      <a:pt x="156" y="616"/>
                    </a:lnTo>
                    <a:lnTo>
                      <a:pt x="142" y="607"/>
                    </a:lnTo>
                    <a:lnTo>
                      <a:pt x="130" y="598"/>
                    </a:lnTo>
                    <a:lnTo>
                      <a:pt x="126" y="590"/>
                    </a:lnTo>
                    <a:lnTo>
                      <a:pt x="128" y="583"/>
                    </a:lnTo>
                    <a:lnTo>
                      <a:pt x="126" y="580"/>
                    </a:lnTo>
                    <a:lnTo>
                      <a:pt x="120" y="575"/>
                    </a:lnTo>
                    <a:lnTo>
                      <a:pt x="115" y="571"/>
                    </a:lnTo>
                    <a:lnTo>
                      <a:pt x="98" y="571"/>
                    </a:lnTo>
                    <a:lnTo>
                      <a:pt x="90" y="566"/>
                    </a:lnTo>
                    <a:lnTo>
                      <a:pt x="87" y="557"/>
                    </a:lnTo>
                    <a:lnTo>
                      <a:pt x="78" y="555"/>
                    </a:lnTo>
                    <a:lnTo>
                      <a:pt x="70" y="554"/>
                    </a:lnTo>
                    <a:lnTo>
                      <a:pt x="63" y="547"/>
                    </a:lnTo>
                    <a:lnTo>
                      <a:pt x="60" y="537"/>
                    </a:lnTo>
                    <a:lnTo>
                      <a:pt x="63" y="525"/>
                    </a:lnTo>
                    <a:lnTo>
                      <a:pt x="67" y="514"/>
                    </a:lnTo>
                    <a:lnTo>
                      <a:pt x="63" y="503"/>
                    </a:lnTo>
                    <a:lnTo>
                      <a:pt x="51" y="487"/>
                    </a:lnTo>
                    <a:lnTo>
                      <a:pt x="40" y="475"/>
                    </a:lnTo>
                    <a:lnTo>
                      <a:pt x="32" y="465"/>
                    </a:lnTo>
                    <a:lnTo>
                      <a:pt x="39" y="461"/>
                    </a:lnTo>
                    <a:lnTo>
                      <a:pt x="37" y="456"/>
                    </a:lnTo>
                    <a:lnTo>
                      <a:pt x="36" y="450"/>
                    </a:lnTo>
                    <a:lnTo>
                      <a:pt x="34" y="446"/>
                    </a:lnTo>
                    <a:lnTo>
                      <a:pt x="29" y="444"/>
                    </a:lnTo>
                    <a:lnTo>
                      <a:pt x="29" y="443"/>
                    </a:lnTo>
                    <a:lnTo>
                      <a:pt x="20" y="419"/>
                    </a:lnTo>
                    <a:lnTo>
                      <a:pt x="17" y="408"/>
                    </a:lnTo>
                    <a:lnTo>
                      <a:pt x="19" y="398"/>
                    </a:lnTo>
                    <a:lnTo>
                      <a:pt x="7" y="399"/>
                    </a:lnTo>
                    <a:lnTo>
                      <a:pt x="3" y="401"/>
                    </a:lnTo>
                    <a:lnTo>
                      <a:pt x="0" y="401"/>
                    </a:lnTo>
                    <a:lnTo>
                      <a:pt x="0" y="389"/>
                    </a:lnTo>
                    <a:lnTo>
                      <a:pt x="1" y="386"/>
                    </a:lnTo>
                    <a:lnTo>
                      <a:pt x="5" y="379"/>
                    </a:lnTo>
                    <a:lnTo>
                      <a:pt x="8" y="372"/>
                    </a:lnTo>
                    <a:lnTo>
                      <a:pt x="8" y="363"/>
                    </a:lnTo>
                    <a:lnTo>
                      <a:pt x="8" y="355"/>
                    </a:lnTo>
                    <a:lnTo>
                      <a:pt x="10" y="353"/>
                    </a:lnTo>
                    <a:lnTo>
                      <a:pt x="15" y="349"/>
                    </a:lnTo>
                    <a:lnTo>
                      <a:pt x="17" y="348"/>
                    </a:lnTo>
                    <a:lnTo>
                      <a:pt x="19" y="346"/>
                    </a:lnTo>
                    <a:lnTo>
                      <a:pt x="17" y="339"/>
                    </a:lnTo>
                    <a:lnTo>
                      <a:pt x="17" y="331"/>
                    </a:lnTo>
                    <a:lnTo>
                      <a:pt x="29" y="319"/>
                    </a:lnTo>
                    <a:lnTo>
                      <a:pt x="36" y="307"/>
                    </a:lnTo>
                    <a:lnTo>
                      <a:pt x="40" y="300"/>
                    </a:lnTo>
                    <a:lnTo>
                      <a:pt x="40" y="292"/>
                    </a:lnTo>
                    <a:lnTo>
                      <a:pt x="42" y="286"/>
                    </a:lnTo>
                    <a:lnTo>
                      <a:pt x="43" y="284"/>
                    </a:lnTo>
                    <a:lnTo>
                      <a:pt x="51" y="284"/>
                    </a:lnTo>
                    <a:lnTo>
                      <a:pt x="56" y="283"/>
                    </a:lnTo>
                    <a:lnTo>
                      <a:pt x="78" y="283"/>
                    </a:lnTo>
                    <a:lnTo>
                      <a:pt x="82" y="282"/>
                    </a:lnTo>
                    <a:lnTo>
                      <a:pt x="83" y="248"/>
                    </a:lnTo>
                    <a:lnTo>
                      <a:pt x="83" y="212"/>
                    </a:lnTo>
                    <a:lnTo>
                      <a:pt x="83" y="175"/>
                    </a:lnTo>
                    <a:lnTo>
                      <a:pt x="83" y="138"/>
                    </a:lnTo>
                    <a:lnTo>
                      <a:pt x="83" y="116"/>
                    </a:lnTo>
                    <a:lnTo>
                      <a:pt x="121" y="116"/>
                    </a:lnTo>
                    <a:lnTo>
                      <a:pt x="121" y="77"/>
                    </a:lnTo>
                    <a:lnTo>
                      <a:pt x="121" y="43"/>
                    </a:lnTo>
                    <a:lnTo>
                      <a:pt x="158" y="43"/>
                    </a:lnTo>
                    <a:lnTo>
                      <a:pt x="194" y="43"/>
                    </a:lnTo>
                    <a:lnTo>
                      <a:pt x="231" y="43"/>
                    </a:lnTo>
                    <a:lnTo>
                      <a:pt x="268" y="43"/>
                    </a:lnTo>
                    <a:lnTo>
                      <a:pt x="304" y="43"/>
                    </a:lnTo>
                    <a:lnTo>
                      <a:pt x="341" y="43"/>
                    </a:lnTo>
                    <a:lnTo>
                      <a:pt x="361" y="43"/>
                    </a:lnTo>
                    <a:lnTo>
                      <a:pt x="366" y="34"/>
                    </a:lnTo>
                    <a:lnTo>
                      <a:pt x="368" y="34"/>
                    </a:lnTo>
                    <a:lnTo>
                      <a:pt x="369" y="36"/>
                    </a:lnTo>
                    <a:lnTo>
                      <a:pt x="372" y="34"/>
                    </a:lnTo>
                    <a:lnTo>
                      <a:pt x="368" y="43"/>
                    </a:lnTo>
                    <a:lnTo>
                      <a:pt x="436" y="43"/>
                    </a:lnTo>
                    <a:lnTo>
                      <a:pt x="450" y="52"/>
                    </a:lnTo>
                    <a:lnTo>
                      <a:pt x="469" y="51"/>
                    </a:lnTo>
                    <a:lnTo>
                      <a:pt x="474" y="34"/>
                    </a:lnTo>
                    <a:lnTo>
                      <a:pt x="495" y="29"/>
                    </a:lnTo>
                    <a:lnTo>
                      <a:pt x="503" y="10"/>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9" name="Freeform 105"/>
              <p:cNvSpPr>
                <a:spLocks/>
              </p:cNvSpPr>
              <p:nvPr/>
            </p:nvSpPr>
            <p:spPr bwMode="auto">
              <a:xfrm>
                <a:off x="2186" y="1586"/>
                <a:ext cx="686" cy="790"/>
              </a:xfrm>
              <a:custGeom>
                <a:avLst/>
                <a:gdLst>
                  <a:gd name="T0" fmla="*/ 47203 w 641"/>
                  <a:gd name="T1" fmla="*/ 330 h 752"/>
                  <a:gd name="T2" fmla="*/ 50137 w 641"/>
                  <a:gd name="T3" fmla="*/ 803 h 752"/>
                  <a:gd name="T4" fmla="*/ 51789 w 641"/>
                  <a:gd name="T5" fmla="*/ 1856 h 752"/>
                  <a:gd name="T6" fmla="*/ 51941 w 641"/>
                  <a:gd name="T7" fmla="*/ 3237 h 752"/>
                  <a:gd name="T8" fmla="*/ 53433 w 641"/>
                  <a:gd name="T9" fmla="*/ 4368 h 752"/>
                  <a:gd name="T10" fmla="*/ 55390 w 641"/>
                  <a:gd name="T11" fmla="*/ 4821 h 752"/>
                  <a:gd name="T12" fmla="*/ 56468 w 641"/>
                  <a:gd name="T13" fmla="*/ 5046 h 752"/>
                  <a:gd name="T14" fmla="*/ 54501 w 641"/>
                  <a:gd name="T15" fmla="*/ 5590 h 752"/>
                  <a:gd name="T16" fmla="*/ 51577 w 641"/>
                  <a:gd name="T17" fmla="*/ 5982 h 752"/>
                  <a:gd name="T18" fmla="*/ 50676 w 641"/>
                  <a:gd name="T19" fmla="*/ 7008 h 752"/>
                  <a:gd name="T20" fmla="*/ 49485 w 641"/>
                  <a:gd name="T21" fmla="*/ 8536 h 752"/>
                  <a:gd name="T22" fmla="*/ 48194 w 641"/>
                  <a:gd name="T23" fmla="*/ 10249 h 752"/>
                  <a:gd name="T24" fmla="*/ 44726 w 641"/>
                  <a:gd name="T25" fmla="*/ 11639 h 752"/>
                  <a:gd name="T26" fmla="*/ 42810 w 641"/>
                  <a:gd name="T27" fmla="*/ 12239 h 752"/>
                  <a:gd name="T28" fmla="*/ 42065 w 641"/>
                  <a:gd name="T29" fmla="*/ 12758 h 752"/>
                  <a:gd name="T30" fmla="*/ 41792 w 641"/>
                  <a:gd name="T31" fmla="*/ 14206 h 752"/>
                  <a:gd name="T32" fmla="*/ 39089 w 641"/>
                  <a:gd name="T33" fmla="*/ 14587 h 752"/>
                  <a:gd name="T34" fmla="*/ 37977 w 641"/>
                  <a:gd name="T35" fmla="*/ 15199 h 752"/>
                  <a:gd name="T36" fmla="*/ 39595 w 641"/>
                  <a:gd name="T37" fmla="*/ 15324 h 752"/>
                  <a:gd name="T38" fmla="*/ 41344 w 641"/>
                  <a:gd name="T39" fmla="*/ 15871 h 752"/>
                  <a:gd name="T40" fmla="*/ 43919 w 641"/>
                  <a:gd name="T41" fmla="*/ 16505 h 752"/>
                  <a:gd name="T42" fmla="*/ 45815 w 641"/>
                  <a:gd name="T43" fmla="*/ 17532 h 752"/>
                  <a:gd name="T44" fmla="*/ 47589 w 641"/>
                  <a:gd name="T45" fmla="*/ 18079 h 752"/>
                  <a:gd name="T46" fmla="*/ 43638 w 641"/>
                  <a:gd name="T47" fmla="*/ 18512 h 752"/>
                  <a:gd name="T48" fmla="*/ 41111 w 641"/>
                  <a:gd name="T49" fmla="*/ 18945 h 752"/>
                  <a:gd name="T50" fmla="*/ 37378 w 641"/>
                  <a:gd name="T51" fmla="*/ 19320 h 752"/>
                  <a:gd name="T52" fmla="*/ 34129 w 641"/>
                  <a:gd name="T53" fmla="*/ 19335 h 752"/>
                  <a:gd name="T54" fmla="*/ 31339 w 641"/>
                  <a:gd name="T55" fmla="*/ 19342 h 752"/>
                  <a:gd name="T56" fmla="*/ 29594 w 641"/>
                  <a:gd name="T57" fmla="*/ 19102 h 752"/>
                  <a:gd name="T58" fmla="*/ 25632 w 641"/>
                  <a:gd name="T59" fmla="*/ 18588 h 752"/>
                  <a:gd name="T60" fmla="*/ 22561 w 641"/>
                  <a:gd name="T61" fmla="*/ 18730 h 752"/>
                  <a:gd name="T62" fmla="*/ 19752 w 641"/>
                  <a:gd name="T63" fmla="*/ 18079 h 752"/>
                  <a:gd name="T64" fmla="*/ 18456 w 641"/>
                  <a:gd name="T65" fmla="*/ 17369 h 752"/>
                  <a:gd name="T66" fmla="*/ 15453 w 641"/>
                  <a:gd name="T67" fmla="*/ 16604 h 752"/>
                  <a:gd name="T68" fmla="*/ 13725 w 641"/>
                  <a:gd name="T69" fmla="*/ 15967 h 752"/>
                  <a:gd name="T70" fmla="*/ 11355 w 641"/>
                  <a:gd name="T71" fmla="*/ 15108 h 752"/>
                  <a:gd name="T72" fmla="*/ 8656 w 641"/>
                  <a:gd name="T73" fmla="*/ 14791 h 752"/>
                  <a:gd name="T74" fmla="*/ 6165 w 641"/>
                  <a:gd name="T75" fmla="*/ 14373 h 752"/>
                  <a:gd name="T76" fmla="*/ 5906 w 641"/>
                  <a:gd name="T77" fmla="*/ 13323 h 752"/>
                  <a:gd name="T78" fmla="*/ 2801 w 641"/>
                  <a:gd name="T79" fmla="*/ 12053 h 752"/>
                  <a:gd name="T80" fmla="*/ 2998 w 641"/>
                  <a:gd name="T81" fmla="*/ 11560 h 752"/>
                  <a:gd name="T82" fmla="*/ 1421 w 641"/>
                  <a:gd name="T83" fmla="*/ 10570 h 752"/>
                  <a:gd name="T84" fmla="*/ 0 w 641"/>
                  <a:gd name="T85" fmla="*/ 10367 h 752"/>
                  <a:gd name="T86" fmla="*/ 773 w 641"/>
                  <a:gd name="T87" fmla="*/ 9654 h 752"/>
                  <a:gd name="T88" fmla="*/ 1241 w 641"/>
                  <a:gd name="T89" fmla="*/ 9096 h 752"/>
                  <a:gd name="T90" fmla="*/ 1421 w 641"/>
                  <a:gd name="T91" fmla="*/ 8554 h 752"/>
                  <a:gd name="T92" fmla="*/ 3474 w 641"/>
                  <a:gd name="T93" fmla="*/ 7576 h 752"/>
                  <a:gd name="T94" fmla="*/ 4877 w 641"/>
                  <a:gd name="T95" fmla="*/ 7286 h 752"/>
                  <a:gd name="T96" fmla="*/ 7327 w 641"/>
                  <a:gd name="T97" fmla="*/ 5477 h 752"/>
                  <a:gd name="T98" fmla="*/ 10697 w 641"/>
                  <a:gd name="T99" fmla="*/ 2993 h 752"/>
                  <a:gd name="T100" fmla="*/ 17199 w 641"/>
                  <a:gd name="T101" fmla="*/ 1080 h 752"/>
                  <a:gd name="T102" fmla="*/ 29981 w 641"/>
                  <a:gd name="T103" fmla="*/ 1080 h 752"/>
                  <a:gd name="T104" fmla="*/ 32595 w 641"/>
                  <a:gd name="T105" fmla="*/ 928 h 752"/>
                  <a:gd name="T106" fmla="*/ 39595 w 641"/>
                  <a:gd name="T107" fmla="*/ 1360 h 752"/>
                  <a:gd name="T108" fmla="*/ 44246 w 641"/>
                  <a:gd name="T109" fmla="*/ 299 h 7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41"/>
                  <a:gd name="T166" fmla="*/ 0 h 752"/>
                  <a:gd name="T167" fmla="*/ 641 w 641"/>
                  <a:gd name="T168" fmla="*/ 752 h 75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41" h="752">
                    <a:moveTo>
                      <a:pt x="503" y="10"/>
                    </a:moveTo>
                    <a:lnTo>
                      <a:pt x="513" y="13"/>
                    </a:lnTo>
                    <a:lnTo>
                      <a:pt x="528" y="0"/>
                    </a:lnTo>
                    <a:lnTo>
                      <a:pt x="537" y="12"/>
                    </a:lnTo>
                    <a:lnTo>
                      <a:pt x="547" y="15"/>
                    </a:lnTo>
                    <a:lnTo>
                      <a:pt x="555" y="20"/>
                    </a:lnTo>
                    <a:lnTo>
                      <a:pt x="563" y="29"/>
                    </a:lnTo>
                    <a:lnTo>
                      <a:pt x="569" y="31"/>
                    </a:lnTo>
                    <a:lnTo>
                      <a:pt x="576" y="43"/>
                    </a:lnTo>
                    <a:lnTo>
                      <a:pt x="578" y="53"/>
                    </a:lnTo>
                    <a:lnTo>
                      <a:pt x="579" y="61"/>
                    </a:lnTo>
                    <a:lnTo>
                      <a:pt x="589" y="72"/>
                    </a:lnTo>
                    <a:lnTo>
                      <a:pt x="592" y="77"/>
                    </a:lnTo>
                    <a:lnTo>
                      <a:pt x="589" y="77"/>
                    </a:lnTo>
                    <a:lnTo>
                      <a:pt x="591" y="103"/>
                    </a:lnTo>
                    <a:lnTo>
                      <a:pt x="591" y="125"/>
                    </a:lnTo>
                    <a:lnTo>
                      <a:pt x="593" y="141"/>
                    </a:lnTo>
                    <a:lnTo>
                      <a:pt x="598" y="161"/>
                    </a:lnTo>
                    <a:lnTo>
                      <a:pt x="601" y="166"/>
                    </a:lnTo>
                    <a:lnTo>
                      <a:pt x="606" y="169"/>
                    </a:lnTo>
                    <a:lnTo>
                      <a:pt x="616" y="173"/>
                    </a:lnTo>
                    <a:lnTo>
                      <a:pt x="620" y="175"/>
                    </a:lnTo>
                    <a:lnTo>
                      <a:pt x="625" y="178"/>
                    </a:lnTo>
                    <a:lnTo>
                      <a:pt x="629" y="187"/>
                    </a:lnTo>
                    <a:lnTo>
                      <a:pt x="632" y="185"/>
                    </a:lnTo>
                    <a:lnTo>
                      <a:pt x="634" y="187"/>
                    </a:lnTo>
                    <a:lnTo>
                      <a:pt x="637" y="187"/>
                    </a:lnTo>
                    <a:lnTo>
                      <a:pt x="641" y="194"/>
                    </a:lnTo>
                    <a:lnTo>
                      <a:pt x="639" y="201"/>
                    </a:lnTo>
                    <a:lnTo>
                      <a:pt x="633" y="210"/>
                    </a:lnTo>
                    <a:lnTo>
                      <a:pt x="624" y="214"/>
                    </a:lnTo>
                    <a:lnTo>
                      <a:pt x="618" y="216"/>
                    </a:lnTo>
                    <a:lnTo>
                      <a:pt x="604" y="222"/>
                    </a:lnTo>
                    <a:lnTo>
                      <a:pt x="599" y="227"/>
                    </a:lnTo>
                    <a:lnTo>
                      <a:pt x="594" y="230"/>
                    </a:lnTo>
                    <a:lnTo>
                      <a:pt x="585" y="232"/>
                    </a:lnTo>
                    <a:lnTo>
                      <a:pt x="582" y="237"/>
                    </a:lnTo>
                    <a:lnTo>
                      <a:pt x="579" y="252"/>
                    </a:lnTo>
                    <a:lnTo>
                      <a:pt x="579" y="257"/>
                    </a:lnTo>
                    <a:lnTo>
                      <a:pt x="576" y="271"/>
                    </a:lnTo>
                    <a:lnTo>
                      <a:pt x="570" y="294"/>
                    </a:lnTo>
                    <a:lnTo>
                      <a:pt x="566" y="305"/>
                    </a:lnTo>
                    <a:lnTo>
                      <a:pt x="563" y="315"/>
                    </a:lnTo>
                    <a:lnTo>
                      <a:pt x="563" y="330"/>
                    </a:lnTo>
                    <a:lnTo>
                      <a:pt x="565" y="340"/>
                    </a:lnTo>
                    <a:lnTo>
                      <a:pt x="565" y="352"/>
                    </a:lnTo>
                    <a:lnTo>
                      <a:pt x="553" y="391"/>
                    </a:lnTo>
                    <a:lnTo>
                      <a:pt x="547" y="396"/>
                    </a:lnTo>
                    <a:lnTo>
                      <a:pt x="541" y="398"/>
                    </a:lnTo>
                    <a:lnTo>
                      <a:pt x="534" y="405"/>
                    </a:lnTo>
                    <a:lnTo>
                      <a:pt x="510" y="439"/>
                    </a:lnTo>
                    <a:lnTo>
                      <a:pt x="507" y="449"/>
                    </a:lnTo>
                    <a:lnTo>
                      <a:pt x="502" y="466"/>
                    </a:lnTo>
                    <a:lnTo>
                      <a:pt x="500" y="470"/>
                    </a:lnTo>
                    <a:lnTo>
                      <a:pt x="492" y="470"/>
                    </a:lnTo>
                    <a:lnTo>
                      <a:pt x="486" y="473"/>
                    </a:lnTo>
                    <a:lnTo>
                      <a:pt x="482" y="482"/>
                    </a:lnTo>
                    <a:lnTo>
                      <a:pt x="480" y="487"/>
                    </a:lnTo>
                    <a:lnTo>
                      <a:pt x="477" y="485"/>
                    </a:lnTo>
                    <a:lnTo>
                      <a:pt x="477" y="493"/>
                    </a:lnTo>
                    <a:lnTo>
                      <a:pt x="479" y="498"/>
                    </a:lnTo>
                    <a:lnTo>
                      <a:pt x="477" y="506"/>
                    </a:lnTo>
                    <a:lnTo>
                      <a:pt x="474" y="516"/>
                    </a:lnTo>
                    <a:lnTo>
                      <a:pt x="474" y="549"/>
                    </a:lnTo>
                    <a:lnTo>
                      <a:pt x="473" y="559"/>
                    </a:lnTo>
                    <a:lnTo>
                      <a:pt x="469" y="563"/>
                    </a:lnTo>
                    <a:lnTo>
                      <a:pt x="460" y="566"/>
                    </a:lnTo>
                    <a:lnTo>
                      <a:pt x="444" y="564"/>
                    </a:lnTo>
                    <a:lnTo>
                      <a:pt x="437" y="566"/>
                    </a:lnTo>
                    <a:lnTo>
                      <a:pt x="437" y="578"/>
                    </a:lnTo>
                    <a:lnTo>
                      <a:pt x="432" y="581"/>
                    </a:lnTo>
                    <a:lnTo>
                      <a:pt x="431" y="586"/>
                    </a:lnTo>
                    <a:lnTo>
                      <a:pt x="434" y="590"/>
                    </a:lnTo>
                    <a:lnTo>
                      <a:pt x="438" y="590"/>
                    </a:lnTo>
                    <a:lnTo>
                      <a:pt x="444" y="593"/>
                    </a:lnTo>
                    <a:lnTo>
                      <a:pt x="450" y="593"/>
                    </a:lnTo>
                    <a:lnTo>
                      <a:pt x="458" y="595"/>
                    </a:lnTo>
                    <a:lnTo>
                      <a:pt x="464" y="598"/>
                    </a:lnTo>
                    <a:lnTo>
                      <a:pt x="469" y="605"/>
                    </a:lnTo>
                    <a:lnTo>
                      <a:pt x="470" y="612"/>
                    </a:lnTo>
                    <a:lnTo>
                      <a:pt x="475" y="619"/>
                    </a:lnTo>
                    <a:lnTo>
                      <a:pt x="480" y="623"/>
                    </a:lnTo>
                    <a:lnTo>
                      <a:pt x="496" y="634"/>
                    </a:lnTo>
                    <a:lnTo>
                      <a:pt x="499" y="639"/>
                    </a:lnTo>
                    <a:lnTo>
                      <a:pt x="502" y="650"/>
                    </a:lnTo>
                    <a:lnTo>
                      <a:pt x="510" y="669"/>
                    </a:lnTo>
                    <a:lnTo>
                      <a:pt x="513" y="675"/>
                    </a:lnTo>
                    <a:lnTo>
                      <a:pt x="520" y="679"/>
                    </a:lnTo>
                    <a:lnTo>
                      <a:pt x="536" y="682"/>
                    </a:lnTo>
                    <a:lnTo>
                      <a:pt x="540" y="685"/>
                    </a:lnTo>
                    <a:lnTo>
                      <a:pt x="541" y="691"/>
                    </a:lnTo>
                    <a:lnTo>
                      <a:pt x="540" y="698"/>
                    </a:lnTo>
                    <a:lnTo>
                      <a:pt x="539" y="714"/>
                    </a:lnTo>
                    <a:lnTo>
                      <a:pt x="525" y="715"/>
                    </a:lnTo>
                    <a:lnTo>
                      <a:pt x="515" y="715"/>
                    </a:lnTo>
                    <a:lnTo>
                      <a:pt x="495" y="714"/>
                    </a:lnTo>
                    <a:lnTo>
                      <a:pt x="486" y="714"/>
                    </a:lnTo>
                    <a:lnTo>
                      <a:pt x="479" y="718"/>
                    </a:lnTo>
                    <a:lnTo>
                      <a:pt x="467" y="733"/>
                    </a:lnTo>
                    <a:lnTo>
                      <a:pt x="467" y="731"/>
                    </a:lnTo>
                    <a:lnTo>
                      <a:pt x="467" y="733"/>
                    </a:lnTo>
                    <a:lnTo>
                      <a:pt x="448" y="744"/>
                    </a:lnTo>
                    <a:lnTo>
                      <a:pt x="435" y="744"/>
                    </a:lnTo>
                    <a:lnTo>
                      <a:pt x="424" y="744"/>
                    </a:lnTo>
                    <a:lnTo>
                      <a:pt x="414" y="748"/>
                    </a:lnTo>
                    <a:lnTo>
                      <a:pt x="404" y="749"/>
                    </a:lnTo>
                    <a:lnTo>
                      <a:pt x="393" y="752"/>
                    </a:lnTo>
                    <a:lnTo>
                      <a:pt x="388" y="746"/>
                    </a:lnTo>
                    <a:lnTo>
                      <a:pt x="379" y="748"/>
                    </a:lnTo>
                    <a:lnTo>
                      <a:pt x="373" y="748"/>
                    </a:lnTo>
                    <a:lnTo>
                      <a:pt x="365" y="746"/>
                    </a:lnTo>
                    <a:lnTo>
                      <a:pt x="355" y="748"/>
                    </a:lnTo>
                    <a:lnTo>
                      <a:pt x="350" y="751"/>
                    </a:lnTo>
                    <a:lnTo>
                      <a:pt x="346" y="751"/>
                    </a:lnTo>
                    <a:lnTo>
                      <a:pt x="341" y="748"/>
                    </a:lnTo>
                    <a:lnTo>
                      <a:pt x="335" y="740"/>
                    </a:lnTo>
                    <a:lnTo>
                      <a:pt x="326" y="736"/>
                    </a:lnTo>
                    <a:lnTo>
                      <a:pt x="308" y="717"/>
                    </a:lnTo>
                    <a:lnTo>
                      <a:pt x="301" y="711"/>
                    </a:lnTo>
                    <a:lnTo>
                      <a:pt x="292" y="720"/>
                    </a:lnTo>
                    <a:lnTo>
                      <a:pt x="283" y="721"/>
                    </a:lnTo>
                    <a:lnTo>
                      <a:pt x="265" y="716"/>
                    </a:lnTo>
                    <a:lnTo>
                      <a:pt x="260" y="722"/>
                    </a:lnTo>
                    <a:lnTo>
                      <a:pt x="256" y="724"/>
                    </a:lnTo>
                    <a:lnTo>
                      <a:pt x="240" y="717"/>
                    </a:lnTo>
                    <a:lnTo>
                      <a:pt x="237" y="710"/>
                    </a:lnTo>
                    <a:lnTo>
                      <a:pt x="232" y="705"/>
                    </a:lnTo>
                    <a:lnTo>
                      <a:pt x="224" y="698"/>
                    </a:lnTo>
                    <a:lnTo>
                      <a:pt x="218" y="691"/>
                    </a:lnTo>
                    <a:lnTo>
                      <a:pt x="215" y="685"/>
                    </a:lnTo>
                    <a:lnTo>
                      <a:pt x="214" y="679"/>
                    </a:lnTo>
                    <a:lnTo>
                      <a:pt x="209" y="672"/>
                    </a:lnTo>
                    <a:lnTo>
                      <a:pt x="189" y="658"/>
                    </a:lnTo>
                    <a:lnTo>
                      <a:pt x="182" y="655"/>
                    </a:lnTo>
                    <a:lnTo>
                      <a:pt x="180" y="648"/>
                    </a:lnTo>
                    <a:lnTo>
                      <a:pt x="176" y="641"/>
                    </a:lnTo>
                    <a:lnTo>
                      <a:pt x="174" y="634"/>
                    </a:lnTo>
                    <a:lnTo>
                      <a:pt x="170" y="628"/>
                    </a:lnTo>
                    <a:lnTo>
                      <a:pt x="163" y="623"/>
                    </a:lnTo>
                    <a:lnTo>
                      <a:pt x="156" y="616"/>
                    </a:lnTo>
                    <a:lnTo>
                      <a:pt x="142" y="607"/>
                    </a:lnTo>
                    <a:lnTo>
                      <a:pt x="130" y="598"/>
                    </a:lnTo>
                    <a:lnTo>
                      <a:pt x="126" y="590"/>
                    </a:lnTo>
                    <a:lnTo>
                      <a:pt x="128" y="583"/>
                    </a:lnTo>
                    <a:lnTo>
                      <a:pt x="126" y="580"/>
                    </a:lnTo>
                    <a:lnTo>
                      <a:pt x="120" y="575"/>
                    </a:lnTo>
                    <a:lnTo>
                      <a:pt x="115" y="571"/>
                    </a:lnTo>
                    <a:lnTo>
                      <a:pt x="98" y="571"/>
                    </a:lnTo>
                    <a:lnTo>
                      <a:pt x="90" y="566"/>
                    </a:lnTo>
                    <a:lnTo>
                      <a:pt x="87" y="557"/>
                    </a:lnTo>
                    <a:lnTo>
                      <a:pt x="78" y="555"/>
                    </a:lnTo>
                    <a:lnTo>
                      <a:pt x="70" y="554"/>
                    </a:lnTo>
                    <a:lnTo>
                      <a:pt x="63" y="547"/>
                    </a:lnTo>
                    <a:lnTo>
                      <a:pt x="60" y="537"/>
                    </a:lnTo>
                    <a:lnTo>
                      <a:pt x="63" y="525"/>
                    </a:lnTo>
                    <a:lnTo>
                      <a:pt x="67" y="514"/>
                    </a:lnTo>
                    <a:lnTo>
                      <a:pt x="63" y="503"/>
                    </a:lnTo>
                    <a:lnTo>
                      <a:pt x="51" y="487"/>
                    </a:lnTo>
                    <a:lnTo>
                      <a:pt x="40" y="475"/>
                    </a:lnTo>
                    <a:lnTo>
                      <a:pt x="32" y="465"/>
                    </a:lnTo>
                    <a:lnTo>
                      <a:pt x="39" y="461"/>
                    </a:lnTo>
                    <a:lnTo>
                      <a:pt x="37" y="456"/>
                    </a:lnTo>
                    <a:lnTo>
                      <a:pt x="36" y="450"/>
                    </a:lnTo>
                    <a:lnTo>
                      <a:pt x="34" y="446"/>
                    </a:lnTo>
                    <a:lnTo>
                      <a:pt x="29" y="444"/>
                    </a:lnTo>
                    <a:lnTo>
                      <a:pt x="29" y="443"/>
                    </a:lnTo>
                    <a:lnTo>
                      <a:pt x="20" y="419"/>
                    </a:lnTo>
                    <a:lnTo>
                      <a:pt x="17" y="408"/>
                    </a:lnTo>
                    <a:lnTo>
                      <a:pt x="19" y="398"/>
                    </a:lnTo>
                    <a:lnTo>
                      <a:pt x="7" y="399"/>
                    </a:lnTo>
                    <a:lnTo>
                      <a:pt x="3" y="401"/>
                    </a:lnTo>
                    <a:lnTo>
                      <a:pt x="0" y="401"/>
                    </a:lnTo>
                    <a:lnTo>
                      <a:pt x="0" y="389"/>
                    </a:lnTo>
                    <a:lnTo>
                      <a:pt x="1" y="386"/>
                    </a:lnTo>
                    <a:lnTo>
                      <a:pt x="5" y="379"/>
                    </a:lnTo>
                    <a:lnTo>
                      <a:pt x="8" y="372"/>
                    </a:lnTo>
                    <a:lnTo>
                      <a:pt x="8" y="363"/>
                    </a:lnTo>
                    <a:lnTo>
                      <a:pt x="8" y="355"/>
                    </a:lnTo>
                    <a:lnTo>
                      <a:pt x="10" y="353"/>
                    </a:lnTo>
                    <a:lnTo>
                      <a:pt x="15" y="349"/>
                    </a:lnTo>
                    <a:lnTo>
                      <a:pt x="17" y="348"/>
                    </a:lnTo>
                    <a:lnTo>
                      <a:pt x="19" y="346"/>
                    </a:lnTo>
                    <a:lnTo>
                      <a:pt x="17" y="339"/>
                    </a:lnTo>
                    <a:lnTo>
                      <a:pt x="17" y="331"/>
                    </a:lnTo>
                    <a:lnTo>
                      <a:pt x="29" y="319"/>
                    </a:lnTo>
                    <a:lnTo>
                      <a:pt x="36" y="307"/>
                    </a:lnTo>
                    <a:lnTo>
                      <a:pt x="40" y="300"/>
                    </a:lnTo>
                    <a:lnTo>
                      <a:pt x="40" y="292"/>
                    </a:lnTo>
                    <a:lnTo>
                      <a:pt x="42" y="286"/>
                    </a:lnTo>
                    <a:lnTo>
                      <a:pt x="43" y="284"/>
                    </a:lnTo>
                    <a:lnTo>
                      <a:pt x="51" y="284"/>
                    </a:lnTo>
                    <a:lnTo>
                      <a:pt x="56" y="283"/>
                    </a:lnTo>
                    <a:lnTo>
                      <a:pt x="78" y="283"/>
                    </a:lnTo>
                    <a:lnTo>
                      <a:pt x="82" y="282"/>
                    </a:lnTo>
                    <a:lnTo>
                      <a:pt x="83" y="248"/>
                    </a:lnTo>
                    <a:lnTo>
                      <a:pt x="83" y="212"/>
                    </a:lnTo>
                    <a:lnTo>
                      <a:pt x="83" y="175"/>
                    </a:lnTo>
                    <a:lnTo>
                      <a:pt x="83" y="138"/>
                    </a:lnTo>
                    <a:lnTo>
                      <a:pt x="83" y="116"/>
                    </a:lnTo>
                    <a:lnTo>
                      <a:pt x="121" y="116"/>
                    </a:lnTo>
                    <a:lnTo>
                      <a:pt x="121" y="77"/>
                    </a:lnTo>
                    <a:lnTo>
                      <a:pt x="121" y="43"/>
                    </a:lnTo>
                    <a:lnTo>
                      <a:pt x="158" y="43"/>
                    </a:lnTo>
                    <a:lnTo>
                      <a:pt x="194" y="43"/>
                    </a:lnTo>
                    <a:lnTo>
                      <a:pt x="231" y="43"/>
                    </a:lnTo>
                    <a:lnTo>
                      <a:pt x="268" y="43"/>
                    </a:lnTo>
                    <a:lnTo>
                      <a:pt x="304" y="43"/>
                    </a:lnTo>
                    <a:lnTo>
                      <a:pt x="341" y="43"/>
                    </a:lnTo>
                    <a:lnTo>
                      <a:pt x="361" y="43"/>
                    </a:lnTo>
                    <a:lnTo>
                      <a:pt x="366" y="34"/>
                    </a:lnTo>
                    <a:lnTo>
                      <a:pt x="368" y="34"/>
                    </a:lnTo>
                    <a:lnTo>
                      <a:pt x="369" y="36"/>
                    </a:lnTo>
                    <a:lnTo>
                      <a:pt x="372" y="34"/>
                    </a:lnTo>
                    <a:lnTo>
                      <a:pt x="368" y="43"/>
                    </a:lnTo>
                    <a:lnTo>
                      <a:pt x="436" y="43"/>
                    </a:lnTo>
                    <a:lnTo>
                      <a:pt x="450" y="52"/>
                    </a:lnTo>
                    <a:lnTo>
                      <a:pt x="469" y="51"/>
                    </a:lnTo>
                    <a:lnTo>
                      <a:pt x="474" y="34"/>
                    </a:lnTo>
                    <a:lnTo>
                      <a:pt x="495" y="29"/>
                    </a:lnTo>
                    <a:lnTo>
                      <a:pt x="503" y="1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20" name="Freeform 106"/>
              <p:cNvSpPr>
                <a:spLocks/>
              </p:cNvSpPr>
              <p:nvPr/>
            </p:nvSpPr>
            <p:spPr bwMode="auto">
              <a:xfrm>
                <a:off x="1657" y="1178"/>
                <a:ext cx="658" cy="553"/>
              </a:xfrm>
              <a:custGeom>
                <a:avLst/>
                <a:gdLst>
                  <a:gd name="T0" fmla="*/ 7273 w 615"/>
                  <a:gd name="T1" fmla="*/ 0 h 526"/>
                  <a:gd name="T2" fmla="*/ 10244 w 615"/>
                  <a:gd name="T3" fmla="*/ 369 h 526"/>
                  <a:gd name="T4" fmla="*/ 13800 w 615"/>
                  <a:gd name="T5" fmla="*/ 318 h 526"/>
                  <a:gd name="T6" fmla="*/ 16280 w 615"/>
                  <a:gd name="T7" fmla="*/ 451 h 526"/>
                  <a:gd name="T8" fmla="*/ 18797 w 615"/>
                  <a:gd name="T9" fmla="*/ 744 h 526"/>
                  <a:gd name="T10" fmla="*/ 20135 w 615"/>
                  <a:gd name="T11" fmla="*/ 1160 h 526"/>
                  <a:gd name="T12" fmla="*/ 21811 w 615"/>
                  <a:gd name="T13" fmla="*/ 1909 h 526"/>
                  <a:gd name="T14" fmla="*/ 25354 w 615"/>
                  <a:gd name="T15" fmla="*/ 2024 h 526"/>
                  <a:gd name="T16" fmla="*/ 28950 w 615"/>
                  <a:gd name="T17" fmla="*/ 2452 h 526"/>
                  <a:gd name="T18" fmla="*/ 30204 w 615"/>
                  <a:gd name="T19" fmla="*/ 2655 h 526"/>
                  <a:gd name="T20" fmla="*/ 33140 w 615"/>
                  <a:gd name="T21" fmla="*/ 3006 h 526"/>
                  <a:gd name="T22" fmla="*/ 35547 w 615"/>
                  <a:gd name="T23" fmla="*/ 2600 h 526"/>
                  <a:gd name="T24" fmla="*/ 36104 w 615"/>
                  <a:gd name="T25" fmla="*/ 2117 h 526"/>
                  <a:gd name="T26" fmla="*/ 35572 w 615"/>
                  <a:gd name="T27" fmla="*/ 1576 h 526"/>
                  <a:gd name="T28" fmla="*/ 36545 w 615"/>
                  <a:gd name="T29" fmla="*/ 903 h 526"/>
                  <a:gd name="T30" fmla="*/ 39100 w 615"/>
                  <a:gd name="T31" fmla="*/ 388 h 526"/>
                  <a:gd name="T32" fmla="*/ 42734 w 615"/>
                  <a:gd name="T33" fmla="*/ 302 h 526"/>
                  <a:gd name="T34" fmla="*/ 45409 w 615"/>
                  <a:gd name="T35" fmla="*/ 451 h 526"/>
                  <a:gd name="T36" fmla="*/ 46101 w 615"/>
                  <a:gd name="T37" fmla="*/ 744 h 526"/>
                  <a:gd name="T38" fmla="*/ 46613 w 615"/>
                  <a:gd name="T39" fmla="*/ 998 h 526"/>
                  <a:gd name="T40" fmla="*/ 48249 w 615"/>
                  <a:gd name="T41" fmla="*/ 1004 h 526"/>
                  <a:gd name="T42" fmla="*/ 49711 w 615"/>
                  <a:gd name="T43" fmla="*/ 1220 h 526"/>
                  <a:gd name="T44" fmla="*/ 52844 w 615"/>
                  <a:gd name="T45" fmla="*/ 1356 h 526"/>
                  <a:gd name="T46" fmla="*/ 52797 w 615"/>
                  <a:gd name="T47" fmla="*/ 1576 h 526"/>
                  <a:gd name="T48" fmla="*/ 51981 w 615"/>
                  <a:gd name="T49" fmla="*/ 1966 h 526"/>
                  <a:gd name="T50" fmla="*/ 52339 w 615"/>
                  <a:gd name="T51" fmla="*/ 2849 h 526"/>
                  <a:gd name="T52" fmla="*/ 51801 w 615"/>
                  <a:gd name="T53" fmla="*/ 3072 h 526"/>
                  <a:gd name="T54" fmla="*/ 51770 w 615"/>
                  <a:gd name="T55" fmla="*/ 3515 h 526"/>
                  <a:gd name="T56" fmla="*/ 51981 w 615"/>
                  <a:gd name="T57" fmla="*/ 4021 h 526"/>
                  <a:gd name="T58" fmla="*/ 53187 w 615"/>
                  <a:gd name="T59" fmla="*/ 6039 h 526"/>
                  <a:gd name="T60" fmla="*/ 53187 w 615"/>
                  <a:gd name="T61" fmla="*/ 9038 h 526"/>
                  <a:gd name="T62" fmla="*/ 53187 w 615"/>
                  <a:gd name="T63" fmla="*/ 11677 h 526"/>
                  <a:gd name="T64" fmla="*/ 49872 w 615"/>
                  <a:gd name="T65" fmla="*/ 13747 h 526"/>
                  <a:gd name="T66" fmla="*/ 46462 w 615"/>
                  <a:gd name="T67" fmla="*/ 13846 h 526"/>
                  <a:gd name="T68" fmla="*/ 37830 w 615"/>
                  <a:gd name="T69" fmla="*/ 12475 h 526"/>
                  <a:gd name="T70" fmla="*/ 29354 w 615"/>
                  <a:gd name="T71" fmla="*/ 11244 h 526"/>
                  <a:gd name="T72" fmla="*/ 23008 w 615"/>
                  <a:gd name="T73" fmla="*/ 10212 h 526"/>
                  <a:gd name="T74" fmla="*/ 18385 w 615"/>
                  <a:gd name="T75" fmla="*/ 10695 h 526"/>
                  <a:gd name="T76" fmla="*/ 17044 w 615"/>
                  <a:gd name="T77" fmla="*/ 10269 h 526"/>
                  <a:gd name="T78" fmla="*/ 15993 w 615"/>
                  <a:gd name="T79" fmla="*/ 10068 h 526"/>
                  <a:gd name="T80" fmla="*/ 9031 w 615"/>
                  <a:gd name="T81" fmla="*/ 10049 h 526"/>
                  <a:gd name="T82" fmla="*/ 8441 w 615"/>
                  <a:gd name="T83" fmla="*/ 9997 h 526"/>
                  <a:gd name="T84" fmla="*/ 5118 w 615"/>
                  <a:gd name="T85" fmla="*/ 9038 h 526"/>
                  <a:gd name="T86" fmla="*/ 2589 w 615"/>
                  <a:gd name="T87" fmla="*/ 8663 h 526"/>
                  <a:gd name="T88" fmla="*/ 1726 w 615"/>
                  <a:gd name="T89" fmla="*/ 7838 h 526"/>
                  <a:gd name="T90" fmla="*/ 4 w 615"/>
                  <a:gd name="T91" fmla="*/ 7084 h 526"/>
                  <a:gd name="T92" fmla="*/ 1613 w 615"/>
                  <a:gd name="T93" fmla="*/ 6039 h 526"/>
                  <a:gd name="T94" fmla="*/ 1613 w 615"/>
                  <a:gd name="T95" fmla="*/ 5246 h 526"/>
                  <a:gd name="T96" fmla="*/ 1231 w 615"/>
                  <a:gd name="T97" fmla="*/ 4021 h 526"/>
                  <a:gd name="T98" fmla="*/ 0 w 615"/>
                  <a:gd name="T99" fmla="*/ 3149 h 526"/>
                  <a:gd name="T100" fmla="*/ 1409 w 615"/>
                  <a:gd name="T101" fmla="*/ 2934 h 526"/>
                  <a:gd name="T102" fmla="*/ 3171 w 615"/>
                  <a:gd name="T103" fmla="*/ 2525 h 526"/>
                  <a:gd name="T104" fmla="*/ 2786 w 615"/>
                  <a:gd name="T105" fmla="*/ 1727 h 526"/>
                  <a:gd name="T106" fmla="*/ 4471 w 615"/>
                  <a:gd name="T107" fmla="*/ 1418 h 526"/>
                  <a:gd name="T108" fmla="*/ 6891 w 615"/>
                  <a:gd name="T109" fmla="*/ 822 h 5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15"/>
                  <a:gd name="T166" fmla="*/ 0 h 526"/>
                  <a:gd name="T167" fmla="*/ 615 w 615"/>
                  <a:gd name="T168" fmla="*/ 526 h 52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15" h="526">
                    <a:moveTo>
                      <a:pt x="84" y="24"/>
                    </a:moveTo>
                    <a:lnTo>
                      <a:pt x="83" y="2"/>
                    </a:lnTo>
                    <a:lnTo>
                      <a:pt x="84" y="0"/>
                    </a:lnTo>
                    <a:lnTo>
                      <a:pt x="90" y="2"/>
                    </a:lnTo>
                    <a:lnTo>
                      <a:pt x="100" y="7"/>
                    </a:lnTo>
                    <a:lnTo>
                      <a:pt x="119" y="14"/>
                    </a:lnTo>
                    <a:lnTo>
                      <a:pt x="134" y="14"/>
                    </a:lnTo>
                    <a:lnTo>
                      <a:pt x="148" y="10"/>
                    </a:lnTo>
                    <a:lnTo>
                      <a:pt x="158" y="11"/>
                    </a:lnTo>
                    <a:lnTo>
                      <a:pt x="166" y="15"/>
                    </a:lnTo>
                    <a:lnTo>
                      <a:pt x="177" y="15"/>
                    </a:lnTo>
                    <a:lnTo>
                      <a:pt x="188" y="18"/>
                    </a:lnTo>
                    <a:lnTo>
                      <a:pt x="194" y="21"/>
                    </a:lnTo>
                    <a:lnTo>
                      <a:pt x="208" y="27"/>
                    </a:lnTo>
                    <a:lnTo>
                      <a:pt x="218" y="28"/>
                    </a:lnTo>
                    <a:lnTo>
                      <a:pt x="227" y="31"/>
                    </a:lnTo>
                    <a:lnTo>
                      <a:pt x="232" y="35"/>
                    </a:lnTo>
                    <a:lnTo>
                      <a:pt x="234" y="43"/>
                    </a:lnTo>
                    <a:lnTo>
                      <a:pt x="235" y="50"/>
                    </a:lnTo>
                    <a:lnTo>
                      <a:pt x="242" y="59"/>
                    </a:lnTo>
                    <a:lnTo>
                      <a:pt x="252" y="69"/>
                    </a:lnTo>
                    <a:lnTo>
                      <a:pt x="261" y="73"/>
                    </a:lnTo>
                    <a:lnTo>
                      <a:pt x="267" y="74"/>
                    </a:lnTo>
                    <a:lnTo>
                      <a:pt x="293" y="75"/>
                    </a:lnTo>
                    <a:lnTo>
                      <a:pt x="304" y="78"/>
                    </a:lnTo>
                    <a:lnTo>
                      <a:pt x="324" y="84"/>
                    </a:lnTo>
                    <a:lnTo>
                      <a:pt x="334" y="89"/>
                    </a:lnTo>
                    <a:lnTo>
                      <a:pt x="339" y="91"/>
                    </a:lnTo>
                    <a:lnTo>
                      <a:pt x="347" y="94"/>
                    </a:lnTo>
                    <a:lnTo>
                      <a:pt x="350" y="98"/>
                    </a:lnTo>
                    <a:lnTo>
                      <a:pt x="363" y="107"/>
                    </a:lnTo>
                    <a:lnTo>
                      <a:pt x="373" y="110"/>
                    </a:lnTo>
                    <a:lnTo>
                      <a:pt x="382" y="110"/>
                    </a:lnTo>
                    <a:lnTo>
                      <a:pt x="395" y="106"/>
                    </a:lnTo>
                    <a:lnTo>
                      <a:pt x="403" y="103"/>
                    </a:lnTo>
                    <a:lnTo>
                      <a:pt x="410" y="96"/>
                    </a:lnTo>
                    <a:lnTo>
                      <a:pt x="414" y="89"/>
                    </a:lnTo>
                    <a:lnTo>
                      <a:pt x="418" y="83"/>
                    </a:lnTo>
                    <a:lnTo>
                      <a:pt x="418" y="78"/>
                    </a:lnTo>
                    <a:lnTo>
                      <a:pt x="415" y="71"/>
                    </a:lnTo>
                    <a:lnTo>
                      <a:pt x="415" y="65"/>
                    </a:lnTo>
                    <a:lnTo>
                      <a:pt x="411" y="59"/>
                    </a:lnTo>
                    <a:lnTo>
                      <a:pt x="411" y="50"/>
                    </a:lnTo>
                    <a:lnTo>
                      <a:pt x="413" y="42"/>
                    </a:lnTo>
                    <a:lnTo>
                      <a:pt x="422" y="33"/>
                    </a:lnTo>
                    <a:lnTo>
                      <a:pt x="428" y="28"/>
                    </a:lnTo>
                    <a:lnTo>
                      <a:pt x="441" y="19"/>
                    </a:lnTo>
                    <a:lnTo>
                      <a:pt x="452" y="15"/>
                    </a:lnTo>
                    <a:lnTo>
                      <a:pt x="464" y="14"/>
                    </a:lnTo>
                    <a:lnTo>
                      <a:pt x="473" y="10"/>
                    </a:lnTo>
                    <a:lnTo>
                      <a:pt x="494" y="10"/>
                    </a:lnTo>
                    <a:lnTo>
                      <a:pt x="515" y="16"/>
                    </a:lnTo>
                    <a:lnTo>
                      <a:pt x="520" y="18"/>
                    </a:lnTo>
                    <a:lnTo>
                      <a:pt x="525" y="18"/>
                    </a:lnTo>
                    <a:lnTo>
                      <a:pt x="532" y="21"/>
                    </a:lnTo>
                    <a:lnTo>
                      <a:pt x="532" y="27"/>
                    </a:lnTo>
                    <a:lnTo>
                      <a:pt x="531" y="28"/>
                    </a:lnTo>
                    <a:lnTo>
                      <a:pt x="530" y="28"/>
                    </a:lnTo>
                    <a:lnTo>
                      <a:pt x="531" y="31"/>
                    </a:lnTo>
                    <a:lnTo>
                      <a:pt x="539" y="37"/>
                    </a:lnTo>
                    <a:lnTo>
                      <a:pt x="542" y="38"/>
                    </a:lnTo>
                    <a:lnTo>
                      <a:pt x="545" y="37"/>
                    </a:lnTo>
                    <a:lnTo>
                      <a:pt x="556" y="38"/>
                    </a:lnTo>
                    <a:lnTo>
                      <a:pt x="562" y="40"/>
                    </a:lnTo>
                    <a:lnTo>
                      <a:pt x="565" y="41"/>
                    </a:lnTo>
                    <a:lnTo>
                      <a:pt x="575" y="45"/>
                    </a:lnTo>
                    <a:lnTo>
                      <a:pt x="587" y="47"/>
                    </a:lnTo>
                    <a:lnTo>
                      <a:pt x="604" y="47"/>
                    </a:lnTo>
                    <a:lnTo>
                      <a:pt x="610" y="50"/>
                    </a:lnTo>
                    <a:lnTo>
                      <a:pt x="613" y="58"/>
                    </a:lnTo>
                    <a:lnTo>
                      <a:pt x="615" y="58"/>
                    </a:lnTo>
                    <a:lnTo>
                      <a:pt x="609" y="59"/>
                    </a:lnTo>
                    <a:lnTo>
                      <a:pt x="607" y="65"/>
                    </a:lnTo>
                    <a:lnTo>
                      <a:pt x="601" y="71"/>
                    </a:lnTo>
                    <a:lnTo>
                      <a:pt x="601" y="72"/>
                    </a:lnTo>
                    <a:lnTo>
                      <a:pt x="604" y="76"/>
                    </a:lnTo>
                    <a:lnTo>
                      <a:pt x="604" y="94"/>
                    </a:lnTo>
                    <a:lnTo>
                      <a:pt x="606" y="104"/>
                    </a:lnTo>
                    <a:lnTo>
                      <a:pt x="606" y="109"/>
                    </a:lnTo>
                    <a:lnTo>
                      <a:pt x="604" y="110"/>
                    </a:lnTo>
                    <a:lnTo>
                      <a:pt x="599" y="113"/>
                    </a:lnTo>
                    <a:lnTo>
                      <a:pt x="595" y="116"/>
                    </a:lnTo>
                    <a:lnTo>
                      <a:pt x="595" y="119"/>
                    </a:lnTo>
                    <a:lnTo>
                      <a:pt x="597" y="130"/>
                    </a:lnTo>
                    <a:lnTo>
                      <a:pt x="603" y="137"/>
                    </a:lnTo>
                    <a:lnTo>
                      <a:pt x="604" y="139"/>
                    </a:lnTo>
                    <a:lnTo>
                      <a:pt x="601" y="147"/>
                    </a:lnTo>
                    <a:lnTo>
                      <a:pt x="615" y="158"/>
                    </a:lnTo>
                    <a:lnTo>
                      <a:pt x="615" y="185"/>
                    </a:lnTo>
                    <a:lnTo>
                      <a:pt x="615" y="221"/>
                    </a:lnTo>
                    <a:lnTo>
                      <a:pt x="615" y="257"/>
                    </a:lnTo>
                    <a:lnTo>
                      <a:pt x="615" y="295"/>
                    </a:lnTo>
                    <a:lnTo>
                      <a:pt x="615" y="331"/>
                    </a:lnTo>
                    <a:lnTo>
                      <a:pt x="615" y="369"/>
                    </a:lnTo>
                    <a:lnTo>
                      <a:pt x="615" y="405"/>
                    </a:lnTo>
                    <a:lnTo>
                      <a:pt x="615" y="430"/>
                    </a:lnTo>
                    <a:lnTo>
                      <a:pt x="615" y="464"/>
                    </a:lnTo>
                    <a:lnTo>
                      <a:pt x="615" y="504"/>
                    </a:lnTo>
                    <a:lnTo>
                      <a:pt x="577" y="504"/>
                    </a:lnTo>
                    <a:lnTo>
                      <a:pt x="577" y="526"/>
                    </a:lnTo>
                    <a:lnTo>
                      <a:pt x="570" y="525"/>
                    </a:lnTo>
                    <a:lnTo>
                      <a:pt x="537" y="509"/>
                    </a:lnTo>
                    <a:lnTo>
                      <a:pt x="504" y="493"/>
                    </a:lnTo>
                    <a:lnTo>
                      <a:pt x="470" y="476"/>
                    </a:lnTo>
                    <a:lnTo>
                      <a:pt x="437" y="459"/>
                    </a:lnTo>
                    <a:lnTo>
                      <a:pt x="405" y="444"/>
                    </a:lnTo>
                    <a:lnTo>
                      <a:pt x="372" y="428"/>
                    </a:lnTo>
                    <a:lnTo>
                      <a:pt x="339" y="412"/>
                    </a:lnTo>
                    <a:lnTo>
                      <a:pt x="305" y="395"/>
                    </a:lnTo>
                    <a:lnTo>
                      <a:pt x="271" y="379"/>
                    </a:lnTo>
                    <a:lnTo>
                      <a:pt x="265" y="377"/>
                    </a:lnTo>
                    <a:lnTo>
                      <a:pt x="230" y="387"/>
                    </a:lnTo>
                    <a:lnTo>
                      <a:pt x="226" y="389"/>
                    </a:lnTo>
                    <a:lnTo>
                      <a:pt x="213" y="392"/>
                    </a:lnTo>
                    <a:lnTo>
                      <a:pt x="210" y="385"/>
                    </a:lnTo>
                    <a:lnTo>
                      <a:pt x="207" y="384"/>
                    </a:lnTo>
                    <a:lnTo>
                      <a:pt x="196" y="379"/>
                    </a:lnTo>
                    <a:lnTo>
                      <a:pt x="194" y="375"/>
                    </a:lnTo>
                    <a:lnTo>
                      <a:pt x="191" y="374"/>
                    </a:lnTo>
                    <a:lnTo>
                      <a:pt x="185" y="372"/>
                    </a:lnTo>
                    <a:lnTo>
                      <a:pt x="156" y="370"/>
                    </a:lnTo>
                    <a:lnTo>
                      <a:pt x="126" y="370"/>
                    </a:lnTo>
                    <a:lnTo>
                      <a:pt x="105" y="370"/>
                    </a:lnTo>
                    <a:lnTo>
                      <a:pt x="101" y="370"/>
                    </a:lnTo>
                    <a:lnTo>
                      <a:pt x="98" y="372"/>
                    </a:lnTo>
                    <a:lnTo>
                      <a:pt x="98" y="367"/>
                    </a:lnTo>
                    <a:lnTo>
                      <a:pt x="94" y="358"/>
                    </a:lnTo>
                    <a:lnTo>
                      <a:pt x="81" y="339"/>
                    </a:lnTo>
                    <a:lnTo>
                      <a:pt x="60" y="331"/>
                    </a:lnTo>
                    <a:lnTo>
                      <a:pt x="52" y="331"/>
                    </a:lnTo>
                    <a:lnTo>
                      <a:pt x="40" y="331"/>
                    </a:lnTo>
                    <a:lnTo>
                      <a:pt x="30" y="321"/>
                    </a:lnTo>
                    <a:lnTo>
                      <a:pt x="29" y="313"/>
                    </a:lnTo>
                    <a:lnTo>
                      <a:pt x="27" y="300"/>
                    </a:lnTo>
                    <a:lnTo>
                      <a:pt x="20" y="290"/>
                    </a:lnTo>
                    <a:lnTo>
                      <a:pt x="7" y="276"/>
                    </a:lnTo>
                    <a:lnTo>
                      <a:pt x="3" y="268"/>
                    </a:lnTo>
                    <a:lnTo>
                      <a:pt x="4" y="262"/>
                    </a:lnTo>
                    <a:lnTo>
                      <a:pt x="12" y="260"/>
                    </a:lnTo>
                    <a:lnTo>
                      <a:pt x="19" y="257"/>
                    </a:lnTo>
                    <a:lnTo>
                      <a:pt x="19" y="221"/>
                    </a:lnTo>
                    <a:lnTo>
                      <a:pt x="22" y="208"/>
                    </a:lnTo>
                    <a:lnTo>
                      <a:pt x="22" y="199"/>
                    </a:lnTo>
                    <a:lnTo>
                      <a:pt x="19" y="194"/>
                    </a:lnTo>
                    <a:lnTo>
                      <a:pt x="20" y="176"/>
                    </a:lnTo>
                    <a:lnTo>
                      <a:pt x="19" y="161"/>
                    </a:lnTo>
                    <a:lnTo>
                      <a:pt x="15" y="147"/>
                    </a:lnTo>
                    <a:lnTo>
                      <a:pt x="7" y="134"/>
                    </a:lnTo>
                    <a:lnTo>
                      <a:pt x="0" y="125"/>
                    </a:lnTo>
                    <a:lnTo>
                      <a:pt x="0" y="115"/>
                    </a:lnTo>
                    <a:lnTo>
                      <a:pt x="7" y="110"/>
                    </a:lnTo>
                    <a:lnTo>
                      <a:pt x="8" y="109"/>
                    </a:lnTo>
                    <a:lnTo>
                      <a:pt x="17" y="108"/>
                    </a:lnTo>
                    <a:lnTo>
                      <a:pt x="25" y="104"/>
                    </a:lnTo>
                    <a:lnTo>
                      <a:pt x="32" y="98"/>
                    </a:lnTo>
                    <a:lnTo>
                      <a:pt x="36" y="93"/>
                    </a:lnTo>
                    <a:lnTo>
                      <a:pt x="36" y="86"/>
                    </a:lnTo>
                    <a:lnTo>
                      <a:pt x="33" y="69"/>
                    </a:lnTo>
                    <a:lnTo>
                      <a:pt x="33" y="63"/>
                    </a:lnTo>
                    <a:lnTo>
                      <a:pt x="36" y="59"/>
                    </a:lnTo>
                    <a:lnTo>
                      <a:pt x="46" y="56"/>
                    </a:lnTo>
                    <a:lnTo>
                      <a:pt x="52" y="52"/>
                    </a:lnTo>
                    <a:lnTo>
                      <a:pt x="55" y="45"/>
                    </a:lnTo>
                    <a:lnTo>
                      <a:pt x="75" y="33"/>
                    </a:lnTo>
                    <a:lnTo>
                      <a:pt x="80" y="30"/>
                    </a:lnTo>
                    <a:lnTo>
                      <a:pt x="84"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1" name="Freeform 107"/>
              <p:cNvSpPr>
                <a:spLocks/>
              </p:cNvSpPr>
              <p:nvPr/>
            </p:nvSpPr>
            <p:spPr bwMode="auto">
              <a:xfrm>
                <a:off x="1657" y="1178"/>
                <a:ext cx="658" cy="553"/>
              </a:xfrm>
              <a:custGeom>
                <a:avLst/>
                <a:gdLst>
                  <a:gd name="T0" fmla="*/ 7273 w 615"/>
                  <a:gd name="T1" fmla="*/ 0 h 526"/>
                  <a:gd name="T2" fmla="*/ 10244 w 615"/>
                  <a:gd name="T3" fmla="*/ 369 h 526"/>
                  <a:gd name="T4" fmla="*/ 13800 w 615"/>
                  <a:gd name="T5" fmla="*/ 318 h 526"/>
                  <a:gd name="T6" fmla="*/ 16280 w 615"/>
                  <a:gd name="T7" fmla="*/ 451 h 526"/>
                  <a:gd name="T8" fmla="*/ 18797 w 615"/>
                  <a:gd name="T9" fmla="*/ 744 h 526"/>
                  <a:gd name="T10" fmla="*/ 20135 w 615"/>
                  <a:gd name="T11" fmla="*/ 1160 h 526"/>
                  <a:gd name="T12" fmla="*/ 21811 w 615"/>
                  <a:gd name="T13" fmla="*/ 1909 h 526"/>
                  <a:gd name="T14" fmla="*/ 25354 w 615"/>
                  <a:gd name="T15" fmla="*/ 2024 h 526"/>
                  <a:gd name="T16" fmla="*/ 28950 w 615"/>
                  <a:gd name="T17" fmla="*/ 2452 h 526"/>
                  <a:gd name="T18" fmla="*/ 30204 w 615"/>
                  <a:gd name="T19" fmla="*/ 2655 h 526"/>
                  <a:gd name="T20" fmla="*/ 33140 w 615"/>
                  <a:gd name="T21" fmla="*/ 3006 h 526"/>
                  <a:gd name="T22" fmla="*/ 35547 w 615"/>
                  <a:gd name="T23" fmla="*/ 2600 h 526"/>
                  <a:gd name="T24" fmla="*/ 36104 w 615"/>
                  <a:gd name="T25" fmla="*/ 2117 h 526"/>
                  <a:gd name="T26" fmla="*/ 35572 w 615"/>
                  <a:gd name="T27" fmla="*/ 1576 h 526"/>
                  <a:gd name="T28" fmla="*/ 36545 w 615"/>
                  <a:gd name="T29" fmla="*/ 903 h 526"/>
                  <a:gd name="T30" fmla="*/ 39100 w 615"/>
                  <a:gd name="T31" fmla="*/ 388 h 526"/>
                  <a:gd name="T32" fmla="*/ 42734 w 615"/>
                  <a:gd name="T33" fmla="*/ 302 h 526"/>
                  <a:gd name="T34" fmla="*/ 45409 w 615"/>
                  <a:gd name="T35" fmla="*/ 451 h 526"/>
                  <a:gd name="T36" fmla="*/ 46101 w 615"/>
                  <a:gd name="T37" fmla="*/ 744 h 526"/>
                  <a:gd name="T38" fmla="*/ 46613 w 615"/>
                  <a:gd name="T39" fmla="*/ 998 h 526"/>
                  <a:gd name="T40" fmla="*/ 48249 w 615"/>
                  <a:gd name="T41" fmla="*/ 1004 h 526"/>
                  <a:gd name="T42" fmla="*/ 49711 w 615"/>
                  <a:gd name="T43" fmla="*/ 1220 h 526"/>
                  <a:gd name="T44" fmla="*/ 52844 w 615"/>
                  <a:gd name="T45" fmla="*/ 1356 h 526"/>
                  <a:gd name="T46" fmla="*/ 52797 w 615"/>
                  <a:gd name="T47" fmla="*/ 1576 h 526"/>
                  <a:gd name="T48" fmla="*/ 51981 w 615"/>
                  <a:gd name="T49" fmla="*/ 1966 h 526"/>
                  <a:gd name="T50" fmla="*/ 52339 w 615"/>
                  <a:gd name="T51" fmla="*/ 2849 h 526"/>
                  <a:gd name="T52" fmla="*/ 51801 w 615"/>
                  <a:gd name="T53" fmla="*/ 3072 h 526"/>
                  <a:gd name="T54" fmla="*/ 51770 w 615"/>
                  <a:gd name="T55" fmla="*/ 3515 h 526"/>
                  <a:gd name="T56" fmla="*/ 51981 w 615"/>
                  <a:gd name="T57" fmla="*/ 4021 h 526"/>
                  <a:gd name="T58" fmla="*/ 53187 w 615"/>
                  <a:gd name="T59" fmla="*/ 6039 h 526"/>
                  <a:gd name="T60" fmla="*/ 53187 w 615"/>
                  <a:gd name="T61" fmla="*/ 9038 h 526"/>
                  <a:gd name="T62" fmla="*/ 53187 w 615"/>
                  <a:gd name="T63" fmla="*/ 11677 h 526"/>
                  <a:gd name="T64" fmla="*/ 49872 w 615"/>
                  <a:gd name="T65" fmla="*/ 13747 h 526"/>
                  <a:gd name="T66" fmla="*/ 46462 w 615"/>
                  <a:gd name="T67" fmla="*/ 13846 h 526"/>
                  <a:gd name="T68" fmla="*/ 37830 w 615"/>
                  <a:gd name="T69" fmla="*/ 12475 h 526"/>
                  <a:gd name="T70" fmla="*/ 29354 w 615"/>
                  <a:gd name="T71" fmla="*/ 11244 h 526"/>
                  <a:gd name="T72" fmla="*/ 23008 w 615"/>
                  <a:gd name="T73" fmla="*/ 10212 h 526"/>
                  <a:gd name="T74" fmla="*/ 18385 w 615"/>
                  <a:gd name="T75" fmla="*/ 10695 h 526"/>
                  <a:gd name="T76" fmla="*/ 17044 w 615"/>
                  <a:gd name="T77" fmla="*/ 10269 h 526"/>
                  <a:gd name="T78" fmla="*/ 15993 w 615"/>
                  <a:gd name="T79" fmla="*/ 10068 h 526"/>
                  <a:gd name="T80" fmla="*/ 9031 w 615"/>
                  <a:gd name="T81" fmla="*/ 10049 h 526"/>
                  <a:gd name="T82" fmla="*/ 8441 w 615"/>
                  <a:gd name="T83" fmla="*/ 9997 h 526"/>
                  <a:gd name="T84" fmla="*/ 5118 w 615"/>
                  <a:gd name="T85" fmla="*/ 9038 h 526"/>
                  <a:gd name="T86" fmla="*/ 2589 w 615"/>
                  <a:gd name="T87" fmla="*/ 8663 h 526"/>
                  <a:gd name="T88" fmla="*/ 1726 w 615"/>
                  <a:gd name="T89" fmla="*/ 7838 h 526"/>
                  <a:gd name="T90" fmla="*/ 4 w 615"/>
                  <a:gd name="T91" fmla="*/ 7084 h 526"/>
                  <a:gd name="T92" fmla="*/ 1613 w 615"/>
                  <a:gd name="T93" fmla="*/ 6039 h 526"/>
                  <a:gd name="T94" fmla="*/ 1613 w 615"/>
                  <a:gd name="T95" fmla="*/ 5246 h 526"/>
                  <a:gd name="T96" fmla="*/ 1231 w 615"/>
                  <a:gd name="T97" fmla="*/ 4021 h 526"/>
                  <a:gd name="T98" fmla="*/ 0 w 615"/>
                  <a:gd name="T99" fmla="*/ 3149 h 526"/>
                  <a:gd name="T100" fmla="*/ 1409 w 615"/>
                  <a:gd name="T101" fmla="*/ 2934 h 526"/>
                  <a:gd name="T102" fmla="*/ 3171 w 615"/>
                  <a:gd name="T103" fmla="*/ 2525 h 526"/>
                  <a:gd name="T104" fmla="*/ 2786 w 615"/>
                  <a:gd name="T105" fmla="*/ 1727 h 526"/>
                  <a:gd name="T106" fmla="*/ 4471 w 615"/>
                  <a:gd name="T107" fmla="*/ 1418 h 526"/>
                  <a:gd name="T108" fmla="*/ 6891 w 615"/>
                  <a:gd name="T109" fmla="*/ 822 h 5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15"/>
                  <a:gd name="T166" fmla="*/ 0 h 526"/>
                  <a:gd name="T167" fmla="*/ 615 w 615"/>
                  <a:gd name="T168" fmla="*/ 526 h 52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15" h="526">
                    <a:moveTo>
                      <a:pt x="84" y="24"/>
                    </a:moveTo>
                    <a:lnTo>
                      <a:pt x="83" y="2"/>
                    </a:lnTo>
                    <a:lnTo>
                      <a:pt x="84" y="0"/>
                    </a:lnTo>
                    <a:lnTo>
                      <a:pt x="90" y="2"/>
                    </a:lnTo>
                    <a:lnTo>
                      <a:pt x="100" y="7"/>
                    </a:lnTo>
                    <a:lnTo>
                      <a:pt x="119" y="14"/>
                    </a:lnTo>
                    <a:lnTo>
                      <a:pt x="134" y="14"/>
                    </a:lnTo>
                    <a:lnTo>
                      <a:pt x="148" y="10"/>
                    </a:lnTo>
                    <a:lnTo>
                      <a:pt x="158" y="11"/>
                    </a:lnTo>
                    <a:lnTo>
                      <a:pt x="166" y="15"/>
                    </a:lnTo>
                    <a:lnTo>
                      <a:pt x="177" y="15"/>
                    </a:lnTo>
                    <a:lnTo>
                      <a:pt x="188" y="18"/>
                    </a:lnTo>
                    <a:lnTo>
                      <a:pt x="194" y="21"/>
                    </a:lnTo>
                    <a:lnTo>
                      <a:pt x="208" y="27"/>
                    </a:lnTo>
                    <a:lnTo>
                      <a:pt x="218" y="28"/>
                    </a:lnTo>
                    <a:lnTo>
                      <a:pt x="227" y="31"/>
                    </a:lnTo>
                    <a:lnTo>
                      <a:pt x="232" y="35"/>
                    </a:lnTo>
                    <a:lnTo>
                      <a:pt x="234" y="43"/>
                    </a:lnTo>
                    <a:lnTo>
                      <a:pt x="235" y="50"/>
                    </a:lnTo>
                    <a:lnTo>
                      <a:pt x="242" y="59"/>
                    </a:lnTo>
                    <a:lnTo>
                      <a:pt x="252" y="69"/>
                    </a:lnTo>
                    <a:lnTo>
                      <a:pt x="261" y="73"/>
                    </a:lnTo>
                    <a:lnTo>
                      <a:pt x="267" y="74"/>
                    </a:lnTo>
                    <a:lnTo>
                      <a:pt x="293" y="75"/>
                    </a:lnTo>
                    <a:lnTo>
                      <a:pt x="304" y="78"/>
                    </a:lnTo>
                    <a:lnTo>
                      <a:pt x="324" y="84"/>
                    </a:lnTo>
                    <a:lnTo>
                      <a:pt x="334" y="89"/>
                    </a:lnTo>
                    <a:lnTo>
                      <a:pt x="339" y="91"/>
                    </a:lnTo>
                    <a:lnTo>
                      <a:pt x="347" y="94"/>
                    </a:lnTo>
                    <a:lnTo>
                      <a:pt x="350" y="98"/>
                    </a:lnTo>
                    <a:lnTo>
                      <a:pt x="363" y="107"/>
                    </a:lnTo>
                    <a:lnTo>
                      <a:pt x="373" y="110"/>
                    </a:lnTo>
                    <a:lnTo>
                      <a:pt x="382" y="110"/>
                    </a:lnTo>
                    <a:lnTo>
                      <a:pt x="395" y="106"/>
                    </a:lnTo>
                    <a:lnTo>
                      <a:pt x="403" y="103"/>
                    </a:lnTo>
                    <a:lnTo>
                      <a:pt x="410" y="96"/>
                    </a:lnTo>
                    <a:lnTo>
                      <a:pt x="414" y="89"/>
                    </a:lnTo>
                    <a:lnTo>
                      <a:pt x="418" y="83"/>
                    </a:lnTo>
                    <a:lnTo>
                      <a:pt x="418" y="78"/>
                    </a:lnTo>
                    <a:lnTo>
                      <a:pt x="415" y="71"/>
                    </a:lnTo>
                    <a:lnTo>
                      <a:pt x="415" y="65"/>
                    </a:lnTo>
                    <a:lnTo>
                      <a:pt x="411" y="59"/>
                    </a:lnTo>
                    <a:lnTo>
                      <a:pt x="411" y="50"/>
                    </a:lnTo>
                    <a:lnTo>
                      <a:pt x="413" y="42"/>
                    </a:lnTo>
                    <a:lnTo>
                      <a:pt x="422" y="33"/>
                    </a:lnTo>
                    <a:lnTo>
                      <a:pt x="428" y="28"/>
                    </a:lnTo>
                    <a:lnTo>
                      <a:pt x="441" y="19"/>
                    </a:lnTo>
                    <a:lnTo>
                      <a:pt x="452" y="15"/>
                    </a:lnTo>
                    <a:lnTo>
                      <a:pt x="464" y="14"/>
                    </a:lnTo>
                    <a:lnTo>
                      <a:pt x="473" y="10"/>
                    </a:lnTo>
                    <a:lnTo>
                      <a:pt x="494" y="10"/>
                    </a:lnTo>
                    <a:lnTo>
                      <a:pt x="515" y="16"/>
                    </a:lnTo>
                    <a:lnTo>
                      <a:pt x="520" y="18"/>
                    </a:lnTo>
                    <a:lnTo>
                      <a:pt x="525" y="18"/>
                    </a:lnTo>
                    <a:lnTo>
                      <a:pt x="532" y="21"/>
                    </a:lnTo>
                    <a:lnTo>
                      <a:pt x="532" y="27"/>
                    </a:lnTo>
                    <a:lnTo>
                      <a:pt x="531" y="28"/>
                    </a:lnTo>
                    <a:lnTo>
                      <a:pt x="530" y="28"/>
                    </a:lnTo>
                    <a:lnTo>
                      <a:pt x="531" y="31"/>
                    </a:lnTo>
                    <a:lnTo>
                      <a:pt x="539" y="37"/>
                    </a:lnTo>
                    <a:lnTo>
                      <a:pt x="542" y="38"/>
                    </a:lnTo>
                    <a:lnTo>
                      <a:pt x="545" y="37"/>
                    </a:lnTo>
                    <a:lnTo>
                      <a:pt x="556" y="38"/>
                    </a:lnTo>
                    <a:lnTo>
                      <a:pt x="562" y="40"/>
                    </a:lnTo>
                    <a:lnTo>
                      <a:pt x="565" y="41"/>
                    </a:lnTo>
                    <a:lnTo>
                      <a:pt x="575" y="45"/>
                    </a:lnTo>
                    <a:lnTo>
                      <a:pt x="587" y="47"/>
                    </a:lnTo>
                    <a:lnTo>
                      <a:pt x="604" y="47"/>
                    </a:lnTo>
                    <a:lnTo>
                      <a:pt x="610" y="50"/>
                    </a:lnTo>
                    <a:lnTo>
                      <a:pt x="613" y="58"/>
                    </a:lnTo>
                    <a:lnTo>
                      <a:pt x="615" y="58"/>
                    </a:lnTo>
                    <a:lnTo>
                      <a:pt x="609" y="59"/>
                    </a:lnTo>
                    <a:lnTo>
                      <a:pt x="607" y="65"/>
                    </a:lnTo>
                    <a:lnTo>
                      <a:pt x="601" y="71"/>
                    </a:lnTo>
                    <a:lnTo>
                      <a:pt x="601" y="72"/>
                    </a:lnTo>
                    <a:lnTo>
                      <a:pt x="604" y="76"/>
                    </a:lnTo>
                    <a:lnTo>
                      <a:pt x="604" y="94"/>
                    </a:lnTo>
                    <a:lnTo>
                      <a:pt x="606" y="104"/>
                    </a:lnTo>
                    <a:lnTo>
                      <a:pt x="606" y="109"/>
                    </a:lnTo>
                    <a:lnTo>
                      <a:pt x="604" y="110"/>
                    </a:lnTo>
                    <a:lnTo>
                      <a:pt x="599" y="113"/>
                    </a:lnTo>
                    <a:lnTo>
                      <a:pt x="595" y="116"/>
                    </a:lnTo>
                    <a:lnTo>
                      <a:pt x="595" y="119"/>
                    </a:lnTo>
                    <a:lnTo>
                      <a:pt x="597" y="130"/>
                    </a:lnTo>
                    <a:lnTo>
                      <a:pt x="603" y="137"/>
                    </a:lnTo>
                    <a:lnTo>
                      <a:pt x="604" y="139"/>
                    </a:lnTo>
                    <a:lnTo>
                      <a:pt x="601" y="147"/>
                    </a:lnTo>
                    <a:lnTo>
                      <a:pt x="615" y="158"/>
                    </a:lnTo>
                    <a:lnTo>
                      <a:pt x="615" y="185"/>
                    </a:lnTo>
                    <a:lnTo>
                      <a:pt x="615" y="221"/>
                    </a:lnTo>
                    <a:lnTo>
                      <a:pt x="615" y="257"/>
                    </a:lnTo>
                    <a:lnTo>
                      <a:pt x="615" y="295"/>
                    </a:lnTo>
                    <a:lnTo>
                      <a:pt x="615" y="331"/>
                    </a:lnTo>
                    <a:lnTo>
                      <a:pt x="615" y="369"/>
                    </a:lnTo>
                    <a:lnTo>
                      <a:pt x="615" y="405"/>
                    </a:lnTo>
                    <a:lnTo>
                      <a:pt x="615" y="430"/>
                    </a:lnTo>
                    <a:lnTo>
                      <a:pt x="615" y="464"/>
                    </a:lnTo>
                    <a:lnTo>
                      <a:pt x="615" y="504"/>
                    </a:lnTo>
                    <a:lnTo>
                      <a:pt x="577" y="504"/>
                    </a:lnTo>
                    <a:lnTo>
                      <a:pt x="577" y="526"/>
                    </a:lnTo>
                    <a:lnTo>
                      <a:pt x="570" y="525"/>
                    </a:lnTo>
                    <a:lnTo>
                      <a:pt x="537" y="509"/>
                    </a:lnTo>
                    <a:lnTo>
                      <a:pt x="504" y="493"/>
                    </a:lnTo>
                    <a:lnTo>
                      <a:pt x="470" y="476"/>
                    </a:lnTo>
                    <a:lnTo>
                      <a:pt x="437" y="459"/>
                    </a:lnTo>
                    <a:lnTo>
                      <a:pt x="405" y="444"/>
                    </a:lnTo>
                    <a:lnTo>
                      <a:pt x="372" y="428"/>
                    </a:lnTo>
                    <a:lnTo>
                      <a:pt x="339" y="412"/>
                    </a:lnTo>
                    <a:lnTo>
                      <a:pt x="305" y="395"/>
                    </a:lnTo>
                    <a:lnTo>
                      <a:pt x="271" y="379"/>
                    </a:lnTo>
                    <a:lnTo>
                      <a:pt x="265" y="377"/>
                    </a:lnTo>
                    <a:lnTo>
                      <a:pt x="230" y="387"/>
                    </a:lnTo>
                    <a:lnTo>
                      <a:pt x="226" y="389"/>
                    </a:lnTo>
                    <a:lnTo>
                      <a:pt x="213" y="392"/>
                    </a:lnTo>
                    <a:lnTo>
                      <a:pt x="210" y="385"/>
                    </a:lnTo>
                    <a:lnTo>
                      <a:pt x="207" y="384"/>
                    </a:lnTo>
                    <a:lnTo>
                      <a:pt x="196" y="379"/>
                    </a:lnTo>
                    <a:lnTo>
                      <a:pt x="194" y="375"/>
                    </a:lnTo>
                    <a:lnTo>
                      <a:pt x="191" y="374"/>
                    </a:lnTo>
                    <a:lnTo>
                      <a:pt x="185" y="372"/>
                    </a:lnTo>
                    <a:lnTo>
                      <a:pt x="156" y="370"/>
                    </a:lnTo>
                    <a:lnTo>
                      <a:pt x="126" y="370"/>
                    </a:lnTo>
                    <a:lnTo>
                      <a:pt x="105" y="370"/>
                    </a:lnTo>
                    <a:lnTo>
                      <a:pt x="101" y="370"/>
                    </a:lnTo>
                    <a:lnTo>
                      <a:pt x="98" y="372"/>
                    </a:lnTo>
                    <a:lnTo>
                      <a:pt x="98" y="367"/>
                    </a:lnTo>
                    <a:lnTo>
                      <a:pt x="94" y="358"/>
                    </a:lnTo>
                    <a:lnTo>
                      <a:pt x="81" y="339"/>
                    </a:lnTo>
                    <a:lnTo>
                      <a:pt x="60" y="331"/>
                    </a:lnTo>
                    <a:lnTo>
                      <a:pt x="52" y="331"/>
                    </a:lnTo>
                    <a:lnTo>
                      <a:pt x="40" y="331"/>
                    </a:lnTo>
                    <a:lnTo>
                      <a:pt x="30" y="321"/>
                    </a:lnTo>
                    <a:lnTo>
                      <a:pt x="29" y="313"/>
                    </a:lnTo>
                    <a:lnTo>
                      <a:pt x="27" y="300"/>
                    </a:lnTo>
                    <a:lnTo>
                      <a:pt x="20" y="290"/>
                    </a:lnTo>
                    <a:lnTo>
                      <a:pt x="7" y="276"/>
                    </a:lnTo>
                    <a:lnTo>
                      <a:pt x="3" y="268"/>
                    </a:lnTo>
                    <a:lnTo>
                      <a:pt x="4" y="262"/>
                    </a:lnTo>
                    <a:lnTo>
                      <a:pt x="12" y="260"/>
                    </a:lnTo>
                    <a:lnTo>
                      <a:pt x="19" y="257"/>
                    </a:lnTo>
                    <a:lnTo>
                      <a:pt x="19" y="221"/>
                    </a:lnTo>
                    <a:lnTo>
                      <a:pt x="22" y="208"/>
                    </a:lnTo>
                    <a:lnTo>
                      <a:pt x="22" y="199"/>
                    </a:lnTo>
                    <a:lnTo>
                      <a:pt x="19" y="194"/>
                    </a:lnTo>
                    <a:lnTo>
                      <a:pt x="20" y="176"/>
                    </a:lnTo>
                    <a:lnTo>
                      <a:pt x="19" y="161"/>
                    </a:lnTo>
                    <a:lnTo>
                      <a:pt x="15" y="147"/>
                    </a:lnTo>
                    <a:lnTo>
                      <a:pt x="7" y="134"/>
                    </a:lnTo>
                    <a:lnTo>
                      <a:pt x="0" y="125"/>
                    </a:lnTo>
                    <a:lnTo>
                      <a:pt x="0" y="115"/>
                    </a:lnTo>
                    <a:lnTo>
                      <a:pt x="7" y="110"/>
                    </a:lnTo>
                    <a:lnTo>
                      <a:pt x="8" y="109"/>
                    </a:lnTo>
                    <a:lnTo>
                      <a:pt x="17" y="108"/>
                    </a:lnTo>
                    <a:lnTo>
                      <a:pt x="25" y="104"/>
                    </a:lnTo>
                    <a:lnTo>
                      <a:pt x="32" y="98"/>
                    </a:lnTo>
                    <a:lnTo>
                      <a:pt x="36" y="93"/>
                    </a:lnTo>
                    <a:lnTo>
                      <a:pt x="36" y="86"/>
                    </a:lnTo>
                    <a:lnTo>
                      <a:pt x="33" y="69"/>
                    </a:lnTo>
                    <a:lnTo>
                      <a:pt x="33" y="63"/>
                    </a:lnTo>
                    <a:lnTo>
                      <a:pt x="36" y="59"/>
                    </a:lnTo>
                    <a:lnTo>
                      <a:pt x="46" y="56"/>
                    </a:lnTo>
                    <a:lnTo>
                      <a:pt x="52" y="52"/>
                    </a:lnTo>
                    <a:lnTo>
                      <a:pt x="55" y="45"/>
                    </a:lnTo>
                    <a:lnTo>
                      <a:pt x="75" y="33"/>
                    </a:lnTo>
                    <a:lnTo>
                      <a:pt x="80" y="30"/>
                    </a:lnTo>
                    <a:lnTo>
                      <a:pt x="84" y="24"/>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22" name="Freeform 108"/>
              <p:cNvSpPr>
                <a:spLocks/>
              </p:cNvSpPr>
              <p:nvPr/>
            </p:nvSpPr>
            <p:spPr bwMode="auto">
              <a:xfrm>
                <a:off x="922" y="1017"/>
                <a:ext cx="839" cy="735"/>
              </a:xfrm>
              <a:custGeom>
                <a:avLst/>
                <a:gdLst>
                  <a:gd name="T0" fmla="*/ 23860 w 784"/>
                  <a:gd name="T1" fmla="*/ 1891 h 700"/>
                  <a:gd name="T2" fmla="*/ 27535 w 784"/>
                  <a:gd name="T3" fmla="*/ 1332 h 700"/>
                  <a:gd name="T4" fmla="*/ 30466 w 784"/>
                  <a:gd name="T5" fmla="*/ 921 h 700"/>
                  <a:gd name="T6" fmla="*/ 34291 w 784"/>
                  <a:gd name="T7" fmla="*/ 483 h 700"/>
                  <a:gd name="T8" fmla="*/ 39957 w 784"/>
                  <a:gd name="T9" fmla="*/ 343 h 700"/>
                  <a:gd name="T10" fmla="*/ 43600 w 784"/>
                  <a:gd name="T11" fmla="*/ 8 h 700"/>
                  <a:gd name="T12" fmla="*/ 48050 w 784"/>
                  <a:gd name="T13" fmla="*/ 343 h 700"/>
                  <a:gd name="T14" fmla="*/ 51505 w 784"/>
                  <a:gd name="T15" fmla="*/ 3 h 700"/>
                  <a:gd name="T16" fmla="*/ 53953 w 784"/>
                  <a:gd name="T17" fmla="*/ 1 h 700"/>
                  <a:gd name="T18" fmla="*/ 57758 w 784"/>
                  <a:gd name="T19" fmla="*/ 7 h 700"/>
                  <a:gd name="T20" fmla="*/ 57325 w 784"/>
                  <a:gd name="T21" fmla="*/ 460 h 700"/>
                  <a:gd name="T22" fmla="*/ 57325 w 784"/>
                  <a:gd name="T23" fmla="*/ 1234 h 700"/>
                  <a:gd name="T24" fmla="*/ 57325 w 784"/>
                  <a:gd name="T25" fmla="*/ 2277 h 700"/>
                  <a:gd name="T26" fmla="*/ 55028 w 784"/>
                  <a:gd name="T27" fmla="*/ 2934 h 700"/>
                  <a:gd name="T28" fmla="*/ 54504 w 784"/>
                  <a:gd name="T29" fmla="*/ 3358 h 700"/>
                  <a:gd name="T30" fmla="*/ 56928 w 784"/>
                  <a:gd name="T31" fmla="*/ 4511 h 700"/>
                  <a:gd name="T32" fmla="*/ 60922 w 784"/>
                  <a:gd name="T33" fmla="*/ 6495 h 700"/>
                  <a:gd name="T34" fmla="*/ 60922 w 784"/>
                  <a:gd name="T35" fmla="*/ 7161 h 700"/>
                  <a:gd name="T36" fmla="*/ 62126 w 784"/>
                  <a:gd name="T37" fmla="*/ 8901 h 700"/>
                  <a:gd name="T38" fmla="*/ 60526 w 784"/>
                  <a:gd name="T39" fmla="*/ 10423 h 700"/>
                  <a:gd name="T40" fmla="*/ 62635 w 784"/>
                  <a:gd name="T41" fmla="*/ 11693 h 700"/>
                  <a:gd name="T42" fmla="*/ 67440 w 784"/>
                  <a:gd name="T43" fmla="*/ 12377 h 700"/>
                  <a:gd name="T44" fmla="*/ 64551 w 784"/>
                  <a:gd name="T45" fmla="*/ 13967 h 700"/>
                  <a:gd name="T46" fmla="*/ 51025 w 784"/>
                  <a:gd name="T47" fmla="*/ 16457 h 700"/>
                  <a:gd name="T48" fmla="*/ 42700 w 784"/>
                  <a:gd name="T49" fmla="*/ 17295 h 700"/>
                  <a:gd name="T50" fmla="*/ 40239 w 784"/>
                  <a:gd name="T51" fmla="*/ 17557 h 700"/>
                  <a:gd name="T52" fmla="*/ 39901 w 784"/>
                  <a:gd name="T53" fmla="*/ 17036 h 700"/>
                  <a:gd name="T54" fmla="*/ 39982 w 784"/>
                  <a:gd name="T55" fmla="*/ 16793 h 700"/>
                  <a:gd name="T56" fmla="*/ 38967 w 784"/>
                  <a:gd name="T57" fmla="*/ 16586 h 700"/>
                  <a:gd name="T58" fmla="*/ 37172 w 784"/>
                  <a:gd name="T59" fmla="*/ 16399 h 700"/>
                  <a:gd name="T60" fmla="*/ 35203 w 784"/>
                  <a:gd name="T61" fmla="*/ 16188 h 700"/>
                  <a:gd name="T62" fmla="*/ 33840 w 784"/>
                  <a:gd name="T63" fmla="*/ 15811 h 700"/>
                  <a:gd name="T64" fmla="*/ 32629 w 784"/>
                  <a:gd name="T65" fmla="*/ 15438 h 700"/>
                  <a:gd name="T66" fmla="*/ 4190 w 784"/>
                  <a:gd name="T67" fmla="*/ 10304 h 700"/>
                  <a:gd name="T68" fmla="*/ 2798 w 784"/>
                  <a:gd name="T69" fmla="*/ 7432 h 700"/>
                  <a:gd name="T70" fmla="*/ 5136 w 784"/>
                  <a:gd name="T71" fmla="*/ 7152 h 700"/>
                  <a:gd name="T72" fmla="*/ 6959 w 784"/>
                  <a:gd name="T73" fmla="*/ 7161 h 700"/>
                  <a:gd name="T74" fmla="*/ 8955 w 784"/>
                  <a:gd name="T75" fmla="*/ 7015 h 700"/>
                  <a:gd name="T76" fmla="*/ 11792 w 784"/>
                  <a:gd name="T77" fmla="*/ 6642 h 700"/>
                  <a:gd name="T78" fmla="*/ 14028 w 784"/>
                  <a:gd name="T79" fmla="*/ 6202 h 700"/>
                  <a:gd name="T80" fmla="*/ 16560 w 784"/>
                  <a:gd name="T81" fmla="*/ 5758 h 700"/>
                  <a:gd name="T82" fmla="*/ 16310 w 784"/>
                  <a:gd name="T83" fmla="*/ 5546 h 700"/>
                  <a:gd name="T84" fmla="*/ 16265 w 784"/>
                  <a:gd name="T85" fmla="*/ 5337 h 700"/>
                  <a:gd name="T86" fmla="*/ 17711 w 784"/>
                  <a:gd name="T87" fmla="*/ 5223 h 700"/>
                  <a:gd name="T88" fmla="*/ 19240 w 784"/>
                  <a:gd name="T89" fmla="*/ 4860 h 700"/>
                  <a:gd name="T90" fmla="*/ 20299 w 784"/>
                  <a:gd name="T91" fmla="*/ 4790 h 700"/>
                  <a:gd name="T92" fmla="*/ 24824 w 784"/>
                  <a:gd name="T93" fmla="*/ 4724 h 700"/>
                  <a:gd name="T94" fmla="*/ 25234 w 784"/>
                  <a:gd name="T95" fmla="*/ 4552 h 700"/>
                  <a:gd name="T96" fmla="*/ 24824 w 784"/>
                  <a:gd name="T97" fmla="*/ 4183 h 700"/>
                  <a:gd name="T98" fmla="*/ 24111 w 784"/>
                  <a:gd name="T99" fmla="*/ 3611 h 700"/>
                  <a:gd name="T100" fmla="*/ 23861 w 784"/>
                  <a:gd name="T101" fmla="*/ 3205 h 700"/>
                  <a:gd name="T102" fmla="*/ 23861 w 784"/>
                  <a:gd name="T103" fmla="*/ 2567 h 700"/>
                  <a:gd name="T104" fmla="*/ 23580 w 784"/>
                  <a:gd name="T105" fmla="*/ 2329 h 7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84"/>
                  <a:gd name="T160" fmla="*/ 0 h 700"/>
                  <a:gd name="T161" fmla="*/ 784 w 784"/>
                  <a:gd name="T162" fmla="*/ 700 h 7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84" h="700">
                    <a:moveTo>
                      <a:pt x="257" y="85"/>
                    </a:moveTo>
                    <a:lnTo>
                      <a:pt x="256" y="81"/>
                    </a:lnTo>
                    <a:lnTo>
                      <a:pt x="256" y="79"/>
                    </a:lnTo>
                    <a:lnTo>
                      <a:pt x="261" y="78"/>
                    </a:lnTo>
                    <a:lnTo>
                      <a:pt x="271" y="75"/>
                    </a:lnTo>
                    <a:lnTo>
                      <a:pt x="282" y="70"/>
                    </a:lnTo>
                    <a:lnTo>
                      <a:pt x="293" y="57"/>
                    </a:lnTo>
                    <a:lnTo>
                      <a:pt x="302" y="52"/>
                    </a:lnTo>
                    <a:lnTo>
                      <a:pt x="309" y="51"/>
                    </a:lnTo>
                    <a:lnTo>
                      <a:pt x="313" y="52"/>
                    </a:lnTo>
                    <a:lnTo>
                      <a:pt x="320" y="47"/>
                    </a:lnTo>
                    <a:lnTo>
                      <a:pt x="329" y="50"/>
                    </a:lnTo>
                    <a:lnTo>
                      <a:pt x="336" y="47"/>
                    </a:lnTo>
                    <a:lnTo>
                      <a:pt x="340" y="41"/>
                    </a:lnTo>
                    <a:lnTo>
                      <a:pt x="347" y="37"/>
                    </a:lnTo>
                    <a:lnTo>
                      <a:pt x="350" y="35"/>
                    </a:lnTo>
                    <a:lnTo>
                      <a:pt x="357" y="34"/>
                    </a:lnTo>
                    <a:lnTo>
                      <a:pt x="363" y="29"/>
                    </a:lnTo>
                    <a:lnTo>
                      <a:pt x="383" y="23"/>
                    </a:lnTo>
                    <a:lnTo>
                      <a:pt x="391" y="20"/>
                    </a:lnTo>
                    <a:lnTo>
                      <a:pt x="428" y="18"/>
                    </a:lnTo>
                    <a:lnTo>
                      <a:pt x="437" y="19"/>
                    </a:lnTo>
                    <a:lnTo>
                      <a:pt x="444" y="16"/>
                    </a:lnTo>
                    <a:lnTo>
                      <a:pt x="450" y="11"/>
                    </a:lnTo>
                    <a:lnTo>
                      <a:pt x="455" y="13"/>
                    </a:lnTo>
                    <a:lnTo>
                      <a:pt x="464" y="13"/>
                    </a:lnTo>
                    <a:lnTo>
                      <a:pt x="467" y="13"/>
                    </a:lnTo>
                    <a:lnTo>
                      <a:pt x="474" y="13"/>
                    </a:lnTo>
                    <a:lnTo>
                      <a:pt x="485" y="8"/>
                    </a:lnTo>
                    <a:lnTo>
                      <a:pt x="497" y="8"/>
                    </a:lnTo>
                    <a:lnTo>
                      <a:pt x="507" y="8"/>
                    </a:lnTo>
                    <a:lnTo>
                      <a:pt x="525" y="9"/>
                    </a:lnTo>
                    <a:lnTo>
                      <a:pt x="530" y="13"/>
                    </a:lnTo>
                    <a:lnTo>
                      <a:pt x="539" y="16"/>
                    </a:lnTo>
                    <a:lnTo>
                      <a:pt x="546" y="13"/>
                    </a:lnTo>
                    <a:lnTo>
                      <a:pt x="552" y="11"/>
                    </a:lnTo>
                    <a:lnTo>
                      <a:pt x="563" y="9"/>
                    </a:lnTo>
                    <a:lnTo>
                      <a:pt x="572" y="7"/>
                    </a:lnTo>
                    <a:lnTo>
                      <a:pt x="578" y="0"/>
                    </a:lnTo>
                    <a:lnTo>
                      <a:pt x="586" y="3"/>
                    </a:lnTo>
                    <a:lnTo>
                      <a:pt x="593" y="6"/>
                    </a:lnTo>
                    <a:lnTo>
                      <a:pt x="596" y="6"/>
                    </a:lnTo>
                    <a:lnTo>
                      <a:pt x="603" y="8"/>
                    </a:lnTo>
                    <a:lnTo>
                      <a:pt x="611" y="6"/>
                    </a:lnTo>
                    <a:lnTo>
                      <a:pt x="615" y="1"/>
                    </a:lnTo>
                    <a:lnTo>
                      <a:pt x="629" y="4"/>
                    </a:lnTo>
                    <a:lnTo>
                      <a:pt x="635" y="9"/>
                    </a:lnTo>
                    <a:lnTo>
                      <a:pt x="642" y="8"/>
                    </a:lnTo>
                    <a:lnTo>
                      <a:pt x="649" y="6"/>
                    </a:lnTo>
                    <a:lnTo>
                      <a:pt x="659" y="7"/>
                    </a:lnTo>
                    <a:lnTo>
                      <a:pt x="668" y="6"/>
                    </a:lnTo>
                    <a:lnTo>
                      <a:pt x="667" y="9"/>
                    </a:lnTo>
                    <a:lnTo>
                      <a:pt x="663" y="11"/>
                    </a:lnTo>
                    <a:lnTo>
                      <a:pt x="659" y="14"/>
                    </a:lnTo>
                    <a:lnTo>
                      <a:pt x="653" y="19"/>
                    </a:lnTo>
                    <a:lnTo>
                      <a:pt x="651" y="23"/>
                    </a:lnTo>
                    <a:lnTo>
                      <a:pt x="656" y="24"/>
                    </a:lnTo>
                    <a:lnTo>
                      <a:pt x="657" y="26"/>
                    </a:lnTo>
                    <a:lnTo>
                      <a:pt x="653" y="45"/>
                    </a:lnTo>
                    <a:lnTo>
                      <a:pt x="653" y="49"/>
                    </a:lnTo>
                    <a:lnTo>
                      <a:pt x="654" y="55"/>
                    </a:lnTo>
                    <a:lnTo>
                      <a:pt x="654" y="67"/>
                    </a:lnTo>
                    <a:lnTo>
                      <a:pt x="658" y="71"/>
                    </a:lnTo>
                    <a:lnTo>
                      <a:pt x="658" y="75"/>
                    </a:lnTo>
                    <a:lnTo>
                      <a:pt x="653" y="90"/>
                    </a:lnTo>
                    <a:lnTo>
                      <a:pt x="649" y="97"/>
                    </a:lnTo>
                    <a:lnTo>
                      <a:pt x="636" y="105"/>
                    </a:lnTo>
                    <a:lnTo>
                      <a:pt x="635" y="111"/>
                    </a:lnTo>
                    <a:lnTo>
                      <a:pt x="628" y="112"/>
                    </a:lnTo>
                    <a:lnTo>
                      <a:pt x="625" y="117"/>
                    </a:lnTo>
                    <a:lnTo>
                      <a:pt x="616" y="123"/>
                    </a:lnTo>
                    <a:lnTo>
                      <a:pt x="615" y="123"/>
                    </a:lnTo>
                    <a:lnTo>
                      <a:pt x="616" y="126"/>
                    </a:lnTo>
                    <a:lnTo>
                      <a:pt x="621" y="133"/>
                    </a:lnTo>
                    <a:lnTo>
                      <a:pt x="625" y="149"/>
                    </a:lnTo>
                    <a:lnTo>
                      <a:pt x="638" y="154"/>
                    </a:lnTo>
                    <a:lnTo>
                      <a:pt x="642" y="157"/>
                    </a:lnTo>
                    <a:lnTo>
                      <a:pt x="647" y="168"/>
                    </a:lnTo>
                    <a:lnTo>
                      <a:pt x="647" y="180"/>
                    </a:lnTo>
                    <a:lnTo>
                      <a:pt x="661" y="186"/>
                    </a:lnTo>
                    <a:lnTo>
                      <a:pt x="677" y="195"/>
                    </a:lnTo>
                    <a:lnTo>
                      <a:pt x="680" y="195"/>
                    </a:lnTo>
                    <a:lnTo>
                      <a:pt x="689" y="237"/>
                    </a:lnTo>
                    <a:lnTo>
                      <a:pt x="692" y="260"/>
                    </a:lnTo>
                    <a:lnTo>
                      <a:pt x="694" y="263"/>
                    </a:lnTo>
                    <a:lnTo>
                      <a:pt x="692" y="263"/>
                    </a:lnTo>
                    <a:lnTo>
                      <a:pt x="685" y="269"/>
                    </a:lnTo>
                    <a:lnTo>
                      <a:pt x="685" y="279"/>
                    </a:lnTo>
                    <a:lnTo>
                      <a:pt x="692" y="287"/>
                    </a:lnTo>
                    <a:lnTo>
                      <a:pt x="701" y="300"/>
                    </a:lnTo>
                    <a:lnTo>
                      <a:pt x="705" y="315"/>
                    </a:lnTo>
                    <a:lnTo>
                      <a:pt x="706" y="329"/>
                    </a:lnTo>
                    <a:lnTo>
                      <a:pt x="705" y="347"/>
                    </a:lnTo>
                    <a:lnTo>
                      <a:pt x="707" y="353"/>
                    </a:lnTo>
                    <a:lnTo>
                      <a:pt x="707" y="361"/>
                    </a:lnTo>
                    <a:lnTo>
                      <a:pt x="705" y="375"/>
                    </a:lnTo>
                    <a:lnTo>
                      <a:pt x="704" y="410"/>
                    </a:lnTo>
                    <a:lnTo>
                      <a:pt x="698" y="414"/>
                    </a:lnTo>
                    <a:lnTo>
                      <a:pt x="690" y="416"/>
                    </a:lnTo>
                    <a:lnTo>
                      <a:pt x="689" y="421"/>
                    </a:lnTo>
                    <a:lnTo>
                      <a:pt x="692" y="430"/>
                    </a:lnTo>
                    <a:lnTo>
                      <a:pt x="706" y="444"/>
                    </a:lnTo>
                    <a:lnTo>
                      <a:pt x="712" y="454"/>
                    </a:lnTo>
                    <a:lnTo>
                      <a:pt x="714" y="467"/>
                    </a:lnTo>
                    <a:lnTo>
                      <a:pt x="715" y="474"/>
                    </a:lnTo>
                    <a:lnTo>
                      <a:pt x="725" y="485"/>
                    </a:lnTo>
                    <a:lnTo>
                      <a:pt x="739" y="485"/>
                    </a:lnTo>
                    <a:lnTo>
                      <a:pt x="746" y="485"/>
                    </a:lnTo>
                    <a:lnTo>
                      <a:pt x="766" y="493"/>
                    </a:lnTo>
                    <a:lnTo>
                      <a:pt x="780" y="512"/>
                    </a:lnTo>
                    <a:lnTo>
                      <a:pt x="783" y="521"/>
                    </a:lnTo>
                    <a:lnTo>
                      <a:pt x="784" y="526"/>
                    </a:lnTo>
                    <a:lnTo>
                      <a:pt x="765" y="538"/>
                    </a:lnTo>
                    <a:lnTo>
                      <a:pt x="735" y="558"/>
                    </a:lnTo>
                    <a:lnTo>
                      <a:pt x="704" y="577"/>
                    </a:lnTo>
                    <a:lnTo>
                      <a:pt x="673" y="597"/>
                    </a:lnTo>
                    <a:lnTo>
                      <a:pt x="642" y="618"/>
                    </a:lnTo>
                    <a:lnTo>
                      <a:pt x="612" y="638"/>
                    </a:lnTo>
                    <a:lnTo>
                      <a:pt x="581" y="658"/>
                    </a:lnTo>
                    <a:lnTo>
                      <a:pt x="550" y="678"/>
                    </a:lnTo>
                    <a:lnTo>
                      <a:pt x="541" y="681"/>
                    </a:lnTo>
                    <a:lnTo>
                      <a:pt x="497" y="692"/>
                    </a:lnTo>
                    <a:lnTo>
                      <a:pt x="491" y="692"/>
                    </a:lnTo>
                    <a:lnTo>
                      <a:pt x="486" y="692"/>
                    </a:lnTo>
                    <a:lnTo>
                      <a:pt x="479" y="696"/>
                    </a:lnTo>
                    <a:lnTo>
                      <a:pt x="474" y="697"/>
                    </a:lnTo>
                    <a:lnTo>
                      <a:pt x="467" y="700"/>
                    </a:lnTo>
                    <a:lnTo>
                      <a:pt x="462" y="700"/>
                    </a:lnTo>
                    <a:lnTo>
                      <a:pt x="459" y="700"/>
                    </a:lnTo>
                    <a:lnTo>
                      <a:pt x="453" y="694"/>
                    </a:lnTo>
                    <a:lnTo>
                      <a:pt x="453" y="691"/>
                    </a:lnTo>
                    <a:lnTo>
                      <a:pt x="454" y="687"/>
                    </a:lnTo>
                    <a:lnTo>
                      <a:pt x="454" y="682"/>
                    </a:lnTo>
                    <a:lnTo>
                      <a:pt x="454" y="681"/>
                    </a:lnTo>
                    <a:lnTo>
                      <a:pt x="456" y="680"/>
                    </a:lnTo>
                    <a:lnTo>
                      <a:pt x="456" y="678"/>
                    </a:lnTo>
                    <a:lnTo>
                      <a:pt x="455" y="675"/>
                    </a:lnTo>
                    <a:lnTo>
                      <a:pt x="455" y="673"/>
                    </a:lnTo>
                    <a:lnTo>
                      <a:pt x="456" y="671"/>
                    </a:lnTo>
                    <a:lnTo>
                      <a:pt x="455" y="668"/>
                    </a:lnTo>
                    <a:lnTo>
                      <a:pt x="454" y="666"/>
                    </a:lnTo>
                    <a:lnTo>
                      <a:pt x="454" y="665"/>
                    </a:lnTo>
                    <a:lnTo>
                      <a:pt x="450" y="663"/>
                    </a:lnTo>
                    <a:lnTo>
                      <a:pt x="444" y="662"/>
                    </a:lnTo>
                    <a:lnTo>
                      <a:pt x="439" y="658"/>
                    </a:lnTo>
                    <a:lnTo>
                      <a:pt x="436" y="658"/>
                    </a:lnTo>
                    <a:lnTo>
                      <a:pt x="433" y="658"/>
                    </a:lnTo>
                    <a:lnTo>
                      <a:pt x="425" y="658"/>
                    </a:lnTo>
                    <a:lnTo>
                      <a:pt x="422" y="654"/>
                    </a:lnTo>
                    <a:lnTo>
                      <a:pt x="419" y="650"/>
                    </a:lnTo>
                    <a:lnTo>
                      <a:pt x="418" y="649"/>
                    </a:lnTo>
                    <a:lnTo>
                      <a:pt x="411" y="650"/>
                    </a:lnTo>
                    <a:lnTo>
                      <a:pt x="406" y="649"/>
                    </a:lnTo>
                    <a:lnTo>
                      <a:pt x="402" y="647"/>
                    </a:lnTo>
                    <a:lnTo>
                      <a:pt x="396" y="643"/>
                    </a:lnTo>
                    <a:lnTo>
                      <a:pt x="395" y="640"/>
                    </a:lnTo>
                    <a:lnTo>
                      <a:pt x="395" y="635"/>
                    </a:lnTo>
                    <a:lnTo>
                      <a:pt x="393" y="634"/>
                    </a:lnTo>
                    <a:lnTo>
                      <a:pt x="385" y="631"/>
                    </a:lnTo>
                    <a:lnTo>
                      <a:pt x="380" y="630"/>
                    </a:lnTo>
                    <a:lnTo>
                      <a:pt x="374" y="628"/>
                    </a:lnTo>
                    <a:lnTo>
                      <a:pt x="374" y="624"/>
                    </a:lnTo>
                    <a:lnTo>
                      <a:pt x="376" y="620"/>
                    </a:lnTo>
                    <a:lnTo>
                      <a:pt x="373" y="617"/>
                    </a:lnTo>
                    <a:lnTo>
                      <a:pt x="373" y="613"/>
                    </a:lnTo>
                    <a:lnTo>
                      <a:pt x="188" y="495"/>
                    </a:lnTo>
                    <a:lnTo>
                      <a:pt x="142" y="467"/>
                    </a:lnTo>
                    <a:lnTo>
                      <a:pt x="89" y="435"/>
                    </a:lnTo>
                    <a:lnTo>
                      <a:pt x="47" y="410"/>
                    </a:lnTo>
                    <a:lnTo>
                      <a:pt x="0" y="383"/>
                    </a:lnTo>
                    <a:lnTo>
                      <a:pt x="0" y="362"/>
                    </a:lnTo>
                    <a:lnTo>
                      <a:pt x="0" y="319"/>
                    </a:lnTo>
                    <a:lnTo>
                      <a:pt x="19" y="306"/>
                    </a:lnTo>
                    <a:lnTo>
                      <a:pt x="32" y="298"/>
                    </a:lnTo>
                    <a:lnTo>
                      <a:pt x="41" y="298"/>
                    </a:lnTo>
                    <a:lnTo>
                      <a:pt x="46" y="294"/>
                    </a:lnTo>
                    <a:lnTo>
                      <a:pt x="52" y="293"/>
                    </a:lnTo>
                    <a:lnTo>
                      <a:pt x="55" y="288"/>
                    </a:lnTo>
                    <a:lnTo>
                      <a:pt x="58" y="285"/>
                    </a:lnTo>
                    <a:lnTo>
                      <a:pt x="63" y="287"/>
                    </a:lnTo>
                    <a:lnTo>
                      <a:pt x="68" y="285"/>
                    </a:lnTo>
                    <a:lnTo>
                      <a:pt x="72" y="288"/>
                    </a:lnTo>
                    <a:lnTo>
                      <a:pt x="79" y="288"/>
                    </a:lnTo>
                    <a:lnTo>
                      <a:pt x="79" y="287"/>
                    </a:lnTo>
                    <a:lnTo>
                      <a:pt x="79" y="282"/>
                    </a:lnTo>
                    <a:lnTo>
                      <a:pt x="80" y="279"/>
                    </a:lnTo>
                    <a:lnTo>
                      <a:pt x="92" y="280"/>
                    </a:lnTo>
                    <a:lnTo>
                      <a:pt x="95" y="279"/>
                    </a:lnTo>
                    <a:lnTo>
                      <a:pt x="102" y="279"/>
                    </a:lnTo>
                    <a:lnTo>
                      <a:pt x="113" y="277"/>
                    </a:lnTo>
                    <a:lnTo>
                      <a:pt x="125" y="274"/>
                    </a:lnTo>
                    <a:lnTo>
                      <a:pt x="130" y="270"/>
                    </a:lnTo>
                    <a:lnTo>
                      <a:pt x="134" y="267"/>
                    </a:lnTo>
                    <a:lnTo>
                      <a:pt x="135" y="263"/>
                    </a:lnTo>
                    <a:lnTo>
                      <a:pt x="135" y="262"/>
                    </a:lnTo>
                    <a:lnTo>
                      <a:pt x="138" y="257"/>
                    </a:lnTo>
                    <a:lnTo>
                      <a:pt x="145" y="253"/>
                    </a:lnTo>
                    <a:lnTo>
                      <a:pt x="154" y="249"/>
                    </a:lnTo>
                    <a:lnTo>
                      <a:pt x="159" y="249"/>
                    </a:lnTo>
                    <a:lnTo>
                      <a:pt x="178" y="237"/>
                    </a:lnTo>
                    <a:lnTo>
                      <a:pt x="192" y="236"/>
                    </a:lnTo>
                    <a:lnTo>
                      <a:pt x="195" y="234"/>
                    </a:lnTo>
                    <a:lnTo>
                      <a:pt x="194" y="232"/>
                    </a:lnTo>
                    <a:lnTo>
                      <a:pt x="190" y="229"/>
                    </a:lnTo>
                    <a:lnTo>
                      <a:pt x="189" y="227"/>
                    </a:lnTo>
                    <a:lnTo>
                      <a:pt x="188" y="227"/>
                    </a:lnTo>
                    <a:lnTo>
                      <a:pt x="186" y="229"/>
                    </a:lnTo>
                    <a:lnTo>
                      <a:pt x="185" y="229"/>
                    </a:lnTo>
                    <a:lnTo>
                      <a:pt x="186" y="222"/>
                    </a:lnTo>
                    <a:lnTo>
                      <a:pt x="189" y="219"/>
                    </a:lnTo>
                    <a:lnTo>
                      <a:pt x="189" y="218"/>
                    </a:lnTo>
                    <a:lnTo>
                      <a:pt x="185" y="217"/>
                    </a:lnTo>
                    <a:lnTo>
                      <a:pt x="185" y="216"/>
                    </a:lnTo>
                    <a:lnTo>
                      <a:pt x="185" y="212"/>
                    </a:lnTo>
                    <a:lnTo>
                      <a:pt x="186" y="209"/>
                    </a:lnTo>
                    <a:lnTo>
                      <a:pt x="189" y="206"/>
                    </a:lnTo>
                    <a:lnTo>
                      <a:pt x="192" y="206"/>
                    </a:lnTo>
                    <a:lnTo>
                      <a:pt x="197" y="208"/>
                    </a:lnTo>
                    <a:lnTo>
                      <a:pt x="202" y="208"/>
                    </a:lnTo>
                    <a:lnTo>
                      <a:pt x="208" y="206"/>
                    </a:lnTo>
                    <a:lnTo>
                      <a:pt x="218" y="202"/>
                    </a:lnTo>
                    <a:lnTo>
                      <a:pt x="219" y="201"/>
                    </a:lnTo>
                    <a:lnTo>
                      <a:pt x="219" y="198"/>
                    </a:lnTo>
                    <a:lnTo>
                      <a:pt x="219" y="195"/>
                    </a:lnTo>
                    <a:lnTo>
                      <a:pt x="221" y="191"/>
                    </a:lnTo>
                    <a:lnTo>
                      <a:pt x="223" y="191"/>
                    </a:lnTo>
                    <a:lnTo>
                      <a:pt x="227" y="191"/>
                    </a:lnTo>
                    <a:lnTo>
                      <a:pt x="230" y="191"/>
                    </a:lnTo>
                    <a:lnTo>
                      <a:pt x="233" y="191"/>
                    </a:lnTo>
                    <a:lnTo>
                      <a:pt x="240" y="188"/>
                    </a:lnTo>
                    <a:lnTo>
                      <a:pt x="261" y="188"/>
                    </a:lnTo>
                    <a:lnTo>
                      <a:pt x="265" y="188"/>
                    </a:lnTo>
                    <a:lnTo>
                      <a:pt x="272" y="188"/>
                    </a:lnTo>
                    <a:lnTo>
                      <a:pt x="282" y="188"/>
                    </a:lnTo>
                    <a:lnTo>
                      <a:pt x="287" y="191"/>
                    </a:lnTo>
                    <a:lnTo>
                      <a:pt x="288" y="190"/>
                    </a:lnTo>
                    <a:lnTo>
                      <a:pt x="288" y="188"/>
                    </a:lnTo>
                    <a:lnTo>
                      <a:pt x="287" y="186"/>
                    </a:lnTo>
                    <a:lnTo>
                      <a:pt x="287" y="181"/>
                    </a:lnTo>
                    <a:lnTo>
                      <a:pt x="290" y="177"/>
                    </a:lnTo>
                    <a:lnTo>
                      <a:pt x="293" y="176"/>
                    </a:lnTo>
                    <a:lnTo>
                      <a:pt x="293" y="175"/>
                    </a:lnTo>
                    <a:lnTo>
                      <a:pt x="288" y="173"/>
                    </a:lnTo>
                    <a:lnTo>
                      <a:pt x="282" y="167"/>
                    </a:lnTo>
                    <a:lnTo>
                      <a:pt x="277" y="159"/>
                    </a:lnTo>
                    <a:lnTo>
                      <a:pt x="277" y="154"/>
                    </a:lnTo>
                    <a:lnTo>
                      <a:pt x="275" y="150"/>
                    </a:lnTo>
                    <a:lnTo>
                      <a:pt x="274" y="146"/>
                    </a:lnTo>
                    <a:lnTo>
                      <a:pt x="274" y="143"/>
                    </a:lnTo>
                    <a:lnTo>
                      <a:pt x="275" y="140"/>
                    </a:lnTo>
                    <a:lnTo>
                      <a:pt x="275" y="137"/>
                    </a:lnTo>
                    <a:lnTo>
                      <a:pt x="275" y="135"/>
                    </a:lnTo>
                    <a:lnTo>
                      <a:pt x="271" y="130"/>
                    </a:lnTo>
                    <a:lnTo>
                      <a:pt x="272" y="128"/>
                    </a:lnTo>
                    <a:lnTo>
                      <a:pt x="272" y="123"/>
                    </a:lnTo>
                    <a:lnTo>
                      <a:pt x="272" y="117"/>
                    </a:lnTo>
                    <a:lnTo>
                      <a:pt x="272" y="111"/>
                    </a:lnTo>
                    <a:lnTo>
                      <a:pt x="269" y="106"/>
                    </a:lnTo>
                    <a:lnTo>
                      <a:pt x="272" y="102"/>
                    </a:lnTo>
                    <a:lnTo>
                      <a:pt x="268" y="97"/>
                    </a:lnTo>
                    <a:lnTo>
                      <a:pt x="268" y="96"/>
                    </a:lnTo>
                    <a:lnTo>
                      <a:pt x="269" y="96"/>
                    </a:lnTo>
                    <a:lnTo>
                      <a:pt x="269" y="95"/>
                    </a:lnTo>
                    <a:lnTo>
                      <a:pt x="268" y="92"/>
                    </a:lnTo>
                    <a:lnTo>
                      <a:pt x="266" y="91"/>
                    </a:lnTo>
                    <a:lnTo>
                      <a:pt x="262" y="89"/>
                    </a:lnTo>
                    <a:lnTo>
                      <a:pt x="261" y="86"/>
                    </a:lnTo>
                    <a:lnTo>
                      <a:pt x="257" y="85"/>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3" name="Freeform 109"/>
              <p:cNvSpPr>
                <a:spLocks/>
              </p:cNvSpPr>
              <p:nvPr/>
            </p:nvSpPr>
            <p:spPr bwMode="auto">
              <a:xfrm>
                <a:off x="922" y="1017"/>
                <a:ext cx="839" cy="735"/>
              </a:xfrm>
              <a:custGeom>
                <a:avLst/>
                <a:gdLst>
                  <a:gd name="T0" fmla="*/ 23860 w 784"/>
                  <a:gd name="T1" fmla="*/ 1891 h 700"/>
                  <a:gd name="T2" fmla="*/ 27535 w 784"/>
                  <a:gd name="T3" fmla="*/ 1332 h 700"/>
                  <a:gd name="T4" fmla="*/ 30466 w 784"/>
                  <a:gd name="T5" fmla="*/ 921 h 700"/>
                  <a:gd name="T6" fmla="*/ 34291 w 784"/>
                  <a:gd name="T7" fmla="*/ 483 h 700"/>
                  <a:gd name="T8" fmla="*/ 39957 w 784"/>
                  <a:gd name="T9" fmla="*/ 343 h 700"/>
                  <a:gd name="T10" fmla="*/ 43600 w 784"/>
                  <a:gd name="T11" fmla="*/ 8 h 700"/>
                  <a:gd name="T12" fmla="*/ 48050 w 784"/>
                  <a:gd name="T13" fmla="*/ 343 h 700"/>
                  <a:gd name="T14" fmla="*/ 51505 w 784"/>
                  <a:gd name="T15" fmla="*/ 3 h 700"/>
                  <a:gd name="T16" fmla="*/ 53953 w 784"/>
                  <a:gd name="T17" fmla="*/ 1 h 700"/>
                  <a:gd name="T18" fmla="*/ 57758 w 784"/>
                  <a:gd name="T19" fmla="*/ 7 h 700"/>
                  <a:gd name="T20" fmla="*/ 57325 w 784"/>
                  <a:gd name="T21" fmla="*/ 460 h 700"/>
                  <a:gd name="T22" fmla="*/ 57325 w 784"/>
                  <a:gd name="T23" fmla="*/ 1234 h 700"/>
                  <a:gd name="T24" fmla="*/ 57325 w 784"/>
                  <a:gd name="T25" fmla="*/ 2277 h 700"/>
                  <a:gd name="T26" fmla="*/ 55028 w 784"/>
                  <a:gd name="T27" fmla="*/ 2934 h 700"/>
                  <a:gd name="T28" fmla="*/ 54504 w 784"/>
                  <a:gd name="T29" fmla="*/ 3358 h 700"/>
                  <a:gd name="T30" fmla="*/ 56928 w 784"/>
                  <a:gd name="T31" fmla="*/ 4511 h 700"/>
                  <a:gd name="T32" fmla="*/ 60922 w 784"/>
                  <a:gd name="T33" fmla="*/ 6495 h 700"/>
                  <a:gd name="T34" fmla="*/ 60922 w 784"/>
                  <a:gd name="T35" fmla="*/ 7161 h 700"/>
                  <a:gd name="T36" fmla="*/ 62126 w 784"/>
                  <a:gd name="T37" fmla="*/ 8901 h 700"/>
                  <a:gd name="T38" fmla="*/ 60526 w 784"/>
                  <a:gd name="T39" fmla="*/ 10423 h 700"/>
                  <a:gd name="T40" fmla="*/ 62635 w 784"/>
                  <a:gd name="T41" fmla="*/ 11693 h 700"/>
                  <a:gd name="T42" fmla="*/ 67440 w 784"/>
                  <a:gd name="T43" fmla="*/ 12377 h 700"/>
                  <a:gd name="T44" fmla="*/ 64551 w 784"/>
                  <a:gd name="T45" fmla="*/ 13967 h 700"/>
                  <a:gd name="T46" fmla="*/ 51025 w 784"/>
                  <a:gd name="T47" fmla="*/ 16457 h 700"/>
                  <a:gd name="T48" fmla="*/ 42700 w 784"/>
                  <a:gd name="T49" fmla="*/ 17295 h 700"/>
                  <a:gd name="T50" fmla="*/ 40239 w 784"/>
                  <a:gd name="T51" fmla="*/ 17557 h 700"/>
                  <a:gd name="T52" fmla="*/ 39901 w 784"/>
                  <a:gd name="T53" fmla="*/ 17036 h 700"/>
                  <a:gd name="T54" fmla="*/ 39982 w 784"/>
                  <a:gd name="T55" fmla="*/ 16793 h 700"/>
                  <a:gd name="T56" fmla="*/ 38967 w 784"/>
                  <a:gd name="T57" fmla="*/ 16586 h 700"/>
                  <a:gd name="T58" fmla="*/ 37172 w 784"/>
                  <a:gd name="T59" fmla="*/ 16399 h 700"/>
                  <a:gd name="T60" fmla="*/ 35203 w 784"/>
                  <a:gd name="T61" fmla="*/ 16188 h 700"/>
                  <a:gd name="T62" fmla="*/ 33840 w 784"/>
                  <a:gd name="T63" fmla="*/ 15811 h 700"/>
                  <a:gd name="T64" fmla="*/ 32629 w 784"/>
                  <a:gd name="T65" fmla="*/ 15438 h 700"/>
                  <a:gd name="T66" fmla="*/ 4190 w 784"/>
                  <a:gd name="T67" fmla="*/ 10304 h 700"/>
                  <a:gd name="T68" fmla="*/ 2798 w 784"/>
                  <a:gd name="T69" fmla="*/ 7432 h 700"/>
                  <a:gd name="T70" fmla="*/ 5136 w 784"/>
                  <a:gd name="T71" fmla="*/ 7152 h 700"/>
                  <a:gd name="T72" fmla="*/ 6959 w 784"/>
                  <a:gd name="T73" fmla="*/ 7161 h 700"/>
                  <a:gd name="T74" fmla="*/ 8955 w 784"/>
                  <a:gd name="T75" fmla="*/ 7015 h 700"/>
                  <a:gd name="T76" fmla="*/ 11792 w 784"/>
                  <a:gd name="T77" fmla="*/ 6642 h 700"/>
                  <a:gd name="T78" fmla="*/ 14028 w 784"/>
                  <a:gd name="T79" fmla="*/ 6202 h 700"/>
                  <a:gd name="T80" fmla="*/ 16560 w 784"/>
                  <a:gd name="T81" fmla="*/ 5758 h 700"/>
                  <a:gd name="T82" fmla="*/ 16310 w 784"/>
                  <a:gd name="T83" fmla="*/ 5546 h 700"/>
                  <a:gd name="T84" fmla="*/ 16265 w 784"/>
                  <a:gd name="T85" fmla="*/ 5337 h 700"/>
                  <a:gd name="T86" fmla="*/ 17711 w 784"/>
                  <a:gd name="T87" fmla="*/ 5223 h 700"/>
                  <a:gd name="T88" fmla="*/ 19240 w 784"/>
                  <a:gd name="T89" fmla="*/ 4860 h 700"/>
                  <a:gd name="T90" fmla="*/ 20299 w 784"/>
                  <a:gd name="T91" fmla="*/ 4790 h 700"/>
                  <a:gd name="T92" fmla="*/ 24824 w 784"/>
                  <a:gd name="T93" fmla="*/ 4724 h 700"/>
                  <a:gd name="T94" fmla="*/ 25234 w 784"/>
                  <a:gd name="T95" fmla="*/ 4552 h 700"/>
                  <a:gd name="T96" fmla="*/ 24824 w 784"/>
                  <a:gd name="T97" fmla="*/ 4183 h 700"/>
                  <a:gd name="T98" fmla="*/ 24111 w 784"/>
                  <a:gd name="T99" fmla="*/ 3611 h 700"/>
                  <a:gd name="T100" fmla="*/ 23861 w 784"/>
                  <a:gd name="T101" fmla="*/ 3205 h 700"/>
                  <a:gd name="T102" fmla="*/ 23861 w 784"/>
                  <a:gd name="T103" fmla="*/ 2567 h 700"/>
                  <a:gd name="T104" fmla="*/ 23580 w 784"/>
                  <a:gd name="T105" fmla="*/ 2329 h 7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84"/>
                  <a:gd name="T160" fmla="*/ 0 h 700"/>
                  <a:gd name="T161" fmla="*/ 784 w 784"/>
                  <a:gd name="T162" fmla="*/ 700 h 7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84" h="700">
                    <a:moveTo>
                      <a:pt x="257" y="85"/>
                    </a:moveTo>
                    <a:lnTo>
                      <a:pt x="256" y="81"/>
                    </a:lnTo>
                    <a:lnTo>
                      <a:pt x="256" y="79"/>
                    </a:lnTo>
                    <a:lnTo>
                      <a:pt x="261" y="78"/>
                    </a:lnTo>
                    <a:lnTo>
                      <a:pt x="271" y="75"/>
                    </a:lnTo>
                    <a:lnTo>
                      <a:pt x="282" y="70"/>
                    </a:lnTo>
                    <a:lnTo>
                      <a:pt x="293" y="57"/>
                    </a:lnTo>
                    <a:lnTo>
                      <a:pt x="302" y="52"/>
                    </a:lnTo>
                    <a:lnTo>
                      <a:pt x="309" y="51"/>
                    </a:lnTo>
                    <a:lnTo>
                      <a:pt x="313" y="52"/>
                    </a:lnTo>
                    <a:lnTo>
                      <a:pt x="320" y="47"/>
                    </a:lnTo>
                    <a:lnTo>
                      <a:pt x="329" y="50"/>
                    </a:lnTo>
                    <a:lnTo>
                      <a:pt x="336" y="47"/>
                    </a:lnTo>
                    <a:lnTo>
                      <a:pt x="340" y="41"/>
                    </a:lnTo>
                    <a:lnTo>
                      <a:pt x="347" y="37"/>
                    </a:lnTo>
                    <a:lnTo>
                      <a:pt x="350" y="35"/>
                    </a:lnTo>
                    <a:lnTo>
                      <a:pt x="357" y="34"/>
                    </a:lnTo>
                    <a:lnTo>
                      <a:pt x="363" y="29"/>
                    </a:lnTo>
                    <a:lnTo>
                      <a:pt x="383" y="23"/>
                    </a:lnTo>
                    <a:lnTo>
                      <a:pt x="391" y="20"/>
                    </a:lnTo>
                    <a:lnTo>
                      <a:pt x="428" y="18"/>
                    </a:lnTo>
                    <a:lnTo>
                      <a:pt x="437" y="19"/>
                    </a:lnTo>
                    <a:lnTo>
                      <a:pt x="444" y="16"/>
                    </a:lnTo>
                    <a:lnTo>
                      <a:pt x="450" y="11"/>
                    </a:lnTo>
                    <a:lnTo>
                      <a:pt x="455" y="13"/>
                    </a:lnTo>
                    <a:lnTo>
                      <a:pt x="464" y="13"/>
                    </a:lnTo>
                    <a:lnTo>
                      <a:pt x="467" y="13"/>
                    </a:lnTo>
                    <a:lnTo>
                      <a:pt x="474" y="13"/>
                    </a:lnTo>
                    <a:lnTo>
                      <a:pt x="485" y="8"/>
                    </a:lnTo>
                    <a:lnTo>
                      <a:pt x="497" y="8"/>
                    </a:lnTo>
                    <a:lnTo>
                      <a:pt x="507" y="8"/>
                    </a:lnTo>
                    <a:lnTo>
                      <a:pt x="525" y="9"/>
                    </a:lnTo>
                    <a:lnTo>
                      <a:pt x="530" y="13"/>
                    </a:lnTo>
                    <a:lnTo>
                      <a:pt x="539" y="16"/>
                    </a:lnTo>
                    <a:lnTo>
                      <a:pt x="546" y="13"/>
                    </a:lnTo>
                    <a:lnTo>
                      <a:pt x="552" y="11"/>
                    </a:lnTo>
                    <a:lnTo>
                      <a:pt x="563" y="9"/>
                    </a:lnTo>
                    <a:lnTo>
                      <a:pt x="572" y="7"/>
                    </a:lnTo>
                    <a:lnTo>
                      <a:pt x="578" y="0"/>
                    </a:lnTo>
                    <a:lnTo>
                      <a:pt x="586" y="3"/>
                    </a:lnTo>
                    <a:lnTo>
                      <a:pt x="593" y="6"/>
                    </a:lnTo>
                    <a:lnTo>
                      <a:pt x="596" y="6"/>
                    </a:lnTo>
                    <a:lnTo>
                      <a:pt x="603" y="8"/>
                    </a:lnTo>
                    <a:lnTo>
                      <a:pt x="611" y="6"/>
                    </a:lnTo>
                    <a:lnTo>
                      <a:pt x="615" y="1"/>
                    </a:lnTo>
                    <a:lnTo>
                      <a:pt x="629" y="4"/>
                    </a:lnTo>
                    <a:lnTo>
                      <a:pt x="635" y="9"/>
                    </a:lnTo>
                    <a:lnTo>
                      <a:pt x="642" y="8"/>
                    </a:lnTo>
                    <a:lnTo>
                      <a:pt x="649" y="6"/>
                    </a:lnTo>
                    <a:lnTo>
                      <a:pt x="659" y="7"/>
                    </a:lnTo>
                    <a:lnTo>
                      <a:pt x="668" y="6"/>
                    </a:lnTo>
                    <a:lnTo>
                      <a:pt x="667" y="9"/>
                    </a:lnTo>
                    <a:lnTo>
                      <a:pt x="663" y="11"/>
                    </a:lnTo>
                    <a:lnTo>
                      <a:pt x="659" y="14"/>
                    </a:lnTo>
                    <a:lnTo>
                      <a:pt x="653" y="19"/>
                    </a:lnTo>
                    <a:lnTo>
                      <a:pt x="651" y="23"/>
                    </a:lnTo>
                    <a:lnTo>
                      <a:pt x="656" y="24"/>
                    </a:lnTo>
                    <a:lnTo>
                      <a:pt x="657" y="26"/>
                    </a:lnTo>
                    <a:lnTo>
                      <a:pt x="653" y="45"/>
                    </a:lnTo>
                    <a:lnTo>
                      <a:pt x="653" y="49"/>
                    </a:lnTo>
                    <a:lnTo>
                      <a:pt x="654" y="55"/>
                    </a:lnTo>
                    <a:lnTo>
                      <a:pt x="654" y="67"/>
                    </a:lnTo>
                    <a:lnTo>
                      <a:pt x="658" y="71"/>
                    </a:lnTo>
                    <a:lnTo>
                      <a:pt x="658" y="75"/>
                    </a:lnTo>
                    <a:lnTo>
                      <a:pt x="653" y="90"/>
                    </a:lnTo>
                    <a:lnTo>
                      <a:pt x="649" y="97"/>
                    </a:lnTo>
                    <a:lnTo>
                      <a:pt x="636" y="105"/>
                    </a:lnTo>
                    <a:lnTo>
                      <a:pt x="635" y="111"/>
                    </a:lnTo>
                    <a:lnTo>
                      <a:pt x="628" y="112"/>
                    </a:lnTo>
                    <a:lnTo>
                      <a:pt x="625" y="117"/>
                    </a:lnTo>
                    <a:lnTo>
                      <a:pt x="616" y="123"/>
                    </a:lnTo>
                    <a:lnTo>
                      <a:pt x="615" y="123"/>
                    </a:lnTo>
                    <a:lnTo>
                      <a:pt x="616" y="126"/>
                    </a:lnTo>
                    <a:lnTo>
                      <a:pt x="621" y="133"/>
                    </a:lnTo>
                    <a:lnTo>
                      <a:pt x="625" y="149"/>
                    </a:lnTo>
                    <a:lnTo>
                      <a:pt x="638" y="154"/>
                    </a:lnTo>
                    <a:lnTo>
                      <a:pt x="642" y="157"/>
                    </a:lnTo>
                    <a:lnTo>
                      <a:pt x="647" y="168"/>
                    </a:lnTo>
                    <a:lnTo>
                      <a:pt x="647" y="180"/>
                    </a:lnTo>
                    <a:lnTo>
                      <a:pt x="661" y="186"/>
                    </a:lnTo>
                    <a:lnTo>
                      <a:pt x="677" y="195"/>
                    </a:lnTo>
                    <a:lnTo>
                      <a:pt x="680" y="195"/>
                    </a:lnTo>
                    <a:lnTo>
                      <a:pt x="689" y="237"/>
                    </a:lnTo>
                    <a:lnTo>
                      <a:pt x="692" y="260"/>
                    </a:lnTo>
                    <a:lnTo>
                      <a:pt x="694" y="263"/>
                    </a:lnTo>
                    <a:lnTo>
                      <a:pt x="692" y="263"/>
                    </a:lnTo>
                    <a:lnTo>
                      <a:pt x="685" y="269"/>
                    </a:lnTo>
                    <a:lnTo>
                      <a:pt x="685" y="279"/>
                    </a:lnTo>
                    <a:lnTo>
                      <a:pt x="692" y="287"/>
                    </a:lnTo>
                    <a:lnTo>
                      <a:pt x="701" y="300"/>
                    </a:lnTo>
                    <a:lnTo>
                      <a:pt x="705" y="315"/>
                    </a:lnTo>
                    <a:lnTo>
                      <a:pt x="706" y="329"/>
                    </a:lnTo>
                    <a:lnTo>
                      <a:pt x="705" y="347"/>
                    </a:lnTo>
                    <a:lnTo>
                      <a:pt x="707" y="353"/>
                    </a:lnTo>
                    <a:lnTo>
                      <a:pt x="707" y="361"/>
                    </a:lnTo>
                    <a:lnTo>
                      <a:pt x="705" y="375"/>
                    </a:lnTo>
                    <a:lnTo>
                      <a:pt x="704" y="410"/>
                    </a:lnTo>
                    <a:lnTo>
                      <a:pt x="698" y="414"/>
                    </a:lnTo>
                    <a:lnTo>
                      <a:pt x="690" y="416"/>
                    </a:lnTo>
                    <a:lnTo>
                      <a:pt x="689" y="421"/>
                    </a:lnTo>
                    <a:lnTo>
                      <a:pt x="692" y="430"/>
                    </a:lnTo>
                    <a:lnTo>
                      <a:pt x="706" y="444"/>
                    </a:lnTo>
                    <a:lnTo>
                      <a:pt x="712" y="454"/>
                    </a:lnTo>
                    <a:lnTo>
                      <a:pt x="714" y="467"/>
                    </a:lnTo>
                    <a:lnTo>
                      <a:pt x="715" y="474"/>
                    </a:lnTo>
                    <a:lnTo>
                      <a:pt x="725" y="485"/>
                    </a:lnTo>
                    <a:lnTo>
                      <a:pt x="739" y="485"/>
                    </a:lnTo>
                    <a:lnTo>
                      <a:pt x="746" y="485"/>
                    </a:lnTo>
                    <a:lnTo>
                      <a:pt x="766" y="493"/>
                    </a:lnTo>
                    <a:lnTo>
                      <a:pt x="780" y="512"/>
                    </a:lnTo>
                    <a:lnTo>
                      <a:pt x="783" y="521"/>
                    </a:lnTo>
                    <a:lnTo>
                      <a:pt x="784" y="526"/>
                    </a:lnTo>
                    <a:lnTo>
                      <a:pt x="765" y="538"/>
                    </a:lnTo>
                    <a:lnTo>
                      <a:pt x="735" y="558"/>
                    </a:lnTo>
                    <a:lnTo>
                      <a:pt x="704" y="577"/>
                    </a:lnTo>
                    <a:lnTo>
                      <a:pt x="673" y="597"/>
                    </a:lnTo>
                    <a:lnTo>
                      <a:pt x="642" y="618"/>
                    </a:lnTo>
                    <a:lnTo>
                      <a:pt x="612" y="638"/>
                    </a:lnTo>
                    <a:lnTo>
                      <a:pt x="581" y="658"/>
                    </a:lnTo>
                    <a:lnTo>
                      <a:pt x="550" y="678"/>
                    </a:lnTo>
                    <a:lnTo>
                      <a:pt x="541" y="681"/>
                    </a:lnTo>
                    <a:lnTo>
                      <a:pt x="497" y="692"/>
                    </a:lnTo>
                    <a:lnTo>
                      <a:pt x="491" y="692"/>
                    </a:lnTo>
                    <a:lnTo>
                      <a:pt x="486" y="692"/>
                    </a:lnTo>
                    <a:lnTo>
                      <a:pt x="479" y="696"/>
                    </a:lnTo>
                    <a:lnTo>
                      <a:pt x="474" y="697"/>
                    </a:lnTo>
                    <a:lnTo>
                      <a:pt x="467" y="700"/>
                    </a:lnTo>
                    <a:lnTo>
                      <a:pt x="462" y="700"/>
                    </a:lnTo>
                    <a:lnTo>
                      <a:pt x="459" y="700"/>
                    </a:lnTo>
                    <a:lnTo>
                      <a:pt x="453" y="694"/>
                    </a:lnTo>
                    <a:lnTo>
                      <a:pt x="453" y="691"/>
                    </a:lnTo>
                    <a:lnTo>
                      <a:pt x="454" y="687"/>
                    </a:lnTo>
                    <a:lnTo>
                      <a:pt x="454" y="682"/>
                    </a:lnTo>
                    <a:lnTo>
                      <a:pt x="454" y="681"/>
                    </a:lnTo>
                    <a:lnTo>
                      <a:pt x="456" y="680"/>
                    </a:lnTo>
                    <a:lnTo>
                      <a:pt x="456" y="678"/>
                    </a:lnTo>
                    <a:lnTo>
                      <a:pt x="455" y="675"/>
                    </a:lnTo>
                    <a:lnTo>
                      <a:pt x="455" y="673"/>
                    </a:lnTo>
                    <a:lnTo>
                      <a:pt x="456" y="671"/>
                    </a:lnTo>
                    <a:lnTo>
                      <a:pt x="455" y="668"/>
                    </a:lnTo>
                    <a:lnTo>
                      <a:pt x="454" y="666"/>
                    </a:lnTo>
                    <a:lnTo>
                      <a:pt x="454" y="665"/>
                    </a:lnTo>
                    <a:lnTo>
                      <a:pt x="450" y="663"/>
                    </a:lnTo>
                    <a:lnTo>
                      <a:pt x="444" y="662"/>
                    </a:lnTo>
                    <a:lnTo>
                      <a:pt x="439" y="658"/>
                    </a:lnTo>
                    <a:lnTo>
                      <a:pt x="436" y="658"/>
                    </a:lnTo>
                    <a:lnTo>
                      <a:pt x="433" y="658"/>
                    </a:lnTo>
                    <a:lnTo>
                      <a:pt x="425" y="658"/>
                    </a:lnTo>
                    <a:lnTo>
                      <a:pt x="422" y="654"/>
                    </a:lnTo>
                    <a:lnTo>
                      <a:pt x="419" y="650"/>
                    </a:lnTo>
                    <a:lnTo>
                      <a:pt x="418" y="649"/>
                    </a:lnTo>
                    <a:lnTo>
                      <a:pt x="411" y="650"/>
                    </a:lnTo>
                    <a:lnTo>
                      <a:pt x="406" y="649"/>
                    </a:lnTo>
                    <a:lnTo>
                      <a:pt x="402" y="647"/>
                    </a:lnTo>
                    <a:lnTo>
                      <a:pt x="396" y="643"/>
                    </a:lnTo>
                    <a:lnTo>
                      <a:pt x="395" y="640"/>
                    </a:lnTo>
                    <a:lnTo>
                      <a:pt x="395" y="635"/>
                    </a:lnTo>
                    <a:lnTo>
                      <a:pt x="393" y="634"/>
                    </a:lnTo>
                    <a:lnTo>
                      <a:pt x="385" y="631"/>
                    </a:lnTo>
                    <a:lnTo>
                      <a:pt x="380" y="630"/>
                    </a:lnTo>
                    <a:lnTo>
                      <a:pt x="374" y="628"/>
                    </a:lnTo>
                    <a:lnTo>
                      <a:pt x="374" y="624"/>
                    </a:lnTo>
                    <a:lnTo>
                      <a:pt x="376" y="620"/>
                    </a:lnTo>
                    <a:lnTo>
                      <a:pt x="373" y="617"/>
                    </a:lnTo>
                    <a:lnTo>
                      <a:pt x="373" y="613"/>
                    </a:lnTo>
                    <a:lnTo>
                      <a:pt x="188" y="495"/>
                    </a:lnTo>
                    <a:lnTo>
                      <a:pt x="142" y="467"/>
                    </a:lnTo>
                    <a:lnTo>
                      <a:pt x="89" y="435"/>
                    </a:lnTo>
                    <a:lnTo>
                      <a:pt x="47" y="410"/>
                    </a:lnTo>
                    <a:lnTo>
                      <a:pt x="0" y="383"/>
                    </a:lnTo>
                    <a:lnTo>
                      <a:pt x="0" y="362"/>
                    </a:lnTo>
                    <a:lnTo>
                      <a:pt x="0" y="319"/>
                    </a:lnTo>
                    <a:lnTo>
                      <a:pt x="19" y="306"/>
                    </a:lnTo>
                    <a:lnTo>
                      <a:pt x="32" y="298"/>
                    </a:lnTo>
                    <a:lnTo>
                      <a:pt x="41" y="298"/>
                    </a:lnTo>
                    <a:lnTo>
                      <a:pt x="46" y="294"/>
                    </a:lnTo>
                    <a:lnTo>
                      <a:pt x="52" y="293"/>
                    </a:lnTo>
                    <a:lnTo>
                      <a:pt x="55" y="288"/>
                    </a:lnTo>
                    <a:lnTo>
                      <a:pt x="58" y="285"/>
                    </a:lnTo>
                    <a:lnTo>
                      <a:pt x="63" y="287"/>
                    </a:lnTo>
                    <a:lnTo>
                      <a:pt x="68" y="285"/>
                    </a:lnTo>
                    <a:lnTo>
                      <a:pt x="72" y="288"/>
                    </a:lnTo>
                    <a:lnTo>
                      <a:pt x="79" y="288"/>
                    </a:lnTo>
                    <a:lnTo>
                      <a:pt x="79" y="287"/>
                    </a:lnTo>
                    <a:lnTo>
                      <a:pt x="79" y="282"/>
                    </a:lnTo>
                    <a:lnTo>
                      <a:pt x="80" y="279"/>
                    </a:lnTo>
                    <a:lnTo>
                      <a:pt x="92" y="280"/>
                    </a:lnTo>
                    <a:lnTo>
                      <a:pt x="95" y="279"/>
                    </a:lnTo>
                    <a:lnTo>
                      <a:pt x="102" y="279"/>
                    </a:lnTo>
                    <a:lnTo>
                      <a:pt x="113" y="277"/>
                    </a:lnTo>
                    <a:lnTo>
                      <a:pt x="125" y="274"/>
                    </a:lnTo>
                    <a:lnTo>
                      <a:pt x="130" y="270"/>
                    </a:lnTo>
                    <a:lnTo>
                      <a:pt x="134" y="267"/>
                    </a:lnTo>
                    <a:lnTo>
                      <a:pt x="135" y="263"/>
                    </a:lnTo>
                    <a:lnTo>
                      <a:pt x="135" y="262"/>
                    </a:lnTo>
                    <a:lnTo>
                      <a:pt x="138" y="257"/>
                    </a:lnTo>
                    <a:lnTo>
                      <a:pt x="145" y="253"/>
                    </a:lnTo>
                    <a:lnTo>
                      <a:pt x="154" y="249"/>
                    </a:lnTo>
                    <a:lnTo>
                      <a:pt x="159" y="249"/>
                    </a:lnTo>
                    <a:lnTo>
                      <a:pt x="178" y="237"/>
                    </a:lnTo>
                    <a:lnTo>
                      <a:pt x="192" y="236"/>
                    </a:lnTo>
                    <a:lnTo>
                      <a:pt x="195" y="234"/>
                    </a:lnTo>
                    <a:lnTo>
                      <a:pt x="194" y="232"/>
                    </a:lnTo>
                    <a:lnTo>
                      <a:pt x="190" y="229"/>
                    </a:lnTo>
                    <a:lnTo>
                      <a:pt x="189" y="227"/>
                    </a:lnTo>
                    <a:lnTo>
                      <a:pt x="188" y="227"/>
                    </a:lnTo>
                    <a:lnTo>
                      <a:pt x="186" y="229"/>
                    </a:lnTo>
                    <a:lnTo>
                      <a:pt x="185" y="229"/>
                    </a:lnTo>
                    <a:lnTo>
                      <a:pt x="186" y="222"/>
                    </a:lnTo>
                    <a:lnTo>
                      <a:pt x="189" y="219"/>
                    </a:lnTo>
                    <a:lnTo>
                      <a:pt x="189" y="218"/>
                    </a:lnTo>
                    <a:lnTo>
                      <a:pt x="185" y="217"/>
                    </a:lnTo>
                    <a:lnTo>
                      <a:pt x="185" y="216"/>
                    </a:lnTo>
                    <a:lnTo>
                      <a:pt x="185" y="212"/>
                    </a:lnTo>
                    <a:lnTo>
                      <a:pt x="186" y="209"/>
                    </a:lnTo>
                    <a:lnTo>
                      <a:pt x="189" y="206"/>
                    </a:lnTo>
                    <a:lnTo>
                      <a:pt x="192" y="206"/>
                    </a:lnTo>
                    <a:lnTo>
                      <a:pt x="197" y="208"/>
                    </a:lnTo>
                    <a:lnTo>
                      <a:pt x="202" y="208"/>
                    </a:lnTo>
                    <a:lnTo>
                      <a:pt x="208" y="206"/>
                    </a:lnTo>
                    <a:lnTo>
                      <a:pt x="218" y="202"/>
                    </a:lnTo>
                    <a:lnTo>
                      <a:pt x="219" y="201"/>
                    </a:lnTo>
                    <a:lnTo>
                      <a:pt x="219" y="198"/>
                    </a:lnTo>
                    <a:lnTo>
                      <a:pt x="219" y="195"/>
                    </a:lnTo>
                    <a:lnTo>
                      <a:pt x="221" y="191"/>
                    </a:lnTo>
                    <a:lnTo>
                      <a:pt x="223" y="191"/>
                    </a:lnTo>
                    <a:lnTo>
                      <a:pt x="227" y="191"/>
                    </a:lnTo>
                    <a:lnTo>
                      <a:pt x="230" y="191"/>
                    </a:lnTo>
                    <a:lnTo>
                      <a:pt x="233" y="191"/>
                    </a:lnTo>
                    <a:lnTo>
                      <a:pt x="240" y="188"/>
                    </a:lnTo>
                    <a:lnTo>
                      <a:pt x="261" y="188"/>
                    </a:lnTo>
                    <a:lnTo>
                      <a:pt x="265" y="188"/>
                    </a:lnTo>
                    <a:lnTo>
                      <a:pt x="272" y="188"/>
                    </a:lnTo>
                    <a:lnTo>
                      <a:pt x="282" y="188"/>
                    </a:lnTo>
                    <a:lnTo>
                      <a:pt x="287" y="191"/>
                    </a:lnTo>
                    <a:lnTo>
                      <a:pt x="288" y="190"/>
                    </a:lnTo>
                    <a:lnTo>
                      <a:pt x="288" y="188"/>
                    </a:lnTo>
                    <a:lnTo>
                      <a:pt x="287" y="186"/>
                    </a:lnTo>
                    <a:lnTo>
                      <a:pt x="287" y="181"/>
                    </a:lnTo>
                    <a:lnTo>
                      <a:pt x="290" y="177"/>
                    </a:lnTo>
                    <a:lnTo>
                      <a:pt x="293" y="176"/>
                    </a:lnTo>
                    <a:lnTo>
                      <a:pt x="293" y="175"/>
                    </a:lnTo>
                    <a:lnTo>
                      <a:pt x="288" y="173"/>
                    </a:lnTo>
                    <a:lnTo>
                      <a:pt x="282" y="167"/>
                    </a:lnTo>
                    <a:lnTo>
                      <a:pt x="277" y="159"/>
                    </a:lnTo>
                    <a:lnTo>
                      <a:pt x="277" y="154"/>
                    </a:lnTo>
                    <a:lnTo>
                      <a:pt x="275" y="150"/>
                    </a:lnTo>
                    <a:lnTo>
                      <a:pt x="274" y="146"/>
                    </a:lnTo>
                    <a:lnTo>
                      <a:pt x="274" y="143"/>
                    </a:lnTo>
                    <a:lnTo>
                      <a:pt x="275" y="140"/>
                    </a:lnTo>
                    <a:lnTo>
                      <a:pt x="275" y="137"/>
                    </a:lnTo>
                    <a:lnTo>
                      <a:pt x="275" y="135"/>
                    </a:lnTo>
                    <a:lnTo>
                      <a:pt x="271" y="130"/>
                    </a:lnTo>
                    <a:lnTo>
                      <a:pt x="272" y="128"/>
                    </a:lnTo>
                    <a:lnTo>
                      <a:pt x="272" y="123"/>
                    </a:lnTo>
                    <a:lnTo>
                      <a:pt x="272" y="117"/>
                    </a:lnTo>
                    <a:lnTo>
                      <a:pt x="272" y="111"/>
                    </a:lnTo>
                    <a:lnTo>
                      <a:pt x="269" y="106"/>
                    </a:lnTo>
                    <a:lnTo>
                      <a:pt x="272" y="102"/>
                    </a:lnTo>
                    <a:lnTo>
                      <a:pt x="268" y="97"/>
                    </a:lnTo>
                    <a:lnTo>
                      <a:pt x="268" y="96"/>
                    </a:lnTo>
                    <a:lnTo>
                      <a:pt x="269" y="96"/>
                    </a:lnTo>
                    <a:lnTo>
                      <a:pt x="269" y="95"/>
                    </a:lnTo>
                    <a:lnTo>
                      <a:pt x="268" y="92"/>
                    </a:lnTo>
                    <a:lnTo>
                      <a:pt x="266" y="91"/>
                    </a:lnTo>
                    <a:lnTo>
                      <a:pt x="262" y="89"/>
                    </a:lnTo>
                    <a:lnTo>
                      <a:pt x="261" y="86"/>
                    </a:lnTo>
                    <a:lnTo>
                      <a:pt x="257" y="85"/>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24" name="Freeform 110"/>
              <p:cNvSpPr>
                <a:spLocks/>
              </p:cNvSpPr>
              <p:nvPr/>
            </p:nvSpPr>
            <p:spPr bwMode="auto">
              <a:xfrm>
                <a:off x="1280" y="1568"/>
                <a:ext cx="659" cy="478"/>
              </a:xfrm>
              <a:custGeom>
                <a:avLst/>
                <a:gdLst>
                  <a:gd name="T0" fmla="*/ 48480 w 615"/>
                  <a:gd name="T1" fmla="*/ 9698 h 455"/>
                  <a:gd name="T2" fmla="*/ 47728 w 615"/>
                  <a:gd name="T3" fmla="*/ 9930 h 455"/>
                  <a:gd name="T4" fmla="*/ 46381 w 615"/>
                  <a:gd name="T5" fmla="*/ 10053 h 455"/>
                  <a:gd name="T6" fmla="*/ 45315 w 615"/>
                  <a:gd name="T7" fmla="*/ 10257 h 455"/>
                  <a:gd name="T8" fmla="*/ 43630 w 615"/>
                  <a:gd name="T9" fmla="*/ 10195 h 455"/>
                  <a:gd name="T10" fmla="*/ 41305 w 615"/>
                  <a:gd name="T11" fmla="*/ 10126 h 455"/>
                  <a:gd name="T12" fmla="*/ 37663 w 615"/>
                  <a:gd name="T13" fmla="*/ 10188 h 455"/>
                  <a:gd name="T14" fmla="*/ 34872 w 615"/>
                  <a:gd name="T15" fmla="*/ 10699 h 455"/>
                  <a:gd name="T16" fmla="*/ 31627 w 615"/>
                  <a:gd name="T17" fmla="*/ 10576 h 455"/>
                  <a:gd name="T18" fmla="*/ 28137 w 615"/>
                  <a:gd name="T19" fmla="*/ 10184 h 455"/>
                  <a:gd name="T20" fmla="*/ 25923 w 615"/>
                  <a:gd name="T21" fmla="*/ 10557 h 455"/>
                  <a:gd name="T22" fmla="*/ 24580 w 615"/>
                  <a:gd name="T23" fmla="*/ 10336 h 455"/>
                  <a:gd name="T24" fmla="*/ 19663 w 615"/>
                  <a:gd name="T25" fmla="*/ 9698 h 455"/>
                  <a:gd name="T26" fmla="*/ 17427 w 615"/>
                  <a:gd name="T27" fmla="*/ 9755 h 455"/>
                  <a:gd name="T28" fmla="*/ 14921 w 615"/>
                  <a:gd name="T29" fmla="*/ 10126 h 455"/>
                  <a:gd name="T30" fmla="*/ 13919 w 615"/>
                  <a:gd name="T31" fmla="*/ 10775 h 455"/>
                  <a:gd name="T32" fmla="*/ 12995 w 615"/>
                  <a:gd name="T33" fmla="*/ 11054 h 455"/>
                  <a:gd name="T34" fmla="*/ 12995 w 615"/>
                  <a:gd name="T35" fmla="*/ 11808 h 455"/>
                  <a:gd name="T36" fmla="*/ 11203 w 615"/>
                  <a:gd name="T37" fmla="*/ 11311 h 455"/>
                  <a:gd name="T38" fmla="*/ 9464 w 615"/>
                  <a:gd name="T39" fmla="*/ 11176 h 455"/>
                  <a:gd name="T40" fmla="*/ 8582 w 615"/>
                  <a:gd name="T41" fmla="*/ 11310 h 455"/>
                  <a:gd name="T42" fmla="*/ 8508 w 615"/>
                  <a:gd name="T43" fmla="*/ 11525 h 455"/>
                  <a:gd name="T44" fmla="*/ 7178 w 615"/>
                  <a:gd name="T45" fmla="*/ 11176 h 455"/>
                  <a:gd name="T46" fmla="*/ 7940 w 615"/>
                  <a:gd name="T47" fmla="*/ 11095 h 455"/>
                  <a:gd name="T48" fmla="*/ 7474 w 615"/>
                  <a:gd name="T49" fmla="*/ 10775 h 455"/>
                  <a:gd name="T50" fmla="*/ 6509 w 615"/>
                  <a:gd name="T51" fmla="*/ 10850 h 455"/>
                  <a:gd name="T52" fmla="*/ 5290 w 615"/>
                  <a:gd name="T53" fmla="*/ 10775 h 455"/>
                  <a:gd name="T54" fmla="*/ 3852 w 615"/>
                  <a:gd name="T55" fmla="*/ 10418 h 455"/>
                  <a:gd name="T56" fmla="*/ 1803 w 615"/>
                  <a:gd name="T57" fmla="*/ 9755 h 455"/>
                  <a:gd name="T58" fmla="*/ 904 w 615"/>
                  <a:gd name="T59" fmla="*/ 9228 h 455"/>
                  <a:gd name="T60" fmla="*/ 0 w 615"/>
                  <a:gd name="T61" fmla="*/ 8915 h 455"/>
                  <a:gd name="T62" fmla="*/ 4 w 615"/>
                  <a:gd name="T63" fmla="*/ 8479 h 455"/>
                  <a:gd name="T64" fmla="*/ 10468 w 615"/>
                  <a:gd name="T65" fmla="*/ 8142 h 455"/>
                  <a:gd name="T66" fmla="*/ 11644 w 615"/>
                  <a:gd name="T67" fmla="*/ 8078 h 455"/>
                  <a:gd name="T68" fmla="*/ 12864 w 615"/>
                  <a:gd name="T69" fmla="*/ 7967 h 455"/>
                  <a:gd name="T70" fmla="*/ 13919 w 615"/>
                  <a:gd name="T71" fmla="*/ 7651 h 455"/>
                  <a:gd name="T72" fmla="*/ 15077 w 615"/>
                  <a:gd name="T73" fmla="*/ 7479 h 455"/>
                  <a:gd name="T74" fmla="*/ 15077 w 615"/>
                  <a:gd name="T75" fmla="*/ 4573 h 455"/>
                  <a:gd name="T76" fmla="*/ 15077 w 615"/>
                  <a:gd name="T77" fmla="*/ 4298 h 455"/>
                  <a:gd name="T78" fmla="*/ 20694 w 615"/>
                  <a:gd name="T79" fmla="*/ 4017 h 455"/>
                  <a:gd name="T80" fmla="*/ 29424 w 615"/>
                  <a:gd name="T81" fmla="*/ 2453 h 455"/>
                  <a:gd name="T82" fmla="*/ 38459 w 615"/>
                  <a:gd name="T83" fmla="*/ 886 h 455"/>
                  <a:gd name="T84" fmla="*/ 43284 w 615"/>
                  <a:gd name="T85" fmla="*/ 0 h 455"/>
                  <a:gd name="T86" fmla="*/ 48557 w 615"/>
                  <a:gd name="T87" fmla="*/ 0 h 455"/>
                  <a:gd name="T88" fmla="*/ 52123 w 615"/>
                  <a:gd name="T89" fmla="*/ 5 h 455"/>
                  <a:gd name="T90" fmla="*/ 53680 w 615"/>
                  <a:gd name="T91" fmla="*/ 383 h 455"/>
                  <a:gd name="T92" fmla="*/ 55037 w 615"/>
                  <a:gd name="T93" fmla="*/ 1949 h 455"/>
                  <a:gd name="T94" fmla="*/ 55665 w 615"/>
                  <a:gd name="T95" fmla="*/ 2261 h 455"/>
                  <a:gd name="T96" fmla="*/ 56413 w 615"/>
                  <a:gd name="T97" fmla="*/ 2658 h 455"/>
                  <a:gd name="T98" fmla="*/ 58829 w 615"/>
                  <a:gd name="T99" fmla="*/ 3081 h 455"/>
                  <a:gd name="T100" fmla="*/ 56566 w 615"/>
                  <a:gd name="T101" fmla="*/ 6576 h 455"/>
                  <a:gd name="T102" fmla="*/ 50218 w 615"/>
                  <a:gd name="T103" fmla="*/ 8667 h 455"/>
                  <a:gd name="T104" fmla="*/ 49401 w 615"/>
                  <a:gd name="T105" fmla="*/ 8840 h 455"/>
                  <a:gd name="T106" fmla="*/ 48873 w 615"/>
                  <a:gd name="T107" fmla="*/ 9195 h 455"/>
                  <a:gd name="T108" fmla="*/ 47814 w 615"/>
                  <a:gd name="T109" fmla="*/ 9366 h 4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15"/>
                  <a:gd name="T166" fmla="*/ 0 h 455"/>
                  <a:gd name="T167" fmla="*/ 615 w 615"/>
                  <a:gd name="T168" fmla="*/ 455 h 4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15" h="455">
                    <a:moveTo>
                      <a:pt x="500" y="366"/>
                    </a:moveTo>
                    <a:lnTo>
                      <a:pt x="503" y="369"/>
                    </a:lnTo>
                    <a:lnTo>
                      <a:pt x="506" y="374"/>
                    </a:lnTo>
                    <a:lnTo>
                      <a:pt x="505" y="376"/>
                    </a:lnTo>
                    <a:lnTo>
                      <a:pt x="504" y="376"/>
                    </a:lnTo>
                    <a:lnTo>
                      <a:pt x="499" y="384"/>
                    </a:lnTo>
                    <a:lnTo>
                      <a:pt x="495" y="384"/>
                    </a:lnTo>
                    <a:lnTo>
                      <a:pt x="490" y="384"/>
                    </a:lnTo>
                    <a:lnTo>
                      <a:pt x="485" y="387"/>
                    </a:lnTo>
                    <a:lnTo>
                      <a:pt x="485" y="388"/>
                    </a:lnTo>
                    <a:lnTo>
                      <a:pt x="479" y="395"/>
                    </a:lnTo>
                    <a:lnTo>
                      <a:pt x="473" y="397"/>
                    </a:lnTo>
                    <a:lnTo>
                      <a:pt x="466" y="399"/>
                    </a:lnTo>
                    <a:lnTo>
                      <a:pt x="463" y="395"/>
                    </a:lnTo>
                    <a:lnTo>
                      <a:pt x="456" y="394"/>
                    </a:lnTo>
                    <a:lnTo>
                      <a:pt x="451" y="390"/>
                    </a:lnTo>
                    <a:lnTo>
                      <a:pt x="446" y="390"/>
                    </a:lnTo>
                    <a:lnTo>
                      <a:pt x="432" y="390"/>
                    </a:lnTo>
                    <a:lnTo>
                      <a:pt x="425" y="393"/>
                    </a:lnTo>
                    <a:lnTo>
                      <a:pt x="412" y="392"/>
                    </a:lnTo>
                    <a:lnTo>
                      <a:pt x="394" y="393"/>
                    </a:lnTo>
                    <a:lnTo>
                      <a:pt x="387" y="395"/>
                    </a:lnTo>
                    <a:lnTo>
                      <a:pt x="377" y="405"/>
                    </a:lnTo>
                    <a:lnTo>
                      <a:pt x="365" y="412"/>
                    </a:lnTo>
                    <a:lnTo>
                      <a:pt x="357" y="414"/>
                    </a:lnTo>
                    <a:lnTo>
                      <a:pt x="339" y="410"/>
                    </a:lnTo>
                    <a:lnTo>
                      <a:pt x="332" y="409"/>
                    </a:lnTo>
                    <a:lnTo>
                      <a:pt x="316" y="399"/>
                    </a:lnTo>
                    <a:lnTo>
                      <a:pt x="303" y="392"/>
                    </a:lnTo>
                    <a:lnTo>
                      <a:pt x="294" y="392"/>
                    </a:lnTo>
                    <a:lnTo>
                      <a:pt x="288" y="394"/>
                    </a:lnTo>
                    <a:lnTo>
                      <a:pt x="277" y="400"/>
                    </a:lnTo>
                    <a:lnTo>
                      <a:pt x="271" y="406"/>
                    </a:lnTo>
                    <a:lnTo>
                      <a:pt x="265" y="406"/>
                    </a:lnTo>
                    <a:lnTo>
                      <a:pt x="262" y="404"/>
                    </a:lnTo>
                    <a:lnTo>
                      <a:pt x="257" y="400"/>
                    </a:lnTo>
                    <a:lnTo>
                      <a:pt x="242" y="387"/>
                    </a:lnTo>
                    <a:lnTo>
                      <a:pt x="216" y="374"/>
                    </a:lnTo>
                    <a:lnTo>
                      <a:pt x="205" y="374"/>
                    </a:lnTo>
                    <a:lnTo>
                      <a:pt x="199" y="376"/>
                    </a:lnTo>
                    <a:lnTo>
                      <a:pt x="194" y="377"/>
                    </a:lnTo>
                    <a:lnTo>
                      <a:pt x="183" y="376"/>
                    </a:lnTo>
                    <a:lnTo>
                      <a:pt x="169" y="379"/>
                    </a:lnTo>
                    <a:lnTo>
                      <a:pt x="157" y="388"/>
                    </a:lnTo>
                    <a:lnTo>
                      <a:pt x="156" y="390"/>
                    </a:lnTo>
                    <a:lnTo>
                      <a:pt x="153" y="403"/>
                    </a:lnTo>
                    <a:lnTo>
                      <a:pt x="148" y="412"/>
                    </a:lnTo>
                    <a:lnTo>
                      <a:pt x="145" y="417"/>
                    </a:lnTo>
                    <a:lnTo>
                      <a:pt x="141" y="419"/>
                    </a:lnTo>
                    <a:lnTo>
                      <a:pt x="137" y="422"/>
                    </a:lnTo>
                    <a:lnTo>
                      <a:pt x="136" y="426"/>
                    </a:lnTo>
                    <a:lnTo>
                      <a:pt x="135" y="431"/>
                    </a:lnTo>
                    <a:lnTo>
                      <a:pt x="136" y="448"/>
                    </a:lnTo>
                    <a:lnTo>
                      <a:pt x="136" y="455"/>
                    </a:lnTo>
                    <a:lnTo>
                      <a:pt x="130" y="448"/>
                    </a:lnTo>
                    <a:lnTo>
                      <a:pt x="125" y="445"/>
                    </a:lnTo>
                    <a:lnTo>
                      <a:pt x="116" y="437"/>
                    </a:lnTo>
                    <a:lnTo>
                      <a:pt x="109" y="429"/>
                    </a:lnTo>
                    <a:lnTo>
                      <a:pt x="106" y="428"/>
                    </a:lnTo>
                    <a:lnTo>
                      <a:pt x="100" y="431"/>
                    </a:lnTo>
                    <a:lnTo>
                      <a:pt x="97" y="431"/>
                    </a:lnTo>
                    <a:lnTo>
                      <a:pt x="89" y="434"/>
                    </a:lnTo>
                    <a:lnTo>
                      <a:pt x="90" y="436"/>
                    </a:lnTo>
                    <a:lnTo>
                      <a:pt x="93" y="443"/>
                    </a:lnTo>
                    <a:lnTo>
                      <a:pt x="90" y="445"/>
                    </a:lnTo>
                    <a:lnTo>
                      <a:pt x="89" y="445"/>
                    </a:lnTo>
                    <a:lnTo>
                      <a:pt x="82" y="438"/>
                    </a:lnTo>
                    <a:lnTo>
                      <a:pt x="77" y="432"/>
                    </a:lnTo>
                    <a:lnTo>
                      <a:pt x="76" y="431"/>
                    </a:lnTo>
                    <a:lnTo>
                      <a:pt x="77" y="428"/>
                    </a:lnTo>
                    <a:lnTo>
                      <a:pt x="80" y="427"/>
                    </a:lnTo>
                    <a:lnTo>
                      <a:pt x="83" y="428"/>
                    </a:lnTo>
                    <a:lnTo>
                      <a:pt x="85" y="426"/>
                    </a:lnTo>
                    <a:lnTo>
                      <a:pt x="83" y="425"/>
                    </a:lnTo>
                    <a:lnTo>
                      <a:pt x="78" y="417"/>
                    </a:lnTo>
                    <a:lnTo>
                      <a:pt x="75" y="416"/>
                    </a:lnTo>
                    <a:lnTo>
                      <a:pt x="71" y="416"/>
                    </a:lnTo>
                    <a:lnTo>
                      <a:pt x="68" y="419"/>
                    </a:lnTo>
                    <a:lnTo>
                      <a:pt x="65" y="421"/>
                    </a:lnTo>
                    <a:lnTo>
                      <a:pt x="63" y="421"/>
                    </a:lnTo>
                    <a:lnTo>
                      <a:pt x="55" y="417"/>
                    </a:lnTo>
                    <a:lnTo>
                      <a:pt x="50" y="416"/>
                    </a:lnTo>
                    <a:lnTo>
                      <a:pt x="42" y="406"/>
                    </a:lnTo>
                    <a:lnTo>
                      <a:pt x="40" y="402"/>
                    </a:lnTo>
                    <a:lnTo>
                      <a:pt x="35" y="392"/>
                    </a:lnTo>
                    <a:lnTo>
                      <a:pt x="30" y="386"/>
                    </a:lnTo>
                    <a:lnTo>
                      <a:pt x="19" y="376"/>
                    </a:lnTo>
                    <a:lnTo>
                      <a:pt x="10" y="366"/>
                    </a:lnTo>
                    <a:lnTo>
                      <a:pt x="9" y="361"/>
                    </a:lnTo>
                    <a:lnTo>
                      <a:pt x="9" y="355"/>
                    </a:lnTo>
                    <a:lnTo>
                      <a:pt x="7" y="353"/>
                    </a:lnTo>
                    <a:lnTo>
                      <a:pt x="1" y="348"/>
                    </a:lnTo>
                    <a:lnTo>
                      <a:pt x="0" y="346"/>
                    </a:lnTo>
                    <a:lnTo>
                      <a:pt x="2" y="339"/>
                    </a:lnTo>
                    <a:lnTo>
                      <a:pt x="2" y="332"/>
                    </a:lnTo>
                    <a:lnTo>
                      <a:pt x="4" y="328"/>
                    </a:lnTo>
                    <a:lnTo>
                      <a:pt x="29" y="328"/>
                    </a:lnTo>
                    <a:lnTo>
                      <a:pt x="47" y="315"/>
                    </a:lnTo>
                    <a:lnTo>
                      <a:pt x="109" y="314"/>
                    </a:lnTo>
                    <a:lnTo>
                      <a:pt x="113" y="315"/>
                    </a:lnTo>
                    <a:lnTo>
                      <a:pt x="113" y="311"/>
                    </a:lnTo>
                    <a:lnTo>
                      <a:pt x="123" y="313"/>
                    </a:lnTo>
                    <a:lnTo>
                      <a:pt x="130" y="314"/>
                    </a:lnTo>
                    <a:lnTo>
                      <a:pt x="130" y="311"/>
                    </a:lnTo>
                    <a:lnTo>
                      <a:pt x="133" y="308"/>
                    </a:lnTo>
                    <a:lnTo>
                      <a:pt x="135" y="306"/>
                    </a:lnTo>
                    <a:lnTo>
                      <a:pt x="144" y="301"/>
                    </a:lnTo>
                    <a:lnTo>
                      <a:pt x="145" y="296"/>
                    </a:lnTo>
                    <a:lnTo>
                      <a:pt x="147" y="292"/>
                    </a:lnTo>
                    <a:lnTo>
                      <a:pt x="153" y="288"/>
                    </a:lnTo>
                    <a:lnTo>
                      <a:pt x="157" y="287"/>
                    </a:lnTo>
                    <a:lnTo>
                      <a:pt x="157" y="250"/>
                    </a:lnTo>
                    <a:lnTo>
                      <a:pt x="157" y="214"/>
                    </a:lnTo>
                    <a:lnTo>
                      <a:pt x="157" y="177"/>
                    </a:lnTo>
                    <a:lnTo>
                      <a:pt x="157" y="170"/>
                    </a:lnTo>
                    <a:lnTo>
                      <a:pt x="157" y="167"/>
                    </a:lnTo>
                    <a:lnTo>
                      <a:pt x="162" y="167"/>
                    </a:lnTo>
                    <a:lnTo>
                      <a:pt x="207" y="157"/>
                    </a:lnTo>
                    <a:lnTo>
                      <a:pt x="216" y="154"/>
                    </a:lnTo>
                    <a:lnTo>
                      <a:pt x="247" y="134"/>
                    </a:lnTo>
                    <a:lnTo>
                      <a:pt x="278" y="113"/>
                    </a:lnTo>
                    <a:lnTo>
                      <a:pt x="308" y="94"/>
                    </a:lnTo>
                    <a:lnTo>
                      <a:pt x="339" y="74"/>
                    </a:lnTo>
                    <a:lnTo>
                      <a:pt x="370" y="53"/>
                    </a:lnTo>
                    <a:lnTo>
                      <a:pt x="401" y="34"/>
                    </a:lnTo>
                    <a:lnTo>
                      <a:pt x="432" y="14"/>
                    </a:lnTo>
                    <a:lnTo>
                      <a:pt x="450" y="2"/>
                    </a:lnTo>
                    <a:lnTo>
                      <a:pt x="453" y="0"/>
                    </a:lnTo>
                    <a:lnTo>
                      <a:pt x="456" y="0"/>
                    </a:lnTo>
                    <a:lnTo>
                      <a:pt x="477" y="0"/>
                    </a:lnTo>
                    <a:lnTo>
                      <a:pt x="507" y="0"/>
                    </a:lnTo>
                    <a:lnTo>
                      <a:pt x="536" y="2"/>
                    </a:lnTo>
                    <a:lnTo>
                      <a:pt x="542" y="4"/>
                    </a:lnTo>
                    <a:lnTo>
                      <a:pt x="545" y="5"/>
                    </a:lnTo>
                    <a:lnTo>
                      <a:pt x="548" y="9"/>
                    </a:lnTo>
                    <a:lnTo>
                      <a:pt x="558" y="14"/>
                    </a:lnTo>
                    <a:lnTo>
                      <a:pt x="561" y="15"/>
                    </a:lnTo>
                    <a:lnTo>
                      <a:pt x="564" y="22"/>
                    </a:lnTo>
                    <a:lnTo>
                      <a:pt x="577" y="19"/>
                    </a:lnTo>
                    <a:lnTo>
                      <a:pt x="577" y="75"/>
                    </a:lnTo>
                    <a:lnTo>
                      <a:pt x="578" y="78"/>
                    </a:lnTo>
                    <a:lnTo>
                      <a:pt x="581" y="85"/>
                    </a:lnTo>
                    <a:lnTo>
                      <a:pt x="581" y="87"/>
                    </a:lnTo>
                    <a:lnTo>
                      <a:pt x="585" y="93"/>
                    </a:lnTo>
                    <a:lnTo>
                      <a:pt x="587" y="99"/>
                    </a:lnTo>
                    <a:lnTo>
                      <a:pt x="590" y="103"/>
                    </a:lnTo>
                    <a:lnTo>
                      <a:pt x="594" y="108"/>
                    </a:lnTo>
                    <a:lnTo>
                      <a:pt x="599" y="111"/>
                    </a:lnTo>
                    <a:lnTo>
                      <a:pt x="615" y="119"/>
                    </a:lnTo>
                    <a:lnTo>
                      <a:pt x="604" y="135"/>
                    </a:lnTo>
                    <a:lnTo>
                      <a:pt x="594" y="188"/>
                    </a:lnTo>
                    <a:lnTo>
                      <a:pt x="591" y="254"/>
                    </a:lnTo>
                    <a:lnTo>
                      <a:pt x="589" y="257"/>
                    </a:lnTo>
                    <a:lnTo>
                      <a:pt x="525" y="325"/>
                    </a:lnTo>
                    <a:lnTo>
                      <a:pt x="525" y="332"/>
                    </a:lnTo>
                    <a:lnTo>
                      <a:pt x="522" y="333"/>
                    </a:lnTo>
                    <a:lnTo>
                      <a:pt x="522" y="340"/>
                    </a:lnTo>
                    <a:lnTo>
                      <a:pt x="516" y="342"/>
                    </a:lnTo>
                    <a:lnTo>
                      <a:pt x="513" y="345"/>
                    </a:lnTo>
                    <a:lnTo>
                      <a:pt x="514" y="352"/>
                    </a:lnTo>
                    <a:lnTo>
                      <a:pt x="511" y="354"/>
                    </a:lnTo>
                    <a:lnTo>
                      <a:pt x="508" y="355"/>
                    </a:lnTo>
                    <a:lnTo>
                      <a:pt x="504" y="358"/>
                    </a:lnTo>
                    <a:lnTo>
                      <a:pt x="500" y="363"/>
                    </a:lnTo>
                    <a:lnTo>
                      <a:pt x="500" y="366"/>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5" name="Freeform 111"/>
              <p:cNvSpPr>
                <a:spLocks/>
              </p:cNvSpPr>
              <p:nvPr/>
            </p:nvSpPr>
            <p:spPr bwMode="auto">
              <a:xfrm>
                <a:off x="1280" y="1568"/>
                <a:ext cx="659" cy="478"/>
              </a:xfrm>
              <a:custGeom>
                <a:avLst/>
                <a:gdLst>
                  <a:gd name="T0" fmla="*/ 48480 w 615"/>
                  <a:gd name="T1" fmla="*/ 9698 h 455"/>
                  <a:gd name="T2" fmla="*/ 47728 w 615"/>
                  <a:gd name="T3" fmla="*/ 9930 h 455"/>
                  <a:gd name="T4" fmla="*/ 46381 w 615"/>
                  <a:gd name="T5" fmla="*/ 10053 h 455"/>
                  <a:gd name="T6" fmla="*/ 45315 w 615"/>
                  <a:gd name="T7" fmla="*/ 10257 h 455"/>
                  <a:gd name="T8" fmla="*/ 43630 w 615"/>
                  <a:gd name="T9" fmla="*/ 10195 h 455"/>
                  <a:gd name="T10" fmla="*/ 41305 w 615"/>
                  <a:gd name="T11" fmla="*/ 10126 h 455"/>
                  <a:gd name="T12" fmla="*/ 37663 w 615"/>
                  <a:gd name="T13" fmla="*/ 10188 h 455"/>
                  <a:gd name="T14" fmla="*/ 34872 w 615"/>
                  <a:gd name="T15" fmla="*/ 10699 h 455"/>
                  <a:gd name="T16" fmla="*/ 31627 w 615"/>
                  <a:gd name="T17" fmla="*/ 10576 h 455"/>
                  <a:gd name="T18" fmla="*/ 28137 w 615"/>
                  <a:gd name="T19" fmla="*/ 10184 h 455"/>
                  <a:gd name="T20" fmla="*/ 25923 w 615"/>
                  <a:gd name="T21" fmla="*/ 10557 h 455"/>
                  <a:gd name="T22" fmla="*/ 24580 w 615"/>
                  <a:gd name="T23" fmla="*/ 10336 h 455"/>
                  <a:gd name="T24" fmla="*/ 19663 w 615"/>
                  <a:gd name="T25" fmla="*/ 9698 h 455"/>
                  <a:gd name="T26" fmla="*/ 17427 w 615"/>
                  <a:gd name="T27" fmla="*/ 9755 h 455"/>
                  <a:gd name="T28" fmla="*/ 14921 w 615"/>
                  <a:gd name="T29" fmla="*/ 10126 h 455"/>
                  <a:gd name="T30" fmla="*/ 13919 w 615"/>
                  <a:gd name="T31" fmla="*/ 10775 h 455"/>
                  <a:gd name="T32" fmla="*/ 12995 w 615"/>
                  <a:gd name="T33" fmla="*/ 11054 h 455"/>
                  <a:gd name="T34" fmla="*/ 12995 w 615"/>
                  <a:gd name="T35" fmla="*/ 11808 h 455"/>
                  <a:gd name="T36" fmla="*/ 11203 w 615"/>
                  <a:gd name="T37" fmla="*/ 11311 h 455"/>
                  <a:gd name="T38" fmla="*/ 9464 w 615"/>
                  <a:gd name="T39" fmla="*/ 11176 h 455"/>
                  <a:gd name="T40" fmla="*/ 8582 w 615"/>
                  <a:gd name="T41" fmla="*/ 11310 h 455"/>
                  <a:gd name="T42" fmla="*/ 8508 w 615"/>
                  <a:gd name="T43" fmla="*/ 11525 h 455"/>
                  <a:gd name="T44" fmla="*/ 7178 w 615"/>
                  <a:gd name="T45" fmla="*/ 11176 h 455"/>
                  <a:gd name="T46" fmla="*/ 7940 w 615"/>
                  <a:gd name="T47" fmla="*/ 11095 h 455"/>
                  <a:gd name="T48" fmla="*/ 7474 w 615"/>
                  <a:gd name="T49" fmla="*/ 10775 h 455"/>
                  <a:gd name="T50" fmla="*/ 6509 w 615"/>
                  <a:gd name="T51" fmla="*/ 10850 h 455"/>
                  <a:gd name="T52" fmla="*/ 5290 w 615"/>
                  <a:gd name="T53" fmla="*/ 10775 h 455"/>
                  <a:gd name="T54" fmla="*/ 3852 w 615"/>
                  <a:gd name="T55" fmla="*/ 10418 h 455"/>
                  <a:gd name="T56" fmla="*/ 1803 w 615"/>
                  <a:gd name="T57" fmla="*/ 9755 h 455"/>
                  <a:gd name="T58" fmla="*/ 904 w 615"/>
                  <a:gd name="T59" fmla="*/ 9228 h 455"/>
                  <a:gd name="T60" fmla="*/ 0 w 615"/>
                  <a:gd name="T61" fmla="*/ 8915 h 455"/>
                  <a:gd name="T62" fmla="*/ 4 w 615"/>
                  <a:gd name="T63" fmla="*/ 8479 h 455"/>
                  <a:gd name="T64" fmla="*/ 10468 w 615"/>
                  <a:gd name="T65" fmla="*/ 8142 h 455"/>
                  <a:gd name="T66" fmla="*/ 11644 w 615"/>
                  <a:gd name="T67" fmla="*/ 8078 h 455"/>
                  <a:gd name="T68" fmla="*/ 12864 w 615"/>
                  <a:gd name="T69" fmla="*/ 7967 h 455"/>
                  <a:gd name="T70" fmla="*/ 13919 w 615"/>
                  <a:gd name="T71" fmla="*/ 7651 h 455"/>
                  <a:gd name="T72" fmla="*/ 15077 w 615"/>
                  <a:gd name="T73" fmla="*/ 7479 h 455"/>
                  <a:gd name="T74" fmla="*/ 15077 w 615"/>
                  <a:gd name="T75" fmla="*/ 4573 h 455"/>
                  <a:gd name="T76" fmla="*/ 15077 w 615"/>
                  <a:gd name="T77" fmla="*/ 4298 h 455"/>
                  <a:gd name="T78" fmla="*/ 20694 w 615"/>
                  <a:gd name="T79" fmla="*/ 4017 h 455"/>
                  <a:gd name="T80" fmla="*/ 29424 w 615"/>
                  <a:gd name="T81" fmla="*/ 2453 h 455"/>
                  <a:gd name="T82" fmla="*/ 38459 w 615"/>
                  <a:gd name="T83" fmla="*/ 886 h 455"/>
                  <a:gd name="T84" fmla="*/ 43284 w 615"/>
                  <a:gd name="T85" fmla="*/ 0 h 455"/>
                  <a:gd name="T86" fmla="*/ 48557 w 615"/>
                  <a:gd name="T87" fmla="*/ 0 h 455"/>
                  <a:gd name="T88" fmla="*/ 52123 w 615"/>
                  <a:gd name="T89" fmla="*/ 5 h 455"/>
                  <a:gd name="T90" fmla="*/ 53680 w 615"/>
                  <a:gd name="T91" fmla="*/ 383 h 455"/>
                  <a:gd name="T92" fmla="*/ 55037 w 615"/>
                  <a:gd name="T93" fmla="*/ 1949 h 455"/>
                  <a:gd name="T94" fmla="*/ 55665 w 615"/>
                  <a:gd name="T95" fmla="*/ 2261 h 455"/>
                  <a:gd name="T96" fmla="*/ 56413 w 615"/>
                  <a:gd name="T97" fmla="*/ 2658 h 455"/>
                  <a:gd name="T98" fmla="*/ 58829 w 615"/>
                  <a:gd name="T99" fmla="*/ 3081 h 455"/>
                  <a:gd name="T100" fmla="*/ 56566 w 615"/>
                  <a:gd name="T101" fmla="*/ 6576 h 455"/>
                  <a:gd name="T102" fmla="*/ 50218 w 615"/>
                  <a:gd name="T103" fmla="*/ 8667 h 455"/>
                  <a:gd name="T104" fmla="*/ 49401 w 615"/>
                  <a:gd name="T105" fmla="*/ 8840 h 455"/>
                  <a:gd name="T106" fmla="*/ 48873 w 615"/>
                  <a:gd name="T107" fmla="*/ 9195 h 455"/>
                  <a:gd name="T108" fmla="*/ 47814 w 615"/>
                  <a:gd name="T109" fmla="*/ 9366 h 4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15"/>
                  <a:gd name="T166" fmla="*/ 0 h 455"/>
                  <a:gd name="T167" fmla="*/ 615 w 615"/>
                  <a:gd name="T168" fmla="*/ 455 h 4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15" h="455">
                    <a:moveTo>
                      <a:pt x="500" y="366"/>
                    </a:moveTo>
                    <a:lnTo>
                      <a:pt x="503" y="369"/>
                    </a:lnTo>
                    <a:lnTo>
                      <a:pt x="506" y="374"/>
                    </a:lnTo>
                    <a:lnTo>
                      <a:pt x="505" y="376"/>
                    </a:lnTo>
                    <a:lnTo>
                      <a:pt x="504" y="376"/>
                    </a:lnTo>
                    <a:lnTo>
                      <a:pt x="499" y="384"/>
                    </a:lnTo>
                    <a:lnTo>
                      <a:pt x="495" y="384"/>
                    </a:lnTo>
                    <a:lnTo>
                      <a:pt x="490" y="384"/>
                    </a:lnTo>
                    <a:lnTo>
                      <a:pt x="485" y="387"/>
                    </a:lnTo>
                    <a:lnTo>
                      <a:pt x="485" y="388"/>
                    </a:lnTo>
                    <a:lnTo>
                      <a:pt x="479" y="395"/>
                    </a:lnTo>
                    <a:lnTo>
                      <a:pt x="473" y="397"/>
                    </a:lnTo>
                    <a:lnTo>
                      <a:pt x="466" y="399"/>
                    </a:lnTo>
                    <a:lnTo>
                      <a:pt x="463" y="395"/>
                    </a:lnTo>
                    <a:lnTo>
                      <a:pt x="456" y="394"/>
                    </a:lnTo>
                    <a:lnTo>
                      <a:pt x="451" y="390"/>
                    </a:lnTo>
                    <a:lnTo>
                      <a:pt x="446" y="390"/>
                    </a:lnTo>
                    <a:lnTo>
                      <a:pt x="432" y="390"/>
                    </a:lnTo>
                    <a:lnTo>
                      <a:pt x="425" y="393"/>
                    </a:lnTo>
                    <a:lnTo>
                      <a:pt x="412" y="392"/>
                    </a:lnTo>
                    <a:lnTo>
                      <a:pt x="394" y="393"/>
                    </a:lnTo>
                    <a:lnTo>
                      <a:pt x="387" y="395"/>
                    </a:lnTo>
                    <a:lnTo>
                      <a:pt x="377" y="405"/>
                    </a:lnTo>
                    <a:lnTo>
                      <a:pt x="365" y="412"/>
                    </a:lnTo>
                    <a:lnTo>
                      <a:pt x="357" y="414"/>
                    </a:lnTo>
                    <a:lnTo>
                      <a:pt x="339" y="410"/>
                    </a:lnTo>
                    <a:lnTo>
                      <a:pt x="332" y="409"/>
                    </a:lnTo>
                    <a:lnTo>
                      <a:pt x="316" y="399"/>
                    </a:lnTo>
                    <a:lnTo>
                      <a:pt x="303" y="392"/>
                    </a:lnTo>
                    <a:lnTo>
                      <a:pt x="294" y="392"/>
                    </a:lnTo>
                    <a:lnTo>
                      <a:pt x="288" y="394"/>
                    </a:lnTo>
                    <a:lnTo>
                      <a:pt x="277" y="400"/>
                    </a:lnTo>
                    <a:lnTo>
                      <a:pt x="271" y="406"/>
                    </a:lnTo>
                    <a:lnTo>
                      <a:pt x="265" y="406"/>
                    </a:lnTo>
                    <a:lnTo>
                      <a:pt x="262" y="404"/>
                    </a:lnTo>
                    <a:lnTo>
                      <a:pt x="257" y="400"/>
                    </a:lnTo>
                    <a:lnTo>
                      <a:pt x="242" y="387"/>
                    </a:lnTo>
                    <a:lnTo>
                      <a:pt x="216" y="374"/>
                    </a:lnTo>
                    <a:lnTo>
                      <a:pt x="205" y="374"/>
                    </a:lnTo>
                    <a:lnTo>
                      <a:pt x="199" y="376"/>
                    </a:lnTo>
                    <a:lnTo>
                      <a:pt x="194" y="377"/>
                    </a:lnTo>
                    <a:lnTo>
                      <a:pt x="183" y="376"/>
                    </a:lnTo>
                    <a:lnTo>
                      <a:pt x="169" y="379"/>
                    </a:lnTo>
                    <a:lnTo>
                      <a:pt x="157" y="388"/>
                    </a:lnTo>
                    <a:lnTo>
                      <a:pt x="156" y="390"/>
                    </a:lnTo>
                    <a:lnTo>
                      <a:pt x="153" y="403"/>
                    </a:lnTo>
                    <a:lnTo>
                      <a:pt x="148" y="412"/>
                    </a:lnTo>
                    <a:lnTo>
                      <a:pt x="145" y="417"/>
                    </a:lnTo>
                    <a:lnTo>
                      <a:pt x="141" y="419"/>
                    </a:lnTo>
                    <a:lnTo>
                      <a:pt x="137" y="422"/>
                    </a:lnTo>
                    <a:lnTo>
                      <a:pt x="136" y="426"/>
                    </a:lnTo>
                    <a:lnTo>
                      <a:pt x="135" y="431"/>
                    </a:lnTo>
                    <a:lnTo>
                      <a:pt x="136" y="448"/>
                    </a:lnTo>
                    <a:lnTo>
                      <a:pt x="136" y="455"/>
                    </a:lnTo>
                    <a:lnTo>
                      <a:pt x="130" y="448"/>
                    </a:lnTo>
                    <a:lnTo>
                      <a:pt x="125" y="445"/>
                    </a:lnTo>
                    <a:lnTo>
                      <a:pt x="116" y="437"/>
                    </a:lnTo>
                    <a:lnTo>
                      <a:pt x="109" y="429"/>
                    </a:lnTo>
                    <a:lnTo>
                      <a:pt x="106" y="428"/>
                    </a:lnTo>
                    <a:lnTo>
                      <a:pt x="100" y="431"/>
                    </a:lnTo>
                    <a:lnTo>
                      <a:pt x="97" y="431"/>
                    </a:lnTo>
                    <a:lnTo>
                      <a:pt x="89" y="434"/>
                    </a:lnTo>
                    <a:lnTo>
                      <a:pt x="90" y="436"/>
                    </a:lnTo>
                    <a:lnTo>
                      <a:pt x="93" y="443"/>
                    </a:lnTo>
                    <a:lnTo>
                      <a:pt x="90" y="445"/>
                    </a:lnTo>
                    <a:lnTo>
                      <a:pt x="89" y="445"/>
                    </a:lnTo>
                    <a:lnTo>
                      <a:pt x="82" y="438"/>
                    </a:lnTo>
                    <a:lnTo>
                      <a:pt x="77" y="432"/>
                    </a:lnTo>
                    <a:lnTo>
                      <a:pt x="76" y="431"/>
                    </a:lnTo>
                    <a:lnTo>
                      <a:pt x="77" y="428"/>
                    </a:lnTo>
                    <a:lnTo>
                      <a:pt x="80" y="427"/>
                    </a:lnTo>
                    <a:lnTo>
                      <a:pt x="83" y="428"/>
                    </a:lnTo>
                    <a:lnTo>
                      <a:pt x="85" y="426"/>
                    </a:lnTo>
                    <a:lnTo>
                      <a:pt x="83" y="425"/>
                    </a:lnTo>
                    <a:lnTo>
                      <a:pt x="78" y="417"/>
                    </a:lnTo>
                    <a:lnTo>
                      <a:pt x="75" y="416"/>
                    </a:lnTo>
                    <a:lnTo>
                      <a:pt x="71" y="416"/>
                    </a:lnTo>
                    <a:lnTo>
                      <a:pt x="68" y="419"/>
                    </a:lnTo>
                    <a:lnTo>
                      <a:pt x="65" y="421"/>
                    </a:lnTo>
                    <a:lnTo>
                      <a:pt x="63" y="421"/>
                    </a:lnTo>
                    <a:lnTo>
                      <a:pt x="55" y="417"/>
                    </a:lnTo>
                    <a:lnTo>
                      <a:pt x="50" y="416"/>
                    </a:lnTo>
                    <a:lnTo>
                      <a:pt x="42" y="406"/>
                    </a:lnTo>
                    <a:lnTo>
                      <a:pt x="40" y="402"/>
                    </a:lnTo>
                    <a:lnTo>
                      <a:pt x="35" y="392"/>
                    </a:lnTo>
                    <a:lnTo>
                      <a:pt x="30" y="386"/>
                    </a:lnTo>
                    <a:lnTo>
                      <a:pt x="19" y="376"/>
                    </a:lnTo>
                    <a:lnTo>
                      <a:pt x="10" y="366"/>
                    </a:lnTo>
                    <a:lnTo>
                      <a:pt x="9" y="361"/>
                    </a:lnTo>
                    <a:lnTo>
                      <a:pt x="9" y="355"/>
                    </a:lnTo>
                    <a:lnTo>
                      <a:pt x="7" y="353"/>
                    </a:lnTo>
                    <a:lnTo>
                      <a:pt x="1" y="348"/>
                    </a:lnTo>
                    <a:lnTo>
                      <a:pt x="0" y="346"/>
                    </a:lnTo>
                    <a:lnTo>
                      <a:pt x="2" y="339"/>
                    </a:lnTo>
                    <a:lnTo>
                      <a:pt x="2" y="332"/>
                    </a:lnTo>
                    <a:lnTo>
                      <a:pt x="4" y="328"/>
                    </a:lnTo>
                    <a:lnTo>
                      <a:pt x="29" y="328"/>
                    </a:lnTo>
                    <a:lnTo>
                      <a:pt x="47" y="315"/>
                    </a:lnTo>
                    <a:lnTo>
                      <a:pt x="109" y="314"/>
                    </a:lnTo>
                    <a:lnTo>
                      <a:pt x="113" y="315"/>
                    </a:lnTo>
                    <a:lnTo>
                      <a:pt x="113" y="311"/>
                    </a:lnTo>
                    <a:lnTo>
                      <a:pt x="123" y="313"/>
                    </a:lnTo>
                    <a:lnTo>
                      <a:pt x="130" y="314"/>
                    </a:lnTo>
                    <a:lnTo>
                      <a:pt x="130" y="311"/>
                    </a:lnTo>
                    <a:lnTo>
                      <a:pt x="133" y="308"/>
                    </a:lnTo>
                    <a:lnTo>
                      <a:pt x="135" y="306"/>
                    </a:lnTo>
                    <a:lnTo>
                      <a:pt x="144" y="301"/>
                    </a:lnTo>
                    <a:lnTo>
                      <a:pt x="145" y="296"/>
                    </a:lnTo>
                    <a:lnTo>
                      <a:pt x="147" y="292"/>
                    </a:lnTo>
                    <a:lnTo>
                      <a:pt x="153" y="288"/>
                    </a:lnTo>
                    <a:lnTo>
                      <a:pt x="157" y="287"/>
                    </a:lnTo>
                    <a:lnTo>
                      <a:pt x="157" y="250"/>
                    </a:lnTo>
                    <a:lnTo>
                      <a:pt x="157" y="214"/>
                    </a:lnTo>
                    <a:lnTo>
                      <a:pt x="157" y="177"/>
                    </a:lnTo>
                    <a:lnTo>
                      <a:pt x="157" y="170"/>
                    </a:lnTo>
                    <a:lnTo>
                      <a:pt x="157" y="167"/>
                    </a:lnTo>
                    <a:lnTo>
                      <a:pt x="162" y="167"/>
                    </a:lnTo>
                    <a:lnTo>
                      <a:pt x="207" y="157"/>
                    </a:lnTo>
                    <a:lnTo>
                      <a:pt x="216" y="154"/>
                    </a:lnTo>
                    <a:lnTo>
                      <a:pt x="247" y="134"/>
                    </a:lnTo>
                    <a:lnTo>
                      <a:pt x="278" y="113"/>
                    </a:lnTo>
                    <a:lnTo>
                      <a:pt x="308" y="94"/>
                    </a:lnTo>
                    <a:lnTo>
                      <a:pt x="339" y="74"/>
                    </a:lnTo>
                    <a:lnTo>
                      <a:pt x="370" y="53"/>
                    </a:lnTo>
                    <a:lnTo>
                      <a:pt x="401" y="34"/>
                    </a:lnTo>
                    <a:lnTo>
                      <a:pt x="432" y="14"/>
                    </a:lnTo>
                    <a:lnTo>
                      <a:pt x="450" y="2"/>
                    </a:lnTo>
                    <a:lnTo>
                      <a:pt x="453" y="0"/>
                    </a:lnTo>
                    <a:lnTo>
                      <a:pt x="456" y="0"/>
                    </a:lnTo>
                    <a:lnTo>
                      <a:pt x="477" y="0"/>
                    </a:lnTo>
                    <a:lnTo>
                      <a:pt x="507" y="0"/>
                    </a:lnTo>
                    <a:lnTo>
                      <a:pt x="536" y="2"/>
                    </a:lnTo>
                    <a:lnTo>
                      <a:pt x="542" y="4"/>
                    </a:lnTo>
                    <a:lnTo>
                      <a:pt x="545" y="5"/>
                    </a:lnTo>
                    <a:lnTo>
                      <a:pt x="548" y="9"/>
                    </a:lnTo>
                    <a:lnTo>
                      <a:pt x="558" y="14"/>
                    </a:lnTo>
                    <a:lnTo>
                      <a:pt x="561" y="15"/>
                    </a:lnTo>
                    <a:lnTo>
                      <a:pt x="564" y="22"/>
                    </a:lnTo>
                    <a:lnTo>
                      <a:pt x="577" y="19"/>
                    </a:lnTo>
                    <a:lnTo>
                      <a:pt x="577" y="75"/>
                    </a:lnTo>
                    <a:lnTo>
                      <a:pt x="578" y="78"/>
                    </a:lnTo>
                    <a:lnTo>
                      <a:pt x="581" y="85"/>
                    </a:lnTo>
                    <a:lnTo>
                      <a:pt x="581" y="87"/>
                    </a:lnTo>
                    <a:lnTo>
                      <a:pt x="585" y="93"/>
                    </a:lnTo>
                    <a:lnTo>
                      <a:pt x="587" y="99"/>
                    </a:lnTo>
                    <a:lnTo>
                      <a:pt x="590" y="103"/>
                    </a:lnTo>
                    <a:lnTo>
                      <a:pt x="594" y="108"/>
                    </a:lnTo>
                    <a:lnTo>
                      <a:pt x="599" y="111"/>
                    </a:lnTo>
                    <a:lnTo>
                      <a:pt x="615" y="119"/>
                    </a:lnTo>
                    <a:lnTo>
                      <a:pt x="604" y="135"/>
                    </a:lnTo>
                    <a:lnTo>
                      <a:pt x="594" y="188"/>
                    </a:lnTo>
                    <a:lnTo>
                      <a:pt x="591" y="254"/>
                    </a:lnTo>
                    <a:lnTo>
                      <a:pt x="589" y="257"/>
                    </a:lnTo>
                    <a:lnTo>
                      <a:pt x="525" y="325"/>
                    </a:lnTo>
                    <a:lnTo>
                      <a:pt x="525" y="332"/>
                    </a:lnTo>
                    <a:lnTo>
                      <a:pt x="522" y="333"/>
                    </a:lnTo>
                    <a:lnTo>
                      <a:pt x="522" y="340"/>
                    </a:lnTo>
                    <a:lnTo>
                      <a:pt x="516" y="342"/>
                    </a:lnTo>
                    <a:lnTo>
                      <a:pt x="513" y="345"/>
                    </a:lnTo>
                    <a:lnTo>
                      <a:pt x="514" y="352"/>
                    </a:lnTo>
                    <a:lnTo>
                      <a:pt x="511" y="354"/>
                    </a:lnTo>
                    <a:lnTo>
                      <a:pt x="508" y="355"/>
                    </a:lnTo>
                    <a:lnTo>
                      <a:pt x="504" y="358"/>
                    </a:lnTo>
                    <a:lnTo>
                      <a:pt x="500" y="363"/>
                    </a:lnTo>
                    <a:lnTo>
                      <a:pt x="500" y="366"/>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26" name="Freeform 112"/>
              <p:cNvSpPr>
                <a:spLocks/>
              </p:cNvSpPr>
              <p:nvPr/>
            </p:nvSpPr>
            <p:spPr bwMode="auto">
              <a:xfrm>
                <a:off x="575" y="1398"/>
                <a:ext cx="345" cy="270"/>
              </a:xfrm>
              <a:custGeom>
                <a:avLst/>
                <a:gdLst>
                  <a:gd name="T0" fmla="*/ 1 w 322"/>
                  <a:gd name="T1" fmla="*/ 6582 h 257"/>
                  <a:gd name="T2" fmla="*/ 3 w 322"/>
                  <a:gd name="T3" fmla="*/ 6582 h 257"/>
                  <a:gd name="T4" fmla="*/ 0 w 322"/>
                  <a:gd name="T5" fmla="*/ 6671 h 257"/>
                  <a:gd name="T6" fmla="*/ 0 w 322"/>
                  <a:gd name="T7" fmla="*/ 6540 h 257"/>
                  <a:gd name="T8" fmla="*/ 3 w 322"/>
                  <a:gd name="T9" fmla="*/ 5925 h 257"/>
                  <a:gd name="T10" fmla="*/ 969 w 322"/>
                  <a:gd name="T11" fmla="*/ 5476 h 257"/>
                  <a:gd name="T12" fmla="*/ 1802 w 322"/>
                  <a:gd name="T13" fmla="*/ 5347 h 257"/>
                  <a:gd name="T14" fmla="*/ 2634 w 322"/>
                  <a:gd name="T15" fmla="*/ 4895 h 257"/>
                  <a:gd name="T16" fmla="*/ 3131 w 322"/>
                  <a:gd name="T17" fmla="*/ 4675 h 257"/>
                  <a:gd name="T18" fmla="*/ 3024 w 322"/>
                  <a:gd name="T19" fmla="*/ 4530 h 257"/>
                  <a:gd name="T20" fmla="*/ 4270 w 322"/>
                  <a:gd name="T21" fmla="*/ 4047 h 257"/>
                  <a:gd name="T22" fmla="*/ 4575 w 322"/>
                  <a:gd name="T23" fmla="*/ 3906 h 257"/>
                  <a:gd name="T24" fmla="*/ 4738 w 322"/>
                  <a:gd name="T25" fmla="*/ 3754 h 257"/>
                  <a:gd name="T26" fmla="*/ 5076 w 322"/>
                  <a:gd name="T27" fmla="*/ 3641 h 257"/>
                  <a:gd name="T28" fmla="*/ 7067 w 322"/>
                  <a:gd name="T29" fmla="*/ 3081 h 257"/>
                  <a:gd name="T30" fmla="*/ 8113 w 322"/>
                  <a:gd name="T31" fmla="*/ 2658 h 257"/>
                  <a:gd name="T32" fmla="*/ 8229 w 322"/>
                  <a:gd name="T33" fmla="*/ 2375 h 257"/>
                  <a:gd name="T34" fmla="*/ 8817 w 322"/>
                  <a:gd name="T35" fmla="*/ 1958 h 257"/>
                  <a:gd name="T36" fmla="*/ 9294 w 322"/>
                  <a:gd name="T37" fmla="*/ 1600 h 257"/>
                  <a:gd name="T38" fmla="*/ 10413 w 322"/>
                  <a:gd name="T39" fmla="*/ 1314 h 257"/>
                  <a:gd name="T40" fmla="*/ 11575 w 322"/>
                  <a:gd name="T41" fmla="*/ 1083 h 257"/>
                  <a:gd name="T42" fmla="*/ 12808 w 322"/>
                  <a:gd name="T43" fmla="*/ 889 h 257"/>
                  <a:gd name="T44" fmla="*/ 13128 w 322"/>
                  <a:gd name="T45" fmla="*/ 596 h 257"/>
                  <a:gd name="T46" fmla="*/ 13288 w 322"/>
                  <a:gd name="T47" fmla="*/ 489 h 257"/>
                  <a:gd name="T48" fmla="*/ 13723 w 322"/>
                  <a:gd name="T49" fmla="*/ 365 h 257"/>
                  <a:gd name="T50" fmla="*/ 14237 w 322"/>
                  <a:gd name="T51" fmla="*/ 4 h 257"/>
                  <a:gd name="T52" fmla="*/ 14703 w 322"/>
                  <a:gd name="T53" fmla="*/ 0 h 257"/>
                  <a:gd name="T54" fmla="*/ 15096 w 322"/>
                  <a:gd name="T55" fmla="*/ 0 h 257"/>
                  <a:gd name="T56" fmla="*/ 17329 w 322"/>
                  <a:gd name="T57" fmla="*/ 0 h 257"/>
                  <a:gd name="T58" fmla="*/ 19861 w 322"/>
                  <a:gd name="T59" fmla="*/ 0 h 257"/>
                  <a:gd name="T60" fmla="*/ 22495 w 322"/>
                  <a:gd name="T61" fmla="*/ 0 h 257"/>
                  <a:gd name="T62" fmla="*/ 25347 w 322"/>
                  <a:gd name="T63" fmla="*/ 0 h 257"/>
                  <a:gd name="T64" fmla="*/ 28153 w 322"/>
                  <a:gd name="T65" fmla="*/ 0 h 257"/>
                  <a:gd name="T66" fmla="*/ 30539 w 322"/>
                  <a:gd name="T67" fmla="*/ 0 h 257"/>
                  <a:gd name="T68" fmla="*/ 30539 w 322"/>
                  <a:gd name="T69" fmla="*/ 489 h 257"/>
                  <a:gd name="T70" fmla="*/ 30539 w 322"/>
                  <a:gd name="T71" fmla="*/ 1608 h 257"/>
                  <a:gd name="T72" fmla="*/ 27158 w 322"/>
                  <a:gd name="T73" fmla="*/ 1608 h 257"/>
                  <a:gd name="T74" fmla="*/ 23524 w 322"/>
                  <a:gd name="T75" fmla="*/ 1608 h 257"/>
                  <a:gd name="T76" fmla="*/ 19893 w 322"/>
                  <a:gd name="T77" fmla="*/ 1608 h 257"/>
                  <a:gd name="T78" fmla="*/ 18762 w 322"/>
                  <a:gd name="T79" fmla="*/ 1608 h 257"/>
                  <a:gd name="T80" fmla="*/ 18762 w 322"/>
                  <a:gd name="T81" fmla="*/ 2621 h 257"/>
                  <a:gd name="T82" fmla="*/ 18762 w 322"/>
                  <a:gd name="T83" fmla="*/ 3573 h 257"/>
                  <a:gd name="T84" fmla="*/ 18762 w 322"/>
                  <a:gd name="T85" fmla="*/ 4179 h 257"/>
                  <a:gd name="T86" fmla="*/ 17454 w 322"/>
                  <a:gd name="T87" fmla="*/ 4279 h 257"/>
                  <a:gd name="T88" fmla="*/ 16174 w 322"/>
                  <a:gd name="T89" fmla="*/ 4294 h 257"/>
                  <a:gd name="T90" fmla="*/ 15254 w 322"/>
                  <a:gd name="T91" fmla="*/ 4435 h 257"/>
                  <a:gd name="T92" fmla="*/ 14984 w 322"/>
                  <a:gd name="T93" fmla="*/ 4450 h 257"/>
                  <a:gd name="T94" fmla="*/ 14734 w 322"/>
                  <a:gd name="T95" fmla="*/ 4530 h 257"/>
                  <a:gd name="T96" fmla="*/ 14292 w 322"/>
                  <a:gd name="T97" fmla="*/ 4739 h 257"/>
                  <a:gd name="T98" fmla="*/ 14237 w 322"/>
                  <a:gd name="T99" fmla="*/ 4895 h 257"/>
                  <a:gd name="T100" fmla="*/ 14292 w 322"/>
                  <a:gd name="T101" fmla="*/ 5321 h 257"/>
                  <a:gd name="T102" fmla="*/ 14703 w 322"/>
                  <a:gd name="T103" fmla="*/ 5676 h 257"/>
                  <a:gd name="T104" fmla="*/ 14734 w 322"/>
                  <a:gd name="T105" fmla="*/ 5982 h 257"/>
                  <a:gd name="T106" fmla="*/ 14785 w 322"/>
                  <a:gd name="T107" fmla="*/ 6265 h 257"/>
                  <a:gd name="T108" fmla="*/ 13128 w 322"/>
                  <a:gd name="T109" fmla="*/ 6265 h 257"/>
                  <a:gd name="T110" fmla="*/ 9773 w 322"/>
                  <a:gd name="T111" fmla="*/ 6265 h 257"/>
                  <a:gd name="T112" fmla="*/ 6244 w 322"/>
                  <a:gd name="T113" fmla="*/ 6265 h 257"/>
                  <a:gd name="T114" fmla="*/ 3024 w 322"/>
                  <a:gd name="T115" fmla="*/ 6265 h 257"/>
                  <a:gd name="T116" fmla="*/ 1038 w 322"/>
                  <a:gd name="T117" fmla="*/ 6265 h 257"/>
                  <a:gd name="T118" fmla="*/ 969 w 322"/>
                  <a:gd name="T119" fmla="*/ 6373 h 257"/>
                  <a:gd name="T120" fmla="*/ 3 w 322"/>
                  <a:gd name="T121" fmla="*/ 6513 h 257"/>
                  <a:gd name="T122" fmla="*/ 1 w 322"/>
                  <a:gd name="T123" fmla="*/ 6582 h 25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2"/>
                  <a:gd name="T187" fmla="*/ 0 h 257"/>
                  <a:gd name="T188" fmla="*/ 322 w 322"/>
                  <a:gd name="T189" fmla="*/ 257 h 25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2" h="257">
                    <a:moveTo>
                      <a:pt x="1" y="254"/>
                    </a:moveTo>
                    <a:lnTo>
                      <a:pt x="3" y="254"/>
                    </a:lnTo>
                    <a:lnTo>
                      <a:pt x="0" y="257"/>
                    </a:lnTo>
                    <a:lnTo>
                      <a:pt x="0" y="252"/>
                    </a:lnTo>
                    <a:lnTo>
                      <a:pt x="3" y="228"/>
                    </a:lnTo>
                    <a:lnTo>
                      <a:pt x="10" y="211"/>
                    </a:lnTo>
                    <a:lnTo>
                      <a:pt x="19" y="206"/>
                    </a:lnTo>
                    <a:lnTo>
                      <a:pt x="28" y="188"/>
                    </a:lnTo>
                    <a:lnTo>
                      <a:pt x="33" y="180"/>
                    </a:lnTo>
                    <a:lnTo>
                      <a:pt x="32" y="175"/>
                    </a:lnTo>
                    <a:lnTo>
                      <a:pt x="45" y="156"/>
                    </a:lnTo>
                    <a:lnTo>
                      <a:pt x="48" y="151"/>
                    </a:lnTo>
                    <a:lnTo>
                      <a:pt x="50" y="145"/>
                    </a:lnTo>
                    <a:lnTo>
                      <a:pt x="54" y="140"/>
                    </a:lnTo>
                    <a:lnTo>
                      <a:pt x="74" y="119"/>
                    </a:lnTo>
                    <a:lnTo>
                      <a:pt x="85" y="103"/>
                    </a:lnTo>
                    <a:lnTo>
                      <a:pt x="87" y="91"/>
                    </a:lnTo>
                    <a:lnTo>
                      <a:pt x="93" y="76"/>
                    </a:lnTo>
                    <a:lnTo>
                      <a:pt x="97" y="62"/>
                    </a:lnTo>
                    <a:lnTo>
                      <a:pt x="108" y="50"/>
                    </a:lnTo>
                    <a:lnTo>
                      <a:pt x="122" y="43"/>
                    </a:lnTo>
                    <a:lnTo>
                      <a:pt x="133" y="35"/>
                    </a:lnTo>
                    <a:lnTo>
                      <a:pt x="138" y="24"/>
                    </a:lnTo>
                    <a:lnTo>
                      <a:pt x="140" y="20"/>
                    </a:lnTo>
                    <a:lnTo>
                      <a:pt x="143" y="14"/>
                    </a:lnTo>
                    <a:lnTo>
                      <a:pt x="150" y="4"/>
                    </a:lnTo>
                    <a:lnTo>
                      <a:pt x="153" y="0"/>
                    </a:lnTo>
                    <a:lnTo>
                      <a:pt x="160" y="0"/>
                    </a:lnTo>
                    <a:lnTo>
                      <a:pt x="183" y="0"/>
                    </a:lnTo>
                    <a:lnTo>
                      <a:pt x="209" y="0"/>
                    </a:lnTo>
                    <a:lnTo>
                      <a:pt x="237" y="0"/>
                    </a:lnTo>
                    <a:lnTo>
                      <a:pt x="266" y="0"/>
                    </a:lnTo>
                    <a:lnTo>
                      <a:pt x="297" y="0"/>
                    </a:lnTo>
                    <a:lnTo>
                      <a:pt x="322" y="0"/>
                    </a:lnTo>
                    <a:lnTo>
                      <a:pt x="322" y="20"/>
                    </a:lnTo>
                    <a:lnTo>
                      <a:pt x="322" y="63"/>
                    </a:lnTo>
                    <a:lnTo>
                      <a:pt x="285" y="63"/>
                    </a:lnTo>
                    <a:lnTo>
                      <a:pt x="247" y="63"/>
                    </a:lnTo>
                    <a:lnTo>
                      <a:pt x="210" y="63"/>
                    </a:lnTo>
                    <a:lnTo>
                      <a:pt x="198" y="63"/>
                    </a:lnTo>
                    <a:lnTo>
                      <a:pt x="198" y="101"/>
                    </a:lnTo>
                    <a:lnTo>
                      <a:pt x="198" y="138"/>
                    </a:lnTo>
                    <a:lnTo>
                      <a:pt x="198" y="161"/>
                    </a:lnTo>
                    <a:lnTo>
                      <a:pt x="184" y="165"/>
                    </a:lnTo>
                    <a:lnTo>
                      <a:pt x="171" y="166"/>
                    </a:lnTo>
                    <a:lnTo>
                      <a:pt x="161" y="170"/>
                    </a:lnTo>
                    <a:lnTo>
                      <a:pt x="157" y="171"/>
                    </a:lnTo>
                    <a:lnTo>
                      <a:pt x="154" y="175"/>
                    </a:lnTo>
                    <a:lnTo>
                      <a:pt x="151" y="183"/>
                    </a:lnTo>
                    <a:lnTo>
                      <a:pt x="150" y="188"/>
                    </a:lnTo>
                    <a:lnTo>
                      <a:pt x="151" y="205"/>
                    </a:lnTo>
                    <a:lnTo>
                      <a:pt x="153" y="219"/>
                    </a:lnTo>
                    <a:lnTo>
                      <a:pt x="154" y="231"/>
                    </a:lnTo>
                    <a:lnTo>
                      <a:pt x="155" y="242"/>
                    </a:lnTo>
                    <a:lnTo>
                      <a:pt x="138" y="242"/>
                    </a:lnTo>
                    <a:lnTo>
                      <a:pt x="103" y="242"/>
                    </a:lnTo>
                    <a:lnTo>
                      <a:pt x="66" y="242"/>
                    </a:lnTo>
                    <a:lnTo>
                      <a:pt x="32" y="242"/>
                    </a:lnTo>
                    <a:lnTo>
                      <a:pt x="11" y="242"/>
                    </a:lnTo>
                    <a:lnTo>
                      <a:pt x="10" y="246"/>
                    </a:lnTo>
                    <a:lnTo>
                      <a:pt x="3" y="250"/>
                    </a:lnTo>
                    <a:lnTo>
                      <a:pt x="1" y="2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7" name="Freeform 113"/>
              <p:cNvSpPr>
                <a:spLocks/>
              </p:cNvSpPr>
              <p:nvPr/>
            </p:nvSpPr>
            <p:spPr bwMode="auto">
              <a:xfrm>
                <a:off x="575" y="1398"/>
                <a:ext cx="345" cy="270"/>
              </a:xfrm>
              <a:custGeom>
                <a:avLst/>
                <a:gdLst>
                  <a:gd name="T0" fmla="*/ 1 w 322"/>
                  <a:gd name="T1" fmla="*/ 6582 h 257"/>
                  <a:gd name="T2" fmla="*/ 3 w 322"/>
                  <a:gd name="T3" fmla="*/ 6582 h 257"/>
                  <a:gd name="T4" fmla="*/ 0 w 322"/>
                  <a:gd name="T5" fmla="*/ 6671 h 257"/>
                  <a:gd name="T6" fmla="*/ 0 w 322"/>
                  <a:gd name="T7" fmla="*/ 6540 h 257"/>
                  <a:gd name="T8" fmla="*/ 3 w 322"/>
                  <a:gd name="T9" fmla="*/ 5925 h 257"/>
                  <a:gd name="T10" fmla="*/ 969 w 322"/>
                  <a:gd name="T11" fmla="*/ 5476 h 257"/>
                  <a:gd name="T12" fmla="*/ 1802 w 322"/>
                  <a:gd name="T13" fmla="*/ 5347 h 257"/>
                  <a:gd name="T14" fmla="*/ 2634 w 322"/>
                  <a:gd name="T15" fmla="*/ 4895 h 257"/>
                  <a:gd name="T16" fmla="*/ 3131 w 322"/>
                  <a:gd name="T17" fmla="*/ 4675 h 257"/>
                  <a:gd name="T18" fmla="*/ 3024 w 322"/>
                  <a:gd name="T19" fmla="*/ 4530 h 257"/>
                  <a:gd name="T20" fmla="*/ 4270 w 322"/>
                  <a:gd name="T21" fmla="*/ 4047 h 257"/>
                  <a:gd name="T22" fmla="*/ 4575 w 322"/>
                  <a:gd name="T23" fmla="*/ 3906 h 257"/>
                  <a:gd name="T24" fmla="*/ 4738 w 322"/>
                  <a:gd name="T25" fmla="*/ 3754 h 257"/>
                  <a:gd name="T26" fmla="*/ 5076 w 322"/>
                  <a:gd name="T27" fmla="*/ 3641 h 257"/>
                  <a:gd name="T28" fmla="*/ 7067 w 322"/>
                  <a:gd name="T29" fmla="*/ 3081 h 257"/>
                  <a:gd name="T30" fmla="*/ 8113 w 322"/>
                  <a:gd name="T31" fmla="*/ 2658 h 257"/>
                  <a:gd name="T32" fmla="*/ 8229 w 322"/>
                  <a:gd name="T33" fmla="*/ 2375 h 257"/>
                  <a:gd name="T34" fmla="*/ 8817 w 322"/>
                  <a:gd name="T35" fmla="*/ 1958 h 257"/>
                  <a:gd name="T36" fmla="*/ 9294 w 322"/>
                  <a:gd name="T37" fmla="*/ 1600 h 257"/>
                  <a:gd name="T38" fmla="*/ 10413 w 322"/>
                  <a:gd name="T39" fmla="*/ 1314 h 257"/>
                  <a:gd name="T40" fmla="*/ 11575 w 322"/>
                  <a:gd name="T41" fmla="*/ 1083 h 257"/>
                  <a:gd name="T42" fmla="*/ 12808 w 322"/>
                  <a:gd name="T43" fmla="*/ 889 h 257"/>
                  <a:gd name="T44" fmla="*/ 13128 w 322"/>
                  <a:gd name="T45" fmla="*/ 596 h 257"/>
                  <a:gd name="T46" fmla="*/ 13288 w 322"/>
                  <a:gd name="T47" fmla="*/ 489 h 257"/>
                  <a:gd name="T48" fmla="*/ 13723 w 322"/>
                  <a:gd name="T49" fmla="*/ 365 h 257"/>
                  <a:gd name="T50" fmla="*/ 14237 w 322"/>
                  <a:gd name="T51" fmla="*/ 4 h 257"/>
                  <a:gd name="T52" fmla="*/ 14703 w 322"/>
                  <a:gd name="T53" fmla="*/ 0 h 257"/>
                  <a:gd name="T54" fmla="*/ 15096 w 322"/>
                  <a:gd name="T55" fmla="*/ 0 h 257"/>
                  <a:gd name="T56" fmla="*/ 17329 w 322"/>
                  <a:gd name="T57" fmla="*/ 0 h 257"/>
                  <a:gd name="T58" fmla="*/ 19861 w 322"/>
                  <a:gd name="T59" fmla="*/ 0 h 257"/>
                  <a:gd name="T60" fmla="*/ 22495 w 322"/>
                  <a:gd name="T61" fmla="*/ 0 h 257"/>
                  <a:gd name="T62" fmla="*/ 25347 w 322"/>
                  <a:gd name="T63" fmla="*/ 0 h 257"/>
                  <a:gd name="T64" fmla="*/ 28153 w 322"/>
                  <a:gd name="T65" fmla="*/ 0 h 257"/>
                  <a:gd name="T66" fmla="*/ 30539 w 322"/>
                  <a:gd name="T67" fmla="*/ 0 h 257"/>
                  <a:gd name="T68" fmla="*/ 30539 w 322"/>
                  <a:gd name="T69" fmla="*/ 489 h 257"/>
                  <a:gd name="T70" fmla="*/ 30539 w 322"/>
                  <a:gd name="T71" fmla="*/ 1608 h 257"/>
                  <a:gd name="T72" fmla="*/ 27158 w 322"/>
                  <a:gd name="T73" fmla="*/ 1608 h 257"/>
                  <a:gd name="T74" fmla="*/ 23524 w 322"/>
                  <a:gd name="T75" fmla="*/ 1608 h 257"/>
                  <a:gd name="T76" fmla="*/ 19893 w 322"/>
                  <a:gd name="T77" fmla="*/ 1608 h 257"/>
                  <a:gd name="T78" fmla="*/ 18762 w 322"/>
                  <a:gd name="T79" fmla="*/ 1608 h 257"/>
                  <a:gd name="T80" fmla="*/ 18762 w 322"/>
                  <a:gd name="T81" fmla="*/ 2621 h 257"/>
                  <a:gd name="T82" fmla="*/ 18762 w 322"/>
                  <a:gd name="T83" fmla="*/ 3573 h 257"/>
                  <a:gd name="T84" fmla="*/ 18762 w 322"/>
                  <a:gd name="T85" fmla="*/ 4179 h 257"/>
                  <a:gd name="T86" fmla="*/ 17454 w 322"/>
                  <a:gd name="T87" fmla="*/ 4279 h 257"/>
                  <a:gd name="T88" fmla="*/ 16174 w 322"/>
                  <a:gd name="T89" fmla="*/ 4294 h 257"/>
                  <a:gd name="T90" fmla="*/ 15254 w 322"/>
                  <a:gd name="T91" fmla="*/ 4435 h 257"/>
                  <a:gd name="T92" fmla="*/ 14984 w 322"/>
                  <a:gd name="T93" fmla="*/ 4450 h 257"/>
                  <a:gd name="T94" fmla="*/ 14734 w 322"/>
                  <a:gd name="T95" fmla="*/ 4530 h 257"/>
                  <a:gd name="T96" fmla="*/ 14292 w 322"/>
                  <a:gd name="T97" fmla="*/ 4739 h 257"/>
                  <a:gd name="T98" fmla="*/ 14237 w 322"/>
                  <a:gd name="T99" fmla="*/ 4895 h 257"/>
                  <a:gd name="T100" fmla="*/ 14292 w 322"/>
                  <a:gd name="T101" fmla="*/ 5321 h 257"/>
                  <a:gd name="T102" fmla="*/ 14703 w 322"/>
                  <a:gd name="T103" fmla="*/ 5676 h 257"/>
                  <a:gd name="T104" fmla="*/ 14734 w 322"/>
                  <a:gd name="T105" fmla="*/ 5982 h 257"/>
                  <a:gd name="T106" fmla="*/ 14785 w 322"/>
                  <a:gd name="T107" fmla="*/ 6265 h 257"/>
                  <a:gd name="T108" fmla="*/ 13128 w 322"/>
                  <a:gd name="T109" fmla="*/ 6265 h 257"/>
                  <a:gd name="T110" fmla="*/ 9773 w 322"/>
                  <a:gd name="T111" fmla="*/ 6265 h 257"/>
                  <a:gd name="T112" fmla="*/ 6244 w 322"/>
                  <a:gd name="T113" fmla="*/ 6265 h 257"/>
                  <a:gd name="T114" fmla="*/ 3024 w 322"/>
                  <a:gd name="T115" fmla="*/ 6265 h 257"/>
                  <a:gd name="T116" fmla="*/ 1038 w 322"/>
                  <a:gd name="T117" fmla="*/ 6265 h 257"/>
                  <a:gd name="T118" fmla="*/ 969 w 322"/>
                  <a:gd name="T119" fmla="*/ 6373 h 257"/>
                  <a:gd name="T120" fmla="*/ 3 w 322"/>
                  <a:gd name="T121" fmla="*/ 6513 h 257"/>
                  <a:gd name="T122" fmla="*/ 1 w 322"/>
                  <a:gd name="T123" fmla="*/ 6582 h 25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2"/>
                  <a:gd name="T187" fmla="*/ 0 h 257"/>
                  <a:gd name="T188" fmla="*/ 322 w 322"/>
                  <a:gd name="T189" fmla="*/ 257 h 25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2" h="257">
                    <a:moveTo>
                      <a:pt x="1" y="254"/>
                    </a:moveTo>
                    <a:lnTo>
                      <a:pt x="3" y="254"/>
                    </a:lnTo>
                    <a:lnTo>
                      <a:pt x="0" y="257"/>
                    </a:lnTo>
                    <a:lnTo>
                      <a:pt x="0" y="252"/>
                    </a:lnTo>
                    <a:lnTo>
                      <a:pt x="3" y="228"/>
                    </a:lnTo>
                    <a:lnTo>
                      <a:pt x="10" y="211"/>
                    </a:lnTo>
                    <a:lnTo>
                      <a:pt x="19" y="206"/>
                    </a:lnTo>
                    <a:lnTo>
                      <a:pt x="28" y="188"/>
                    </a:lnTo>
                    <a:lnTo>
                      <a:pt x="33" y="180"/>
                    </a:lnTo>
                    <a:lnTo>
                      <a:pt x="32" y="175"/>
                    </a:lnTo>
                    <a:lnTo>
                      <a:pt x="45" y="156"/>
                    </a:lnTo>
                    <a:lnTo>
                      <a:pt x="48" y="151"/>
                    </a:lnTo>
                    <a:lnTo>
                      <a:pt x="50" y="145"/>
                    </a:lnTo>
                    <a:lnTo>
                      <a:pt x="54" y="140"/>
                    </a:lnTo>
                    <a:lnTo>
                      <a:pt x="74" y="119"/>
                    </a:lnTo>
                    <a:lnTo>
                      <a:pt x="85" y="103"/>
                    </a:lnTo>
                    <a:lnTo>
                      <a:pt x="87" y="91"/>
                    </a:lnTo>
                    <a:lnTo>
                      <a:pt x="93" y="76"/>
                    </a:lnTo>
                    <a:lnTo>
                      <a:pt x="97" y="62"/>
                    </a:lnTo>
                    <a:lnTo>
                      <a:pt x="108" y="50"/>
                    </a:lnTo>
                    <a:lnTo>
                      <a:pt x="122" y="43"/>
                    </a:lnTo>
                    <a:lnTo>
                      <a:pt x="133" y="35"/>
                    </a:lnTo>
                    <a:lnTo>
                      <a:pt x="138" y="24"/>
                    </a:lnTo>
                    <a:lnTo>
                      <a:pt x="140" y="20"/>
                    </a:lnTo>
                    <a:lnTo>
                      <a:pt x="143" y="14"/>
                    </a:lnTo>
                    <a:lnTo>
                      <a:pt x="150" y="4"/>
                    </a:lnTo>
                    <a:lnTo>
                      <a:pt x="153" y="0"/>
                    </a:lnTo>
                    <a:lnTo>
                      <a:pt x="160" y="0"/>
                    </a:lnTo>
                    <a:lnTo>
                      <a:pt x="183" y="0"/>
                    </a:lnTo>
                    <a:lnTo>
                      <a:pt x="209" y="0"/>
                    </a:lnTo>
                    <a:lnTo>
                      <a:pt x="237" y="0"/>
                    </a:lnTo>
                    <a:lnTo>
                      <a:pt x="266" y="0"/>
                    </a:lnTo>
                    <a:lnTo>
                      <a:pt x="297" y="0"/>
                    </a:lnTo>
                    <a:lnTo>
                      <a:pt x="322" y="0"/>
                    </a:lnTo>
                    <a:lnTo>
                      <a:pt x="322" y="20"/>
                    </a:lnTo>
                    <a:lnTo>
                      <a:pt x="322" y="63"/>
                    </a:lnTo>
                    <a:lnTo>
                      <a:pt x="285" y="63"/>
                    </a:lnTo>
                    <a:lnTo>
                      <a:pt x="247" y="63"/>
                    </a:lnTo>
                    <a:lnTo>
                      <a:pt x="210" y="63"/>
                    </a:lnTo>
                    <a:lnTo>
                      <a:pt x="198" y="63"/>
                    </a:lnTo>
                    <a:lnTo>
                      <a:pt x="198" y="101"/>
                    </a:lnTo>
                    <a:lnTo>
                      <a:pt x="198" y="138"/>
                    </a:lnTo>
                    <a:lnTo>
                      <a:pt x="198" y="161"/>
                    </a:lnTo>
                    <a:lnTo>
                      <a:pt x="184" y="165"/>
                    </a:lnTo>
                    <a:lnTo>
                      <a:pt x="171" y="166"/>
                    </a:lnTo>
                    <a:lnTo>
                      <a:pt x="161" y="170"/>
                    </a:lnTo>
                    <a:lnTo>
                      <a:pt x="157" y="171"/>
                    </a:lnTo>
                    <a:lnTo>
                      <a:pt x="154" y="175"/>
                    </a:lnTo>
                    <a:lnTo>
                      <a:pt x="151" y="183"/>
                    </a:lnTo>
                    <a:lnTo>
                      <a:pt x="150" y="188"/>
                    </a:lnTo>
                    <a:lnTo>
                      <a:pt x="151" y="205"/>
                    </a:lnTo>
                    <a:lnTo>
                      <a:pt x="153" y="219"/>
                    </a:lnTo>
                    <a:lnTo>
                      <a:pt x="154" y="231"/>
                    </a:lnTo>
                    <a:lnTo>
                      <a:pt x="155" y="242"/>
                    </a:lnTo>
                    <a:lnTo>
                      <a:pt x="138" y="242"/>
                    </a:lnTo>
                    <a:lnTo>
                      <a:pt x="103" y="242"/>
                    </a:lnTo>
                    <a:lnTo>
                      <a:pt x="66" y="242"/>
                    </a:lnTo>
                    <a:lnTo>
                      <a:pt x="32" y="242"/>
                    </a:lnTo>
                    <a:lnTo>
                      <a:pt x="11" y="242"/>
                    </a:lnTo>
                    <a:lnTo>
                      <a:pt x="10" y="246"/>
                    </a:lnTo>
                    <a:lnTo>
                      <a:pt x="3" y="250"/>
                    </a:lnTo>
                    <a:lnTo>
                      <a:pt x="1" y="254"/>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28" name="Freeform 114"/>
              <p:cNvSpPr>
                <a:spLocks/>
              </p:cNvSpPr>
              <p:nvPr/>
            </p:nvSpPr>
            <p:spPr bwMode="auto">
              <a:xfrm>
                <a:off x="2688" y="2337"/>
                <a:ext cx="327" cy="374"/>
              </a:xfrm>
              <a:custGeom>
                <a:avLst/>
                <a:gdLst>
                  <a:gd name="T0" fmla="*/ 23265 w 306"/>
                  <a:gd name="T1" fmla="*/ 6147 h 356"/>
                  <a:gd name="T2" fmla="*/ 23239 w 306"/>
                  <a:gd name="T3" fmla="*/ 6308 h 356"/>
                  <a:gd name="T4" fmla="*/ 22097 w 306"/>
                  <a:gd name="T5" fmla="*/ 6537 h 356"/>
                  <a:gd name="T6" fmla="*/ 21416 w 306"/>
                  <a:gd name="T7" fmla="*/ 6780 h 356"/>
                  <a:gd name="T8" fmla="*/ 21119 w 306"/>
                  <a:gd name="T9" fmla="*/ 6962 h 356"/>
                  <a:gd name="T10" fmla="*/ 20041 w 306"/>
                  <a:gd name="T11" fmla="*/ 7190 h 356"/>
                  <a:gd name="T12" fmla="*/ 19434 w 306"/>
                  <a:gd name="T13" fmla="*/ 7554 h 356"/>
                  <a:gd name="T14" fmla="*/ 18494 w 306"/>
                  <a:gd name="T15" fmla="*/ 8265 h 356"/>
                  <a:gd name="T16" fmla="*/ 17841 w 306"/>
                  <a:gd name="T17" fmla="*/ 8784 h 356"/>
                  <a:gd name="T18" fmla="*/ 17306 w 306"/>
                  <a:gd name="T19" fmla="*/ 9035 h 356"/>
                  <a:gd name="T20" fmla="*/ 16508 w 306"/>
                  <a:gd name="T21" fmla="*/ 9233 h 356"/>
                  <a:gd name="T22" fmla="*/ 11945 w 306"/>
                  <a:gd name="T23" fmla="*/ 8153 h 356"/>
                  <a:gd name="T24" fmla="*/ 11742 w 306"/>
                  <a:gd name="T25" fmla="*/ 7628 h 356"/>
                  <a:gd name="T26" fmla="*/ 871 w 306"/>
                  <a:gd name="T27" fmla="*/ 5517 h 356"/>
                  <a:gd name="T28" fmla="*/ 815 w 306"/>
                  <a:gd name="T29" fmla="*/ 5141 h 356"/>
                  <a:gd name="T30" fmla="*/ 1903 w 306"/>
                  <a:gd name="T31" fmla="*/ 4998 h 356"/>
                  <a:gd name="T32" fmla="*/ 2520 w 306"/>
                  <a:gd name="T33" fmla="*/ 4814 h 356"/>
                  <a:gd name="T34" fmla="*/ 1297 w 306"/>
                  <a:gd name="T35" fmla="*/ 4837 h 356"/>
                  <a:gd name="T36" fmla="*/ 7 w 306"/>
                  <a:gd name="T37" fmla="*/ 4929 h 356"/>
                  <a:gd name="T38" fmla="*/ 0 w 306"/>
                  <a:gd name="T39" fmla="*/ 4604 h 356"/>
                  <a:gd name="T40" fmla="*/ 5 w 306"/>
                  <a:gd name="T41" fmla="*/ 4251 h 356"/>
                  <a:gd name="T42" fmla="*/ 2034 w 306"/>
                  <a:gd name="T43" fmla="*/ 3539 h 356"/>
                  <a:gd name="T44" fmla="*/ 2520 w 306"/>
                  <a:gd name="T45" fmla="*/ 3259 h 356"/>
                  <a:gd name="T46" fmla="*/ 3141 w 306"/>
                  <a:gd name="T47" fmla="*/ 2792 h 356"/>
                  <a:gd name="T48" fmla="*/ 3076 w 306"/>
                  <a:gd name="T49" fmla="*/ 2230 h 356"/>
                  <a:gd name="T50" fmla="*/ 3028 w 306"/>
                  <a:gd name="T51" fmla="*/ 1774 h 356"/>
                  <a:gd name="T52" fmla="*/ 2207 w 306"/>
                  <a:gd name="T53" fmla="*/ 1608 h 356"/>
                  <a:gd name="T54" fmla="*/ 1808 w 306"/>
                  <a:gd name="T55" fmla="*/ 1457 h 356"/>
                  <a:gd name="T56" fmla="*/ 1136 w 306"/>
                  <a:gd name="T57" fmla="*/ 846 h 356"/>
                  <a:gd name="T58" fmla="*/ 995 w 306"/>
                  <a:gd name="T59" fmla="*/ 763 h 356"/>
                  <a:gd name="T60" fmla="*/ 871 w 306"/>
                  <a:gd name="T61" fmla="*/ 540 h 356"/>
                  <a:gd name="T62" fmla="*/ 1 w 306"/>
                  <a:gd name="T63" fmla="*/ 489 h 356"/>
                  <a:gd name="T64" fmla="*/ 871 w 306"/>
                  <a:gd name="T65" fmla="*/ 4 h 356"/>
                  <a:gd name="T66" fmla="*/ 2174 w 306"/>
                  <a:gd name="T67" fmla="*/ 0 h 356"/>
                  <a:gd name="T68" fmla="*/ 4638 w 306"/>
                  <a:gd name="T69" fmla="*/ 1 h 356"/>
                  <a:gd name="T70" fmla="*/ 6462 w 306"/>
                  <a:gd name="T71" fmla="*/ 2 h 356"/>
                  <a:gd name="T72" fmla="*/ 8325 w 306"/>
                  <a:gd name="T73" fmla="*/ 2 h 356"/>
                  <a:gd name="T74" fmla="*/ 11287 w 306"/>
                  <a:gd name="T75" fmla="*/ 567 h 356"/>
                  <a:gd name="T76" fmla="*/ 13198 w 306"/>
                  <a:gd name="T77" fmla="*/ 934 h 356"/>
                  <a:gd name="T78" fmla="*/ 15312 w 306"/>
                  <a:gd name="T79" fmla="*/ 1031 h 356"/>
                  <a:gd name="T80" fmla="*/ 17964 w 306"/>
                  <a:gd name="T81" fmla="*/ 846 h 356"/>
                  <a:gd name="T82" fmla="*/ 19763 w 306"/>
                  <a:gd name="T83" fmla="*/ 422 h 356"/>
                  <a:gd name="T84" fmla="*/ 22886 w 306"/>
                  <a:gd name="T85" fmla="*/ 658 h 356"/>
                  <a:gd name="T86" fmla="*/ 24117 w 306"/>
                  <a:gd name="T87" fmla="*/ 658 h 356"/>
                  <a:gd name="T88" fmla="*/ 24367 w 306"/>
                  <a:gd name="T89" fmla="*/ 726 h 356"/>
                  <a:gd name="T90" fmla="*/ 21922 w 306"/>
                  <a:gd name="T91" fmla="*/ 1743 h 356"/>
                  <a:gd name="T92" fmla="*/ 21747 w 306"/>
                  <a:gd name="T93" fmla="*/ 2754 h 356"/>
                  <a:gd name="T94" fmla="*/ 21747 w 306"/>
                  <a:gd name="T95" fmla="*/ 4673 h 356"/>
                  <a:gd name="T96" fmla="*/ 21983 w 306"/>
                  <a:gd name="T97" fmla="*/ 5609 h 3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06"/>
                  <a:gd name="T148" fmla="*/ 0 h 356"/>
                  <a:gd name="T149" fmla="*/ 306 w 306"/>
                  <a:gd name="T150" fmla="*/ 356 h 3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06" h="356">
                    <a:moveTo>
                      <a:pt x="276" y="216"/>
                    </a:moveTo>
                    <a:lnTo>
                      <a:pt x="292" y="236"/>
                    </a:lnTo>
                    <a:lnTo>
                      <a:pt x="293" y="239"/>
                    </a:lnTo>
                    <a:lnTo>
                      <a:pt x="291" y="244"/>
                    </a:lnTo>
                    <a:lnTo>
                      <a:pt x="283" y="251"/>
                    </a:lnTo>
                    <a:lnTo>
                      <a:pt x="277" y="252"/>
                    </a:lnTo>
                    <a:lnTo>
                      <a:pt x="273" y="254"/>
                    </a:lnTo>
                    <a:lnTo>
                      <a:pt x="268" y="260"/>
                    </a:lnTo>
                    <a:lnTo>
                      <a:pt x="265" y="265"/>
                    </a:lnTo>
                    <a:lnTo>
                      <a:pt x="265" y="269"/>
                    </a:lnTo>
                    <a:lnTo>
                      <a:pt x="252" y="275"/>
                    </a:lnTo>
                    <a:lnTo>
                      <a:pt x="251" y="277"/>
                    </a:lnTo>
                    <a:lnTo>
                      <a:pt x="247" y="280"/>
                    </a:lnTo>
                    <a:lnTo>
                      <a:pt x="243" y="291"/>
                    </a:lnTo>
                    <a:lnTo>
                      <a:pt x="241" y="303"/>
                    </a:lnTo>
                    <a:lnTo>
                      <a:pt x="232" y="318"/>
                    </a:lnTo>
                    <a:lnTo>
                      <a:pt x="227" y="326"/>
                    </a:lnTo>
                    <a:lnTo>
                      <a:pt x="224" y="338"/>
                    </a:lnTo>
                    <a:lnTo>
                      <a:pt x="220" y="344"/>
                    </a:lnTo>
                    <a:lnTo>
                      <a:pt x="217" y="348"/>
                    </a:lnTo>
                    <a:lnTo>
                      <a:pt x="214" y="351"/>
                    </a:lnTo>
                    <a:lnTo>
                      <a:pt x="207" y="356"/>
                    </a:lnTo>
                    <a:lnTo>
                      <a:pt x="154" y="321"/>
                    </a:lnTo>
                    <a:lnTo>
                      <a:pt x="150" y="314"/>
                    </a:lnTo>
                    <a:lnTo>
                      <a:pt x="147" y="301"/>
                    </a:lnTo>
                    <a:lnTo>
                      <a:pt x="147" y="295"/>
                    </a:lnTo>
                    <a:lnTo>
                      <a:pt x="145" y="292"/>
                    </a:lnTo>
                    <a:lnTo>
                      <a:pt x="11" y="213"/>
                    </a:lnTo>
                    <a:lnTo>
                      <a:pt x="4" y="208"/>
                    </a:lnTo>
                    <a:lnTo>
                      <a:pt x="10" y="198"/>
                    </a:lnTo>
                    <a:lnTo>
                      <a:pt x="17" y="198"/>
                    </a:lnTo>
                    <a:lnTo>
                      <a:pt x="23" y="193"/>
                    </a:lnTo>
                    <a:lnTo>
                      <a:pt x="32" y="189"/>
                    </a:lnTo>
                    <a:lnTo>
                      <a:pt x="32" y="186"/>
                    </a:lnTo>
                    <a:lnTo>
                      <a:pt x="25" y="186"/>
                    </a:lnTo>
                    <a:lnTo>
                      <a:pt x="17" y="187"/>
                    </a:lnTo>
                    <a:lnTo>
                      <a:pt x="11" y="189"/>
                    </a:lnTo>
                    <a:lnTo>
                      <a:pt x="7" y="190"/>
                    </a:lnTo>
                    <a:lnTo>
                      <a:pt x="5" y="184"/>
                    </a:lnTo>
                    <a:lnTo>
                      <a:pt x="0" y="178"/>
                    </a:lnTo>
                    <a:lnTo>
                      <a:pt x="1" y="168"/>
                    </a:lnTo>
                    <a:lnTo>
                      <a:pt x="5" y="164"/>
                    </a:lnTo>
                    <a:lnTo>
                      <a:pt x="17" y="145"/>
                    </a:lnTo>
                    <a:lnTo>
                      <a:pt x="25" y="137"/>
                    </a:lnTo>
                    <a:lnTo>
                      <a:pt x="25" y="134"/>
                    </a:lnTo>
                    <a:lnTo>
                      <a:pt x="32" y="126"/>
                    </a:lnTo>
                    <a:lnTo>
                      <a:pt x="37" y="119"/>
                    </a:lnTo>
                    <a:lnTo>
                      <a:pt x="39" y="108"/>
                    </a:lnTo>
                    <a:lnTo>
                      <a:pt x="39" y="95"/>
                    </a:lnTo>
                    <a:lnTo>
                      <a:pt x="38" y="86"/>
                    </a:lnTo>
                    <a:lnTo>
                      <a:pt x="38" y="74"/>
                    </a:lnTo>
                    <a:lnTo>
                      <a:pt x="37" y="69"/>
                    </a:lnTo>
                    <a:lnTo>
                      <a:pt x="32" y="64"/>
                    </a:lnTo>
                    <a:lnTo>
                      <a:pt x="28" y="63"/>
                    </a:lnTo>
                    <a:lnTo>
                      <a:pt x="25" y="60"/>
                    </a:lnTo>
                    <a:lnTo>
                      <a:pt x="22" y="57"/>
                    </a:lnTo>
                    <a:lnTo>
                      <a:pt x="18" y="51"/>
                    </a:lnTo>
                    <a:lnTo>
                      <a:pt x="15" y="33"/>
                    </a:lnTo>
                    <a:lnTo>
                      <a:pt x="13" y="30"/>
                    </a:lnTo>
                    <a:lnTo>
                      <a:pt x="13" y="29"/>
                    </a:lnTo>
                    <a:lnTo>
                      <a:pt x="13" y="25"/>
                    </a:lnTo>
                    <a:lnTo>
                      <a:pt x="11" y="22"/>
                    </a:lnTo>
                    <a:lnTo>
                      <a:pt x="3" y="22"/>
                    </a:lnTo>
                    <a:lnTo>
                      <a:pt x="1" y="20"/>
                    </a:lnTo>
                    <a:lnTo>
                      <a:pt x="0" y="19"/>
                    </a:lnTo>
                    <a:lnTo>
                      <a:pt x="11" y="4"/>
                    </a:lnTo>
                    <a:lnTo>
                      <a:pt x="18" y="0"/>
                    </a:lnTo>
                    <a:lnTo>
                      <a:pt x="27" y="0"/>
                    </a:lnTo>
                    <a:lnTo>
                      <a:pt x="48" y="1"/>
                    </a:lnTo>
                    <a:lnTo>
                      <a:pt x="58" y="1"/>
                    </a:lnTo>
                    <a:lnTo>
                      <a:pt x="71" y="0"/>
                    </a:lnTo>
                    <a:lnTo>
                      <a:pt x="81" y="2"/>
                    </a:lnTo>
                    <a:lnTo>
                      <a:pt x="91" y="1"/>
                    </a:lnTo>
                    <a:lnTo>
                      <a:pt x="103" y="2"/>
                    </a:lnTo>
                    <a:lnTo>
                      <a:pt x="116" y="7"/>
                    </a:lnTo>
                    <a:lnTo>
                      <a:pt x="141" y="23"/>
                    </a:lnTo>
                    <a:lnTo>
                      <a:pt x="149" y="32"/>
                    </a:lnTo>
                    <a:lnTo>
                      <a:pt x="164" y="37"/>
                    </a:lnTo>
                    <a:lnTo>
                      <a:pt x="176" y="37"/>
                    </a:lnTo>
                    <a:lnTo>
                      <a:pt x="192" y="41"/>
                    </a:lnTo>
                    <a:lnTo>
                      <a:pt x="207" y="41"/>
                    </a:lnTo>
                    <a:lnTo>
                      <a:pt x="225" y="33"/>
                    </a:lnTo>
                    <a:lnTo>
                      <a:pt x="236" y="22"/>
                    </a:lnTo>
                    <a:lnTo>
                      <a:pt x="248" y="17"/>
                    </a:lnTo>
                    <a:lnTo>
                      <a:pt x="262" y="14"/>
                    </a:lnTo>
                    <a:lnTo>
                      <a:pt x="286" y="26"/>
                    </a:lnTo>
                    <a:lnTo>
                      <a:pt x="295" y="25"/>
                    </a:lnTo>
                    <a:lnTo>
                      <a:pt x="302" y="26"/>
                    </a:lnTo>
                    <a:lnTo>
                      <a:pt x="306" y="25"/>
                    </a:lnTo>
                    <a:lnTo>
                      <a:pt x="305" y="28"/>
                    </a:lnTo>
                    <a:lnTo>
                      <a:pt x="290" y="51"/>
                    </a:lnTo>
                    <a:lnTo>
                      <a:pt x="274" y="67"/>
                    </a:lnTo>
                    <a:lnTo>
                      <a:pt x="272" y="68"/>
                    </a:lnTo>
                    <a:lnTo>
                      <a:pt x="272" y="106"/>
                    </a:lnTo>
                    <a:lnTo>
                      <a:pt x="272" y="142"/>
                    </a:lnTo>
                    <a:lnTo>
                      <a:pt x="272" y="180"/>
                    </a:lnTo>
                    <a:lnTo>
                      <a:pt x="272" y="211"/>
                    </a:lnTo>
                    <a:lnTo>
                      <a:pt x="276" y="216"/>
                    </a:lnTo>
                    <a:close/>
                  </a:path>
                </a:pathLst>
              </a:custGeom>
              <a:solidFill>
                <a:srgbClr val="1737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9" name="Freeform 115"/>
              <p:cNvSpPr>
                <a:spLocks/>
              </p:cNvSpPr>
              <p:nvPr/>
            </p:nvSpPr>
            <p:spPr bwMode="auto">
              <a:xfrm>
                <a:off x="2688" y="2337"/>
                <a:ext cx="327" cy="374"/>
              </a:xfrm>
              <a:custGeom>
                <a:avLst/>
                <a:gdLst>
                  <a:gd name="T0" fmla="*/ 23265 w 306"/>
                  <a:gd name="T1" fmla="*/ 6147 h 356"/>
                  <a:gd name="T2" fmla="*/ 23239 w 306"/>
                  <a:gd name="T3" fmla="*/ 6308 h 356"/>
                  <a:gd name="T4" fmla="*/ 22097 w 306"/>
                  <a:gd name="T5" fmla="*/ 6537 h 356"/>
                  <a:gd name="T6" fmla="*/ 21416 w 306"/>
                  <a:gd name="T7" fmla="*/ 6780 h 356"/>
                  <a:gd name="T8" fmla="*/ 21119 w 306"/>
                  <a:gd name="T9" fmla="*/ 6962 h 356"/>
                  <a:gd name="T10" fmla="*/ 20041 w 306"/>
                  <a:gd name="T11" fmla="*/ 7190 h 356"/>
                  <a:gd name="T12" fmla="*/ 19434 w 306"/>
                  <a:gd name="T13" fmla="*/ 7554 h 356"/>
                  <a:gd name="T14" fmla="*/ 18494 w 306"/>
                  <a:gd name="T15" fmla="*/ 8265 h 356"/>
                  <a:gd name="T16" fmla="*/ 17841 w 306"/>
                  <a:gd name="T17" fmla="*/ 8784 h 356"/>
                  <a:gd name="T18" fmla="*/ 17306 w 306"/>
                  <a:gd name="T19" fmla="*/ 9035 h 356"/>
                  <a:gd name="T20" fmla="*/ 16508 w 306"/>
                  <a:gd name="T21" fmla="*/ 9233 h 356"/>
                  <a:gd name="T22" fmla="*/ 11945 w 306"/>
                  <a:gd name="T23" fmla="*/ 8153 h 356"/>
                  <a:gd name="T24" fmla="*/ 11742 w 306"/>
                  <a:gd name="T25" fmla="*/ 7628 h 356"/>
                  <a:gd name="T26" fmla="*/ 871 w 306"/>
                  <a:gd name="T27" fmla="*/ 5517 h 356"/>
                  <a:gd name="T28" fmla="*/ 815 w 306"/>
                  <a:gd name="T29" fmla="*/ 5141 h 356"/>
                  <a:gd name="T30" fmla="*/ 1903 w 306"/>
                  <a:gd name="T31" fmla="*/ 4998 h 356"/>
                  <a:gd name="T32" fmla="*/ 2520 w 306"/>
                  <a:gd name="T33" fmla="*/ 4814 h 356"/>
                  <a:gd name="T34" fmla="*/ 1297 w 306"/>
                  <a:gd name="T35" fmla="*/ 4837 h 356"/>
                  <a:gd name="T36" fmla="*/ 7 w 306"/>
                  <a:gd name="T37" fmla="*/ 4929 h 356"/>
                  <a:gd name="T38" fmla="*/ 0 w 306"/>
                  <a:gd name="T39" fmla="*/ 4604 h 356"/>
                  <a:gd name="T40" fmla="*/ 5 w 306"/>
                  <a:gd name="T41" fmla="*/ 4251 h 356"/>
                  <a:gd name="T42" fmla="*/ 2034 w 306"/>
                  <a:gd name="T43" fmla="*/ 3539 h 356"/>
                  <a:gd name="T44" fmla="*/ 2520 w 306"/>
                  <a:gd name="T45" fmla="*/ 3259 h 356"/>
                  <a:gd name="T46" fmla="*/ 3141 w 306"/>
                  <a:gd name="T47" fmla="*/ 2792 h 356"/>
                  <a:gd name="T48" fmla="*/ 3076 w 306"/>
                  <a:gd name="T49" fmla="*/ 2230 h 356"/>
                  <a:gd name="T50" fmla="*/ 3028 w 306"/>
                  <a:gd name="T51" fmla="*/ 1774 h 356"/>
                  <a:gd name="T52" fmla="*/ 2207 w 306"/>
                  <a:gd name="T53" fmla="*/ 1608 h 356"/>
                  <a:gd name="T54" fmla="*/ 1808 w 306"/>
                  <a:gd name="T55" fmla="*/ 1457 h 356"/>
                  <a:gd name="T56" fmla="*/ 1136 w 306"/>
                  <a:gd name="T57" fmla="*/ 846 h 356"/>
                  <a:gd name="T58" fmla="*/ 995 w 306"/>
                  <a:gd name="T59" fmla="*/ 763 h 356"/>
                  <a:gd name="T60" fmla="*/ 871 w 306"/>
                  <a:gd name="T61" fmla="*/ 540 h 356"/>
                  <a:gd name="T62" fmla="*/ 1 w 306"/>
                  <a:gd name="T63" fmla="*/ 489 h 356"/>
                  <a:gd name="T64" fmla="*/ 871 w 306"/>
                  <a:gd name="T65" fmla="*/ 4 h 356"/>
                  <a:gd name="T66" fmla="*/ 2174 w 306"/>
                  <a:gd name="T67" fmla="*/ 0 h 356"/>
                  <a:gd name="T68" fmla="*/ 4638 w 306"/>
                  <a:gd name="T69" fmla="*/ 1 h 356"/>
                  <a:gd name="T70" fmla="*/ 6462 w 306"/>
                  <a:gd name="T71" fmla="*/ 2 h 356"/>
                  <a:gd name="T72" fmla="*/ 8325 w 306"/>
                  <a:gd name="T73" fmla="*/ 2 h 356"/>
                  <a:gd name="T74" fmla="*/ 11287 w 306"/>
                  <a:gd name="T75" fmla="*/ 567 h 356"/>
                  <a:gd name="T76" fmla="*/ 13198 w 306"/>
                  <a:gd name="T77" fmla="*/ 934 h 356"/>
                  <a:gd name="T78" fmla="*/ 15312 w 306"/>
                  <a:gd name="T79" fmla="*/ 1031 h 356"/>
                  <a:gd name="T80" fmla="*/ 17964 w 306"/>
                  <a:gd name="T81" fmla="*/ 846 h 356"/>
                  <a:gd name="T82" fmla="*/ 19763 w 306"/>
                  <a:gd name="T83" fmla="*/ 422 h 356"/>
                  <a:gd name="T84" fmla="*/ 22886 w 306"/>
                  <a:gd name="T85" fmla="*/ 658 h 356"/>
                  <a:gd name="T86" fmla="*/ 24117 w 306"/>
                  <a:gd name="T87" fmla="*/ 658 h 356"/>
                  <a:gd name="T88" fmla="*/ 24367 w 306"/>
                  <a:gd name="T89" fmla="*/ 726 h 356"/>
                  <a:gd name="T90" fmla="*/ 21922 w 306"/>
                  <a:gd name="T91" fmla="*/ 1743 h 356"/>
                  <a:gd name="T92" fmla="*/ 21747 w 306"/>
                  <a:gd name="T93" fmla="*/ 2754 h 356"/>
                  <a:gd name="T94" fmla="*/ 21747 w 306"/>
                  <a:gd name="T95" fmla="*/ 4673 h 356"/>
                  <a:gd name="T96" fmla="*/ 21983 w 306"/>
                  <a:gd name="T97" fmla="*/ 5609 h 3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06"/>
                  <a:gd name="T148" fmla="*/ 0 h 356"/>
                  <a:gd name="T149" fmla="*/ 306 w 306"/>
                  <a:gd name="T150" fmla="*/ 356 h 3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06" h="356">
                    <a:moveTo>
                      <a:pt x="276" y="216"/>
                    </a:moveTo>
                    <a:lnTo>
                      <a:pt x="292" y="236"/>
                    </a:lnTo>
                    <a:lnTo>
                      <a:pt x="293" y="239"/>
                    </a:lnTo>
                    <a:lnTo>
                      <a:pt x="291" y="244"/>
                    </a:lnTo>
                    <a:lnTo>
                      <a:pt x="283" y="251"/>
                    </a:lnTo>
                    <a:lnTo>
                      <a:pt x="277" y="252"/>
                    </a:lnTo>
                    <a:lnTo>
                      <a:pt x="273" y="254"/>
                    </a:lnTo>
                    <a:lnTo>
                      <a:pt x="268" y="260"/>
                    </a:lnTo>
                    <a:lnTo>
                      <a:pt x="265" y="265"/>
                    </a:lnTo>
                    <a:lnTo>
                      <a:pt x="265" y="269"/>
                    </a:lnTo>
                    <a:lnTo>
                      <a:pt x="252" y="275"/>
                    </a:lnTo>
                    <a:lnTo>
                      <a:pt x="251" y="277"/>
                    </a:lnTo>
                    <a:lnTo>
                      <a:pt x="247" y="280"/>
                    </a:lnTo>
                    <a:lnTo>
                      <a:pt x="243" y="291"/>
                    </a:lnTo>
                    <a:lnTo>
                      <a:pt x="241" y="303"/>
                    </a:lnTo>
                    <a:lnTo>
                      <a:pt x="232" y="318"/>
                    </a:lnTo>
                    <a:lnTo>
                      <a:pt x="227" y="326"/>
                    </a:lnTo>
                    <a:lnTo>
                      <a:pt x="224" y="338"/>
                    </a:lnTo>
                    <a:lnTo>
                      <a:pt x="220" y="344"/>
                    </a:lnTo>
                    <a:lnTo>
                      <a:pt x="217" y="348"/>
                    </a:lnTo>
                    <a:lnTo>
                      <a:pt x="214" y="351"/>
                    </a:lnTo>
                    <a:lnTo>
                      <a:pt x="207" y="356"/>
                    </a:lnTo>
                    <a:lnTo>
                      <a:pt x="154" y="321"/>
                    </a:lnTo>
                    <a:lnTo>
                      <a:pt x="150" y="314"/>
                    </a:lnTo>
                    <a:lnTo>
                      <a:pt x="147" y="301"/>
                    </a:lnTo>
                    <a:lnTo>
                      <a:pt x="147" y="295"/>
                    </a:lnTo>
                    <a:lnTo>
                      <a:pt x="145" y="292"/>
                    </a:lnTo>
                    <a:lnTo>
                      <a:pt x="11" y="213"/>
                    </a:lnTo>
                    <a:lnTo>
                      <a:pt x="4" y="208"/>
                    </a:lnTo>
                    <a:lnTo>
                      <a:pt x="10" y="198"/>
                    </a:lnTo>
                    <a:lnTo>
                      <a:pt x="17" y="198"/>
                    </a:lnTo>
                    <a:lnTo>
                      <a:pt x="23" y="193"/>
                    </a:lnTo>
                    <a:lnTo>
                      <a:pt x="32" y="189"/>
                    </a:lnTo>
                    <a:lnTo>
                      <a:pt x="32" y="186"/>
                    </a:lnTo>
                    <a:lnTo>
                      <a:pt x="25" y="186"/>
                    </a:lnTo>
                    <a:lnTo>
                      <a:pt x="17" y="187"/>
                    </a:lnTo>
                    <a:lnTo>
                      <a:pt x="11" y="189"/>
                    </a:lnTo>
                    <a:lnTo>
                      <a:pt x="7" y="190"/>
                    </a:lnTo>
                    <a:lnTo>
                      <a:pt x="5" y="184"/>
                    </a:lnTo>
                    <a:lnTo>
                      <a:pt x="0" y="178"/>
                    </a:lnTo>
                    <a:lnTo>
                      <a:pt x="1" y="168"/>
                    </a:lnTo>
                    <a:lnTo>
                      <a:pt x="5" y="164"/>
                    </a:lnTo>
                    <a:lnTo>
                      <a:pt x="17" y="145"/>
                    </a:lnTo>
                    <a:lnTo>
                      <a:pt x="25" y="137"/>
                    </a:lnTo>
                    <a:lnTo>
                      <a:pt x="25" y="134"/>
                    </a:lnTo>
                    <a:lnTo>
                      <a:pt x="32" y="126"/>
                    </a:lnTo>
                    <a:lnTo>
                      <a:pt x="37" y="119"/>
                    </a:lnTo>
                    <a:lnTo>
                      <a:pt x="39" y="108"/>
                    </a:lnTo>
                    <a:lnTo>
                      <a:pt x="39" y="95"/>
                    </a:lnTo>
                    <a:lnTo>
                      <a:pt x="38" y="86"/>
                    </a:lnTo>
                    <a:lnTo>
                      <a:pt x="38" y="74"/>
                    </a:lnTo>
                    <a:lnTo>
                      <a:pt x="37" y="69"/>
                    </a:lnTo>
                    <a:lnTo>
                      <a:pt x="32" y="64"/>
                    </a:lnTo>
                    <a:lnTo>
                      <a:pt x="28" y="63"/>
                    </a:lnTo>
                    <a:lnTo>
                      <a:pt x="25" y="60"/>
                    </a:lnTo>
                    <a:lnTo>
                      <a:pt x="22" y="57"/>
                    </a:lnTo>
                    <a:lnTo>
                      <a:pt x="18" y="51"/>
                    </a:lnTo>
                    <a:lnTo>
                      <a:pt x="15" y="33"/>
                    </a:lnTo>
                    <a:lnTo>
                      <a:pt x="13" y="30"/>
                    </a:lnTo>
                    <a:lnTo>
                      <a:pt x="13" y="29"/>
                    </a:lnTo>
                    <a:lnTo>
                      <a:pt x="13" y="25"/>
                    </a:lnTo>
                    <a:lnTo>
                      <a:pt x="11" y="22"/>
                    </a:lnTo>
                    <a:lnTo>
                      <a:pt x="3" y="22"/>
                    </a:lnTo>
                    <a:lnTo>
                      <a:pt x="1" y="20"/>
                    </a:lnTo>
                    <a:lnTo>
                      <a:pt x="0" y="19"/>
                    </a:lnTo>
                    <a:lnTo>
                      <a:pt x="11" y="4"/>
                    </a:lnTo>
                    <a:lnTo>
                      <a:pt x="18" y="0"/>
                    </a:lnTo>
                    <a:lnTo>
                      <a:pt x="27" y="0"/>
                    </a:lnTo>
                    <a:lnTo>
                      <a:pt x="48" y="1"/>
                    </a:lnTo>
                    <a:lnTo>
                      <a:pt x="58" y="1"/>
                    </a:lnTo>
                    <a:lnTo>
                      <a:pt x="71" y="0"/>
                    </a:lnTo>
                    <a:lnTo>
                      <a:pt x="81" y="2"/>
                    </a:lnTo>
                    <a:lnTo>
                      <a:pt x="91" y="1"/>
                    </a:lnTo>
                    <a:lnTo>
                      <a:pt x="103" y="2"/>
                    </a:lnTo>
                    <a:lnTo>
                      <a:pt x="116" y="7"/>
                    </a:lnTo>
                    <a:lnTo>
                      <a:pt x="141" y="23"/>
                    </a:lnTo>
                    <a:lnTo>
                      <a:pt x="149" y="32"/>
                    </a:lnTo>
                    <a:lnTo>
                      <a:pt x="164" y="37"/>
                    </a:lnTo>
                    <a:lnTo>
                      <a:pt x="176" y="37"/>
                    </a:lnTo>
                    <a:lnTo>
                      <a:pt x="192" y="41"/>
                    </a:lnTo>
                    <a:lnTo>
                      <a:pt x="207" y="41"/>
                    </a:lnTo>
                    <a:lnTo>
                      <a:pt x="225" y="33"/>
                    </a:lnTo>
                    <a:lnTo>
                      <a:pt x="236" y="22"/>
                    </a:lnTo>
                    <a:lnTo>
                      <a:pt x="248" y="17"/>
                    </a:lnTo>
                    <a:lnTo>
                      <a:pt x="262" y="14"/>
                    </a:lnTo>
                    <a:lnTo>
                      <a:pt x="286" y="26"/>
                    </a:lnTo>
                    <a:lnTo>
                      <a:pt x="295" y="25"/>
                    </a:lnTo>
                    <a:lnTo>
                      <a:pt x="302" y="26"/>
                    </a:lnTo>
                    <a:lnTo>
                      <a:pt x="306" y="25"/>
                    </a:lnTo>
                    <a:lnTo>
                      <a:pt x="305" y="28"/>
                    </a:lnTo>
                    <a:lnTo>
                      <a:pt x="290" y="51"/>
                    </a:lnTo>
                    <a:lnTo>
                      <a:pt x="274" y="67"/>
                    </a:lnTo>
                    <a:lnTo>
                      <a:pt x="272" y="68"/>
                    </a:lnTo>
                    <a:lnTo>
                      <a:pt x="272" y="106"/>
                    </a:lnTo>
                    <a:lnTo>
                      <a:pt x="272" y="142"/>
                    </a:lnTo>
                    <a:lnTo>
                      <a:pt x="272" y="180"/>
                    </a:lnTo>
                    <a:lnTo>
                      <a:pt x="272" y="211"/>
                    </a:lnTo>
                    <a:lnTo>
                      <a:pt x="276" y="216"/>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30" name="Freeform 116"/>
              <p:cNvSpPr>
                <a:spLocks/>
              </p:cNvSpPr>
              <p:nvPr/>
            </p:nvSpPr>
            <p:spPr bwMode="auto">
              <a:xfrm>
                <a:off x="2191" y="2856"/>
                <a:ext cx="483" cy="396"/>
              </a:xfrm>
              <a:custGeom>
                <a:avLst/>
                <a:gdLst>
                  <a:gd name="T0" fmla="*/ 32929 w 451"/>
                  <a:gd name="T1" fmla="*/ 347 h 377"/>
                  <a:gd name="T2" fmla="*/ 34887 w 451"/>
                  <a:gd name="T3" fmla="*/ 722 h 377"/>
                  <a:gd name="T4" fmla="*/ 38779 w 451"/>
                  <a:gd name="T5" fmla="*/ 1024 h 377"/>
                  <a:gd name="T6" fmla="*/ 39031 w 451"/>
                  <a:gd name="T7" fmla="*/ 1310 h 377"/>
                  <a:gd name="T8" fmla="*/ 40382 w 451"/>
                  <a:gd name="T9" fmla="*/ 1583 h 377"/>
                  <a:gd name="T10" fmla="*/ 41252 w 451"/>
                  <a:gd name="T11" fmla="*/ 2259 h 377"/>
                  <a:gd name="T12" fmla="*/ 41192 w 451"/>
                  <a:gd name="T13" fmla="*/ 2607 h 377"/>
                  <a:gd name="T14" fmla="*/ 40470 w 451"/>
                  <a:gd name="T15" fmla="*/ 2999 h 377"/>
                  <a:gd name="T16" fmla="*/ 40220 w 451"/>
                  <a:gd name="T17" fmla="*/ 3939 h 377"/>
                  <a:gd name="T18" fmla="*/ 40802 w 451"/>
                  <a:gd name="T19" fmla="*/ 4217 h 377"/>
                  <a:gd name="T20" fmla="*/ 39412 w 451"/>
                  <a:gd name="T21" fmla="*/ 4407 h 377"/>
                  <a:gd name="T22" fmla="*/ 38779 w 451"/>
                  <a:gd name="T23" fmla="*/ 5145 h 377"/>
                  <a:gd name="T24" fmla="*/ 38779 w 451"/>
                  <a:gd name="T25" fmla="*/ 5559 h 377"/>
                  <a:gd name="T26" fmla="*/ 39872 w 451"/>
                  <a:gd name="T27" fmla="*/ 5683 h 377"/>
                  <a:gd name="T28" fmla="*/ 28962 w 451"/>
                  <a:gd name="T29" fmla="*/ 7204 h 377"/>
                  <a:gd name="T30" fmla="*/ 28403 w 451"/>
                  <a:gd name="T31" fmla="*/ 7318 h 377"/>
                  <a:gd name="T32" fmla="*/ 26434 w 451"/>
                  <a:gd name="T33" fmla="*/ 7358 h 377"/>
                  <a:gd name="T34" fmla="*/ 24057 w 451"/>
                  <a:gd name="T35" fmla="*/ 7567 h 377"/>
                  <a:gd name="T36" fmla="*/ 23806 w 451"/>
                  <a:gd name="T37" fmla="*/ 7994 h 377"/>
                  <a:gd name="T38" fmla="*/ 23040 w 451"/>
                  <a:gd name="T39" fmla="*/ 8237 h 377"/>
                  <a:gd name="T40" fmla="*/ 21521 w 451"/>
                  <a:gd name="T41" fmla="*/ 8324 h 377"/>
                  <a:gd name="T42" fmla="*/ 20095 w 451"/>
                  <a:gd name="T43" fmla="*/ 8481 h 377"/>
                  <a:gd name="T44" fmla="*/ 18578 w 451"/>
                  <a:gd name="T45" fmla="*/ 9058 h 377"/>
                  <a:gd name="T46" fmla="*/ 17912 w 451"/>
                  <a:gd name="T47" fmla="*/ 9281 h 377"/>
                  <a:gd name="T48" fmla="*/ 16129 w 451"/>
                  <a:gd name="T49" fmla="*/ 9675 h 377"/>
                  <a:gd name="T50" fmla="*/ 15060 w 451"/>
                  <a:gd name="T51" fmla="*/ 9563 h 377"/>
                  <a:gd name="T52" fmla="*/ 11599 w 451"/>
                  <a:gd name="T53" fmla="*/ 9563 h 377"/>
                  <a:gd name="T54" fmla="*/ 10268 w 451"/>
                  <a:gd name="T55" fmla="*/ 9200 h 377"/>
                  <a:gd name="T56" fmla="*/ 7469 w 451"/>
                  <a:gd name="T57" fmla="*/ 9058 h 377"/>
                  <a:gd name="T58" fmla="*/ 3431 w 451"/>
                  <a:gd name="T59" fmla="*/ 9088 h 377"/>
                  <a:gd name="T60" fmla="*/ 1353 w 451"/>
                  <a:gd name="T61" fmla="*/ 8652 h 377"/>
                  <a:gd name="T62" fmla="*/ 0 w 451"/>
                  <a:gd name="T63" fmla="*/ 8237 h 377"/>
                  <a:gd name="T64" fmla="*/ 0 w 451"/>
                  <a:gd name="T65" fmla="*/ 4702 h 377"/>
                  <a:gd name="T66" fmla="*/ 6974 w 451"/>
                  <a:gd name="T67" fmla="*/ 4573 h 377"/>
                  <a:gd name="T68" fmla="*/ 6974 w 451"/>
                  <a:gd name="T69" fmla="*/ 3835 h 377"/>
                  <a:gd name="T70" fmla="*/ 7289 w 451"/>
                  <a:gd name="T71" fmla="*/ 3036 h 377"/>
                  <a:gd name="T72" fmla="*/ 7469 w 451"/>
                  <a:gd name="T73" fmla="*/ 2718 h 377"/>
                  <a:gd name="T74" fmla="*/ 8008 w 451"/>
                  <a:gd name="T75" fmla="*/ 2493 h 377"/>
                  <a:gd name="T76" fmla="*/ 8615 w 451"/>
                  <a:gd name="T77" fmla="*/ 3036 h 377"/>
                  <a:gd name="T78" fmla="*/ 10472 w 451"/>
                  <a:gd name="T79" fmla="*/ 2933 h 377"/>
                  <a:gd name="T80" fmla="*/ 12081 w 451"/>
                  <a:gd name="T81" fmla="*/ 3242 h 377"/>
                  <a:gd name="T82" fmla="*/ 15800 w 451"/>
                  <a:gd name="T83" fmla="*/ 3646 h 377"/>
                  <a:gd name="T84" fmla="*/ 18097 w 451"/>
                  <a:gd name="T85" fmla="*/ 3476 h 377"/>
                  <a:gd name="T86" fmla="*/ 21790 w 451"/>
                  <a:gd name="T87" fmla="*/ 3995 h 377"/>
                  <a:gd name="T88" fmla="*/ 23387 w 451"/>
                  <a:gd name="T89" fmla="*/ 4653 h 377"/>
                  <a:gd name="T90" fmla="*/ 26062 w 451"/>
                  <a:gd name="T91" fmla="*/ 4888 h 377"/>
                  <a:gd name="T92" fmla="*/ 27026 w 451"/>
                  <a:gd name="T93" fmla="*/ 4965 h 377"/>
                  <a:gd name="T94" fmla="*/ 27526 w 451"/>
                  <a:gd name="T95" fmla="*/ 4803 h 377"/>
                  <a:gd name="T96" fmla="*/ 27026 w 451"/>
                  <a:gd name="T97" fmla="*/ 3939 h 377"/>
                  <a:gd name="T98" fmla="*/ 24439 w 451"/>
                  <a:gd name="T99" fmla="*/ 3882 h 377"/>
                  <a:gd name="T100" fmla="*/ 23123 w 451"/>
                  <a:gd name="T101" fmla="*/ 3333 h 377"/>
                  <a:gd name="T102" fmla="*/ 24654 w 451"/>
                  <a:gd name="T103" fmla="*/ 2151 h 377"/>
                  <a:gd name="T104" fmla="*/ 23978 w 451"/>
                  <a:gd name="T105" fmla="*/ 968 h 377"/>
                  <a:gd name="T106" fmla="*/ 25032 w 451"/>
                  <a:gd name="T107" fmla="*/ 382 h 377"/>
                  <a:gd name="T108" fmla="*/ 26434 w 451"/>
                  <a:gd name="T109" fmla="*/ 8 h 377"/>
                  <a:gd name="T110" fmla="*/ 30438 w 451"/>
                  <a:gd name="T111" fmla="*/ 364 h 37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51"/>
                  <a:gd name="T169" fmla="*/ 0 h 377"/>
                  <a:gd name="T170" fmla="*/ 451 w 451"/>
                  <a:gd name="T171" fmla="*/ 377 h 37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51" h="377">
                    <a:moveTo>
                      <a:pt x="340" y="15"/>
                    </a:moveTo>
                    <a:lnTo>
                      <a:pt x="347" y="22"/>
                    </a:lnTo>
                    <a:lnTo>
                      <a:pt x="353" y="14"/>
                    </a:lnTo>
                    <a:lnTo>
                      <a:pt x="357" y="13"/>
                    </a:lnTo>
                    <a:lnTo>
                      <a:pt x="362" y="15"/>
                    </a:lnTo>
                    <a:lnTo>
                      <a:pt x="369" y="21"/>
                    </a:lnTo>
                    <a:lnTo>
                      <a:pt x="374" y="25"/>
                    </a:lnTo>
                    <a:lnTo>
                      <a:pt x="378" y="28"/>
                    </a:lnTo>
                    <a:lnTo>
                      <a:pt x="385" y="30"/>
                    </a:lnTo>
                    <a:lnTo>
                      <a:pt x="405" y="39"/>
                    </a:lnTo>
                    <a:lnTo>
                      <a:pt x="413" y="41"/>
                    </a:lnTo>
                    <a:lnTo>
                      <a:pt x="421" y="41"/>
                    </a:lnTo>
                    <a:lnTo>
                      <a:pt x="422" y="43"/>
                    </a:lnTo>
                    <a:lnTo>
                      <a:pt x="424" y="46"/>
                    </a:lnTo>
                    <a:lnTo>
                      <a:pt x="424" y="47"/>
                    </a:lnTo>
                    <a:lnTo>
                      <a:pt x="424" y="51"/>
                    </a:lnTo>
                    <a:lnTo>
                      <a:pt x="426" y="51"/>
                    </a:lnTo>
                    <a:lnTo>
                      <a:pt x="427" y="56"/>
                    </a:lnTo>
                    <a:lnTo>
                      <a:pt x="433" y="56"/>
                    </a:lnTo>
                    <a:lnTo>
                      <a:pt x="437" y="62"/>
                    </a:lnTo>
                    <a:lnTo>
                      <a:pt x="439" y="65"/>
                    </a:lnTo>
                    <a:lnTo>
                      <a:pt x="442" y="72"/>
                    </a:lnTo>
                    <a:lnTo>
                      <a:pt x="445" y="76"/>
                    </a:lnTo>
                    <a:lnTo>
                      <a:pt x="447" y="89"/>
                    </a:lnTo>
                    <a:lnTo>
                      <a:pt x="451" y="91"/>
                    </a:lnTo>
                    <a:lnTo>
                      <a:pt x="451" y="95"/>
                    </a:lnTo>
                    <a:lnTo>
                      <a:pt x="451" y="98"/>
                    </a:lnTo>
                    <a:lnTo>
                      <a:pt x="445" y="102"/>
                    </a:lnTo>
                    <a:lnTo>
                      <a:pt x="443" y="102"/>
                    </a:lnTo>
                    <a:lnTo>
                      <a:pt x="440" y="104"/>
                    </a:lnTo>
                    <a:lnTo>
                      <a:pt x="439" y="110"/>
                    </a:lnTo>
                    <a:lnTo>
                      <a:pt x="440" y="117"/>
                    </a:lnTo>
                    <a:lnTo>
                      <a:pt x="436" y="127"/>
                    </a:lnTo>
                    <a:lnTo>
                      <a:pt x="437" y="133"/>
                    </a:lnTo>
                    <a:lnTo>
                      <a:pt x="437" y="143"/>
                    </a:lnTo>
                    <a:lnTo>
                      <a:pt x="436" y="153"/>
                    </a:lnTo>
                    <a:lnTo>
                      <a:pt x="437" y="155"/>
                    </a:lnTo>
                    <a:lnTo>
                      <a:pt x="439" y="159"/>
                    </a:lnTo>
                    <a:lnTo>
                      <a:pt x="443" y="160"/>
                    </a:lnTo>
                    <a:lnTo>
                      <a:pt x="443" y="164"/>
                    </a:lnTo>
                    <a:lnTo>
                      <a:pt x="443" y="167"/>
                    </a:lnTo>
                    <a:lnTo>
                      <a:pt x="436" y="168"/>
                    </a:lnTo>
                    <a:lnTo>
                      <a:pt x="432" y="170"/>
                    </a:lnTo>
                    <a:lnTo>
                      <a:pt x="428" y="171"/>
                    </a:lnTo>
                    <a:lnTo>
                      <a:pt x="428" y="172"/>
                    </a:lnTo>
                    <a:lnTo>
                      <a:pt x="426" y="183"/>
                    </a:lnTo>
                    <a:lnTo>
                      <a:pt x="424" y="193"/>
                    </a:lnTo>
                    <a:lnTo>
                      <a:pt x="421" y="201"/>
                    </a:lnTo>
                    <a:lnTo>
                      <a:pt x="416" y="208"/>
                    </a:lnTo>
                    <a:lnTo>
                      <a:pt x="416" y="210"/>
                    </a:lnTo>
                    <a:lnTo>
                      <a:pt x="416" y="216"/>
                    </a:lnTo>
                    <a:lnTo>
                      <a:pt x="421" y="216"/>
                    </a:lnTo>
                    <a:lnTo>
                      <a:pt x="423" y="221"/>
                    </a:lnTo>
                    <a:lnTo>
                      <a:pt x="429" y="221"/>
                    </a:lnTo>
                    <a:lnTo>
                      <a:pt x="430" y="222"/>
                    </a:lnTo>
                    <a:lnTo>
                      <a:pt x="432" y="223"/>
                    </a:lnTo>
                    <a:lnTo>
                      <a:pt x="424" y="223"/>
                    </a:lnTo>
                    <a:lnTo>
                      <a:pt x="309" y="263"/>
                    </a:lnTo>
                    <a:lnTo>
                      <a:pt x="314" y="273"/>
                    </a:lnTo>
                    <a:lnTo>
                      <a:pt x="315" y="282"/>
                    </a:lnTo>
                    <a:lnTo>
                      <a:pt x="319" y="284"/>
                    </a:lnTo>
                    <a:lnTo>
                      <a:pt x="318" y="285"/>
                    </a:lnTo>
                    <a:lnTo>
                      <a:pt x="313" y="285"/>
                    </a:lnTo>
                    <a:lnTo>
                      <a:pt x="308" y="286"/>
                    </a:lnTo>
                    <a:lnTo>
                      <a:pt x="303" y="285"/>
                    </a:lnTo>
                    <a:lnTo>
                      <a:pt x="298" y="284"/>
                    </a:lnTo>
                    <a:lnTo>
                      <a:pt x="296" y="284"/>
                    </a:lnTo>
                    <a:lnTo>
                      <a:pt x="287" y="287"/>
                    </a:lnTo>
                    <a:lnTo>
                      <a:pt x="275" y="289"/>
                    </a:lnTo>
                    <a:lnTo>
                      <a:pt x="271" y="292"/>
                    </a:lnTo>
                    <a:lnTo>
                      <a:pt x="266" y="296"/>
                    </a:lnTo>
                    <a:lnTo>
                      <a:pt x="261" y="296"/>
                    </a:lnTo>
                    <a:lnTo>
                      <a:pt x="258" y="299"/>
                    </a:lnTo>
                    <a:lnTo>
                      <a:pt x="257" y="302"/>
                    </a:lnTo>
                    <a:lnTo>
                      <a:pt x="257" y="309"/>
                    </a:lnTo>
                    <a:lnTo>
                      <a:pt x="257" y="312"/>
                    </a:lnTo>
                    <a:lnTo>
                      <a:pt x="257" y="315"/>
                    </a:lnTo>
                    <a:lnTo>
                      <a:pt x="255" y="318"/>
                    </a:lnTo>
                    <a:lnTo>
                      <a:pt x="255" y="320"/>
                    </a:lnTo>
                    <a:lnTo>
                      <a:pt x="249" y="320"/>
                    </a:lnTo>
                    <a:lnTo>
                      <a:pt x="240" y="319"/>
                    </a:lnTo>
                    <a:lnTo>
                      <a:pt x="236" y="321"/>
                    </a:lnTo>
                    <a:lnTo>
                      <a:pt x="235" y="324"/>
                    </a:lnTo>
                    <a:lnTo>
                      <a:pt x="233" y="324"/>
                    </a:lnTo>
                    <a:lnTo>
                      <a:pt x="228" y="331"/>
                    </a:lnTo>
                    <a:lnTo>
                      <a:pt x="223" y="330"/>
                    </a:lnTo>
                    <a:lnTo>
                      <a:pt x="219" y="331"/>
                    </a:lnTo>
                    <a:lnTo>
                      <a:pt x="218" y="331"/>
                    </a:lnTo>
                    <a:lnTo>
                      <a:pt x="216" y="335"/>
                    </a:lnTo>
                    <a:lnTo>
                      <a:pt x="213" y="336"/>
                    </a:lnTo>
                    <a:lnTo>
                      <a:pt x="209" y="344"/>
                    </a:lnTo>
                    <a:lnTo>
                      <a:pt x="202" y="351"/>
                    </a:lnTo>
                    <a:lnTo>
                      <a:pt x="199" y="355"/>
                    </a:lnTo>
                    <a:lnTo>
                      <a:pt x="199" y="358"/>
                    </a:lnTo>
                    <a:lnTo>
                      <a:pt x="197" y="362"/>
                    </a:lnTo>
                    <a:lnTo>
                      <a:pt x="194" y="363"/>
                    </a:lnTo>
                    <a:lnTo>
                      <a:pt x="191" y="370"/>
                    </a:lnTo>
                    <a:lnTo>
                      <a:pt x="185" y="375"/>
                    </a:lnTo>
                    <a:lnTo>
                      <a:pt x="181" y="375"/>
                    </a:lnTo>
                    <a:lnTo>
                      <a:pt x="176" y="377"/>
                    </a:lnTo>
                    <a:lnTo>
                      <a:pt x="173" y="376"/>
                    </a:lnTo>
                    <a:lnTo>
                      <a:pt x="172" y="372"/>
                    </a:lnTo>
                    <a:lnTo>
                      <a:pt x="169" y="372"/>
                    </a:lnTo>
                    <a:lnTo>
                      <a:pt x="164" y="372"/>
                    </a:lnTo>
                    <a:lnTo>
                      <a:pt x="161" y="372"/>
                    </a:lnTo>
                    <a:lnTo>
                      <a:pt x="148" y="373"/>
                    </a:lnTo>
                    <a:lnTo>
                      <a:pt x="138" y="369"/>
                    </a:lnTo>
                    <a:lnTo>
                      <a:pt x="125" y="372"/>
                    </a:lnTo>
                    <a:lnTo>
                      <a:pt x="123" y="370"/>
                    </a:lnTo>
                    <a:lnTo>
                      <a:pt x="120" y="368"/>
                    </a:lnTo>
                    <a:lnTo>
                      <a:pt x="116" y="367"/>
                    </a:lnTo>
                    <a:lnTo>
                      <a:pt x="110" y="358"/>
                    </a:lnTo>
                    <a:lnTo>
                      <a:pt x="108" y="357"/>
                    </a:lnTo>
                    <a:lnTo>
                      <a:pt x="97" y="355"/>
                    </a:lnTo>
                    <a:lnTo>
                      <a:pt x="83" y="355"/>
                    </a:lnTo>
                    <a:lnTo>
                      <a:pt x="80" y="351"/>
                    </a:lnTo>
                    <a:lnTo>
                      <a:pt x="51" y="359"/>
                    </a:lnTo>
                    <a:lnTo>
                      <a:pt x="45" y="360"/>
                    </a:lnTo>
                    <a:lnTo>
                      <a:pt x="39" y="357"/>
                    </a:lnTo>
                    <a:lnTo>
                      <a:pt x="37" y="353"/>
                    </a:lnTo>
                    <a:lnTo>
                      <a:pt x="30" y="350"/>
                    </a:lnTo>
                    <a:lnTo>
                      <a:pt x="27" y="346"/>
                    </a:lnTo>
                    <a:lnTo>
                      <a:pt x="20" y="341"/>
                    </a:lnTo>
                    <a:lnTo>
                      <a:pt x="16" y="336"/>
                    </a:lnTo>
                    <a:lnTo>
                      <a:pt x="7" y="331"/>
                    </a:lnTo>
                    <a:lnTo>
                      <a:pt x="4" y="325"/>
                    </a:lnTo>
                    <a:lnTo>
                      <a:pt x="0" y="321"/>
                    </a:lnTo>
                    <a:lnTo>
                      <a:pt x="0" y="320"/>
                    </a:lnTo>
                    <a:lnTo>
                      <a:pt x="0" y="295"/>
                    </a:lnTo>
                    <a:lnTo>
                      <a:pt x="0" y="258"/>
                    </a:lnTo>
                    <a:lnTo>
                      <a:pt x="0" y="220"/>
                    </a:lnTo>
                    <a:lnTo>
                      <a:pt x="0" y="184"/>
                    </a:lnTo>
                    <a:lnTo>
                      <a:pt x="41" y="184"/>
                    </a:lnTo>
                    <a:lnTo>
                      <a:pt x="83" y="184"/>
                    </a:lnTo>
                    <a:lnTo>
                      <a:pt x="77" y="181"/>
                    </a:lnTo>
                    <a:lnTo>
                      <a:pt x="75" y="179"/>
                    </a:lnTo>
                    <a:lnTo>
                      <a:pt x="73" y="175"/>
                    </a:lnTo>
                    <a:lnTo>
                      <a:pt x="73" y="165"/>
                    </a:lnTo>
                    <a:lnTo>
                      <a:pt x="75" y="160"/>
                    </a:lnTo>
                    <a:lnTo>
                      <a:pt x="75" y="150"/>
                    </a:lnTo>
                    <a:lnTo>
                      <a:pt x="75" y="140"/>
                    </a:lnTo>
                    <a:lnTo>
                      <a:pt x="77" y="132"/>
                    </a:lnTo>
                    <a:lnTo>
                      <a:pt x="78" y="122"/>
                    </a:lnTo>
                    <a:lnTo>
                      <a:pt x="78" y="119"/>
                    </a:lnTo>
                    <a:lnTo>
                      <a:pt x="78" y="116"/>
                    </a:lnTo>
                    <a:lnTo>
                      <a:pt x="78" y="109"/>
                    </a:lnTo>
                    <a:lnTo>
                      <a:pt x="78" y="106"/>
                    </a:lnTo>
                    <a:lnTo>
                      <a:pt x="80" y="106"/>
                    </a:lnTo>
                    <a:lnTo>
                      <a:pt x="78" y="102"/>
                    </a:lnTo>
                    <a:lnTo>
                      <a:pt x="77" y="102"/>
                    </a:lnTo>
                    <a:lnTo>
                      <a:pt x="83" y="99"/>
                    </a:lnTo>
                    <a:lnTo>
                      <a:pt x="87" y="98"/>
                    </a:lnTo>
                    <a:lnTo>
                      <a:pt x="89" y="99"/>
                    </a:lnTo>
                    <a:lnTo>
                      <a:pt x="93" y="106"/>
                    </a:lnTo>
                    <a:lnTo>
                      <a:pt x="92" y="116"/>
                    </a:lnTo>
                    <a:lnTo>
                      <a:pt x="94" y="119"/>
                    </a:lnTo>
                    <a:lnTo>
                      <a:pt x="96" y="119"/>
                    </a:lnTo>
                    <a:lnTo>
                      <a:pt x="105" y="116"/>
                    </a:lnTo>
                    <a:lnTo>
                      <a:pt x="109" y="114"/>
                    </a:lnTo>
                    <a:lnTo>
                      <a:pt x="113" y="114"/>
                    </a:lnTo>
                    <a:lnTo>
                      <a:pt x="121" y="111"/>
                    </a:lnTo>
                    <a:lnTo>
                      <a:pt x="126" y="117"/>
                    </a:lnTo>
                    <a:lnTo>
                      <a:pt x="128" y="122"/>
                    </a:lnTo>
                    <a:lnTo>
                      <a:pt x="132" y="127"/>
                    </a:lnTo>
                    <a:lnTo>
                      <a:pt x="141" y="130"/>
                    </a:lnTo>
                    <a:lnTo>
                      <a:pt x="150" y="136"/>
                    </a:lnTo>
                    <a:lnTo>
                      <a:pt x="163" y="140"/>
                    </a:lnTo>
                    <a:lnTo>
                      <a:pt x="171" y="142"/>
                    </a:lnTo>
                    <a:lnTo>
                      <a:pt x="176" y="140"/>
                    </a:lnTo>
                    <a:lnTo>
                      <a:pt x="185" y="136"/>
                    </a:lnTo>
                    <a:lnTo>
                      <a:pt x="192" y="135"/>
                    </a:lnTo>
                    <a:lnTo>
                      <a:pt x="195" y="136"/>
                    </a:lnTo>
                    <a:lnTo>
                      <a:pt x="210" y="148"/>
                    </a:lnTo>
                    <a:lnTo>
                      <a:pt x="219" y="153"/>
                    </a:lnTo>
                    <a:lnTo>
                      <a:pt x="227" y="155"/>
                    </a:lnTo>
                    <a:lnTo>
                      <a:pt x="235" y="155"/>
                    </a:lnTo>
                    <a:lnTo>
                      <a:pt x="240" y="161"/>
                    </a:lnTo>
                    <a:lnTo>
                      <a:pt x="244" y="169"/>
                    </a:lnTo>
                    <a:lnTo>
                      <a:pt x="245" y="174"/>
                    </a:lnTo>
                    <a:lnTo>
                      <a:pt x="255" y="181"/>
                    </a:lnTo>
                    <a:lnTo>
                      <a:pt x="265" y="187"/>
                    </a:lnTo>
                    <a:lnTo>
                      <a:pt x="271" y="190"/>
                    </a:lnTo>
                    <a:lnTo>
                      <a:pt x="278" y="190"/>
                    </a:lnTo>
                    <a:lnTo>
                      <a:pt x="282" y="190"/>
                    </a:lnTo>
                    <a:lnTo>
                      <a:pt x="285" y="188"/>
                    </a:lnTo>
                    <a:lnTo>
                      <a:pt x="288" y="188"/>
                    </a:lnTo>
                    <a:lnTo>
                      <a:pt x="289" y="188"/>
                    </a:lnTo>
                    <a:lnTo>
                      <a:pt x="293" y="194"/>
                    </a:lnTo>
                    <a:lnTo>
                      <a:pt x="296" y="195"/>
                    </a:lnTo>
                    <a:lnTo>
                      <a:pt x="298" y="195"/>
                    </a:lnTo>
                    <a:lnTo>
                      <a:pt x="299" y="193"/>
                    </a:lnTo>
                    <a:lnTo>
                      <a:pt x="299" y="188"/>
                    </a:lnTo>
                    <a:lnTo>
                      <a:pt x="298" y="184"/>
                    </a:lnTo>
                    <a:lnTo>
                      <a:pt x="298" y="159"/>
                    </a:lnTo>
                    <a:lnTo>
                      <a:pt x="296" y="153"/>
                    </a:lnTo>
                    <a:lnTo>
                      <a:pt x="293" y="153"/>
                    </a:lnTo>
                    <a:lnTo>
                      <a:pt x="285" y="157"/>
                    </a:lnTo>
                    <a:lnTo>
                      <a:pt x="278" y="155"/>
                    </a:lnTo>
                    <a:lnTo>
                      <a:pt x="270" y="153"/>
                    </a:lnTo>
                    <a:lnTo>
                      <a:pt x="265" y="152"/>
                    </a:lnTo>
                    <a:lnTo>
                      <a:pt x="257" y="143"/>
                    </a:lnTo>
                    <a:lnTo>
                      <a:pt x="252" y="138"/>
                    </a:lnTo>
                    <a:lnTo>
                      <a:pt x="252" y="136"/>
                    </a:lnTo>
                    <a:lnTo>
                      <a:pt x="251" y="130"/>
                    </a:lnTo>
                    <a:lnTo>
                      <a:pt x="252" y="124"/>
                    </a:lnTo>
                    <a:lnTo>
                      <a:pt x="255" y="117"/>
                    </a:lnTo>
                    <a:lnTo>
                      <a:pt x="265" y="91"/>
                    </a:lnTo>
                    <a:lnTo>
                      <a:pt x="266" y="85"/>
                    </a:lnTo>
                    <a:lnTo>
                      <a:pt x="267" y="68"/>
                    </a:lnTo>
                    <a:lnTo>
                      <a:pt x="265" y="58"/>
                    </a:lnTo>
                    <a:lnTo>
                      <a:pt x="260" y="44"/>
                    </a:lnTo>
                    <a:lnTo>
                      <a:pt x="260" y="38"/>
                    </a:lnTo>
                    <a:lnTo>
                      <a:pt x="261" y="36"/>
                    </a:lnTo>
                    <a:lnTo>
                      <a:pt x="264" y="28"/>
                    </a:lnTo>
                    <a:lnTo>
                      <a:pt x="267" y="24"/>
                    </a:lnTo>
                    <a:lnTo>
                      <a:pt x="271" y="15"/>
                    </a:lnTo>
                    <a:lnTo>
                      <a:pt x="274" y="13"/>
                    </a:lnTo>
                    <a:lnTo>
                      <a:pt x="277" y="11"/>
                    </a:lnTo>
                    <a:lnTo>
                      <a:pt x="278" y="11"/>
                    </a:lnTo>
                    <a:lnTo>
                      <a:pt x="287" y="8"/>
                    </a:lnTo>
                    <a:lnTo>
                      <a:pt x="330" y="0"/>
                    </a:lnTo>
                    <a:lnTo>
                      <a:pt x="331" y="3"/>
                    </a:lnTo>
                    <a:lnTo>
                      <a:pt x="331" y="7"/>
                    </a:lnTo>
                    <a:lnTo>
                      <a:pt x="331" y="14"/>
                    </a:lnTo>
                    <a:lnTo>
                      <a:pt x="335" y="15"/>
                    </a:lnTo>
                    <a:lnTo>
                      <a:pt x="340" y="15"/>
                    </a:lnTo>
                    <a:close/>
                  </a:path>
                </a:pathLst>
              </a:custGeom>
              <a:solidFill>
                <a:srgbClr val="7891B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1" name="Freeform 117"/>
              <p:cNvSpPr>
                <a:spLocks/>
              </p:cNvSpPr>
              <p:nvPr/>
            </p:nvSpPr>
            <p:spPr bwMode="auto">
              <a:xfrm>
                <a:off x="2191" y="2856"/>
                <a:ext cx="483" cy="396"/>
              </a:xfrm>
              <a:custGeom>
                <a:avLst/>
                <a:gdLst>
                  <a:gd name="T0" fmla="*/ 32929 w 451"/>
                  <a:gd name="T1" fmla="*/ 347 h 377"/>
                  <a:gd name="T2" fmla="*/ 34887 w 451"/>
                  <a:gd name="T3" fmla="*/ 722 h 377"/>
                  <a:gd name="T4" fmla="*/ 38779 w 451"/>
                  <a:gd name="T5" fmla="*/ 1024 h 377"/>
                  <a:gd name="T6" fmla="*/ 39031 w 451"/>
                  <a:gd name="T7" fmla="*/ 1310 h 377"/>
                  <a:gd name="T8" fmla="*/ 40382 w 451"/>
                  <a:gd name="T9" fmla="*/ 1583 h 377"/>
                  <a:gd name="T10" fmla="*/ 41252 w 451"/>
                  <a:gd name="T11" fmla="*/ 2259 h 377"/>
                  <a:gd name="T12" fmla="*/ 41192 w 451"/>
                  <a:gd name="T13" fmla="*/ 2607 h 377"/>
                  <a:gd name="T14" fmla="*/ 40470 w 451"/>
                  <a:gd name="T15" fmla="*/ 2999 h 377"/>
                  <a:gd name="T16" fmla="*/ 40220 w 451"/>
                  <a:gd name="T17" fmla="*/ 3939 h 377"/>
                  <a:gd name="T18" fmla="*/ 40802 w 451"/>
                  <a:gd name="T19" fmla="*/ 4217 h 377"/>
                  <a:gd name="T20" fmla="*/ 39412 w 451"/>
                  <a:gd name="T21" fmla="*/ 4407 h 377"/>
                  <a:gd name="T22" fmla="*/ 38779 w 451"/>
                  <a:gd name="T23" fmla="*/ 5145 h 377"/>
                  <a:gd name="T24" fmla="*/ 38779 w 451"/>
                  <a:gd name="T25" fmla="*/ 5559 h 377"/>
                  <a:gd name="T26" fmla="*/ 39872 w 451"/>
                  <a:gd name="T27" fmla="*/ 5683 h 377"/>
                  <a:gd name="T28" fmla="*/ 28962 w 451"/>
                  <a:gd name="T29" fmla="*/ 7204 h 377"/>
                  <a:gd name="T30" fmla="*/ 28403 w 451"/>
                  <a:gd name="T31" fmla="*/ 7318 h 377"/>
                  <a:gd name="T32" fmla="*/ 26434 w 451"/>
                  <a:gd name="T33" fmla="*/ 7358 h 377"/>
                  <a:gd name="T34" fmla="*/ 24057 w 451"/>
                  <a:gd name="T35" fmla="*/ 7567 h 377"/>
                  <a:gd name="T36" fmla="*/ 23806 w 451"/>
                  <a:gd name="T37" fmla="*/ 7994 h 377"/>
                  <a:gd name="T38" fmla="*/ 23040 w 451"/>
                  <a:gd name="T39" fmla="*/ 8237 h 377"/>
                  <a:gd name="T40" fmla="*/ 21521 w 451"/>
                  <a:gd name="T41" fmla="*/ 8324 h 377"/>
                  <a:gd name="T42" fmla="*/ 20095 w 451"/>
                  <a:gd name="T43" fmla="*/ 8481 h 377"/>
                  <a:gd name="T44" fmla="*/ 18578 w 451"/>
                  <a:gd name="T45" fmla="*/ 9058 h 377"/>
                  <a:gd name="T46" fmla="*/ 17912 w 451"/>
                  <a:gd name="T47" fmla="*/ 9281 h 377"/>
                  <a:gd name="T48" fmla="*/ 16129 w 451"/>
                  <a:gd name="T49" fmla="*/ 9675 h 377"/>
                  <a:gd name="T50" fmla="*/ 15060 w 451"/>
                  <a:gd name="T51" fmla="*/ 9563 h 377"/>
                  <a:gd name="T52" fmla="*/ 11599 w 451"/>
                  <a:gd name="T53" fmla="*/ 9563 h 377"/>
                  <a:gd name="T54" fmla="*/ 10268 w 451"/>
                  <a:gd name="T55" fmla="*/ 9200 h 377"/>
                  <a:gd name="T56" fmla="*/ 7469 w 451"/>
                  <a:gd name="T57" fmla="*/ 9058 h 377"/>
                  <a:gd name="T58" fmla="*/ 3431 w 451"/>
                  <a:gd name="T59" fmla="*/ 9088 h 377"/>
                  <a:gd name="T60" fmla="*/ 1353 w 451"/>
                  <a:gd name="T61" fmla="*/ 8652 h 377"/>
                  <a:gd name="T62" fmla="*/ 0 w 451"/>
                  <a:gd name="T63" fmla="*/ 8237 h 377"/>
                  <a:gd name="T64" fmla="*/ 0 w 451"/>
                  <a:gd name="T65" fmla="*/ 4702 h 377"/>
                  <a:gd name="T66" fmla="*/ 6974 w 451"/>
                  <a:gd name="T67" fmla="*/ 4573 h 377"/>
                  <a:gd name="T68" fmla="*/ 6974 w 451"/>
                  <a:gd name="T69" fmla="*/ 3835 h 377"/>
                  <a:gd name="T70" fmla="*/ 7289 w 451"/>
                  <a:gd name="T71" fmla="*/ 3036 h 377"/>
                  <a:gd name="T72" fmla="*/ 7469 w 451"/>
                  <a:gd name="T73" fmla="*/ 2718 h 377"/>
                  <a:gd name="T74" fmla="*/ 8008 w 451"/>
                  <a:gd name="T75" fmla="*/ 2493 h 377"/>
                  <a:gd name="T76" fmla="*/ 8615 w 451"/>
                  <a:gd name="T77" fmla="*/ 3036 h 377"/>
                  <a:gd name="T78" fmla="*/ 10472 w 451"/>
                  <a:gd name="T79" fmla="*/ 2933 h 377"/>
                  <a:gd name="T80" fmla="*/ 12081 w 451"/>
                  <a:gd name="T81" fmla="*/ 3242 h 377"/>
                  <a:gd name="T82" fmla="*/ 15800 w 451"/>
                  <a:gd name="T83" fmla="*/ 3646 h 377"/>
                  <a:gd name="T84" fmla="*/ 18097 w 451"/>
                  <a:gd name="T85" fmla="*/ 3476 h 377"/>
                  <a:gd name="T86" fmla="*/ 21790 w 451"/>
                  <a:gd name="T87" fmla="*/ 3995 h 377"/>
                  <a:gd name="T88" fmla="*/ 23387 w 451"/>
                  <a:gd name="T89" fmla="*/ 4653 h 377"/>
                  <a:gd name="T90" fmla="*/ 26062 w 451"/>
                  <a:gd name="T91" fmla="*/ 4888 h 377"/>
                  <a:gd name="T92" fmla="*/ 27026 w 451"/>
                  <a:gd name="T93" fmla="*/ 4965 h 377"/>
                  <a:gd name="T94" fmla="*/ 27526 w 451"/>
                  <a:gd name="T95" fmla="*/ 4803 h 377"/>
                  <a:gd name="T96" fmla="*/ 27026 w 451"/>
                  <a:gd name="T97" fmla="*/ 3939 h 377"/>
                  <a:gd name="T98" fmla="*/ 24439 w 451"/>
                  <a:gd name="T99" fmla="*/ 3882 h 377"/>
                  <a:gd name="T100" fmla="*/ 23123 w 451"/>
                  <a:gd name="T101" fmla="*/ 3333 h 377"/>
                  <a:gd name="T102" fmla="*/ 24654 w 451"/>
                  <a:gd name="T103" fmla="*/ 2151 h 377"/>
                  <a:gd name="T104" fmla="*/ 23978 w 451"/>
                  <a:gd name="T105" fmla="*/ 968 h 377"/>
                  <a:gd name="T106" fmla="*/ 25032 w 451"/>
                  <a:gd name="T107" fmla="*/ 382 h 377"/>
                  <a:gd name="T108" fmla="*/ 26434 w 451"/>
                  <a:gd name="T109" fmla="*/ 8 h 377"/>
                  <a:gd name="T110" fmla="*/ 30438 w 451"/>
                  <a:gd name="T111" fmla="*/ 364 h 37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51"/>
                  <a:gd name="T169" fmla="*/ 0 h 377"/>
                  <a:gd name="T170" fmla="*/ 451 w 451"/>
                  <a:gd name="T171" fmla="*/ 377 h 37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51" h="377">
                    <a:moveTo>
                      <a:pt x="340" y="15"/>
                    </a:moveTo>
                    <a:lnTo>
                      <a:pt x="347" y="22"/>
                    </a:lnTo>
                    <a:lnTo>
                      <a:pt x="353" y="14"/>
                    </a:lnTo>
                    <a:lnTo>
                      <a:pt x="357" y="13"/>
                    </a:lnTo>
                    <a:lnTo>
                      <a:pt x="362" y="15"/>
                    </a:lnTo>
                    <a:lnTo>
                      <a:pt x="369" y="21"/>
                    </a:lnTo>
                    <a:lnTo>
                      <a:pt x="374" y="25"/>
                    </a:lnTo>
                    <a:lnTo>
                      <a:pt x="378" y="28"/>
                    </a:lnTo>
                    <a:lnTo>
                      <a:pt x="385" y="30"/>
                    </a:lnTo>
                    <a:lnTo>
                      <a:pt x="405" y="39"/>
                    </a:lnTo>
                    <a:lnTo>
                      <a:pt x="413" y="41"/>
                    </a:lnTo>
                    <a:lnTo>
                      <a:pt x="421" y="41"/>
                    </a:lnTo>
                    <a:lnTo>
                      <a:pt x="422" y="43"/>
                    </a:lnTo>
                    <a:lnTo>
                      <a:pt x="424" y="46"/>
                    </a:lnTo>
                    <a:lnTo>
                      <a:pt x="424" y="47"/>
                    </a:lnTo>
                    <a:lnTo>
                      <a:pt x="424" y="51"/>
                    </a:lnTo>
                    <a:lnTo>
                      <a:pt x="426" y="51"/>
                    </a:lnTo>
                    <a:lnTo>
                      <a:pt x="427" y="56"/>
                    </a:lnTo>
                    <a:lnTo>
                      <a:pt x="433" y="56"/>
                    </a:lnTo>
                    <a:lnTo>
                      <a:pt x="437" y="62"/>
                    </a:lnTo>
                    <a:lnTo>
                      <a:pt x="439" y="65"/>
                    </a:lnTo>
                    <a:lnTo>
                      <a:pt x="442" y="72"/>
                    </a:lnTo>
                    <a:lnTo>
                      <a:pt x="445" y="76"/>
                    </a:lnTo>
                    <a:lnTo>
                      <a:pt x="447" y="89"/>
                    </a:lnTo>
                    <a:lnTo>
                      <a:pt x="451" y="91"/>
                    </a:lnTo>
                    <a:lnTo>
                      <a:pt x="451" y="95"/>
                    </a:lnTo>
                    <a:lnTo>
                      <a:pt x="451" y="98"/>
                    </a:lnTo>
                    <a:lnTo>
                      <a:pt x="445" y="102"/>
                    </a:lnTo>
                    <a:lnTo>
                      <a:pt x="443" y="102"/>
                    </a:lnTo>
                    <a:lnTo>
                      <a:pt x="440" y="104"/>
                    </a:lnTo>
                    <a:lnTo>
                      <a:pt x="439" y="110"/>
                    </a:lnTo>
                    <a:lnTo>
                      <a:pt x="440" y="117"/>
                    </a:lnTo>
                    <a:lnTo>
                      <a:pt x="436" y="127"/>
                    </a:lnTo>
                    <a:lnTo>
                      <a:pt x="437" y="133"/>
                    </a:lnTo>
                    <a:lnTo>
                      <a:pt x="437" y="143"/>
                    </a:lnTo>
                    <a:lnTo>
                      <a:pt x="436" y="153"/>
                    </a:lnTo>
                    <a:lnTo>
                      <a:pt x="437" y="155"/>
                    </a:lnTo>
                    <a:lnTo>
                      <a:pt x="439" y="159"/>
                    </a:lnTo>
                    <a:lnTo>
                      <a:pt x="443" y="160"/>
                    </a:lnTo>
                    <a:lnTo>
                      <a:pt x="443" y="164"/>
                    </a:lnTo>
                    <a:lnTo>
                      <a:pt x="443" y="167"/>
                    </a:lnTo>
                    <a:lnTo>
                      <a:pt x="436" y="168"/>
                    </a:lnTo>
                    <a:lnTo>
                      <a:pt x="432" y="170"/>
                    </a:lnTo>
                    <a:lnTo>
                      <a:pt x="428" y="171"/>
                    </a:lnTo>
                    <a:lnTo>
                      <a:pt x="428" y="172"/>
                    </a:lnTo>
                    <a:lnTo>
                      <a:pt x="426" y="183"/>
                    </a:lnTo>
                    <a:lnTo>
                      <a:pt x="424" y="193"/>
                    </a:lnTo>
                    <a:lnTo>
                      <a:pt x="421" y="201"/>
                    </a:lnTo>
                    <a:lnTo>
                      <a:pt x="416" y="208"/>
                    </a:lnTo>
                    <a:lnTo>
                      <a:pt x="416" y="210"/>
                    </a:lnTo>
                    <a:lnTo>
                      <a:pt x="416" y="216"/>
                    </a:lnTo>
                    <a:lnTo>
                      <a:pt x="421" y="216"/>
                    </a:lnTo>
                    <a:lnTo>
                      <a:pt x="423" y="221"/>
                    </a:lnTo>
                    <a:lnTo>
                      <a:pt x="429" y="221"/>
                    </a:lnTo>
                    <a:lnTo>
                      <a:pt x="430" y="222"/>
                    </a:lnTo>
                    <a:lnTo>
                      <a:pt x="432" y="223"/>
                    </a:lnTo>
                    <a:lnTo>
                      <a:pt x="424" y="223"/>
                    </a:lnTo>
                    <a:lnTo>
                      <a:pt x="309" y="263"/>
                    </a:lnTo>
                    <a:lnTo>
                      <a:pt x="314" y="273"/>
                    </a:lnTo>
                    <a:lnTo>
                      <a:pt x="315" y="282"/>
                    </a:lnTo>
                    <a:lnTo>
                      <a:pt x="319" y="284"/>
                    </a:lnTo>
                    <a:lnTo>
                      <a:pt x="318" y="285"/>
                    </a:lnTo>
                    <a:lnTo>
                      <a:pt x="313" y="285"/>
                    </a:lnTo>
                    <a:lnTo>
                      <a:pt x="308" y="286"/>
                    </a:lnTo>
                    <a:lnTo>
                      <a:pt x="303" y="285"/>
                    </a:lnTo>
                    <a:lnTo>
                      <a:pt x="298" y="284"/>
                    </a:lnTo>
                    <a:lnTo>
                      <a:pt x="296" y="284"/>
                    </a:lnTo>
                    <a:lnTo>
                      <a:pt x="287" y="287"/>
                    </a:lnTo>
                    <a:lnTo>
                      <a:pt x="275" y="289"/>
                    </a:lnTo>
                    <a:lnTo>
                      <a:pt x="271" y="292"/>
                    </a:lnTo>
                    <a:lnTo>
                      <a:pt x="266" y="296"/>
                    </a:lnTo>
                    <a:lnTo>
                      <a:pt x="261" y="296"/>
                    </a:lnTo>
                    <a:lnTo>
                      <a:pt x="258" y="299"/>
                    </a:lnTo>
                    <a:lnTo>
                      <a:pt x="257" y="302"/>
                    </a:lnTo>
                    <a:lnTo>
                      <a:pt x="257" y="309"/>
                    </a:lnTo>
                    <a:lnTo>
                      <a:pt x="257" y="312"/>
                    </a:lnTo>
                    <a:lnTo>
                      <a:pt x="257" y="315"/>
                    </a:lnTo>
                    <a:lnTo>
                      <a:pt x="255" y="318"/>
                    </a:lnTo>
                    <a:lnTo>
                      <a:pt x="255" y="320"/>
                    </a:lnTo>
                    <a:lnTo>
                      <a:pt x="249" y="320"/>
                    </a:lnTo>
                    <a:lnTo>
                      <a:pt x="240" y="319"/>
                    </a:lnTo>
                    <a:lnTo>
                      <a:pt x="236" y="321"/>
                    </a:lnTo>
                    <a:lnTo>
                      <a:pt x="235" y="324"/>
                    </a:lnTo>
                    <a:lnTo>
                      <a:pt x="233" y="324"/>
                    </a:lnTo>
                    <a:lnTo>
                      <a:pt x="228" y="331"/>
                    </a:lnTo>
                    <a:lnTo>
                      <a:pt x="223" y="330"/>
                    </a:lnTo>
                    <a:lnTo>
                      <a:pt x="219" y="331"/>
                    </a:lnTo>
                    <a:lnTo>
                      <a:pt x="218" y="331"/>
                    </a:lnTo>
                    <a:lnTo>
                      <a:pt x="216" y="335"/>
                    </a:lnTo>
                    <a:lnTo>
                      <a:pt x="213" y="336"/>
                    </a:lnTo>
                    <a:lnTo>
                      <a:pt x="209" y="344"/>
                    </a:lnTo>
                    <a:lnTo>
                      <a:pt x="202" y="351"/>
                    </a:lnTo>
                    <a:lnTo>
                      <a:pt x="199" y="355"/>
                    </a:lnTo>
                    <a:lnTo>
                      <a:pt x="199" y="358"/>
                    </a:lnTo>
                    <a:lnTo>
                      <a:pt x="197" y="362"/>
                    </a:lnTo>
                    <a:lnTo>
                      <a:pt x="194" y="363"/>
                    </a:lnTo>
                    <a:lnTo>
                      <a:pt x="191" y="370"/>
                    </a:lnTo>
                    <a:lnTo>
                      <a:pt x="185" y="375"/>
                    </a:lnTo>
                    <a:lnTo>
                      <a:pt x="181" y="375"/>
                    </a:lnTo>
                    <a:lnTo>
                      <a:pt x="176" y="377"/>
                    </a:lnTo>
                    <a:lnTo>
                      <a:pt x="173" y="376"/>
                    </a:lnTo>
                    <a:lnTo>
                      <a:pt x="172" y="372"/>
                    </a:lnTo>
                    <a:lnTo>
                      <a:pt x="169" y="372"/>
                    </a:lnTo>
                    <a:lnTo>
                      <a:pt x="164" y="372"/>
                    </a:lnTo>
                    <a:lnTo>
                      <a:pt x="161" y="372"/>
                    </a:lnTo>
                    <a:lnTo>
                      <a:pt x="148" y="373"/>
                    </a:lnTo>
                    <a:lnTo>
                      <a:pt x="138" y="369"/>
                    </a:lnTo>
                    <a:lnTo>
                      <a:pt x="125" y="372"/>
                    </a:lnTo>
                    <a:lnTo>
                      <a:pt x="123" y="370"/>
                    </a:lnTo>
                    <a:lnTo>
                      <a:pt x="120" y="368"/>
                    </a:lnTo>
                    <a:lnTo>
                      <a:pt x="116" y="367"/>
                    </a:lnTo>
                    <a:lnTo>
                      <a:pt x="110" y="358"/>
                    </a:lnTo>
                    <a:lnTo>
                      <a:pt x="108" y="357"/>
                    </a:lnTo>
                    <a:lnTo>
                      <a:pt x="97" y="355"/>
                    </a:lnTo>
                    <a:lnTo>
                      <a:pt x="83" y="355"/>
                    </a:lnTo>
                    <a:lnTo>
                      <a:pt x="80" y="351"/>
                    </a:lnTo>
                    <a:lnTo>
                      <a:pt x="51" y="359"/>
                    </a:lnTo>
                    <a:lnTo>
                      <a:pt x="45" y="360"/>
                    </a:lnTo>
                    <a:lnTo>
                      <a:pt x="39" y="357"/>
                    </a:lnTo>
                    <a:lnTo>
                      <a:pt x="37" y="353"/>
                    </a:lnTo>
                    <a:lnTo>
                      <a:pt x="30" y="350"/>
                    </a:lnTo>
                    <a:lnTo>
                      <a:pt x="27" y="346"/>
                    </a:lnTo>
                    <a:lnTo>
                      <a:pt x="20" y="341"/>
                    </a:lnTo>
                    <a:lnTo>
                      <a:pt x="16" y="336"/>
                    </a:lnTo>
                    <a:lnTo>
                      <a:pt x="7" y="331"/>
                    </a:lnTo>
                    <a:lnTo>
                      <a:pt x="4" y="325"/>
                    </a:lnTo>
                    <a:lnTo>
                      <a:pt x="0" y="321"/>
                    </a:lnTo>
                    <a:lnTo>
                      <a:pt x="0" y="320"/>
                    </a:lnTo>
                    <a:lnTo>
                      <a:pt x="0" y="295"/>
                    </a:lnTo>
                    <a:lnTo>
                      <a:pt x="0" y="258"/>
                    </a:lnTo>
                    <a:lnTo>
                      <a:pt x="0" y="220"/>
                    </a:lnTo>
                    <a:lnTo>
                      <a:pt x="0" y="184"/>
                    </a:lnTo>
                    <a:lnTo>
                      <a:pt x="41" y="184"/>
                    </a:lnTo>
                    <a:lnTo>
                      <a:pt x="83" y="184"/>
                    </a:lnTo>
                    <a:lnTo>
                      <a:pt x="77" y="181"/>
                    </a:lnTo>
                    <a:lnTo>
                      <a:pt x="75" y="179"/>
                    </a:lnTo>
                    <a:lnTo>
                      <a:pt x="73" y="175"/>
                    </a:lnTo>
                    <a:lnTo>
                      <a:pt x="73" y="165"/>
                    </a:lnTo>
                    <a:lnTo>
                      <a:pt x="75" y="160"/>
                    </a:lnTo>
                    <a:lnTo>
                      <a:pt x="75" y="150"/>
                    </a:lnTo>
                    <a:lnTo>
                      <a:pt x="75" y="140"/>
                    </a:lnTo>
                    <a:lnTo>
                      <a:pt x="77" y="132"/>
                    </a:lnTo>
                    <a:lnTo>
                      <a:pt x="78" y="122"/>
                    </a:lnTo>
                    <a:lnTo>
                      <a:pt x="78" y="119"/>
                    </a:lnTo>
                    <a:lnTo>
                      <a:pt x="78" y="116"/>
                    </a:lnTo>
                    <a:lnTo>
                      <a:pt x="78" y="109"/>
                    </a:lnTo>
                    <a:lnTo>
                      <a:pt x="78" y="106"/>
                    </a:lnTo>
                    <a:lnTo>
                      <a:pt x="80" y="106"/>
                    </a:lnTo>
                    <a:lnTo>
                      <a:pt x="78" y="102"/>
                    </a:lnTo>
                    <a:lnTo>
                      <a:pt x="77" y="102"/>
                    </a:lnTo>
                    <a:lnTo>
                      <a:pt x="83" y="99"/>
                    </a:lnTo>
                    <a:lnTo>
                      <a:pt x="87" y="98"/>
                    </a:lnTo>
                    <a:lnTo>
                      <a:pt x="89" y="99"/>
                    </a:lnTo>
                    <a:lnTo>
                      <a:pt x="93" y="106"/>
                    </a:lnTo>
                    <a:lnTo>
                      <a:pt x="92" y="116"/>
                    </a:lnTo>
                    <a:lnTo>
                      <a:pt x="94" y="119"/>
                    </a:lnTo>
                    <a:lnTo>
                      <a:pt x="96" y="119"/>
                    </a:lnTo>
                    <a:lnTo>
                      <a:pt x="105" y="116"/>
                    </a:lnTo>
                    <a:lnTo>
                      <a:pt x="109" y="114"/>
                    </a:lnTo>
                    <a:lnTo>
                      <a:pt x="113" y="114"/>
                    </a:lnTo>
                    <a:lnTo>
                      <a:pt x="121" y="111"/>
                    </a:lnTo>
                    <a:lnTo>
                      <a:pt x="126" y="117"/>
                    </a:lnTo>
                    <a:lnTo>
                      <a:pt x="128" y="122"/>
                    </a:lnTo>
                    <a:lnTo>
                      <a:pt x="132" y="127"/>
                    </a:lnTo>
                    <a:lnTo>
                      <a:pt x="141" y="130"/>
                    </a:lnTo>
                    <a:lnTo>
                      <a:pt x="150" y="136"/>
                    </a:lnTo>
                    <a:lnTo>
                      <a:pt x="163" y="140"/>
                    </a:lnTo>
                    <a:lnTo>
                      <a:pt x="171" y="142"/>
                    </a:lnTo>
                    <a:lnTo>
                      <a:pt x="176" y="140"/>
                    </a:lnTo>
                    <a:lnTo>
                      <a:pt x="185" y="136"/>
                    </a:lnTo>
                    <a:lnTo>
                      <a:pt x="192" y="135"/>
                    </a:lnTo>
                    <a:lnTo>
                      <a:pt x="195" y="136"/>
                    </a:lnTo>
                    <a:lnTo>
                      <a:pt x="210" y="148"/>
                    </a:lnTo>
                    <a:lnTo>
                      <a:pt x="219" y="153"/>
                    </a:lnTo>
                    <a:lnTo>
                      <a:pt x="227" y="155"/>
                    </a:lnTo>
                    <a:lnTo>
                      <a:pt x="235" y="155"/>
                    </a:lnTo>
                    <a:lnTo>
                      <a:pt x="240" y="161"/>
                    </a:lnTo>
                    <a:lnTo>
                      <a:pt x="244" y="169"/>
                    </a:lnTo>
                    <a:lnTo>
                      <a:pt x="245" y="174"/>
                    </a:lnTo>
                    <a:lnTo>
                      <a:pt x="255" y="181"/>
                    </a:lnTo>
                    <a:lnTo>
                      <a:pt x="265" y="187"/>
                    </a:lnTo>
                    <a:lnTo>
                      <a:pt x="271" y="190"/>
                    </a:lnTo>
                    <a:lnTo>
                      <a:pt x="278" y="190"/>
                    </a:lnTo>
                    <a:lnTo>
                      <a:pt x="282" y="190"/>
                    </a:lnTo>
                    <a:lnTo>
                      <a:pt x="285" y="188"/>
                    </a:lnTo>
                    <a:lnTo>
                      <a:pt x="288" y="188"/>
                    </a:lnTo>
                    <a:lnTo>
                      <a:pt x="289" y="188"/>
                    </a:lnTo>
                    <a:lnTo>
                      <a:pt x="293" y="194"/>
                    </a:lnTo>
                    <a:lnTo>
                      <a:pt x="296" y="195"/>
                    </a:lnTo>
                    <a:lnTo>
                      <a:pt x="298" y="195"/>
                    </a:lnTo>
                    <a:lnTo>
                      <a:pt x="299" y="193"/>
                    </a:lnTo>
                    <a:lnTo>
                      <a:pt x="299" y="188"/>
                    </a:lnTo>
                    <a:lnTo>
                      <a:pt x="298" y="184"/>
                    </a:lnTo>
                    <a:lnTo>
                      <a:pt x="298" y="159"/>
                    </a:lnTo>
                    <a:lnTo>
                      <a:pt x="296" y="153"/>
                    </a:lnTo>
                    <a:lnTo>
                      <a:pt x="293" y="153"/>
                    </a:lnTo>
                    <a:lnTo>
                      <a:pt x="285" y="157"/>
                    </a:lnTo>
                    <a:lnTo>
                      <a:pt x="278" y="155"/>
                    </a:lnTo>
                    <a:lnTo>
                      <a:pt x="270" y="153"/>
                    </a:lnTo>
                    <a:lnTo>
                      <a:pt x="265" y="152"/>
                    </a:lnTo>
                    <a:lnTo>
                      <a:pt x="257" y="143"/>
                    </a:lnTo>
                    <a:lnTo>
                      <a:pt x="252" y="138"/>
                    </a:lnTo>
                    <a:lnTo>
                      <a:pt x="252" y="136"/>
                    </a:lnTo>
                    <a:lnTo>
                      <a:pt x="251" y="130"/>
                    </a:lnTo>
                    <a:lnTo>
                      <a:pt x="252" y="124"/>
                    </a:lnTo>
                    <a:lnTo>
                      <a:pt x="255" y="117"/>
                    </a:lnTo>
                    <a:lnTo>
                      <a:pt x="265" y="91"/>
                    </a:lnTo>
                    <a:lnTo>
                      <a:pt x="266" y="85"/>
                    </a:lnTo>
                    <a:lnTo>
                      <a:pt x="267" y="68"/>
                    </a:lnTo>
                    <a:lnTo>
                      <a:pt x="265" y="58"/>
                    </a:lnTo>
                    <a:lnTo>
                      <a:pt x="260" y="44"/>
                    </a:lnTo>
                    <a:lnTo>
                      <a:pt x="260" y="38"/>
                    </a:lnTo>
                    <a:lnTo>
                      <a:pt x="261" y="36"/>
                    </a:lnTo>
                    <a:lnTo>
                      <a:pt x="264" y="28"/>
                    </a:lnTo>
                    <a:lnTo>
                      <a:pt x="267" y="24"/>
                    </a:lnTo>
                    <a:lnTo>
                      <a:pt x="271" y="15"/>
                    </a:lnTo>
                    <a:lnTo>
                      <a:pt x="274" y="13"/>
                    </a:lnTo>
                    <a:lnTo>
                      <a:pt x="277" y="11"/>
                    </a:lnTo>
                    <a:lnTo>
                      <a:pt x="278" y="11"/>
                    </a:lnTo>
                    <a:lnTo>
                      <a:pt x="287" y="8"/>
                    </a:lnTo>
                    <a:lnTo>
                      <a:pt x="330" y="0"/>
                    </a:lnTo>
                    <a:lnTo>
                      <a:pt x="331" y="3"/>
                    </a:lnTo>
                    <a:lnTo>
                      <a:pt x="331" y="7"/>
                    </a:lnTo>
                    <a:lnTo>
                      <a:pt x="331" y="14"/>
                    </a:lnTo>
                    <a:lnTo>
                      <a:pt x="335" y="15"/>
                    </a:lnTo>
                    <a:lnTo>
                      <a:pt x="340" y="15"/>
                    </a:lnTo>
                    <a:close/>
                  </a:path>
                </a:pathLst>
              </a:custGeom>
              <a:solidFill>
                <a:srgbClr val="17375E"/>
              </a:solidFill>
              <a:ln w="7938">
                <a:solidFill>
                  <a:srgbClr val="1C1329"/>
                </a:solidFill>
                <a:miter lim="800000"/>
                <a:headEnd/>
                <a:tailEnd/>
              </a:ln>
            </p:spPr>
            <p:txBody>
              <a:bodyPr/>
              <a:lstStyle/>
              <a:p>
                <a:endParaRPr lang="en-US"/>
              </a:p>
            </p:txBody>
          </p:sp>
          <p:sp>
            <p:nvSpPr>
              <p:cNvPr id="332" name="Freeform 118"/>
              <p:cNvSpPr>
                <a:spLocks/>
              </p:cNvSpPr>
              <p:nvPr/>
            </p:nvSpPr>
            <p:spPr bwMode="auto">
              <a:xfrm>
                <a:off x="1958" y="3414"/>
                <a:ext cx="679" cy="514"/>
              </a:xfrm>
              <a:custGeom>
                <a:avLst/>
                <a:gdLst>
                  <a:gd name="T0" fmla="*/ 58499 w 634"/>
                  <a:gd name="T1" fmla="*/ 4456 h 490"/>
                  <a:gd name="T2" fmla="*/ 57645 w 634"/>
                  <a:gd name="T3" fmla="*/ 5147 h 490"/>
                  <a:gd name="T4" fmla="*/ 54996 w 634"/>
                  <a:gd name="T5" fmla="*/ 6227 h 490"/>
                  <a:gd name="T6" fmla="*/ 52664 w 634"/>
                  <a:gd name="T7" fmla="*/ 6808 h 490"/>
                  <a:gd name="T8" fmla="*/ 50622 w 634"/>
                  <a:gd name="T9" fmla="*/ 7771 h 490"/>
                  <a:gd name="T10" fmla="*/ 46454 w 634"/>
                  <a:gd name="T11" fmla="*/ 8702 h 490"/>
                  <a:gd name="T12" fmla="*/ 41726 w 634"/>
                  <a:gd name="T13" fmla="*/ 9795 h 490"/>
                  <a:gd name="T14" fmla="*/ 36792 w 634"/>
                  <a:gd name="T15" fmla="*/ 10576 h 490"/>
                  <a:gd name="T16" fmla="*/ 33227 w 634"/>
                  <a:gd name="T17" fmla="*/ 10639 h 490"/>
                  <a:gd name="T18" fmla="*/ 32042 w 634"/>
                  <a:gd name="T19" fmla="*/ 10888 h 490"/>
                  <a:gd name="T20" fmla="*/ 28969 w 634"/>
                  <a:gd name="T21" fmla="*/ 11052 h 490"/>
                  <a:gd name="T22" fmla="*/ 24108 w 634"/>
                  <a:gd name="T23" fmla="*/ 10983 h 490"/>
                  <a:gd name="T24" fmla="*/ 20440 w 634"/>
                  <a:gd name="T25" fmla="*/ 10888 h 490"/>
                  <a:gd name="T26" fmla="*/ 19085 w 634"/>
                  <a:gd name="T27" fmla="*/ 11203 h 490"/>
                  <a:gd name="T28" fmla="*/ 15912 w 634"/>
                  <a:gd name="T29" fmla="*/ 11203 h 490"/>
                  <a:gd name="T30" fmla="*/ 13309 w 634"/>
                  <a:gd name="T31" fmla="*/ 11442 h 490"/>
                  <a:gd name="T32" fmla="*/ 10998 w 634"/>
                  <a:gd name="T33" fmla="*/ 11442 h 490"/>
                  <a:gd name="T34" fmla="*/ 8584 w 634"/>
                  <a:gd name="T35" fmla="*/ 11215 h 490"/>
                  <a:gd name="T36" fmla="*/ 7689 w 634"/>
                  <a:gd name="T37" fmla="*/ 10959 h 490"/>
                  <a:gd name="T38" fmla="*/ 7289 w 634"/>
                  <a:gd name="T39" fmla="*/ 11203 h 490"/>
                  <a:gd name="T40" fmla="*/ 6806 w 634"/>
                  <a:gd name="T41" fmla="*/ 10822 h 490"/>
                  <a:gd name="T42" fmla="*/ 6093 w 634"/>
                  <a:gd name="T43" fmla="*/ 10352 h 490"/>
                  <a:gd name="T44" fmla="*/ 5544 w 634"/>
                  <a:gd name="T45" fmla="*/ 10006 h 490"/>
                  <a:gd name="T46" fmla="*/ 4980 w 634"/>
                  <a:gd name="T47" fmla="*/ 9696 h 490"/>
                  <a:gd name="T48" fmla="*/ 6086 w 634"/>
                  <a:gd name="T49" fmla="*/ 8734 h 490"/>
                  <a:gd name="T50" fmla="*/ 3431 w 634"/>
                  <a:gd name="T51" fmla="*/ 7841 h 490"/>
                  <a:gd name="T52" fmla="*/ 3 w 634"/>
                  <a:gd name="T53" fmla="*/ 6227 h 490"/>
                  <a:gd name="T54" fmla="*/ 3 w 634"/>
                  <a:gd name="T55" fmla="*/ 5940 h 490"/>
                  <a:gd name="T56" fmla="*/ 2124 w 634"/>
                  <a:gd name="T57" fmla="*/ 5661 h 490"/>
                  <a:gd name="T58" fmla="*/ 5544 w 634"/>
                  <a:gd name="T59" fmla="*/ 6249 h 490"/>
                  <a:gd name="T60" fmla="*/ 9184 w 634"/>
                  <a:gd name="T61" fmla="*/ 6249 h 490"/>
                  <a:gd name="T62" fmla="*/ 12083 w 634"/>
                  <a:gd name="T63" fmla="*/ 5886 h 490"/>
                  <a:gd name="T64" fmla="*/ 12083 w 634"/>
                  <a:gd name="T65" fmla="*/ 2422 h 490"/>
                  <a:gd name="T66" fmla="*/ 13860 w 634"/>
                  <a:gd name="T67" fmla="*/ 2751 h 490"/>
                  <a:gd name="T68" fmla="*/ 15628 w 634"/>
                  <a:gd name="T69" fmla="*/ 3494 h 490"/>
                  <a:gd name="T70" fmla="*/ 15266 w 634"/>
                  <a:gd name="T71" fmla="*/ 4231 h 490"/>
                  <a:gd name="T72" fmla="*/ 20387 w 634"/>
                  <a:gd name="T73" fmla="*/ 4212 h 490"/>
                  <a:gd name="T74" fmla="*/ 22510 w 634"/>
                  <a:gd name="T75" fmla="*/ 3615 h 490"/>
                  <a:gd name="T76" fmla="*/ 25256 w 634"/>
                  <a:gd name="T77" fmla="*/ 3026 h 490"/>
                  <a:gd name="T78" fmla="*/ 29467 w 634"/>
                  <a:gd name="T79" fmla="*/ 3331 h 490"/>
                  <a:gd name="T80" fmla="*/ 32595 w 634"/>
                  <a:gd name="T81" fmla="*/ 3040 h 490"/>
                  <a:gd name="T82" fmla="*/ 37387 w 634"/>
                  <a:gd name="T83" fmla="*/ 1559 h 490"/>
                  <a:gd name="T84" fmla="*/ 41704 w 634"/>
                  <a:gd name="T85" fmla="*/ 576 h 490"/>
                  <a:gd name="T86" fmla="*/ 45927 w 634"/>
                  <a:gd name="T87" fmla="*/ 3 h 490"/>
                  <a:gd name="T88" fmla="*/ 49705 w 634"/>
                  <a:gd name="T89" fmla="*/ 8 h 490"/>
                  <a:gd name="T90" fmla="*/ 53554 w 634"/>
                  <a:gd name="T91" fmla="*/ 476 h 490"/>
                  <a:gd name="T92" fmla="*/ 54622 w 634"/>
                  <a:gd name="T93" fmla="*/ 1300 h 490"/>
                  <a:gd name="T94" fmla="*/ 53554 w 634"/>
                  <a:gd name="T95" fmla="*/ 3331 h 490"/>
                  <a:gd name="T96" fmla="*/ 51257 w 634"/>
                  <a:gd name="T97" fmla="*/ 4099 h 490"/>
                  <a:gd name="T98" fmla="*/ 54622 w 634"/>
                  <a:gd name="T99" fmla="*/ 4655 h 4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4"/>
                  <a:gd name="T151" fmla="*/ 0 h 490"/>
                  <a:gd name="T152" fmla="*/ 634 w 634"/>
                  <a:gd name="T153" fmla="*/ 490 h 49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4" h="490">
                    <a:moveTo>
                      <a:pt x="604" y="181"/>
                    </a:moveTo>
                    <a:lnTo>
                      <a:pt x="629" y="180"/>
                    </a:lnTo>
                    <a:lnTo>
                      <a:pt x="634" y="181"/>
                    </a:lnTo>
                    <a:lnTo>
                      <a:pt x="633" y="190"/>
                    </a:lnTo>
                    <a:lnTo>
                      <a:pt x="630" y="196"/>
                    </a:lnTo>
                    <a:lnTo>
                      <a:pt x="627" y="204"/>
                    </a:lnTo>
                    <a:lnTo>
                      <a:pt x="626" y="212"/>
                    </a:lnTo>
                    <a:lnTo>
                      <a:pt x="625" y="221"/>
                    </a:lnTo>
                    <a:lnTo>
                      <a:pt x="622" y="227"/>
                    </a:lnTo>
                    <a:lnTo>
                      <a:pt x="617" y="248"/>
                    </a:lnTo>
                    <a:lnTo>
                      <a:pt x="612" y="255"/>
                    </a:lnTo>
                    <a:lnTo>
                      <a:pt x="596" y="265"/>
                    </a:lnTo>
                    <a:lnTo>
                      <a:pt x="591" y="268"/>
                    </a:lnTo>
                    <a:lnTo>
                      <a:pt x="585" y="272"/>
                    </a:lnTo>
                    <a:lnTo>
                      <a:pt x="578" y="279"/>
                    </a:lnTo>
                    <a:lnTo>
                      <a:pt x="570" y="289"/>
                    </a:lnTo>
                    <a:lnTo>
                      <a:pt x="567" y="295"/>
                    </a:lnTo>
                    <a:lnTo>
                      <a:pt x="564" y="300"/>
                    </a:lnTo>
                    <a:lnTo>
                      <a:pt x="562" y="305"/>
                    </a:lnTo>
                    <a:lnTo>
                      <a:pt x="547" y="330"/>
                    </a:lnTo>
                    <a:lnTo>
                      <a:pt x="540" y="336"/>
                    </a:lnTo>
                    <a:lnTo>
                      <a:pt x="527" y="354"/>
                    </a:lnTo>
                    <a:lnTo>
                      <a:pt x="510" y="366"/>
                    </a:lnTo>
                    <a:lnTo>
                      <a:pt x="503" y="371"/>
                    </a:lnTo>
                    <a:lnTo>
                      <a:pt x="498" y="378"/>
                    </a:lnTo>
                    <a:lnTo>
                      <a:pt x="486" y="392"/>
                    </a:lnTo>
                    <a:lnTo>
                      <a:pt x="468" y="409"/>
                    </a:lnTo>
                    <a:lnTo>
                      <a:pt x="453" y="418"/>
                    </a:lnTo>
                    <a:lnTo>
                      <a:pt x="446" y="425"/>
                    </a:lnTo>
                    <a:lnTo>
                      <a:pt x="440" y="430"/>
                    </a:lnTo>
                    <a:lnTo>
                      <a:pt x="414" y="445"/>
                    </a:lnTo>
                    <a:lnTo>
                      <a:pt x="398" y="452"/>
                    </a:lnTo>
                    <a:lnTo>
                      <a:pt x="390" y="453"/>
                    </a:lnTo>
                    <a:lnTo>
                      <a:pt x="375" y="452"/>
                    </a:lnTo>
                    <a:lnTo>
                      <a:pt x="367" y="452"/>
                    </a:lnTo>
                    <a:lnTo>
                      <a:pt x="360" y="453"/>
                    </a:lnTo>
                    <a:lnTo>
                      <a:pt x="355" y="456"/>
                    </a:lnTo>
                    <a:lnTo>
                      <a:pt x="357" y="461"/>
                    </a:lnTo>
                    <a:lnTo>
                      <a:pt x="357" y="466"/>
                    </a:lnTo>
                    <a:lnTo>
                      <a:pt x="346" y="464"/>
                    </a:lnTo>
                    <a:lnTo>
                      <a:pt x="338" y="462"/>
                    </a:lnTo>
                    <a:lnTo>
                      <a:pt x="329" y="463"/>
                    </a:lnTo>
                    <a:lnTo>
                      <a:pt x="324" y="471"/>
                    </a:lnTo>
                    <a:lnTo>
                      <a:pt x="314" y="471"/>
                    </a:lnTo>
                    <a:lnTo>
                      <a:pt x="288" y="464"/>
                    </a:lnTo>
                    <a:lnTo>
                      <a:pt x="278" y="462"/>
                    </a:lnTo>
                    <a:lnTo>
                      <a:pt x="268" y="463"/>
                    </a:lnTo>
                    <a:lnTo>
                      <a:pt x="262" y="467"/>
                    </a:lnTo>
                    <a:lnTo>
                      <a:pt x="257" y="467"/>
                    </a:lnTo>
                    <a:lnTo>
                      <a:pt x="240" y="463"/>
                    </a:lnTo>
                    <a:lnTo>
                      <a:pt x="235" y="463"/>
                    </a:lnTo>
                    <a:lnTo>
                      <a:pt x="222" y="464"/>
                    </a:lnTo>
                    <a:lnTo>
                      <a:pt x="219" y="467"/>
                    </a:lnTo>
                    <a:lnTo>
                      <a:pt x="216" y="471"/>
                    </a:lnTo>
                    <a:lnTo>
                      <a:pt x="209" y="472"/>
                    </a:lnTo>
                    <a:lnTo>
                      <a:pt x="207" y="477"/>
                    </a:lnTo>
                    <a:lnTo>
                      <a:pt x="202" y="478"/>
                    </a:lnTo>
                    <a:lnTo>
                      <a:pt x="188" y="477"/>
                    </a:lnTo>
                    <a:lnTo>
                      <a:pt x="185" y="479"/>
                    </a:lnTo>
                    <a:lnTo>
                      <a:pt x="173" y="477"/>
                    </a:lnTo>
                    <a:lnTo>
                      <a:pt x="166" y="478"/>
                    </a:lnTo>
                    <a:lnTo>
                      <a:pt x="164" y="481"/>
                    </a:lnTo>
                    <a:lnTo>
                      <a:pt x="151" y="482"/>
                    </a:lnTo>
                    <a:lnTo>
                      <a:pt x="144" y="488"/>
                    </a:lnTo>
                    <a:lnTo>
                      <a:pt x="137" y="490"/>
                    </a:lnTo>
                    <a:lnTo>
                      <a:pt x="130" y="490"/>
                    </a:lnTo>
                    <a:lnTo>
                      <a:pt x="124" y="488"/>
                    </a:lnTo>
                    <a:lnTo>
                      <a:pt x="118" y="488"/>
                    </a:lnTo>
                    <a:lnTo>
                      <a:pt x="109" y="485"/>
                    </a:lnTo>
                    <a:lnTo>
                      <a:pt x="109" y="481"/>
                    </a:lnTo>
                    <a:lnTo>
                      <a:pt x="106" y="477"/>
                    </a:lnTo>
                    <a:lnTo>
                      <a:pt x="93" y="478"/>
                    </a:lnTo>
                    <a:lnTo>
                      <a:pt x="90" y="477"/>
                    </a:lnTo>
                    <a:lnTo>
                      <a:pt x="90" y="474"/>
                    </a:lnTo>
                    <a:lnTo>
                      <a:pt x="90" y="466"/>
                    </a:lnTo>
                    <a:lnTo>
                      <a:pt x="83" y="466"/>
                    </a:lnTo>
                    <a:lnTo>
                      <a:pt x="78" y="467"/>
                    </a:lnTo>
                    <a:lnTo>
                      <a:pt x="78" y="469"/>
                    </a:lnTo>
                    <a:lnTo>
                      <a:pt x="78" y="472"/>
                    </a:lnTo>
                    <a:lnTo>
                      <a:pt x="78" y="477"/>
                    </a:lnTo>
                    <a:lnTo>
                      <a:pt x="76" y="477"/>
                    </a:lnTo>
                    <a:lnTo>
                      <a:pt x="73" y="472"/>
                    </a:lnTo>
                    <a:lnTo>
                      <a:pt x="73" y="466"/>
                    </a:lnTo>
                    <a:lnTo>
                      <a:pt x="73" y="461"/>
                    </a:lnTo>
                    <a:lnTo>
                      <a:pt x="75" y="456"/>
                    </a:lnTo>
                    <a:lnTo>
                      <a:pt x="75" y="452"/>
                    </a:lnTo>
                    <a:lnTo>
                      <a:pt x="70" y="446"/>
                    </a:lnTo>
                    <a:lnTo>
                      <a:pt x="66" y="440"/>
                    </a:lnTo>
                    <a:lnTo>
                      <a:pt x="63" y="437"/>
                    </a:lnTo>
                    <a:lnTo>
                      <a:pt x="58" y="431"/>
                    </a:lnTo>
                    <a:lnTo>
                      <a:pt x="61" y="430"/>
                    </a:lnTo>
                    <a:lnTo>
                      <a:pt x="60" y="426"/>
                    </a:lnTo>
                    <a:lnTo>
                      <a:pt x="55" y="423"/>
                    </a:lnTo>
                    <a:lnTo>
                      <a:pt x="52" y="423"/>
                    </a:lnTo>
                    <a:lnTo>
                      <a:pt x="54" y="416"/>
                    </a:lnTo>
                    <a:lnTo>
                      <a:pt x="55" y="413"/>
                    </a:lnTo>
                    <a:lnTo>
                      <a:pt x="64" y="415"/>
                    </a:lnTo>
                    <a:lnTo>
                      <a:pt x="71" y="406"/>
                    </a:lnTo>
                    <a:lnTo>
                      <a:pt x="68" y="382"/>
                    </a:lnTo>
                    <a:lnTo>
                      <a:pt x="65" y="374"/>
                    </a:lnTo>
                    <a:lnTo>
                      <a:pt x="49" y="355"/>
                    </a:lnTo>
                    <a:lnTo>
                      <a:pt x="45" y="347"/>
                    </a:lnTo>
                    <a:lnTo>
                      <a:pt x="41" y="339"/>
                    </a:lnTo>
                    <a:lnTo>
                      <a:pt x="37" y="333"/>
                    </a:lnTo>
                    <a:lnTo>
                      <a:pt x="26" y="311"/>
                    </a:lnTo>
                    <a:lnTo>
                      <a:pt x="20" y="294"/>
                    </a:lnTo>
                    <a:lnTo>
                      <a:pt x="10" y="272"/>
                    </a:lnTo>
                    <a:lnTo>
                      <a:pt x="3" y="265"/>
                    </a:lnTo>
                    <a:lnTo>
                      <a:pt x="1" y="262"/>
                    </a:lnTo>
                    <a:lnTo>
                      <a:pt x="2" y="258"/>
                    </a:lnTo>
                    <a:lnTo>
                      <a:pt x="0" y="255"/>
                    </a:lnTo>
                    <a:lnTo>
                      <a:pt x="3" y="255"/>
                    </a:lnTo>
                    <a:lnTo>
                      <a:pt x="7" y="254"/>
                    </a:lnTo>
                    <a:lnTo>
                      <a:pt x="10" y="250"/>
                    </a:lnTo>
                    <a:lnTo>
                      <a:pt x="14" y="242"/>
                    </a:lnTo>
                    <a:lnTo>
                      <a:pt x="23" y="242"/>
                    </a:lnTo>
                    <a:lnTo>
                      <a:pt x="41" y="253"/>
                    </a:lnTo>
                    <a:lnTo>
                      <a:pt x="41" y="260"/>
                    </a:lnTo>
                    <a:lnTo>
                      <a:pt x="49" y="268"/>
                    </a:lnTo>
                    <a:lnTo>
                      <a:pt x="60" y="268"/>
                    </a:lnTo>
                    <a:lnTo>
                      <a:pt x="71" y="267"/>
                    </a:lnTo>
                    <a:lnTo>
                      <a:pt x="85" y="267"/>
                    </a:lnTo>
                    <a:lnTo>
                      <a:pt x="90" y="268"/>
                    </a:lnTo>
                    <a:lnTo>
                      <a:pt x="99" y="268"/>
                    </a:lnTo>
                    <a:lnTo>
                      <a:pt x="111" y="258"/>
                    </a:lnTo>
                    <a:lnTo>
                      <a:pt x="121" y="253"/>
                    </a:lnTo>
                    <a:lnTo>
                      <a:pt x="128" y="251"/>
                    </a:lnTo>
                    <a:lnTo>
                      <a:pt x="131" y="250"/>
                    </a:lnTo>
                    <a:lnTo>
                      <a:pt x="131" y="214"/>
                    </a:lnTo>
                    <a:lnTo>
                      <a:pt x="131" y="176"/>
                    </a:lnTo>
                    <a:lnTo>
                      <a:pt x="131" y="138"/>
                    </a:lnTo>
                    <a:lnTo>
                      <a:pt x="131" y="104"/>
                    </a:lnTo>
                    <a:lnTo>
                      <a:pt x="135" y="104"/>
                    </a:lnTo>
                    <a:lnTo>
                      <a:pt x="140" y="108"/>
                    </a:lnTo>
                    <a:lnTo>
                      <a:pt x="141" y="111"/>
                    </a:lnTo>
                    <a:lnTo>
                      <a:pt x="150" y="117"/>
                    </a:lnTo>
                    <a:lnTo>
                      <a:pt x="153" y="123"/>
                    </a:lnTo>
                    <a:lnTo>
                      <a:pt x="162" y="130"/>
                    </a:lnTo>
                    <a:lnTo>
                      <a:pt x="167" y="138"/>
                    </a:lnTo>
                    <a:lnTo>
                      <a:pt x="169" y="149"/>
                    </a:lnTo>
                    <a:lnTo>
                      <a:pt x="169" y="153"/>
                    </a:lnTo>
                    <a:lnTo>
                      <a:pt x="167" y="160"/>
                    </a:lnTo>
                    <a:lnTo>
                      <a:pt x="161" y="175"/>
                    </a:lnTo>
                    <a:lnTo>
                      <a:pt x="165" y="180"/>
                    </a:lnTo>
                    <a:lnTo>
                      <a:pt x="172" y="181"/>
                    </a:lnTo>
                    <a:lnTo>
                      <a:pt x="182" y="183"/>
                    </a:lnTo>
                    <a:lnTo>
                      <a:pt x="195" y="183"/>
                    </a:lnTo>
                    <a:lnTo>
                      <a:pt x="220" y="178"/>
                    </a:lnTo>
                    <a:lnTo>
                      <a:pt x="226" y="168"/>
                    </a:lnTo>
                    <a:lnTo>
                      <a:pt x="230" y="164"/>
                    </a:lnTo>
                    <a:lnTo>
                      <a:pt x="238" y="159"/>
                    </a:lnTo>
                    <a:lnTo>
                      <a:pt x="245" y="153"/>
                    </a:lnTo>
                    <a:lnTo>
                      <a:pt x="248" y="149"/>
                    </a:lnTo>
                    <a:lnTo>
                      <a:pt x="252" y="142"/>
                    </a:lnTo>
                    <a:lnTo>
                      <a:pt x="264" y="130"/>
                    </a:lnTo>
                    <a:lnTo>
                      <a:pt x="274" y="128"/>
                    </a:lnTo>
                    <a:lnTo>
                      <a:pt x="283" y="128"/>
                    </a:lnTo>
                    <a:lnTo>
                      <a:pt x="292" y="131"/>
                    </a:lnTo>
                    <a:lnTo>
                      <a:pt x="308" y="140"/>
                    </a:lnTo>
                    <a:lnTo>
                      <a:pt x="318" y="142"/>
                    </a:lnTo>
                    <a:lnTo>
                      <a:pt x="337" y="137"/>
                    </a:lnTo>
                    <a:lnTo>
                      <a:pt x="344" y="137"/>
                    </a:lnTo>
                    <a:lnTo>
                      <a:pt x="350" y="134"/>
                    </a:lnTo>
                    <a:lnTo>
                      <a:pt x="353" y="130"/>
                    </a:lnTo>
                    <a:lnTo>
                      <a:pt x="364" y="108"/>
                    </a:lnTo>
                    <a:lnTo>
                      <a:pt x="374" y="97"/>
                    </a:lnTo>
                    <a:lnTo>
                      <a:pt x="393" y="84"/>
                    </a:lnTo>
                    <a:lnTo>
                      <a:pt x="405" y="67"/>
                    </a:lnTo>
                    <a:lnTo>
                      <a:pt x="414" y="58"/>
                    </a:lnTo>
                    <a:lnTo>
                      <a:pt x="427" y="45"/>
                    </a:lnTo>
                    <a:lnTo>
                      <a:pt x="441" y="37"/>
                    </a:lnTo>
                    <a:lnTo>
                      <a:pt x="452" y="26"/>
                    </a:lnTo>
                    <a:lnTo>
                      <a:pt x="479" y="14"/>
                    </a:lnTo>
                    <a:lnTo>
                      <a:pt x="488" y="8"/>
                    </a:lnTo>
                    <a:lnTo>
                      <a:pt x="496" y="5"/>
                    </a:lnTo>
                    <a:lnTo>
                      <a:pt x="498" y="3"/>
                    </a:lnTo>
                    <a:lnTo>
                      <a:pt x="505" y="0"/>
                    </a:lnTo>
                    <a:lnTo>
                      <a:pt x="511" y="1"/>
                    </a:lnTo>
                    <a:lnTo>
                      <a:pt x="529" y="7"/>
                    </a:lnTo>
                    <a:lnTo>
                      <a:pt x="537" y="8"/>
                    </a:lnTo>
                    <a:lnTo>
                      <a:pt x="546" y="7"/>
                    </a:lnTo>
                    <a:lnTo>
                      <a:pt x="555" y="7"/>
                    </a:lnTo>
                    <a:lnTo>
                      <a:pt x="569" y="11"/>
                    </a:lnTo>
                    <a:lnTo>
                      <a:pt x="580" y="22"/>
                    </a:lnTo>
                    <a:lnTo>
                      <a:pt x="584" y="22"/>
                    </a:lnTo>
                    <a:lnTo>
                      <a:pt x="585" y="22"/>
                    </a:lnTo>
                    <a:lnTo>
                      <a:pt x="586" y="36"/>
                    </a:lnTo>
                    <a:lnTo>
                      <a:pt x="591" y="56"/>
                    </a:lnTo>
                    <a:lnTo>
                      <a:pt x="598" y="86"/>
                    </a:lnTo>
                    <a:lnTo>
                      <a:pt x="602" y="145"/>
                    </a:lnTo>
                    <a:lnTo>
                      <a:pt x="596" y="150"/>
                    </a:lnTo>
                    <a:lnTo>
                      <a:pt x="580" y="142"/>
                    </a:lnTo>
                    <a:lnTo>
                      <a:pt x="570" y="147"/>
                    </a:lnTo>
                    <a:lnTo>
                      <a:pt x="565" y="154"/>
                    </a:lnTo>
                    <a:lnTo>
                      <a:pt x="559" y="165"/>
                    </a:lnTo>
                    <a:lnTo>
                      <a:pt x="556" y="175"/>
                    </a:lnTo>
                    <a:lnTo>
                      <a:pt x="559" y="183"/>
                    </a:lnTo>
                    <a:lnTo>
                      <a:pt x="564" y="195"/>
                    </a:lnTo>
                    <a:lnTo>
                      <a:pt x="581" y="197"/>
                    </a:lnTo>
                    <a:lnTo>
                      <a:pt x="591" y="198"/>
                    </a:lnTo>
                    <a:lnTo>
                      <a:pt x="595" y="193"/>
                    </a:lnTo>
                    <a:lnTo>
                      <a:pt x="600" y="183"/>
                    </a:lnTo>
                    <a:lnTo>
                      <a:pt x="604" y="181"/>
                    </a:lnTo>
                    <a:close/>
                  </a:path>
                </a:pathLst>
              </a:custGeom>
              <a:solidFill>
                <a:srgbClr val="7891B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3" name="Freeform 119"/>
              <p:cNvSpPr>
                <a:spLocks/>
              </p:cNvSpPr>
              <p:nvPr/>
            </p:nvSpPr>
            <p:spPr bwMode="auto">
              <a:xfrm>
                <a:off x="1958" y="3414"/>
                <a:ext cx="679" cy="514"/>
              </a:xfrm>
              <a:custGeom>
                <a:avLst/>
                <a:gdLst>
                  <a:gd name="T0" fmla="*/ 58499 w 634"/>
                  <a:gd name="T1" fmla="*/ 4456 h 490"/>
                  <a:gd name="T2" fmla="*/ 57645 w 634"/>
                  <a:gd name="T3" fmla="*/ 5147 h 490"/>
                  <a:gd name="T4" fmla="*/ 54996 w 634"/>
                  <a:gd name="T5" fmla="*/ 6227 h 490"/>
                  <a:gd name="T6" fmla="*/ 52664 w 634"/>
                  <a:gd name="T7" fmla="*/ 6808 h 490"/>
                  <a:gd name="T8" fmla="*/ 50622 w 634"/>
                  <a:gd name="T9" fmla="*/ 7771 h 490"/>
                  <a:gd name="T10" fmla="*/ 46454 w 634"/>
                  <a:gd name="T11" fmla="*/ 8702 h 490"/>
                  <a:gd name="T12" fmla="*/ 41726 w 634"/>
                  <a:gd name="T13" fmla="*/ 9795 h 490"/>
                  <a:gd name="T14" fmla="*/ 36792 w 634"/>
                  <a:gd name="T15" fmla="*/ 10576 h 490"/>
                  <a:gd name="T16" fmla="*/ 33227 w 634"/>
                  <a:gd name="T17" fmla="*/ 10639 h 490"/>
                  <a:gd name="T18" fmla="*/ 32042 w 634"/>
                  <a:gd name="T19" fmla="*/ 10888 h 490"/>
                  <a:gd name="T20" fmla="*/ 28969 w 634"/>
                  <a:gd name="T21" fmla="*/ 11052 h 490"/>
                  <a:gd name="T22" fmla="*/ 24108 w 634"/>
                  <a:gd name="T23" fmla="*/ 10983 h 490"/>
                  <a:gd name="T24" fmla="*/ 20440 w 634"/>
                  <a:gd name="T25" fmla="*/ 10888 h 490"/>
                  <a:gd name="T26" fmla="*/ 19085 w 634"/>
                  <a:gd name="T27" fmla="*/ 11203 h 490"/>
                  <a:gd name="T28" fmla="*/ 15912 w 634"/>
                  <a:gd name="T29" fmla="*/ 11203 h 490"/>
                  <a:gd name="T30" fmla="*/ 13309 w 634"/>
                  <a:gd name="T31" fmla="*/ 11442 h 490"/>
                  <a:gd name="T32" fmla="*/ 10998 w 634"/>
                  <a:gd name="T33" fmla="*/ 11442 h 490"/>
                  <a:gd name="T34" fmla="*/ 8584 w 634"/>
                  <a:gd name="T35" fmla="*/ 11215 h 490"/>
                  <a:gd name="T36" fmla="*/ 7689 w 634"/>
                  <a:gd name="T37" fmla="*/ 10959 h 490"/>
                  <a:gd name="T38" fmla="*/ 7289 w 634"/>
                  <a:gd name="T39" fmla="*/ 11203 h 490"/>
                  <a:gd name="T40" fmla="*/ 6806 w 634"/>
                  <a:gd name="T41" fmla="*/ 10822 h 490"/>
                  <a:gd name="T42" fmla="*/ 6093 w 634"/>
                  <a:gd name="T43" fmla="*/ 10352 h 490"/>
                  <a:gd name="T44" fmla="*/ 5544 w 634"/>
                  <a:gd name="T45" fmla="*/ 10006 h 490"/>
                  <a:gd name="T46" fmla="*/ 4980 w 634"/>
                  <a:gd name="T47" fmla="*/ 9696 h 490"/>
                  <a:gd name="T48" fmla="*/ 6086 w 634"/>
                  <a:gd name="T49" fmla="*/ 8734 h 490"/>
                  <a:gd name="T50" fmla="*/ 3431 w 634"/>
                  <a:gd name="T51" fmla="*/ 7841 h 490"/>
                  <a:gd name="T52" fmla="*/ 3 w 634"/>
                  <a:gd name="T53" fmla="*/ 6227 h 490"/>
                  <a:gd name="T54" fmla="*/ 3 w 634"/>
                  <a:gd name="T55" fmla="*/ 5940 h 490"/>
                  <a:gd name="T56" fmla="*/ 2124 w 634"/>
                  <a:gd name="T57" fmla="*/ 5661 h 490"/>
                  <a:gd name="T58" fmla="*/ 5544 w 634"/>
                  <a:gd name="T59" fmla="*/ 6249 h 490"/>
                  <a:gd name="T60" fmla="*/ 9184 w 634"/>
                  <a:gd name="T61" fmla="*/ 6249 h 490"/>
                  <a:gd name="T62" fmla="*/ 12083 w 634"/>
                  <a:gd name="T63" fmla="*/ 5886 h 490"/>
                  <a:gd name="T64" fmla="*/ 12083 w 634"/>
                  <a:gd name="T65" fmla="*/ 2422 h 490"/>
                  <a:gd name="T66" fmla="*/ 13860 w 634"/>
                  <a:gd name="T67" fmla="*/ 2751 h 490"/>
                  <a:gd name="T68" fmla="*/ 15628 w 634"/>
                  <a:gd name="T69" fmla="*/ 3494 h 490"/>
                  <a:gd name="T70" fmla="*/ 15266 w 634"/>
                  <a:gd name="T71" fmla="*/ 4231 h 490"/>
                  <a:gd name="T72" fmla="*/ 20387 w 634"/>
                  <a:gd name="T73" fmla="*/ 4212 h 490"/>
                  <a:gd name="T74" fmla="*/ 22510 w 634"/>
                  <a:gd name="T75" fmla="*/ 3615 h 490"/>
                  <a:gd name="T76" fmla="*/ 25256 w 634"/>
                  <a:gd name="T77" fmla="*/ 3026 h 490"/>
                  <a:gd name="T78" fmla="*/ 29467 w 634"/>
                  <a:gd name="T79" fmla="*/ 3331 h 490"/>
                  <a:gd name="T80" fmla="*/ 32595 w 634"/>
                  <a:gd name="T81" fmla="*/ 3040 h 490"/>
                  <a:gd name="T82" fmla="*/ 37387 w 634"/>
                  <a:gd name="T83" fmla="*/ 1559 h 490"/>
                  <a:gd name="T84" fmla="*/ 41704 w 634"/>
                  <a:gd name="T85" fmla="*/ 576 h 490"/>
                  <a:gd name="T86" fmla="*/ 45927 w 634"/>
                  <a:gd name="T87" fmla="*/ 3 h 490"/>
                  <a:gd name="T88" fmla="*/ 49705 w 634"/>
                  <a:gd name="T89" fmla="*/ 8 h 490"/>
                  <a:gd name="T90" fmla="*/ 53554 w 634"/>
                  <a:gd name="T91" fmla="*/ 476 h 490"/>
                  <a:gd name="T92" fmla="*/ 54622 w 634"/>
                  <a:gd name="T93" fmla="*/ 1300 h 490"/>
                  <a:gd name="T94" fmla="*/ 53554 w 634"/>
                  <a:gd name="T95" fmla="*/ 3331 h 490"/>
                  <a:gd name="T96" fmla="*/ 51257 w 634"/>
                  <a:gd name="T97" fmla="*/ 4099 h 490"/>
                  <a:gd name="T98" fmla="*/ 54622 w 634"/>
                  <a:gd name="T99" fmla="*/ 4655 h 4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4"/>
                  <a:gd name="T151" fmla="*/ 0 h 490"/>
                  <a:gd name="T152" fmla="*/ 634 w 634"/>
                  <a:gd name="T153" fmla="*/ 490 h 49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4" h="490">
                    <a:moveTo>
                      <a:pt x="604" y="181"/>
                    </a:moveTo>
                    <a:lnTo>
                      <a:pt x="629" y="180"/>
                    </a:lnTo>
                    <a:lnTo>
                      <a:pt x="634" y="181"/>
                    </a:lnTo>
                    <a:lnTo>
                      <a:pt x="633" y="190"/>
                    </a:lnTo>
                    <a:lnTo>
                      <a:pt x="630" y="196"/>
                    </a:lnTo>
                    <a:lnTo>
                      <a:pt x="627" y="204"/>
                    </a:lnTo>
                    <a:lnTo>
                      <a:pt x="626" y="212"/>
                    </a:lnTo>
                    <a:lnTo>
                      <a:pt x="625" y="221"/>
                    </a:lnTo>
                    <a:lnTo>
                      <a:pt x="622" y="227"/>
                    </a:lnTo>
                    <a:lnTo>
                      <a:pt x="617" y="248"/>
                    </a:lnTo>
                    <a:lnTo>
                      <a:pt x="612" y="255"/>
                    </a:lnTo>
                    <a:lnTo>
                      <a:pt x="596" y="265"/>
                    </a:lnTo>
                    <a:lnTo>
                      <a:pt x="591" y="268"/>
                    </a:lnTo>
                    <a:lnTo>
                      <a:pt x="585" y="272"/>
                    </a:lnTo>
                    <a:lnTo>
                      <a:pt x="578" y="279"/>
                    </a:lnTo>
                    <a:lnTo>
                      <a:pt x="570" y="289"/>
                    </a:lnTo>
                    <a:lnTo>
                      <a:pt x="567" y="295"/>
                    </a:lnTo>
                    <a:lnTo>
                      <a:pt x="564" y="300"/>
                    </a:lnTo>
                    <a:lnTo>
                      <a:pt x="562" y="305"/>
                    </a:lnTo>
                    <a:lnTo>
                      <a:pt x="547" y="330"/>
                    </a:lnTo>
                    <a:lnTo>
                      <a:pt x="540" y="336"/>
                    </a:lnTo>
                    <a:lnTo>
                      <a:pt x="527" y="354"/>
                    </a:lnTo>
                    <a:lnTo>
                      <a:pt x="510" y="366"/>
                    </a:lnTo>
                    <a:lnTo>
                      <a:pt x="503" y="371"/>
                    </a:lnTo>
                    <a:lnTo>
                      <a:pt x="498" y="378"/>
                    </a:lnTo>
                    <a:lnTo>
                      <a:pt x="486" y="392"/>
                    </a:lnTo>
                    <a:lnTo>
                      <a:pt x="468" y="409"/>
                    </a:lnTo>
                    <a:lnTo>
                      <a:pt x="453" y="418"/>
                    </a:lnTo>
                    <a:lnTo>
                      <a:pt x="446" y="425"/>
                    </a:lnTo>
                    <a:lnTo>
                      <a:pt x="440" y="430"/>
                    </a:lnTo>
                    <a:lnTo>
                      <a:pt x="414" y="445"/>
                    </a:lnTo>
                    <a:lnTo>
                      <a:pt x="398" y="452"/>
                    </a:lnTo>
                    <a:lnTo>
                      <a:pt x="390" y="453"/>
                    </a:lnTo>
                    <a:lnTo>
                      <a:pt x="375" y="452"/>
                    </a:lnTo>
                    <a:lnTo>
                      <a:pt x="367" y="452"/>
                    </a:lnTo>
                    <a:lnTo>
                      <a:pt x="360" y="453"/>
                    </a:lnTo>
                    <a:lnTo>
                      <a:pt x="355" y="456"/>
                    </a:lnTo>
                    <a:lnTo>
                      <a:pt x="357" y="461"/>
                    </a:lnTo>
                    <a:lnTo>
                      <a:pt x="357" y="466"/>
                    </a:lnTo>
                    <a:lnTo>
                      <a:pt x="346" y="464"/>
                    </a:lnTo>
                    <a:lnTo>
                      <a:pt x="338" y="462"/>
                    </a:lnTo>
                    <a:lnTo>
                      <a:pt x="329" y="463"/>
                    </a:lnTo>
                    <a:lnTo>
                      <a:pt x="324" y="471"/>
                    </a:lnTo>
                    <a:lnTo>
                      <a:pt x="314" y="471"/>
                    </a:lnTo>
                    <a:lnTo>
                      <a:pt x="288" y="464"/>
                    </a:lnTo>
                    <a:lnTo>
                      <a:pt x="278" y="462"/>
                    </a:lnTo>
                    <a:lnTo>
                      <a:pt x="268" y="463"/>
                    </a:lnTo>
                    <a:lnTo>
                      <a:pt x="262" y="467"/>
                    </a:lnTo>
                    <a:lnTo>
                      <a:pt x="257" y="467"/>
                    </a:lnTo>
                    <a:lnTo>
                      <a:pt x="240" y="463"/>
                    </a:lnTo>
                    <a:lnTo>
                      <a:pt x="235" y="463"/>
                    </a:lnTo>
                    <a:lnTo>
                      <a:pt x="222" y="464"/>
                    </a:lnTo>
                    <a:lnTo>
                      <a:pt x="219" y="467"/>
                    </a:lnTo>
                    <a:lnTo>
                      <a:pt x="216" y="471"/>
                    </a:lnTo>
                    <a:lnTo>
                      <a:pt x="209" y="472"/>
                    </a:lnTo>
                    <a:lnTo>
                      <a:pt x="207" y="477"/>
                    </a:lnTo>
                    <a:lnTo>
                      <a:pt x="202" y="478"/>
                    </a:lnTo>
                    <a:lnTo>
                      <a:pt x="188" y="477"/>
                    </a:lnTo>
                    <a:lnTo>
                      <a:pt x="185" y="479"/>
                    </a:lnTo>
                    <a:lnTo>
                      <a:pt x="173" y="477"/>
                    </a:lnTo>
                    <a:lnTo>
                      <a:pt x="166" y="478"/>
                    </a:lnTo>
                    <a:lnTo>
                      <a:pt x="164" y="481"/>
                    </a:lnTo>
                    <a:lnTo>
                      <a:pt x="151" y="482"/>
                    </a:lnTo>
                    <a:lnTo>
                      <a:pt x="144" y="488"/>
                    </a:lnTo>
                    <a:lnTo>
                      <a:pt x="137" y="490"/>
                    </a:lnTo>
                    <a:lnTo>
                      <a:pt x="130" y="490"/>
                    </a:lnTo>
                    <a:lnTo>
                      <a:pt x="124" y="488"/>
                    </a:lnTo>
                    <a:lnTo>
                      <a:pt x="118" y="488"/>
                    </a:lnTo>
                    <a:lnTo>
                      <a:pt x="109" y="485"/>
                    </a:lnTo>
                    <a:lnTo>
                      <a:pt x="109" y="481"/>
                    </a:lnTo>
                    <a:lnTo>
                      <a:pt x="106" y="477"/>
                    </a:lnTo>
                    <a:lnTo>
                      <a:pt x="93" y="478"/>
                    </a:lnTo>
                    <a:lnTo>
                      <a:pt x="90" y="477"/>
                    </a:lnTo>
                    <a:lnTo>
                      <a:pt x="90" y="474"/>
                    </a:lnTo>
                    <a:lnTo>
                      <a:pt x="90" y="466"/>
                    </a:lnTo>
                    <a:lnTo>
                      <a:pt x="83" y="466"/>
                    </a:lnTo>
                    <a:lnTo>
                      <a:pt x="78" y="467"/>
                    </a:lnTo>
                    <a:lnTo>
                      <a:pt x="78" y="469"/>
                    </a:lnTo>
                    <a:lnTo>
                      <a:pt x="78" y="472"/>
                    </a:lnTo>
                    <a:lnTo>
                      <a:pt x="78" y="477"/>
                    </a:lnTo>
                    <a:lnTo>
                      <a:pt x="76" y="477"/>
                    </a:lnTo>
                    <a:lnTo>
                      <a:pt x="73" y="472"/>
                    </a:lnTo>
                    <a:lnTo>
                      <a:pt x="73" y="466"/>
                    </a:lnTo>
                    <a:lnTo>
                      <a:pt x="73" y="461"/>
                    </a:lnTo>
                    <a:lnTo>
                      <a:pt x="75" y="456"/>
                    </a:lnTo>
                    <a:lnTo>
                      <a:pt x="75" y="452"/>
                    </a:lnTo>
                    <a:lnTo>
                      <a:pt x="70" y="446"/>
                    </a:lnTo>
                    <a:lnTo>
                      <a:pt x="66" y="440"/>
                    </a:lnTo>
                    <a:lnTo>
                      <a:pt x="63" y="437"/>
                    </a:lnTo>
                    <a:lnTo>
                      <a:pt x="58" y="431"/>
                    </a:lnTo>
                    <a:lnTo>
                      <a:pt x="61" y="430"/>
                    </a:lnTo>
                    <a:lnTo>
                      <a:pt x="60" y="426"/>
                    </a:lnTo>
                    <a:lnTo>
                      <a:pt x="55" y="423"/>
                    </a:lnTo>
                    <a:lnTo>
                      <a:pt x="52" y="423"/>
                    </a:lnTo>
                    <a:lnTo>
                      <a:pt x="54" y="416"/>
                    </a:lnTo>
                    <a:lnTo>
                      <a:pt x="55" y="413"/>
                    </a:lnTo>
                    <a:lnTo>
                      <a:pt x="64" y="415"/>
                    </a:lnTo>
                    <a:lnTo>
                      <a:pt x="71" y="406"/>
                    </a:lnTo>
                    <a:lnTo>
                      <a:pt x="68" y="382"/>
                    </a:lnTo>
                    <a:lnTo>
                      <a:pt x="65" y="374"/>
                    </a:lnTo>
                    <a:lnTo>
                      <a:pt x="49" y="355"/>
                    </a:lnTo>
                    <a:lnTo>
                      <a:pt x="45" y="347"/>
                    </a:lnTo>
                    <a:lnTo>
                      <a:pt x="41" y="339"/>
                    </a:lnTo>
                    <a:lnTo>
                      <a:pt x="37" y="333"/>
                    </a:lnTo>
                    <a:lnTo>
                      <a:pt x="26" y="311"/>
                    </a:lnTo>
                    <a:lnTo>
                      <a:pt x="20" y="294"/>
                    </a:lnTo>
                    <a:lnTo>
                      <a:pt x="10" y="272"/>
                    </a:lnTo>
                    <a:lnTo>
                      <a:pt x="3" y="265"/>
                    </a:lnTo>
                    <a:lnTo>
                      <a:pt x="1" y="262"/>
                    </a:lnTo>
                    <a:lnTo>
                      <a:pt x="2" y="258"/>
                    </a:lnTo>
                    <a:lnTo>
                      <a:pt x="0" y="255"/>
                    </a:lnTo>
                    <a:lnTo>
                      <a:pt x="3" y="255"/>
                    </a:lnTo>
                    <a:lnTo>
                      <a:pt x="7" y="254"/>
                    </a:lnTo>
                    <a:lnTo>
                      <a:pt x="10" y="250"/>
                    </a:lnTo>
                    <a:lnTo>
                      <a:pt x="14" y="242"/>
                    </a:lnTo>
                    <a:lnTo>
                      <a:pt x="23" y="242"/>
                    </a:lnTo>
                    <a:lnTo>
                      <a:pt x="41" y="253"/>
                    </a:lnTo>
                    <a:lnTo>
                      <a:pt x="41" y="260"/>
                    </a:lnTo>
                    <a:lnTo>
                      <a:pt x="49" y="268"/>
                    </a:lnTo>
                    <a:lnTo>
                      <a:pt x="60" y="268"/>
                    </a:lnTo>
                    <a:lnTo>
                      <a:pt x="71" y="267"/>
                    </a:lnTo>
                    <a:lnTo>
                      <a:pt x="85" y="267"/>
                    </a:lnTo>
                    <a:lnTo>
                      <a:pt x="90" y="268"/>
                    </a:lnTo>
                    <a:lnTo>
                      <a:pt x="99" y="268"/>
                    </a:lnTo>
                    <a:lnTo>
                      <a:pt x="111" y="258"/>
                    </a:lnTo>
                    <a:lnTo>
                      <a:pt x="121" y="253"/>
                    </a:lnTo>
                    <a:lnTo>
                      <a:pt x="128" y="251"/>
                    </a:lnTo>
                    <a:lnTo>
                      <a:pt x="131" y="250"/>
                    </a:lnTo>
                    <a:lnTo>
                      <a:pt x="131" y="214"/>
                    </a:lnTo>
                    <a:lnTo>
                      <a:pt x="131" y="176"/>
                    </a:lnTo>
                    <a:lnTo>
                      <a:pt x="131" y="138"/>
                    </a:lnTo>
                    <a:lnTo>
                      <a:pt x="131" y="104"/>
                    </a:lnTo>
                    <a:lnTo>
                      <a:pt x="135" y="104"/>
                    </a:lnTo>
                    <a:lnTo>
                      <a:pt x="140" y="108"/>
                    </a:lnTo>
                    <a:lnTo>
                      <a:pt x="141" y="111"/>
                    </a:lnTo>
                    <a:lnTo>
                      <a:pt x="150" y="117"/>
                    </a:lnTo>
                    <a:lnTo>
                      <a:pt x="153" y="123"/>
                    </a:lnTo>
                    <a:lnTo>
                      <a:pt x="162" y="130"/>
                    </a:lnTo>
                    <a:lnTo>
                      <a:pt x="167" y="138"/>
                    </a:lnTo>
                    <a:lnTo>
                      <a:pt x="169" y="149"/>
                    </a:lnTo>
                    <a:lnTo>
                      <a:pt x="169" y="153"/>
                    </a:lnTo>
                    <a:lnTo>
                      <a:pt x="167" y="160"/>
                    </a:lnTo>
                    <a:lnTo>
                      <a:pt x="161" y="175"/>
                    </a:lnTo>
                    <a:lnTo>
                      <a:pt x="165" y="180"/>
                    </a:lnTo>
                    <a:lnTo>
                      <a:pt x="172" y="181"/>
                    </a:lnTo>
                    <a:lnTo>
                      <a:pt x="182" y="183"/>
                    </a:lnTo>
                    <a:lnTo>
                      <a:pt x="195" y="183"/>
                    </a:lnTo>
                    <a:lnTo>
                      <a:pt x="220" y="178"/>
                    </a:lnTo>
                    <a:lnTo>
                      <a:pt x="226" y="168"/>
                    </a:lnTo>
                    <a:lnTo>
                      <a:pt x="230" y="164"/>
                    </a:lnTo>
                    <a:lnTo>
                      <a:pt x="238" y="159"/>
                    </a:lnTo>
                    <a:lnTo>
                      <a:pt x="245" y="153"/>
                    </a:lnTo>
                    <a:lnTo>
                      <a:pt x="248" y="149"/>
                    </a:lnTo>
                    <a:lnTo>
                      <a:pt x="252" y="142"/>
                    </a:lnTo>
                    <a:lnTo>
                      <a:pt x="264" y="130"/>
                    </a:lnTo>
                    <a:lnTo>
                      <a:pt x="274" y="128"/>
                    </a:lnTo>
                    <a:lnTo>
                      <a:pt x="283" y="128"/>
                    </a:lnTo>
                    <a:lnTo>
                      <a:pt x="292" y="131"/>
                    </a:lnTo>
                    <a:lnTo>
                      <a:pt x="308" y="140"/>
                    </a:lnTo>
                    <a:lnTo>
                      <a:pt x="318" y="142"/>
                    </a:lnTo>
                    <a:lnTo>
                      <a:pt x="337" y="137"/>
                    </a:lnTo>
                    <a:lnTo>
                      <a:pt x="344" y="137"/>
                    </a:lnTo>
                    <a:lnTo>
                      <a:pt x="350" y="134"/>
                    </a:lnTo>
                    <a:lnTo>
                      <a:pt x="353" y="130"/>
                    </a:lnTo>
                    <a:lnTo>
                      <a:pt x="364" y="108"/>
                    </a:lnTo>
                    <a:lnTo>
                      <a:pt x="374" y="97"/>
                    </a:lnTo>
                    <a:lnTo>
                      <a:pt x="393" y="84"/>
                    </a:lnTo>
                    <a:lnTo>
                      <a:pt x="405" y="67"/>
                    </a:lnTo>
                    <a:lnTo>
                      <a:pt x="414" y="58"/>
                    </a:lnTo>
                    <a:lnTo>
                      <a:pt x="427" y="45"/>
                    </a:lnTo>
                    <a:lnTo>
                      <a:pt x="441" y="37"/>
                    </a:lnTo>
                    <a:lnTo>
                      <a:pt x="452" y="26"/>
                    </a:lnTo>
                    <a:lnTo>
                      <a:pt x="479" y="14"/>
                    </a:lnTo>
                    <a:lnTo>
                      <a:pt x="488" y="8"/>
                    </a:lnTo>
                    <a:lnTo>
                      <a:pt x="496" y="5"/>
                    </a:lnTo>
                    <a:lnTo>
                      <a:pt x="498" y="3"/>
                    </a:lnTo>
                    <a:lnTo>
                      <a:pt x="505" y="0"/>
                    </a:lnTo>
                    <a:lnTo>
                      <a:pt x="511" y="1"/>
                    </a:lnTo>
                    <a:lnTo>
                      <a:pt x="529" y="7"/>
                    </a:lnTo>
                    <a:lnTo>
                      <a:pt x="537" y="8"/>
                    </a:lnTo>
                    <a:lnTo>
                      <a:pt x="546" y="7"/>
                    </a:lnTo>
                    <a:lnTo>
                      <a:pt x="555" y="7"/>
                    </a:lnTo>
                    <a:lnTo>
                      <a:pt x="569" y="11"/>
                    </a:lnTo>
                    <a:lnTo>
                      <a:pt x="580" y="22"/>
                    </a:lnTo>
                    <a:lnTo>
                      <a:pt x="584" y="22"/>
                    </a:lnTo>
                    <a:lnTo>
                      <a:pt x="585" y="22"/>
                    </a:lnTo>
                    <a:lnTo>
                      <a:pt x="586" y="36"/>
                    </a:lnTo>
                    <a:lnTo>
                      <a:pt x="591" y="56"/>
                    </a:lnTo>
                    <a:lnTo>
                      <a:pt x="598" y="86"/>
                    </a:lnTo>
                    <a:lnTo>
                      <a:pt x="602" y="145"/>
                    </a:lnTo>
                    <a:lnTo>
                      <a:pt x="596" y="150"/>
                    </a:lnTo>
                    <a:lnTo>
                      <a:pt x="580" y="142"/>
                    </a:lnTo>
                    <a:lnTo>
                      <a:pt x="570" y="147"/>
                    </a:lnTo>
                    <a:lnTo>
                      <a:pt x="565" y="154"/>
                    </a:lnTo>
                    <a:lnTo>
                      <a:pt x="559" y="165"/>
                    </a:lnTo>
                    <a:lnTo>
                      <a:pt x="556" y="175"/>
                    </a:lnTo>
                    <a:lnTo>
                      <a:pt x="559" y="183"/>
                    </a:lnTo>
                    <a:lnTo>
                      <a:pt x="564" y="195"/>
                    </a:lnTo>
                    <a:lnTo>
                      <a:pt x="581" y="197"/>
                    </a:lnTo>
                    <a:lnTo>
                      <a:pt x="591" y="198"/>
                    </a:lnTo>
                    <a:lnTo>
                      <a:pt x="595" y="193"/>
                    </a:lnTo>
                    <a:lnTo>
                      <a:pt x="600" y="183"/>
                    </a:lnTo>
                    <a:lnTo>
                      <a:pt x="604" y="181"/>
                    </a:lnTo>
                    <a:close/>
                  </a:path>
                </a:pathLst>
              </a:custGeom>
              <a:solidFill>
                <a:srgbClr val="17375E"/>
              </a:solidFill>
              <a:ln w="7938">
                <a:solidFill>
                  <a:srgbClr val="1C1329"/>
                </a:solidFill>
                <a:miter lim="800000"/>
                <a:headEnd/>
                <a:tailEnd/>
              </a:ln>
            </p:spPr>
            <p:txBody>
              <a:bodyPr/>
              <a:lstStyle/>
              <a:p>
                <a:endParaRPr lang="en-US"/>
              </a:p>
            </p:txBody>
          </p:sp>
          <p:pic>
            <p:nvPicPr>
              <p:cNvPr id="334" name="Picture 12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396" y="3673"/>
                <a:ext cx="114"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5" name="Picture 12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396" y="3673"/>
                <a:ext cx="114"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6" name="Freeform 122"/>
              <p:cNvSpPr>
                <a:spLocks/>
              </p:cNvSpPr>
              <p:nvPr/>
            </p:nvSpPr>
            <p:spPr bwMode="auto">
              <a:xfrm>
                <a:off x="2401" y="3678"/>
                <a:ext cx="95" cy="83"/>
              </a:xfrm>
              <a:custGeom>
                <a:avLst/>
                <a:gdLst>
                  <a:gd name="T0" fmla="*/ 6545 w 89"/>
                  <a:gd name="T1" fmla="*/ 898 h 79"/>
                  <a:gd name="T2" fmla="*/ 6545 w 89"/>
                  <a:gd name="T3" fmla="*/ 763 h 79"/>
                  <a:gd name="T4" fmla="*/ 6505 w 89"/>
                  <a:gd name="T5" fmla="*/ 802 h 79"/>
                  <a:gd name="T6" fmla="*/ 6267 w 89"/>
                  <a:gd name="T7" fmla="*/ 626 h 79"/>
                  <a:gd name="T8" fmla="*/ 5745 w 89"/>
                  <a:gd name="T9" fmla="*/ 422 h 79"/>
                  <a:gd name="T10" fmla="*/ 5500 w 89"/>
                  <a:gd name="T11" fmla="*/ 314 h 79"/>
                  <a:gd name="T12" fmla="*/ 5010 w 89"/>
                  <a:gd name="T13" fmla="*/ 3 h 79"/>
                  <a:gd name="T14" fmla="*/ 4237 w 89"/>
                  <a:gd name="T15" fmla="*/ 0 h 79"/>
                  <a:gd name="T16" fmla="*/ 3483 w 89"/>
                  <a:gd name="T17" fmla="*/ 1 h 79"/>
                  <a:gd name="T18" fmla="*/ 2046 w 89"/>
                  <a:gd name="T19" fmla="*/ 299 h 79"/>
                  <a:gd name="T20" fmla="*/ 1397 w 89"/>
                  <a:gd name="T21" fmla="*/ 402 h 79"/>
                  <a:gd name="T22" fmla="*/ 3 w 89"/>
                  <a:gd name="T23" fmla="*/ 943 h 79"/>
                  <a:gd name="T24" fmla="*/ 0 w 89"/>
                  <a:gd name="T25" fmla="*/ 1149 h 79"/>
                  <a:gd name="T26" fmla="*/ 3 w 89"/>
                  <a:gd name="T27" fmla="*/ 1382 h 79"/>
                  <a:gd name="T28" fmla="*/ 638 w 89"/>
                  <a:gd name="T29" fmla="*/ 1584 h 79"/>
                  <a:gd name="T30" fmla="*/ 1076 w 89"/>
                  <a:gd name="T31" fmla="*/ 1790 h 79"/>
                  <a:gd name="T32" fmla="*/ 2184 w 89"/>
                  <a:gd name="T33" fmla="*/ 2052 h 79"/>
                  <a:gd name="T34" fmla="*/ 2835 w 89"/>
                  <a:gd name="T35" fmla="*/ 2028 h 79"/>
                  <a:gd name="T36" fmla="*/ 3230 w 89"/>
                  <a:gd name="T37" fmla="*/ 1953 h 79"/>
                  <a:gd name="T38" fmla="*/ 3718 w 89"/>
                  <a:gd name="T39" fmla="*/ 1748 h 79"/>
                  <a:gd name="T40" fmla="*/ 5320 w 89"/>
                  <a:gd name="T41" fmla="*/ 1544 h 79"/>
                  <a:gd name="T42" fmla="*/ 6545 w 89"/>
                  <a:gd name="T43" fmla="*/ 898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9" y="35"/>
                    </a:moveTo>
                    <a:lnTo>
                      <a:pt x="89" y="29"/>
                    </a:lnTo>
                    <a:lnTo>
                      <a:pt x="88" y="30"/>
                    </a:lnTo>
                    <a:lnTo>
                      <a:pt x="85" y="25"/>
                    </a:lnTo>
                    <a:lnTo>
                      <a:pt x="78" y="17"/>
                    </a:lnTo>
                    <a:lnTo>
                      <a:pt x="75" y="11"/>
                    </a:lnTo>
                    <a:lnTo>
                      <a:pt x="67" y="3"/>
                    </a:lnTo>
                    <a:lnTo>
                      <a:pt x="58" y="0"/>
                    </a:lnTo>
                    <a:lnTo>
                      <a:pt x="48" y="1"/>
                    </a:lnTo>
                    <a:lnTo>
                      <a:pt x="28" y="10"/>
                    </a:lnTo>
                    <a:lnTo>
                      <a:pt x="20" y="16"/>
                    </a:lnTo>
                    <a:lnTo>
                      <a:pt x="3" y="37"/>
                    </a:lnTo>
                    <a:lnTo>
                      <a:pt x="0" y="45"/>
                    </a:lnTo>
                    <a:lnTo>
                      <a:pt x="3" y="53"/>
                    </a:lnTo>
                    <a:lnTo>
                      <a:pt x="8" y="61"/>
                    </a:lnTo>
                    <a:lnTo>
                      <a:pt x="16" y="69"/>
                    </a:lnTo>
                    <a:lnTo>
                      <a:pt x="30" y="79"/>
                    </a:lnTo>
                    <a:lnTo>
                      <a:pt x="38" y="78"/>
                    </a:lnTo>
                    <a:lnTo>
                      <a:pt x="44" y="75"/>
                    </a:lnTo>
                    <a:lnTo>
                      <a:pt x="51" y="67"/>
                    </a:lnTo>
                    <a:lnTo>
                      <a:pt x="71" y="60"/>
                    </a:lnTo>
                    <a:lnTo>
                      <a:pt x="89"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7" name="Freeform 123"/>
              <p:cNvSpPr>
                <a:spLocks/>
              </p:cNvSpPr>
              <p:nvPr/>
            </p:nvSpPr>
            <p:spPr bwMode="auto">
              <a:xfrm>
                <a:off x="2401" y="3678"/>
                <a:ext cx="95" cy="83"/>
              </a:xfrm>
              <a:custGeom>
                <a:avLst/>
                <a:gdLst>
                  <a:gd name="T0" fmla="*/ 6545 w 89"/>
                  <a:gd name="T1" fmla="*/ 898 h 79"/>
                  <a:gd name="T2" fmla="*/ 6545 w 89"/>
                  <a:gd name="T3" fmla="*/ 763 h 79"/>
                  <a:gd name="T4" fmla="*/ 6505 w 89"/>
                  <a:gd name="T5" fmla="*/ 802 h 79"/>
                  <a:gd name="T6" fmla="*/ 6267 w 89"/>
                  <a:gd name="T7" fmla="*/ 626 h 79"/>
                  <a:gd name="T8" fmla="*/ 5745 w 89"/>
                  <a:gd name="T9" fmla="*/ 422 h 79"/>
                  <a:gd name="T10" fmla="*/ 5500 w 89"/>
                  <a:gd name="T11" fmla="*/ 314 h 79"/>
                  <a:gd name="T12" fmla="*/ 5010 w 89"/>
                  <a:gd name="T13" fmla="*/ 3 h 79"/>
                  <a:gd name="T14" fmla="*/ 4237 w 89"/>
                  <a:gd name="T15" fmla="*/ 0 h 79"/>
                  <a:gd name="T16" fmla="*/ 3483 w 89"/>
                  <a:gd name="T17" fmla="*/ 1 h 79"/>
                  <a:gd name="T18" fmla="*/ 2046 w 89"/>
                  <a:gd name="T19" fmla="*/ 299 h 79"/>
                  <a:gd name="T20" fmla="*/ 1397 w 89"/>
                  <a:gd name="T21" fmla="*/ 402 h 79"/>
                  <a:gd name="T22" fmla="*/ 3 w 89"/>
                  <a:gd name="T23" fmla="*/ 943 h 79"/>
                  <a:gd name="T24" fmla="*/ 0 w 89"/>
                  <a:gd name="T25" fmla="*/ 1149 h 79"/>
                  <a:gd name="T26" fmla="*/ 3 w 89"/>
                  <a:gd name="T27" fmla="*/ 1382 h 79"/>
                  <a:gd name="T28" fmla="*/ 638 w 89"/>
                  <a:gd name="T29" fmla="*/ 1584 h 79"/>
                  <a:gd name="T30" fmla="*/ 1076 w 89"/>
                  <a:gd name="T31" fmla="*/ 1790 h 79"/>
                  <a:gd name="T32" fmla="*/ 2184 w 89"/>
                  <a:gd name="T33" fmla="*/ 2052 h 79"/>
                  <a:gd name="T34" fmla="*/ 2835 w 89"/>
                  <a:gd name="T35" fmla="*/ 2028 h 79"/>
                  <a:gd name="T36" fmla="*/ 3230 w 89"/>
                  <a:gd name="T37" fmla="*/ 1953 h 79"/>
                  <a:gd name="T38" fmla="*/ 3718 w 89"/>
                  <a:gd name="T39" fmla="*/ 1748 h 79"/>
                  <a:gd name="T40" fmla="*/ 5320 w 89"/>
                  <a:gd name="T41" fmla="*/ 1544 h 79"/>
                  <a:gd name="T42" fmla="*/ 6545 w 89"/>
                  <a:gd name="T43" fmla="*/ 898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9" y="35"/>
                    </a:moveTo>
                    <a:lnTo>
                      <a:pt x="89" y="29"/>
                    </a:lnTo>
                    <a:lnTo>
                      <a:pt x="88" y="30"/>
                    </a:lnTo>
                    <a:lnTo>
                      <a:pt x="85" y="25"/>
                    </a:lnTo>
                    <a:lnTo>
                      <a:pt x="78" y="17"/>
                    </a:lnTo>
                    <a:lnTo>
                      <a:pt x="75" y="11"/>
                    </a:lnTo>
                    <a:lnTo>
                      <a:pt x="67" y="3"/>
                    </a:lnTo>
                    <a:lnTo>
                      <a:pt x="58" y="0"/>
                    </a:lnTo>
                    <a:lnTo>
                      <a:pt x="48" y="1"/>
                    </a:lnTo>
                    <a:lnTo>
                      <a:pt x="28" y="10"/>
                    </a:lnTo>
                    <a:lnTo>
                      <a:pt x="20" y="16"/>
                    </a:lnTo>
                    <a:lnTo>
                      <a:pt x="3" y="37"/>
                    </a:lnTo>
                    <a:lnTo>
                      <a:pt x="0" y="45"/>
                    </a:lnTo>
                    <a:lnTo>
                      <a:pt x="3" y="53"/>
                    </a:lnTo>
                    <a:lnTo>
                      <a:pt x="8" y="61"/>
                    </a:lnTo>
                    <a:lnTo>
                      <a:pt x="16" y="69"/>
                    </a:lnTo>
                    <a:lnTo>
                      <a:pt x="30" y="79"/>
                    </a:lnTo>
                    <a:lnTo>
                      <a:pt x="38" y="78"/>
                    </a:lnTo>
                    <a:lnTo>
                      <a:pt x="44" y="75"/>
                    </a:lnTo>
                    <a:lnTo>
                      <a:pt x="51" y="67"/>
                    </a:lnTo>
                    <a:lnTo>
                      <a:pt x="71" y="60"/>
                    </a:lnTo>
                    <a:lnTo>
                      <a:pt x="89" y="35"/>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38" name="Freeform 124"/>
              <p:cNvSpPr>
                <a:spLocks/>
              </p:cNvSpPr>
              <p:nvPr/>
            </p:nvSpPr>
            <p:spPr bwMode="auto">
              <a:xfrm>
                <a:off x="2401" y="3678"/>
                <a:ext cx="95" cy="83"/>
              </a:xfrm>
              <a:custGeom>
                <a:avLst/>
                <a:gdLst>
                  <a:gd name="T0" fmla="*/ 6267 w 89"/>
                  <a:gd name="T1" fmla="*/ 626 h 79"/>
                  <a:gd name="T2" fmla="*/ 6505 w 89"/>
                  <a:gd name="T3" fmla="*/ 802 h 79"/>
                  <a:gd name="T4" fmla="*/ 6545 w 89"/>
                  <a:gd name="T5" fmla="*/ 763 h 79"/>
                  <a:gd name="T6" fmla="*/ 6545 w 89"/>
                  <a:gd name="T7" fmla="*/ 898 h 79"/>
                  <a:gd name="T8" fmla="*/ 5320 w 89"/>
                  <a:gd name="T9" fmla="*/ 1544 h 79"/>
                  <a:gd name="T10" fmla="*/ 3718 w 89"/>
                  <a:gd name="T11" fmla="*/ 1748 h 79"/>
                  <a:gd name="T12" fmla="*/ 3230 w 89"/>
                  <a:gd name="T13" fmla="*/ 1953 h 79"/>
                  <a:gd name="T14" fmla="*/ 2835 w 89"/>
                  <a:gd name="T15" fmla="*/ 2028 h 79"/>
                  <a:gd name="T16" fmla="*/ 2184 w 89"/>
                  <a:gd name="T17" fmla="*/ 2052 h 79"/>
                  <a:gd name="T18" fmla="*/ 1076 w 89"/>
                  <a:gd name="T19" fmla="*/ 1790 h 79"/>
                  <a:gd name="T20" fmla="*/ 638 w 89"/>
                  <a:gd name="T21" fmla="*/ 1584 h 79"/>
                  <a:gd name="T22" fmla="*/ 3 w 89"/>
                  <a:gd name="T23" fmla="*/ 1382 h 79"/>
                  <a:gd name="T24" fmla="*/ 0 w 89"/>
                  <a:gd name="T25" fmla="*/ 1149 h 79"/>
                  <a:gd name="T26" fmla="*/ 3 w 89"/>
                  <a:gd name="T27" fmla="*/ 943 h 79"/>
                  <a:gd name="T28" fmla="*/ 1397 w 89"/>
                  <a:gd name="T29" fmla="*/ 402 h 79"/>
                  <a:gd name="T30" fmla="*/ 2046 w 89"/>
                  <a:gd name="T31" fmla="*/ 299 h 79"/>
                  <a:gd name="T32" fmla="*/ 3483 w 89"/>
                  <a:gd name="T33" fmla="*/ 1 h 79"/>
                  <a:gd name="T34" fmla="*/ 4237 w 89"/>
                  <a:gd name="T35" fmla="*/ 0 h 79"/>
                  <a:gd name="T36" fmla="*/ 5010 w 89"/>
                  <a:gd name="T37" fmla="*/ 3 h 79"/>
                  <a:gd name="T38" fmla="*/ 5500 w 89"/>
                  <a:gd name="T39" fmla="*/ 314 h 79"/>
                  <a:gd name="T40" fmla="*/ 5745 w 89"/>
                  <a:gd name="T41" fmla="*/ 422 h 79"/>
                  <a:gd name="T42" fmla="*/ 6267 w 89"/>
                  <a:gd name="T43" fmla="*/ 626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5" y="25"/>
                    </a:moveTo>
                    <a:lnTo>
                      <a:pt x="88" y="30"/>
                    </a:lnTo>
                    <a:lnTo>
                      <a:pt x="89" y="29"/>
                    </a:lnTo>
                    <a:lnTo>
                      <a:pt x="89" y="35"/>
                    </a:lnTo>
                    <a:lnTo>
                      <a:pt x="71" y="60"/>
                    </a:lnTo>
                    <a:lnTo>
                      <a:pt x="51" y="67"/>
                    </a:lnTo>
                    <a:lnTo>
                      <a:pt x="44" y="75"/>
                    </a:lnTo>
                    <a:lnTo>
                      <a:pt x="38" y="78"/>
                    </a:lnTo>
                    <a:lnTo>
                      <a:pt x="30" y="79"/>
                    </a:lnTo>
                    <a:lnTo>
                      <a:pt x="16" y="69"/>
                    </a:lnTo>
                    <a:lnTo>
                      <a:pt x="8" y="61"/>
                    </a:lnTo>
                    <a:lnTo>
                      <a:pt x="3" y="53"/>
                    </a:lnTo>
                    <a:lnTo>
                      <a:pt x="0" y="45"/>
                    </a:lnTo>
                    <a:lnTo>
                      <a:pt x="3" y="37"/>
                    </a:lnTo>
                    <a:lnTo>
                      <a:pt x="20" y="16"/>
                    </a:lnTo>
                    <a:lnTo>
                      <a:pt x="28" y="10"/>
                    </a:lnTo>
                    <a:lnTo>
                      <a:pt x="48" y="1"/>
                    </a:lnTo>
                    <a:lnTo>
                      <a:pt x="58" y="0"/>
                    </a:lnTo>
                    <a:lnTo>
                      <a:pt x="67" y="3"/>
                    </a:lnTo>
                    <a:lnTo>
                      <a:pt x="75" y="11"/>
                    </a:lnTo>
                    <a:lnTo>
                      <a:pt x="78" y="17"/>
                    </a:lnTo>
                    <a:lnTo>
                      <a:pt x="85" y="25"/>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9" name="Freeform 125"/>
              <p:cNvSpPr>
                <a:spLocks/>
              </p:cNvSpPr>
              <p:nvPr/>
            </p:nvSpPr>
            <p:spPr bwMode="auto">
              <a:xfrm>
                <a:off x="2401" y="3678"/>
                <a:ext cx="95" cy="83"/>
              </a:xfrm>
              <a:custGeom>
                <a:avLst/>
                <a:gdLst>
                  <a:gd name="T0" fmla="*/ 6267 w 89"/>
                  <a:gd name="T1" fmla="*/ 626 h 79"/>
                  <a:gd name="T2" fmla="*/ 6505 w 89"/>
                  <a:gd name="T3" fmla="*/ 802 h 79"/>
                  <a:gd name="T4" fmla="*/ 6545 w 89"/>
                  <a:gd name="T5" fmla="*/ 763 h 79"/>
                  <a:gd name="T6" fmla="*/ 6545 w 89"/>
                  <a:gd name="T7" fmla="*/ 898 h 79"/>
                  <a:gd name="T8" fmla="*/ 5320 w 89"/>
                  <a:gd name="T9" fmla="*/ 1544 h 79"/>
                  <a:gd name="T10" fmla="*/ 3718 w 89"/>
                  <a:gd name="T11" fmla="*/ 1748 h 79"/>
                  <a:gd name="T12" fmla="*/ 3230 w 89"/>
                  <a:gd name="T13" fmla="*/ 1953 h 79"/>
                  <a:gd name="T14" fmla="*/ 2835 w 89"/>
                  <a:gd name="T15" fmla="*/ 2028 h 79"/>
                  <a:gd name="T16" fmla="*/ 2184 w 89"/>
                  <a:gd name="T17" fmla="*/ 2052 h 79"/>
                  <a:gd name="T18" fmla="*/ 1076 w 89"/>
                  <a:gd name="T19" fmla="*/ 1790 h 79"/>
                  <a:gd name="T20" fmla="*/ 638 w 89"/>
                  <a:gd name="T21" fmla="*/ 1584 h 79"/>
                  <a:gd name="T22" fmla="*/ 3 w 89"/>
                  <a:gd name="T23" fmla="*/ 1382 h 79"/>
                  <a:gd name="T24" fmla="*/ 0 w 89"/>
                  <a:gd name="T25" fmla="*/ 1149 h 79"/>
                  <a:gd name="T26" fmla="*/ 3 w 89"/>
                  <a:gd name="T27" fmla="*/ 943 h 79"/>
                  <a:gd name="T28" fmla="*/ 1397 w 89"/>
                  <a:gd name="T29" fmla="*/ 402 h 79"/>
                  <a:gd name="T30" fmla="*/ 2046 w 89"/>
                  <a:gd name="T31" fmla="*/ 299 h 79"/>
                  <a:gd name="T32" fmla="*/ 3483 w 89"/>
                  <a:gd name="T33" fmla="*/ 1 h 79"/>
                  <a:gd name="T34" fmla="*/ 4237 w 89"/>
                  <a:gd name="T35" fmla="*/ 0 h 79"/>
                  <a:gd name="T36" fmla="*/ 5010 w 89"/>
                  <a:gd name="T37" fmla="*/ 3 h 79"/>
                  <a:gd name="T38" fmla="*/ 5500 w 89"/>
                  <a:gd name="T39" fmla="*/ 314 h 79"/>
                  <a:gd name="T40" fmla="*/ 5745 w 89"/>
                  <a:gd name="T41" fmla="*/ 422 h 79"/>
                  <a:gd name="T42" fmla="*/ 6267 w 89"/>
                  <a:gd name="T43" fmla="*/ 626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5" y="25"/>
                    </a:moveTo>
                    <a:lnTo>
                      <a:pt x="88" y="30"/>
                    </a:lnTo>
                    <a:lnTo>
                      <a:pt x="89" y="29"/>
                    </a:lnTo>
                    <a:lnTo>
                      <a:pt x="89" y="35"/>
                    </a:lnTo>
                    <a:lnTo>
                      <a:pt x="71" y="60"/>
                    </a:lnTo>
                    <a:lnTo>
                      <a:pt x="51" y="67"/>
                    </a:lnTo>
                    <a:lnTo>
                      <a:pt x="44" y="75"/>
                    </a:lnTo>
                    <a:lnTo>
                      <a:pt x="38" y="78"/>
                    </a:lnTo>
                    <a:lnTo>
                      <a:pt x="30" y="79"/>
                    </a:lnTo>
                    <a:lnTo>
                      <a:pt x="16" y="69"/>
                    </a:lnTo>
                    <a:lnTo>
                      <a:pt x="8" y="61"/>
                    </a:lnTo>
                    <a:lnTo>
                      <a:pt x="3" y="53"/>
                    </a:lnTo>
                    <a:lnTo>
                      <a:pt x="0" y="45"/>
                    </a:lnTo>
                    <a:lnTo>
                      <a:pt x="3" y="37"/>
                    </a:lnTo>
                    <a:lnTo>
                      <a:pt x="20" y="16"/>
                    </a:lnTo>
                    <a:lnTo>
                      <a:pt x="28" y="10"/>
                    </a:lnTo>
                    <a:lnTo>
                      <a:pt x="48" y="1"/>
                    </a:lnTo>
                    <a:lnTo>
                      <a:pt x="58" y="0"/>
                    </a:lnTo>
                    <a:lnTo>
                      <a:pt x="67" y="3"/>
                    </a:lnTo>
                    <a:lnTo>
                      <a:pt x="75" y="11"/>
                    </a:lnTo>
                    <a:lnTo>
                      <a:pt x="78" y="17"/>
                    </a:lnTo>
                    <a:lnTo>
                      <a:pt x="85" y="25"/>
                    </a:lnTo>
                    <a:close/>
                  </a:path>
                </a:pathLst>
              </a:custGeom>
              <a:solidFill>
                <a:srgbClr val="17375E"/>
              </a:solidFill>
              <a:ln w="7938">
                <a:solidFill>
                  <a:srgbClr val="1C1329"/>
                </a:solidFill>
                <a:miter lim="800000"/>
                <a:headEnd/>
                <a:tailEnd/>
              </a:ln>
            </p:spPr>
            <p:txBody>
              <a:bodyPr/>
              <a:lstStyle/>
              <a:p>
                <a:endParaRPr lang="en-US"/>
              </a:p>
            </p:txBody>
          </p:sp>
          <p:sp>
            <p:nvSpPr>
              <p:cNvPr id="340" name="Freeform 126"/>
              <p:cNvSpPr>
                <a:spLocks/>
              </p:cNvSpPr>
              <p:nvPr/>
            </p:nvSpPr>
            <p:spPr bwMode="auto">
              <a:xfrm>
                <a:off x="1758" y="2758"/>
                <a:ext cx="522" cy="494"/>
              </a:xfrm>
              <a:custGeom>
                <a:avLst/>
                <a:gdLst>
                  <a:gd name="T0" fmla="*/ 1 w 488"/>
                  <a:gd name="T1" fmla="*/ 11755 h 470"/>
                  <a:gd name="T2" fmla="*/ 3 w 488"/>
                  <a:gd name="T3" fmla="*/ 11003 h 470"/>
                  <a:gd name="T4" fmla="*/ 1147 w 488"/>
                  <a:gd name="T5" fmla="*/ 9848 h 470"/>
                  <a:gd name="T6" fmla="*/ 1966 w 488"/>
                  <a:gd name="T7" fmla="*/ 8983 h 470"/>
                  <a:gd name="T8" fmla="*/ 2575 w 488"/>
                  <a:gd name="T9" fmla="*/ 8179 h 470"/>
                  <a:gd name="T10" fmla="*/ 3710 w 488"/>
                  <a:gd name="T11" fmla="*/ 7656 h 470"/>
                  <a:gd name="T12" fmla="*/ 6204 w 488"/>
                  <a:gd name="T13" fmla="*/ 6787 h 470"/>
                  <a:gd name="T14" fmla="*/ 6897 w 488"/>
                  <a:gd name="T15" fmla="*/ 5845 h 470"/>
                  <a:gd name="T16" fmla="*/ 6897 w 488"/>
                  <a:gd name="T17" fmla="*/ 4904 h 470"/>
                  <a:gd name="T18" fmla="*/ 5401 w 488"/>
                  <a:gd name="T19" fmla="*/ 4064 h 470"/>
                  <a:gd name="T20" fmla="*/ 5635 w 488"/>
                  <a:gd name="T21" fmla="*/ 3128 h 470"/>
                  <a:gd name="T22" fmla="*/ 4413 w 488"/>
                  <a:gd name="T23" fmla="*/ 1639 h 470"/>
                  <a:gd name="T24" fmla="*/ 2764 w 488"/>
                  <a:gd name="T25" fmla="*/ 816 h 470"/>
                  <a:gd name="T26" fmla="*/ 2407 w 488"/>
                  <a:gd name="T27" fmla="*/ 386 h 470"/>
                  <a:gd name="T28" fmla="*/ 5556 w 488"/>
                  <a:gd name="T29" fmla="*/ 2 h 470"/>
                  <a:gd name="T30" fmla="*/ 9258 w 488"/>
                  <a:gd name="T31" fmla="*/ 0 h 470"/>
                  <a:gd name="T32" fmla="*/ 12347 w 488"/>
                  <a:gd name="T33" fmla="*/ 0 h 470"/>
                  <a:gd name="T34" fmla="*/ 15780 w 488"/>
                  <a:gd name="T35" fmla="*/ 7 h 470"/>
                  <a:gd name="T36" fmla="*/ 16836 w 488"/>
                  <a:gd name="T37" fmla="*/ 636 h 470"/>
                  <a:gd name="T38" fmla="*/ 17546 w 488"/>
                  <a:gd name="T39" fmla="*/ 1557 h 470"/>
                  <a:gd name="T40" fmla="*/ 21162 w 488"/>
                  <a:gd name="T41" fmla="*/ 2391 h 470"/>
                  <a:gd name="T42" fmla="*/ 25422 w 488"/>
                  <a:gd name="T43" fmla="*/ 2220 h 470"/>
                  <a:gd name="T44" fmla="*/ 25965 w 488"/>
                  <a:gd name="T45" fmla="*/ 1687 h 470"/>
                  <a:gd name="T46" fmla="*/ 28831 w 488"/>
                  <a:gd name="T47" fmla="*/ 1156 h 470"/>
                  <a:gd name="T48" fmla="*/ 33103 w 488"/>
                  <a:gd name="T49" fmla="*/ 1557 h 470"/>
                  <a:gd name="T50" fmla="*/ 33786 w 488"/>
                  <a:gd name="T51" fmla="*/ 2577 h 470"/>
                  <a:gd name="T52" fmla="*/ 33786 w 488"/>
                  <a:gd name="T53" fmla="*/ 3552 h 470"/>
                  <a:gd name="T54" fmla="*/ 34556 w 488"/>
                  <a:gd name="T55" fmla="*/ 4569 h 470"/>
                  <a:gd name="T56" fmla="*/ 34210 w 488"/>
                  <a:gd name="T57" fmla="*/ 5372 h 470"/>
                  <a:gd name="T58" fmla="*/ 34409 w 488"/>
                  <a:gd name="T59" fmla="*/ 5479 h 470"/>
                  <a:gd name="T60" fmla="*/ 35602 w 488"/>
                  <a:gd name="T61" fmla="*/ 5561 h 470"/>
                  <a:gd name="T62" fmla="*/ 39539 w 488"/>
                  <a:gd name="T63" fmla="*/ 5283 h 470"/>
                  <a:gd name="T64" fmla="*/ 40895 w 488"/>
                  <a:gd name="T65" fmla="*/ 5175 h 470"/>
                  <a:gd name="T66" fmla="*/ 41122 w 488"/>
                  <a:gd name="T67" fmla="*/ 5409 h 470"/>
                  <a:gd name="T68" fmla="*/ 40895 w 488"/>
                  <a:gd name="T69" fmla="*/ 5996 h 470"/>
                  <a:gd name="T70" fmla="*/ 40735 w 488"/>
                  <a:gd name="T71" fmla="*/ 6938 h 470"/>
                  <a:gd name="T72" fmla="*/ 41604 w 488"/>
                  <a:gd name="T73" fmla="*/ 7391 h 470"/>
                  <a:gd name="T74" fmla="*/ 34288 w 488"/>
                  <a:gd name="T75" fmla="*/ 9409 h 470"/>
                  <a:gd name="T76" fmla="*/ 34729 w 488"/>
                  <a:gd name="T77" fmla="*/ 11184 h 470"/>
                  <a:gd name="T78" fmla="*/ 36677 w 488"/>
                  <a:gd name="T79" fmla="*/ 11755 h 470"/>
                  <a:gd name="T80" fmla="*/ 38165 w 488"/>
                  <a:gd name="T81" fmla="*/ 12112 h 470"/>
                  <a:gd name="T82" fmla="*/ 32467 w 488"/>
                  <a:gd name="T83" fmla="*/ 12597 h 470"/>
                  <a:gd name="T84" fmla="*/ 29730 w 488"/>
                  <a:gd name="T85" fmla="*/ 12444 h 470"/>
                  <a:gd name="T86" fmla="*/ 24429 w 488"/>
                  <a:gd name="T87" fmla="*/ 12355 h 470"/>
                  <a:gd name="T88" fmla="*/ 20853 w 488"/>
                  <a:gd name="T89" fmla="*/ 11859 h 470"/>
                  <a:gd name="T90" fmla="*/ 9030 w 488"/>
                  <a:gd name="T91" fmla="*/ 11859 h 470"/>
                  <a:gd name="T92" fmla="*/ 5943 w 488"/>
                  <a:gd name="T93" fmla="*/ 11571 h 470"/>
                  <a:gd name="T94" fmla="*/ 3151 w 488"/>
                  <a:gd name="T95" fmla="*/ 11458 h 4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88"/>
                  <a:gd name="T145" fmla="*/ 0 h 470"/>
                  <a:gd name="T146" fmla="*/ 488 w 488"/>
                  <a:gd name="T147" fmla="*/ 470 h 4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88" h="470">
                    <a:moveTo>
                      <a:pt x="18" y="433"/>
                    </a:moveTo>
                    <a:lnTo>
                      <a:pt x="10" y="439"/>
                    </a:lnTo>
                    <a:lnTo>
                      <a:pt x="1" y="443"/>
                    </a:lnTo>
                    <a:lnTo>
                      <a:pt x="1" y="439"/>
                    </a:lnTo>
                    <a:lnTo>
                      <a:pt x="0" y="424"/>
                    </a:lnTo>
                    <a:lnTo>
                      <a:pt x="0" y="417"/>
                    </a:lnTo>
                    <a:lnTo>
                      <a:pt x="3" y="418"/>
                    </a:lnTo>
                    <a:lnTo>
                      <a:pt x="3" y="411"/>
                    </a:lnTo>
                    <a:lnTo>
                      <a:pt x="3" y="398"/>
                    </a:lnTo>
                    <a:lnTo>
                      <a:pt x="4" y="389"/>
                    </a:lnTo>
                    <a:lnTo>
                      <a:pt x="10" y="383"/>
                    </a:lnTo>
                    <a:lnTo>
                      <a:pt x="14" y="367"/>
                    </a:lnTo>
                    <a:lnTo>
                      <a:pt x="17" y="361"/>
                    </a:lnTo>
                    <a:lnTo>
                      <a:pt x="18" y="351"/>
                    </a:lnTo>
                    <a:lnTo>
                      <a:pt x="20" y="345"/>
                    </a:lnTo>
                    <a:lnTo>
                      <a:pt x="22" y="336"/>
                    </a:lnTo>
                    <a:lnTo>
                      <a:pt x="23" y="332"/>
                    </a:lnTo>
                    <a:lnTo>
                      <a:pt x="25" y="325"/>
                    </a:lnTo>
                    <a:lnTo>
                      <a:pt x="30" y="311"/>
                    </a:lnTo>
                    <a:lnTo>
                      <a:pt x="30" y="307"/>
                    </a:lnTo>
                    <a:lnTo>
                      <a:pt x="33" y="304"/>
                    </a:lnTo>
                    <a:lnTo>
                      <a:pt x="33" y="299"/>
                    </a:lnTo>
                    <a:lnTo>
                      <a:pt x="37" y="288"/>
                    </a:lnTo>
                    <a:lnTo>
                      <a:pt x="44" y="284"/>
                    </a:lnTo>
                    <a:lnTo>
                      <a:pt x="48" y="280"/>
                    </a:lnTo>
                    <a:lnTo>
                      <a:pt x="49" y="270"/>
                    </a:lnTo>
                    <a:lnTo>
                      <a:pt x="63" y="263"/>
                    </a:lnTo>
                    <a:lnTo>
                      <a:pt x="73" y="253"/>
                    </a:lnTo>
                    <a:lnTo>
                      <a:pt x="76" y="247"/>
                    </a:lnTo>
                    <a:lnTo>
                      <a:pt x="78" y="241"/>
                    </a:lnTo>
                    <a:lnTo>
                      <a:pt x="81" y="229"/>
                    </a:lnTo>
                    <a:lnTo>
                      <a:pt x="81" y="218"/>
                    </a:lnTo>
                    <a:lnTo>
                      <a:pt x="83" y="212"/>
                    </a:lnTo>
                    <a:lnTo>
                      <a:pt x="81" y="201"/>
                    </a:lnTo>
                    <a:lnTo>
                      <a:pt x="85" y="196"/>
                    </a:lnTo>
                    <a:lnTo>
                      <a:pt x="81" y="183"/>
                    </a:lnTo>
                    <a:lnTo>
                      <a:pt x="73" y="176"/>
                    </a:lnTo>
                    <a:lnTo>
                      <a:pt x="70" y="167"/>
                    </a:lnTo>
                    <a:lnTo>
                      <a:pt x="66" y="163"/>
                    </a:lnTo>
                    <a:lnTo>
                      <a:pt x="63" y="152"/>
                    </a:lnTo>
                    <a:lnTo>
                      <a:pt x="56" y="130"/>
                    </a:lnTo>
                    <a:lnTo>
                      <a:pt x="56" y="126"/>
                    </a:lnTo>
                    <a:lnTo>
                      <a:pt x="59" y="121"/>
                    </a:lnTo>
                    <a:lnTo>
                      <a:pt x="66" y="116"/>
                    </a:lnTo>
                    <a:lnTo>
                      <a:pt x="66" y="104"/>
                    </a:lnTo>
                    <a:lnTo>
                      <a:pt x="63" y="95"/>
                    </a:lnTo>
                    <a:lnTo>
                      <a:pt x="59" y="89"/>
                    </a:lnTo>
                    <a:lnTo>
                      <a:pt x="51" y="62"/>
                    </a:lnTo>
                    <a:lnTo>
                      <a:pt x="49" y="54"/>
                    </a:lnTo>
                    <a:lnTo>
                      <a:pt x="46" y="48"/>
                    </a:lnTo>
                    <a:lnTo>
                      <a:pt x="37" y="36"/>
                    </a:lnTo>
                    <a:lnTo>
                      <a:pt x="33" y="30"/>
                    </a:lnTo>
                    <a:lnTo>
                      <a:pt x="29" y="23"/>
                    </a:lnTo>
                    <a:lnTo>
                      <a:pt x="27" y="20"/>
                    </a:lnTo>
                    <a:lnTo>
                      <a:pt x="28" y="17"/>
                    </a:lnTo>
                    <a:lnTo>
                      <a:pt x="28" y="15"/>
                    </a:lnTo>
                    <a:lnTo>
                      <a:pt x="33" y="13"/>
                    </a:lnTo>
                    <a:lnTo>
                      <a:pt x="45" y="10"/>
                    </a:lnTo>
                    <a:lnTo>
                      <a:pt x="54" y="5"/>
                    </a:lnTo>
                    <a:lnTo>
                      <a:pt x="65" y="2"/>
                    </a:lnTo>
                    <a:lnTo>
                      <a:pt x="70" y="2"/>
                    </a:lnTo>
                    <a:lnTo>
                      <a:pt x="76" y="0"/>
                    </a:lnTo>
                    <a:lnTo>
                      <a:pt x="92" y="2"/>
                    </a:lnTo>
                    <a:lnTo>
                      <a:pt x="108" y="0"/>
                    </a:lnTo>
                    <a:lnTo>
                      <a:pt x="113" y="2"/>
                    </a:lnTo>
                    <a:lnTo>
                      <a:pt x="126" y="2"/>
                    </a:lnTo>
                    <a:lnTo>
                      <a:pt x="135" y="0"/>
                    </a:lnTo>
                    <a:lnTo>
                      <a:pt x="145" y="0"/>
                    </a:lnTo>
                    <a:lnTo>
                      <a:pt x="167" y="0"/>
                    </a:lnTo>
                    <a:lnTo>
                      <a:pt x="179" y="0"/>
                    </a:lnTo>
                    <a:lnTo>
                      <a:pt x="182" y="0"/>
                    </a:lnTo>
                    <a:lnTo>
                      <a:pt x="185" y="7"/>
                    </a:lnTo>
                    <a:lnTo>
                      <a:pt x="187" y="7"/>
                    </a:lnTo>
                    <a:lnTo>
                      <a:pt x="190" y="5"/>
                    </a:lnTo>
                    <a:lnTo>
                      <a:pt x="194" y="12"/>
                    </a:lnTo>
                    <a:lnTo>
                      <a:pt x="197" y="25"/>
                    </a:lnTo>
                    <a:lnTo>
                      <a:pt x="197" y="33"/>
                    </a:lnTo>
                    <a:lnTo>
                      <a:pt x="200" y="37"/>
                    </a:lnTo>
                    <a:lnTo>
                      <a:pt x="204" y="46"/>
                    </a:lnTo>
                    <a:lnTo>
                      <a:pt x="207" y="58"/>
                    </a:lnTo>
                    <a:lnTo>
                      <a:pt x="215" y="66"/>
                    </a:lnTo>
                    <a:lnTo>
                      <a:pt x="230" y="85"/>
                    </a:lnTo>
                    <a:lnTo>
                      <a:pt x="238" y="89"/>
                    </a:lnTo>
                    <a:lnTo>
                      <a:pt x="248" y="89"/>
                    </a:lnTo>
                    <a:lnTo>
                      <a:pt x="263" y="85"/>
                    </a:lnTo>
                    <a:lnTo>
                      <a:pt x="272" y="82"/>
                    </a:lnTo>
                    <a:lnTo>
                      <a:pt x="285" y="84"/>
                    </a:lnTo>
                    <a:lnTo>
                      <a:pt x="298" y="84"/>
                    </a:lnTo>
                    <a:lnTo>
                      <a:pt x="301" y="74"/>
                    </a:lnTo>
                    <a:lnTo>
                      <a:pt x="301" y="68"/>
                    </a:lnTo>
                    <a:lnTo>
                      <a:pt x="303" y="65"/>
                    </a:lnTo>
                    <a:lnTo>
                      <a:pt x="304" y="63"/>
                    </a:lnTo>
                    <a:lnTo>
                      <a:pt x="305" y="59"/>
                    </a:lnTo>
                    <a:lnTo>
                      <a:pt x="305" y="51"/>
                    </a:lnTo>
                    <a:lnTo>
                      <a:pt x="307" y="44"/>
                    </a:lnTo>
                    <a:lnTo>
                      <a:pt x="338" y="44"/>
                    </a:lnTo>
                    <a:lnTo>
                      <a:pt x="338" y="41"/>
                    </a:lnTo>
                    <a:lnTo>
                      <a:pt x="355" y="41"/>
                    </a:lnTo>
                    <a:lnTo>
                      <a:pt x="354" y="56"/>
                    </a:lnTo>
                    <a:lnTo>
                      <a:pt x="389" y="58"/>
                    </a:lnTo>
                    <a:lnTo>
                      <a:pt x="390" y="59"/>
                    </a:lnTo>
                    <a:lnTo>
                      <a:pt x="392" y="65"/>
                    </a:lnTo>
                    <a:lnTo>
                      <a:pt x="394" y="89"/>
                    </a:lnTo>
                    <a:lnTo>
                      <a:pt x="396" y="97"/>
                    </a:lnTo>
                    <a:lnTo>
                      <a:pt x="396" y="107"/>
                    </a:lnTo>
                    <a:lnTo>
                      <a:pt x="397" y="119"/>
                    </a:lnTo>
                    <a:lnTo>
                      <a:pt x="397" y="123"/>
                    </a:lnTo>
                    <a:lnTo>
                      <a:pt x="396" y="132"/>
                    </a:lnTo>
                    <a:lnTo>
                      <a:pt x="394" y="140"/>
                    </a:lnTo>
                    <a:lnTo>
                      <a:pt x="397" y="147"/>
                    </a:lnTo>
                    <a:lnTo>
                      <a:pt x="403" y="157"/>
                    </a:lnTo>
                    <a:lnTo>
                      <a:pt x="407" y="171"/>
                    </a:lnTo>
                    <a:lnTo>
                      <a:pt x="412" y="183"/>
                    </a:lnTo>
                    <a:lnTo>
                      <a:pt x="410" y="188"/>
                    </a:lnTo>
                    <a:lnTo>
                      <a:pt x="408" y="192"/>
                    </a:lnTo>
                    <a:lnTo>
                      <a:pt x="400" y="200"/>
                    </a:lnTo>
                    <a:lnTo>
                      <a:pt x="400" y="202"/>
                    </a:lnTo>
                    <a:lnTo>
                      <a:pt x="402" y="203"/>
                    </a:lnTo>
                    <a:lnTo>
                      <a:pt x="402" y="205"/>
                    </a:lnTo>
                    <a:lnTo>
                      <a:pt x="405" y="205"/>
                    </a:lnTo>
                    <a:lnTo>
                      <a:pt x="408" y="210"/>
                    </a:lnTo>
                    <a:lnTo>
                      <a:pt x="413" y="211"/>
                    </a:lnTo>
                    <a:lnTo>
                      <a:pt x="415" y="210"/>
                    </a:lnTo>
                    <a:lnTo>
                      <a:pt x="417" y="207"/>
                    </a:lnTo>
                    <a:lnTo>
                      <a:pt x="419" y="201"/>
                    </a:lnTo>
                    <a:lnTo>
                      <a:pt x="422" y="200"/>
                    </a:lnTo>
                    <a:lnTo>
                      <a:pt x="457" y="200"/>
                    </a:lnTo>
                    <a:lnTo>
                      <a:pt x="465" y="196"/>
                    </a:lnTo>
                    <a:lnTo>
                      <a:pt x="472" y="198"/>
                    </a:lnTo>
                    <a:lnTo>
                      <a:pt x="473" y="198"/>
                    </a:lnTo>
                    <a:lnTo>
                      <a:pt x="479" y="194"/>
                    </a:lnTo>
                    <a:lnTo>
                      <a:pt x="480" y="194"/>
                    </a:lnTo>
                    <a:lnTo>
                      <a:pt x="483" y="195"/>
                    </a:lnTo>
                    <a:lnTo>
                      <a:pt x="483" y="199"/>
                    </a:lnTo>
                    <a:lnTo>
                      <a:pt x="482" y="199"/>
                    </a:lnTo>
                    <a:lnTo>
                      <a:pt x="482" y="201"/>
                    </a:lnTo>
                    <a:lnTo>
                      <a:pt x="483" y="208"/>
                    </a:lnTo>
                    <a:lnTo>
                      <a:pt x="483" y="211"/>
                    </a:lnTo>
                    <a:lnTo>
                      <a:pt x="482" y="215"/>
                    </a:lnTo>
                    <a:lnTo>
                      <a:pt x="480" y="224"/>
                    </a:lnTo>
                    <a:lnTo>
                      <a:pt x="478" y="233"/>
                    </a:lnTo>
                    <a:lnTo>
                      <a:pt x="479" y="243"/>
                    </a:lnTo>
                    <a:lnTo>
                      <a:pt x="479" y="252"/>
                    </a:lnTo>
                    <a:lnTo>
                      <a:pt x="477" y="258"/>
                    </a:lnTo>
                    <a:lnTo>
                      <a:pt x="477" y="268"/>
                    </a:lnTo>
                    <a:lnTo>
                      <a:pt x="478" y="272"/>
                    </a:lnTo>
                    <a:lnTo>
                      <a:pt x="480" y="273"/>
                    </a:lnTo>
                    <a:lnTo>
                      <a:pt x="488" y="277"/>
                    </a:lnTo>
                    <a:lnTo>
                      <a:pt x="445" y="277"/>
                    </a:lnTo>
                    <a:lnTo>
                      <a:pt x="403" y="277"/>
                    </a:lnTo>
                    <a:lnTo>
                      <a:pt x="403" y="313"/>
                    </a:lnTo>
                    <a:lnTo>
                      <a:pt x="403" y="351"/>
                    </a:lnTo>
                    <a:lnTo>
                      <a:pt x="403" y="388"/>
                    </a:lnTo>
                    <a:lnTo>
                      <a:pt x="403" y="413"/>
                    </a:lnTo>
                    <a:lnTo>
                      <a:pt x="403" y="414"/>
                    </a:lnTo>
                    <a:lnTo>
                      <a:pt x="408" y="418"/>
                    </a:lnTo>
                    <a:lnTo>
                      <a:pt x="410" y="424"/>
                    </a:lnTo>
                    <a:lnTo>
                      <a:pt x="420" y="429"/>
                    </a:lnTo>
                    <a:lnTo>
                      <a:pt x="424" y="434"/>
                    </a:lnTo>
                    <a:lnTo>
                      <a:pt x="431" y="439"/>
                    </a:lnTo>
                    <a:lnTo>
                      <a:pt x="434" y="443"/>
                    </a:lnTo>
                    <a:lnTo>
                      <a:pt x="440" y="446"/>
                    </a:lnTo>
                    <a:lnTo>
                      <a:pt x="442" y="450"/>
                    </a:lnTo>
                    <a:lnTo>
                      <a:pt x="448" y="453"/>
                    </a:lnTo>
                    <a:lnTo>
                      <a:pt x="447" y="455"/>
                    </a:lnTo>
                    <a:lnTo>
                      <a:pt x="439" y="456"/>
                    </a:lnTo>
                    <a:lnTo>
                      <a:pt x="387" y="470"/>
                    </a:lnTo>
                    <a:lnTo>
                      <a:pt x="381" y="470"/>
                    </a:lnTo>
                    <a:lnTo>
                      <a:pt x="377" y="468"/>
                    </a:lnTo>
                    <a:lnTo>
                      <a:pt x="369" y="468"/>
                    </a:lnTo>
                    <a:lnTo>
                      <a:pt x="360" y="465"/>
                    </a:lnTo>
                    <a:lnTo>
                      <a:pt x="349" y="465"/>
                    </a:lnTo>
                    <a:lnTo>
                      <a:pt x="326" y="460"/>
                    </a:lnTo>
                    <a:lnTo>
                      <a:pt x="306" y="460"/>
                    </a:lnTo>
                    <a:lnTo>
                      <a:pt x="293" y="461"/>
                    </a:lnTo>
                    <a:lnTo>
                      <a:pt x="286" y="461"/>
                    </a:lnTo>
                    <a:lnTo>
                      <a:pt x="274" y="456"/>
                    </a:lnTo>
                    <a:lnTo>
                      <a:pt x="269" y="451"/>
                    </a:lnTo>
                    <a:lnTo>
                      <a:pt x="259" y="443"/>
                    </a:lnTo>
                    <a:lnTo>
                      <a:pt x="245" y="443"/>
                    </a:lnTo>
                    <a:lnTo>
                      <a:pt x="212" y="443"/>
                    </a:lnTo>
                    <a:lnTo>
                      <a:pt x="178" y="443"/>
                    </a:lnTo>
                    <a:lnTo>
                      <a:pt x="141" y="443"/>
                    </a:lnTo>
                    <a:lnTo>
                      <a:pt x="106" y="443"/>
                    </a:lnTo>
                    <a:lnTo>
                      <a:pt x="93" y="443"/>
                    </a:lnTo>
                    <a:lnTo>
                      <a:pt x="87" y="444"/>
                    </a:lnTo>
                    <a:lnTo>
                      <a:pt x="78" y="436"/>
                    </a:lnTo>
                    <a:lnTo>
                      <a:pt x="70" y="433"/>
                    </a:lnTo>
                    <a:lnTo>
                      <a:pt x="66" y="427"/>
                    </a:lnTo>
                    <a:lnTo>
                      <a:pt x="59" y="425"/>
                    </a:lnTo>
                    <a:lnTo>
                      <a:pt x="43" y="425"/>
                    </a:lnTo>
                    <a:lnTo>
                      <a:pt x="36" y="428"/>
                    </a:lnTo>
                    <a:lnTo>
                      <a:pt x="28" y="434"/>
                    </a:lnTo>
                    <a:lnTo>
                      <a:pt x="25" y="437"/>
                    </a:lnTo>
                    <a:lnTo>
                      <a:pt x="18" y="433"/>
                    </a:lnTo>
                    <a:close/>
                  </a:path>
                </a:pathLst>
              </a:custGeom>
              <a:solidFill>
                <a:srgbClr val="DA979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1" name="Freeform 127"/>
              <p:cNvSpPr>
                <a:spLocks/>
              </p:cNvSpPr>
              <p:nvPr/>
            </p:nvSpPr>
            <p:spPr bwMode="auto">
              <a:xfrm>
                <a:off x="1758" y="2758"/>
                <a:ext cx="522" cy="494"/>
              </a:xfrm>
              <a:custGeom>
                <a:avLst/>
                <a:gdLst>
                  <a:gd name="T0" fmla="*/ 1 w 488"/>
                  <a:gd name="T1" fmla="*/ 11755 h 470"/>
                  <a:gd name="T2" fmla="*/ 3 w 488"/>
                  <a:gd name="T3" fmla="*/ 11003 h 470"/>
                  <a:gd name="T4" fmla="*/ 1147 w 488"/>
                  <a:gd name="T5" fmla="*/ 9848 h 470"/>
                  <a:gd name="T6" fmla="*/ 1966 w 488"/>
                  <a:gd name="T7" fmla="*/ 8983 h 470"/>
                  <a:gd name="T8" fmla="*/ 2575 w 488"/>
                  <a:gd name="T9" fmla="*/ 8179 h 470"/>
                  <a:gd name="T10" fmla="*/ 3710 w 488"/>
                  <a:gd name="T11" fmla="*/ 7656 h 470"/>
                  <a:gd name="T12" fmla="*/ 6204 w 488"/>
                  <a:gd name="T13" fmla="*/ 6787 h 470"/>
                  <a:gd name="T14" fmla="*/ 6897 w 488"/>
                  <a:gd name="T15" fmla="*/ 5845 h 470"/>
                  <a:gd name="T16" fmla="*/ 6897 w 488"/>
                  <a:gd name="T17" fmla="*/ 4904 h 470"/>
                  <a:gd name="T18" fmla="*/ 5401 w 488"/>
                  <a:gd name="T19" fmla="*/ 4064 h 470"/>
                  <a:gd name="T20" fmla="*/ 5635 w 488"/>
                  <a:gd name="T21" fmla="*/ 3128 h 470"/>
                  <a:gd name="T22" fmla="*/ 4413 w 488"/>
                  <a:gd name="T23" fmla="*/ 1639 h 470"/>
                  <a:gd name="T24" fmla="*/ 2764 w 488"/>
                  <a:gd name="T25" fmla="*/ 816 h 470"/>
                  <a:gd name="T26" fmla="*/ 2407 w 488"/>
                  <a:gd name="T27" fmla="*/ 386 h 470"/>
                  <a:gd name="T28" fmla="*/ 5556 w 488"/>
                  <a:gd name="T29" fmla="*/ 2 h 470"/>
                  <a:gd name="T30" fmla="*/ 9258 w 488"/>
                  <a:gd name="T31" fmla="*/ 0 h 470"/>
                  <a:gd name="T32" fmla="*/ 12347 w 488"/>
                  <a:gd name="T33" fmla="*/ 0 h 470"/>
                  <a:gd name="T34" fmla="*/ 15780 w 488"/>
                  <a:gd name="T35" fmla="*/ 7 h 470"/>
                  <a:gd name="T36" fmla="*/ 16836 w 488"/>
                  <a:gd name="T37" fmla="*/ 636 h 470"/>
                  <a:gd name="T38" fmla="*/ 17546 w 488"/>
                  <a:gd name="T39" fmla="*/ 1557 h 470"/>
                  <a:gd name="T40" fmla="*/ 21162 w 488"/>
                  <a:gd name="T41" fmla="*/ 2391 h 470"/>
                  <a:gd name="T42" fmla="*/ 25422 w 488"/>
                  <a:gd name="T43" fmla="*/ 2220 h 470"/>
                  <a:gd name="T44" fmla="*/ 25965 w 488"/>
                  <a:gd name="T45" fmla="*/ 1687 h 470"/>
                  <a:gd name="T46" fmla="*/ 28831 w 488"/>
                  <a:gd name="T47" fmla="*/ 1156 h 470"/>
                  <a:gd name="T48" fmla="*/ 33103 w 488"/>
                  <a:gd name="T49" fmla="*/ 1557 h 470"/>
                  <a:gd name="T50" fmla="*/ 33786 w 488"/>
                  <a:gd name="T51" fmla="*/ 2577 h 470"/>
                  <a:gd name="T52" fmla="*/ 33786 w 488"/>
                  <a:gd name="T53" fmla="*/ 3552 h 470"/>
                  <a:gd name="T54" fmla="*/ 34556 w 488"/>
                  <a:gd name="T55" fmla="*/ 4569 h 470"/>
                  <a:gd name="T56" fmla="*/ 34210 w 488"/>
                  <a:gd name="T57" fmla="*/ 5372 h 470"/>
                  <a:gd name="T58" fmla="*/ 34409 w 488"/>
                  <a:gd name="T59" fmla="*/ 5479 h 470"/>
                  <a:gd name="T60" fmla="*/ 35602 w 488"/>
                  <a:gd name="T61" fmla="*/ 5561 h 470"/>
                  <a:gd name="T62" fmla="*/ 39539 w 488"/>
                  <a:gd name="T63" fmla="*/ 5283 h 470"/>
                  <a:gd name="T64" fmla="*/ 40895 w 488"/>
                  <a:gd name="T65" fmla="*/ 5175 h 470"/>
                  <a:gd name="T66" fmla="*/ 41122 w 488"/>
                  <a:gd name="T67" fmla="*/ 5409 h 470"/>
                  <a:gd name="T68" fmla="*/ 40895 w 488"/>
                  <a:gd name="T69" fmla="*/ 5996 h 470"/>
                  <a:gd name="T70" fmla="*/ 40735 w 488"/>
                  <a:gd name="T71" fmla="*/ 6938 h 470"/>
                  <a:gd name="T72" fmla="*/ 41604 w 488"/>
                  <a:gd name="T73" fmla="*/ 7391 h 470"/>
                  <a:gd name="T74" fmla="*/ 34288 w 488"/>
                  <a:gd name="T75" fmla="*/ 9409 h 470"/>
                  <a:gd name="T76" fmla="*/ 34729 w 488"/>
                  <a:gd name="T77" fmla="*/ 11184 h 470"/>
                  <a:gd name="T78" fmla="*/ 36677 w 488"/>
                  <a:gd name="T79" fmla="*/ 11755 h 470"/>
                  <a:gd name="T80" fmla="*/ 38165 w 488"/>
                  <a:gd name="T81" fmla="*/ 12112 h 470"/>
                  <a:gd name="T82" fmla="*/ 32467 w 488"/>
                  <a:gd name="T83" fmla="*/ 12597 h 470"/>
                  <a:gd name="T84" fmla="*/ 29730 w 488"/>
                  <a:gd name="T85" fmla="*/ 12444 h 470"/>
                  <a:gd name="T86" fmla="*/ 24429 w 488"/>
                  <a:gd name="T87" fmla="*/ 12355 h 470"/>
                  <a:gd name="T88" fmla="*/ 20853 w 488"/>
                  <a:gd name="T89" fmla="*/ 11859 h 470"/>
                  <a:gd name="T90" fmla="*/ 9030 w 488"/>
                  <a:gd name="T91" fmla="*/ 11859 h 470"/>
                  <a:gd name="T92" fmla="*/ 5943 w 488"/>
                  <a:gd name="T93" fmla="*/ 11571 h 470"/>
                  <a:gd name="T94" fmla="*/ 3151 w 488"/>
                  <a:gd name="T95" fmla="*/ 11458 h 4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88"/>
                  <a:gd name="T145" fmla="*/ 0 h 470"/>
                  <a:gd name="T146" fmla="*/ 488 w 488"/>
                  <a:gd name="T147" fmla="*/ 470 h 4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88" h="470">
                    <a:moveTo>
                      <a:pt x="18" y="433"/>
                    </a:moveTo>
                    <a:lnTo>
                      <a:pt x="10" y="439"/>
                    </a:lnTo>
                    <a:lnTo>
                      <a:pt x="1" y="443"/>
                    </a:lnTo>
                    <a:lnTo>
                      <a:pt x="1" y="439"/>
                    </a:lnTo>
                    <a:lnTo>
                      <a:pt x="0" y="424"/>
                    </a:lnTo>
                    <a:lnTo>
                      <a:pt x="0" y="417"/>
                    </a:lnTo>
                    <a:lnTo>
                      <a:pt x="3" y="418"/>
                    </a:lnTo>
                    <a:lnTo>
                      <a:pt x="3" y="411"/>
                    </a:lnTo>
                    <a:lnTo>
                      <a:pt x="3" y="398"/>
                    </a:lnTo>
                    <a:lnTo>
                      <a:pt x="4" y="389"/>
                    </a:lnTo>
                    <a:lnTo>
                      <a:pt x="10" y="383"/>
                    </a:lnTo>
                    <a:lnTo>
                      <a:pt x="14" y="367"/>
                    </a:lnTo>
                    <a:lnTo>
                      <a:pt x="17" y="361"/>
                    </a:lnTo>
                    <a:lnTo>
                      <a:pt x="18" y="351"/>
                    </a:lnTo>
                    <a:lnTo>
                      <a:pt x="20" y="345"/>
                    </a:lnTo>
                    <a:lnTo>
                      <a:pt x="22" y="336"/>
                    </a:lnTo>
                    <a:lnTo>
                      <a:pt x="23" y="332"/>
                    </a:lnTo>
                    <a:lnTo>
                      <a:pt x="25" y="325"/>
                    </a:lnTo>
                    <a:lnTo>
                      <a:pt x="30" y="311"/>
                    </a:lnTo>
                    <a:lnTo>
                      <a:pt x="30" y="307"/>
                    </a:lnTo>
                    <a:lnTo>
                      <a:pt x="33" y="304"/>
                    </a:lnTo>
                    <a:lnTo>
                      <a:pt x="33" y="299"/>
                    </a:lnTo>
                    <a:lnTo>
                      <a:pt x="37" y="288"/>
                    </a:lnTo>
                    <a:lnTo>
                      <a:pt x="44" y="284"/>
                    </a:lnTo>
                    <a:lnTo>
                      <a:pt x="48" y="280"/>
                    </a:lnTo>
                    <a:lnTo>
                      <a:pt x="49" y="270"/>
                    </a:lnTo>
                    <a:lnTo>
                      <a:pt x="63" y="263"/>
                    </a:lnTo>
                    <a:lnTo>
                      <a:pt x="73" y="253"/>
                    </a:lnTo>
                    <a:lnTo>
                      <a:pt x="76" y="247"/>
                    </a:lnTo>
                    <a:lnTo>
                      <a:pt x="78" y="241"/>
                    </a:lnTo>
                    <a:lnTo>
                      <a:pt x="81" y="229"/>
                    </a:lnTo>
                    <a:lnTo>
                      <a:pt x="81" y="218"/>
                    </a:lnTo>
                    <a:lnTo>
                      <a:pt x="83" y="212"/>
                    </a:lnTo>
                    <a:lnTo>
                      <a:pt x="81" y="201"/>
                    </a:lnTo>
                    <a:lnTo>
                      <a:pt x="85" y="196"/>
                    </a:lnTo>
                    <a:lnTo>
                      <a:pt x="81" y="183"/>
                    </a:lnTo>
                    <a:lnTo>
                      <a:pt x="73" y="176"/>
                    </a:lnTo>
                    <a:lnTo>
                      <a:pt x="70" y="167"/>
                    </a:lnTo>
                    <a:lnTo>
                      <a:pt x="66" y="163"/>
                    </a:lnTo>
                    <a:lnTo>
                      <a:pt x="63" y="152"/>
                    </a:lnTo>
                    <a:lnTo>
                      <a:pt x="56" y="130"/>
                    </a:lnTo>
                    <a:lnTo>
                      <a:pt x="56" y="126"/>
                    </a:lnTo>
                    <a:lnTo>
                      <a:pt x="59" y="121"/>
                    </a:lnTo>
                    <a:lnTo>
                      <a:pt x="66" y="116"/>
                    </a:lnTo>
                    <a:lnTo>
                      <a:pt x="66" y="104"/>
                    </a:lnTo>
                    <a:lnTo>
                      <a:pt x="63" y="95"/>
                    </a:lnTo>
                    <a:lnTo>
                      <a:pt x="59" y="89"/>
                    </a:lnTo>
                    <a:lnTo>
                      <a:pt x="51" y="62"/>
                    </a:lnTo>
                    <a:lnTo>
                      <a:pt x="49" y="54"/>
                    </a:lnTo>
                    <a:lnTo>
                      <a:pt x="46" y="48"/>
                    </a:lnTo>
                    <a:lnTo>
                      <a:pt x="37" y="36"/>
                    </a:lnTo>
                    <a:lnTo>
                      <a:pt x="33" y="30"/>
                    </a:lnTo>
                    <a:lnTo>
                      <a:pt x="29" y="23"/>
                    </a:lnTo>
                    <a:lnTo>
                      <a:pt x="27" y="20"/>
                    </a:lnTo>
                    <a:lnTo>
                      <a:pt x="28" y="17"/>
                    </a:lnTo>
                    <a:lnTo>
                      <a:pt x="28" y="15"/>
                    </a:lnTo>
                    <a:lnTo>
                      <a:pt x="33" y="13"/>
                    </a:lnTo>
                    <a:lnTo>
                      <a:pt x="45" y="10"/>
                    </a:lnTo>
                    <a:lnTo>
                      <a:pt x="54" y="5"/>
                    </a:lnTo>
                    <a:lnTo>
                      <a:pt x="65" y="2"/>
                    </a:lnTo>
                    <a:lnTo>
                      <a:pt x="70" y="2"/>
                    </a:lnTo>
                    <a:lnTo>
                      <a:pt x="76" y="0"/>
                    </a:lnTo>
                    <a:lnTo>
                      <a:pt x="92" y="2"/>
                    </a:lnTo>
                    <a:lnTo>
                      <a:pt x="108" y="0"/>
                    </a:lnTo>
                    <a:lnTo>
                      <a:pt x="113" y="2"/>
                    </a:lnTo>
                    <a:lnTo>
                      <a:pt x="126" y="2"/>
                    </a:lnTo>
                    <a:lnTo>
                      <a:pt x="135" y="0"/>
                    </a:lnTo>
                    <a:lnTo>
                      <a:pt x="145" y="0"/>
                    </a:lnTo>
                    <a:lnTo>
                      <a:pt x="167" y="0"/>
                    </a:lnTo>
                    <a:lnTo>
                      <a:pt x="179" y="0"/>
                    </a:lnTo>
                    <a:lnTo>
                      <a:pt x="182" y="0"/>
                    </a:lnTo>
                    <a:lnTo>
                      <a:pt x="185" y="7"/>
                    </a:lnTo>
                    <a:lnTo>
                      <a:pt x="187" y="7"/>
                    </a:lnTo>
                    <a:lnTo>
                      <a:pt x="190" y="5"/>
                    </a:lnTo>
                    <a:lnTo>
                      <a:pt x="194" y="12"/>
                    </a:lnTo>
                    <a:lnTo>
                      <a:pt x="197" y="25"/>
                    </a:lnTo>
                    <a:lnTo>
                      <a:pt x="197" y="33"/>
                    </a:lnTo>
                    <a:lnTo>
                      <a:pt x="200" y="37"/>
                    </a:lnTo>
                    <a:lnTo>
                      <a:pt x="204" y="46"/>
                    </a:lnTo>
                    <a:lnTo>
                      <a:pt x="207" y="58"/>
                    </a:lnTo>
                    <a:lnTo>
                      <a:pt x="215" y="66"/>
                    </a:lnTo>
                    <a:lnTo>
                      <a:pt x="230" y="85"/>
                    </a:lnTo>
                    <a:lnTo>
                      <a:pt x="238" y="89"/>
                    </a:lnTo>
                    <a:lnTo>
                      <a:pt x="248" y="89"/>
                    </a:lnTo>
                    <a:lnTo>
                      <a:pt x="263" y="85"/>
                    </a:lnTo>
                    <a:lnTo>
                      <a:pt x="272" y="82"/>
                    </a:lnTo>
                    <a:lnTo>
                      <a:pt x="285" y="84"/>
                    </a:lnTo>
                    <a:lnTo>
                      <a:pt x="298" y="84"/>
                    </a:lnTo>
                    <a:lnTo>
                      <a:pt x="301" y="74"/>
                    </a:lnTo>
                    <a:lnTo>
                      <a:pt x="301" y="68"/>
                    </a:lnTo>
                    <a:lnTo>
                      <a:pt x="303" y="65"/>
                    </a:lnTo>
                    <a:lnTo>
                      <a:pt x="304" y="63"/>
                    </a:lnTo>
                    <a:lnTo>
                      <a:pt x="305" y="59"/>
                    </a:lnTo>
                    <a:lnTo>
                      <a:pt x="305" y="51"/>
                    </a:lnTo>
                    <a:lnTo>
                      <a:pt x="307" y="44"/>
                    </a:lnTo>
                    <a:lnTo>
                      <a:pt x="338" y="44"/>
                    </a:lnTo>
                    <a:lnTo>
                      <a:pt x="338" y="41"/>
                    </a:lnTo>
                    <a:lnTo>
                      <a:pt x="355" y="41"/>
                    </a:lnTo>
                    <a:lnTo>
                      <a:pt x="354" y="56"/>
                    </a:lnTo>
                    <a:lnTo>
                      <a:pt x="389" y="58"/>
                    </a:lnTo>
                    <a:lnTo>
                      <a:pt x="390" y="59"/>
                    </a:lnTo>
                    <a:lnTo>
                      <a:pt x="392" y="65"/>
                    </a:lnTo>
                    <a:lnTo>
                      <a:pt x="394" y="89"/>
                    </a:lnTo>
                    <a:lnTo>
                      <a:pt x="396" y="97"/>
                    </a:lnTo>
                    <a:lnTo>
                      <a:pt x="396" y="107"/>
                    </a:lnTo>
                    <a:lnTo>
                      <a:pt x="397" y="119"/>
                    </a:lnTo>
                    <a:lnTo>
                      <a:pt x="397" y="123"/>
                    </a:lnTo>
                    <a:lnTo>
                      <a:pt x="396" y="132"/>
                    </a:lnTo>
                    <a:lnTo>
                      <a:pt x="394" y="140"/>
                    </a:lnTo>
                    <a:lnTo>
                      <a:pt x="397" y="147"/>
                    </a:lnTo>
                    <a:lnTo>
                      <a:pt x="403" y="157"/>
                    </a:lnTo>
                    <a:lnTo>
                      <a:pt x="407" y="171"/>
                    </a:lnTo>
                    <a:lnTo>
                      <a:pt x="412" y="183"/>
                    </a:lnTo>
                    <a:lnTo>
                      <a:pt x="410" y="188"/>
                    </a:lnTo>
                    <a:lnTo>
                      <a:pt x="408" y="192"/>
                    </a:lnTo>
                    <a:lnTo>
                      <a:pt x="400" y="200"/>
                    </a:lnTo>
                    <a:lnTo>
                      <a:pt x="400" y="202"/>
                    </a:lnTo>
                    <a:lnTo>
                      <a:pt x="402" y="203"/>
                    </a:lnTo>
                    <a:lnTo>
                      <a:pt x="402" y="205"/>
                    </a:lnTo>
                    <a:lnTo>
                      <a:pt x="405" y="205"/>
                    </a:lnTo>
                    <a:lnTo>
                      <a:pt x="408" y="210"/>
                    </a:lnTo>
                    <a:lnTo>
                      <a:pt x="413" y="211"/>
                    </a:lnTo>
                    <a:lnTo>
                      <a:pt x="415" y="210"/>
                    </a:lnTo>
                    <a:lnTo>
                      <a:pt x="417" y="207"/>
                    </a:lnTo>
                    <a:lnTo>
                      <a:pt x="419" y="201"/>
                    </a:lnTo>
                    <a:lnTo>
                      <a:pt x="422" y="200"/>
                    </a:lnTo>
                    <a:lnTo>
                      <a:pt x="457" y="200"/>
                    </a:lnTo>
                    <a:lnTo>
                      <a:pt x="465" y="196"/>
                    </a:lnTo>
                    <a:lnTo>
                      <a:pt x="472" y="198"/>
                    </a:lnTo>
                    <a:lnTo>
                      <a:pt x="473" y="198"/>
                    </a:lnTo>
                    <a:lnTo>
                      <a:pt x="479" y="194"/>
                    </a:lnTo>
                    <a:lnTo>
                      <a:pt x="480" y="194"/>
                    </a:lnTo>
                    <a:lnTo>
                      <a:pt x="483" y="195"/>
                    </a:lnTo>
                    <a:lnTo>
                      <a:pt x="483" y="199"/>
                    </a:lnTo>
                    <a:lnTo>
                      <a:pt x="482" y="199"/>
                    </a:lnTo>
                    <a:lnTo>
                      <a:pt x="482" y="201"/>
                    </a:lnTo>
                    <a:lnTo>
                      <a:pt x="483" y="208"/>
                    </a:lnTo>
                    <a:lnTo>
                      <a:pt x="483" y="211"/>
                    </a:lnTo>
                    <a:lnTo>
                      <a:pt x="482" y="215"/>
                    </a:lnTo>
                    <a:lnTo>
                      <a:pt x="480" y="224"/>
                    </a:lnTo>
                    <a:lnTo>
                      <a:pt x="478" y="233"/>
                    </a:lnTo>
                    <a:lnTo>
                      <a:pt x="479" y="243"/>
                    </a:lnTo>
                    <a:lnTo>
                      <a:pt x="479" y="252"/>
                    </a:lnTo>
                    <a:lnTo>
                      <a:pt x="477" y="258"/>
                    </a:lnTo>
                    <a:lnTo>
                      <a:pt x="477" y="268"/>
                    </a:lnTo>
                    <a:lnTo>
                      <a:pt x="478" y="272"/>
                    </a:lnTo>
                    <a:lnTo>
                      <a:pt x="480" y="273"/>
                    </a:lnTo>
                    <a:lnTo>
                      <a:pt x="488" y="277"/>
                    </a:lnTo>
                    <a:lnTo>
                      <a:pt x="445" y="277"/>
                    </a:lnTo>
                    <a:lnTo>
                      <a:pt x="403" y="277"/>
                    </a:lnTo>
                    <a:lnTo>
                      <a:pt x="403" y="313"/>
                    </a:lnTo>
                    <a:lnTo>
                      <a:pt x="403" y="351"/>
                    </a:lnTo>
                    <a:lnTo>
                      <a:pt x="403" y="388"/>
                    </a:lnTo>
                    <a:lnTo>
                      <a:pt x="403" y="413"/>
                    </a:lnTo>
                    <a:lnTo>
                      <a:pt x="403" y="414"/>
                    </a:lnTo>
                    <a:lnTo>
                      <a:pt x="408" y="418"/>
                    </a:lnTo>
                    <a:lnTo>
                      <a:pt x="410" y="424"/>
                    </a:lnTo>
                    <a:lnTo>
                      <a:pt x="420" y="429"/>
                    </a:lnTo>
                    <a:lnTo>
                      <a:pt x="424" y="434"/>
                    </a:lnTo>
                    <a:lnTo>
                      <a:pt x="431" y="439"/>
                    </a:lnTo>
                    <a:lnTo>
                      <a:pt x="434" y="443"/>
                    </a:lnTo>
                    <a:lnTo>
                      <a:pt x="440" y="446"/>
                    </a:lnTo>
                    <a:lnTo>
                      <a:pt x="442" y="450"/>
                    </a:lnTo>
                    <a:lnTo>
                      <a:pt x="448" y="453"/>
                    </a:lnTo>
                    <a:lnTo>
                      <a:pt x="447" y="455"/>
                    </a:lnTo>
                    <a:lnTo>
                      <a:pt x="439" y="456"/>
                    </a:lnTo>
                    <a:lnTo>
                      <a:pt x="387" y="470"/>
                    </a:lnTo>
                    <a:lnTo>
                      <a:pt x="381" y="470"/>
                    </a:lnTo>
                    <a:lnTo>
                      <a:pt x="377" y="468"/>
                    </a:lnTo>
                    <a:lnTo>
                      <a:pt x="369" y="468"/>
                    </a:lnTo>
                    <a:lnTo>
                      <a:pt x="360" y="465"/>
                    </a:lnTo>
                    <a:lnTo>
                      <a:pt x="349" y="465"/>
                    </a:lnTo>
                    <a:lnTo>
                      <a:pt x="326" y="460"/>
                    </a:lnTo>
                    <a:lnTo>
                      <a:pt x="306" y="460"/>
                    </a:lnTo>
                    <a:lnTo>
                      <a:pt x="293" y="461"/>
                    </a:lnTo>
                    <a:lnTo>
                      <a:pt x="286" y="461"/>
                    </a:lnTo>
                    <a:lnTo>
                      <a:pt x="274" y="456"/>
                    </a:lnTo>
                    <a:lnTo>
                      <a:pt x="269" y="451"/>
                    </a:lnTo>
                    <a:lnTo>
                      <a:pt x="259" y="443"/>
                    </a:lnTo>
                    <a:lnTo>
                      <a:pt x="245" y="443"/>
                    </a:lnTo>
                    <a:lnTo>
                      <a:pt x="212" y="443"/>
                    </a:lnTo>
                    <a:lnTo>
                      <a:pt x="178" y="443"/>
                    </a:lnTo>
                    <a:lnTo>
                      <a:pt x="141" y="443"/>
                    </a:lnTo>
                    <a:lnTo>
                      <a:pt x="106" y="443"/>
                    </a:lnTo>
                    <a:lnTo>
                      <a:pt x="93" y="443"/>
                    </a:lnTo>
                    <a:lnTo>
                      <a:pt x="87" y="444"/>
                    </a:lnTo>
                    <a:lnTo>
                      <a:pt x="78" y="436"/>
                    </a:lnTo>
                    <a:lnTo>
                      <a:pt x="70" y="433"/>
                    </a:lnTo>
                    <a:lnTo>
                      <a:pt x="66" y="427"/>
                    </a:lnTo>
                    <a:lnTo>
                      <a:pt x="59" y="425"/>
                    </a:lnTo>
                    <a:lnTo>
                      <a:pt x="43" y="425"/>
                    </a:lnTo>
                    <a:lnTo>
                      <a:pt x="36" y="428"/>
                    </a:lnTo>
                    <a:lnTo>
                      <a:pt x="28" y="434"/>
                    </a:lnTo>
                    <a:lnTo>
                      <a:pt x="25" y="437"/>
                    </a:lnTo>
                    <a:lnTo>
                      <a:pt x="18" y="433"/>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42" name="Freeform 128"/>
              <p:cNvSpPr>
                <a:spLocks/>
              </p:cNvSpPr>
              <p:nvPr/>
            </p:nvSpPr>
            <p:spPr bwMode="auto">
              <a:xfrm>
                <a:off x="2100" y="3243"/>
                <a:ext cx="391" cy="365"/>
              </a:xfrm>
              <a:custGeom>
                <a:avLst/>
                <a:gdLst>
                  <a:gd name="T0" fmla="*/ 33283 w 365"/>
                  <a:gd name="T1" fmla="*/ 3796 h 348"/>
                  <a:gd name="T2" fmla="*/ 34135 w 365"/>
                  <a:gd name="T3" fmla="*/ 3981 h 348"/>
                  <a:gd name="T4" fmla="*/ 32390 w 365"/>
                  <a:gd name="T5" fmla="*/ 4214 h 348"/>
                  <a:gd name="T6" fmla="*/ 28991 w 365"/>
                  <a:gd name="T7" fmla="*/ 4680 h 348"/>
                  <a:gd name="T8" fmla="*/ 26333 w 365"/>
                  <a:gd name="T9" fmla="*/ 5187 h 348"/>
                  <a:gd name="T10" fmla="*/ 24354 w 365"/>
                  <a:gd name="T11" fmla="*/ 5811 h 348"/>
                  <a:gd name="T12" fmla="*/ 21706 w 365"/>
                  <a:gd name="T13" fmla="*/ 6386 h 348"/>
                  <a:gd name="T14" fmla="*/ 20377 w 365"/>
                  <a:gd name="T15" fmla="*/ 6947 h 348"/>
                  <a:gd name="T16" fmla="*/ 19193 w 365"/>
                  <a:gd name="T17" fmla="*/ 7033 h 348"/>
                  <a:gd name="T18" fmla="*/ 16484 w 365"/>
                  <a:gd name="T19" fmla="*/ 7120 h 348"/>
                  <a:gd name="T20" fmla="*/ 14166 w 365"/>
                  <a:gd name="T21" fmla="*/ 6819 h 348"/>
                  <a:gd name="T22" fmla="*/ 12345 w 365"/>
                  <a:gd name="T23" fmla="*/ 6848 h 348"/>
                  <a:gd name="T24" fmla="*/ 10758 w 365"/>
                  <a:gd name="T25" fmla="*/ 7284 h 348"/>
                  <a:gd name="T26" fmla="*/ 9928 w 365"/>
                  <a:gd name="T27" fmla="*/ 7534 h 348"/>
                  <a:gd name="T28" fmla="*/ 8756 w 365"/>
                  <a:gd name="T29" fmla="*/ 7763 h 348"/>
                  <a:gd name="T30" fmla="*/ 5794 w 365"/>
                  <a:gd name="T31" fmla="*/ 8142 h 348"/>
                  <a:gd name="T32" fmla="*/ 3712 w 365"/>
                  <a:gd name="T33" fmla="*/ 8106 h 348"/>
                  <a:gd name="T34" fmla="*/ 2632 w 365"/>
                  <a:gd name="T35" fmla="*/ 7868 h 348"/>
                  <a:gd name="T36" fmla="*/ 3465 w 365"/>
                  <a:gd name="T37" fmla="*/ 7401 h 348"/>
                  <a:gd name="T38" fmla="*/ 3235 w 365"/>
                  <a:gd name="T39" fmla="*/ 7070 h 348"/>
                  <a:gd name="T40" fmla="*/ 2064 w 365"/>
                  <a:gd name="T41" fmla="*/ 6727 h 348"/>
                  <a:gd name="T42" fmla="*/ 788 w 365"/>
                  <a:gd name="T43" fmla="*/ 6414 h 348"/>
                  <a:gd name="T44" fmla="*/ 3 w 365"/>
                  <a:gd name="T45" fmla="*/ 6232 h 348"/>
                  <a:gd name="T46" fmla="*/ 0 w 365"/>
                  <a:gd name="T47" fmla="*/ 5473 h 348"/>
                  <a:gd name="T48" fmla="*/ 0 w 365"/>
                  <a:gd name="T49" fmla="*/ 3796 h 348"/>
                  <a:gd name="T50" fmla="*/ 3712 w 365"/>
                  <a:gd name="T51" fmla="*/ 3180 h 348"/>
                  <a:gd name="T52" fmla="*/ 3712 w 365"/>
                  <a:gd name="T53" fmla="*/ 1465 h 348"/>
                  <a:gd name="T54" fmla="*/ 3976 w 365"/>
                  <a:gd name="T55" fmla="*/ 522 h 348"/>
                  <a:gd name="T56" fmla="*/ 10347 w 365"/>
                  <a:gd name="T57" fmla="*/ 282 h 348"/>
                  <a:gd name="T58" fmla="*/ 11969 w 365"/>
                  <a:gd name="T59" fmla="*/ 296 h 348"/>
                  <a:gd name="T60" fmla="*/ 13042 w 365"/>
                  <a:gd name="T61" fmla="*/ 475 h 348"/>
                  <a:gd name="T62" fmla="*/ 13735 w 365"/>
                  <a:gd name="T63" fmla="*/ 603 h 348"/>
                  <a:gd name="T64" fmla="*/ 15388 w 365"/>
                  <a:gd name="T65" fmla="*/ 296 h 348"/>
                  <a:gd name="T66" fmla="*/ 17414 w 365"/>
                  <a:gd name="T67" fmla="*/ 4 h 348"/>
                  <a:gd name="T68" fmla="*/ 18667 w 365"/>
                  <a:gd name="T69" fmla="*/ 0 h 348"/>
                  <a:gd name="T70" fmla="*/ 19193 w 365"/>
                  <a:gd name="T71" fmla="*/ 7 h 348"/>
                  <a:gd name="T72" fmla="*/ 20263 w 365"/>
                  <a:gd name="T73" fmla="*/ 575 h 348"/>
                  <a:gd name="T74" fmla="*/ 21087 w 365"/>
                  <a:gd name="T75" fmla="*/ 921 h 348"/>
                  <a:gd name="T76" fmla="*/ 22233 w 365"/>
                  <a:gd name="T77" fmla="*/ 1420 h 348"/>
                  <a:gd name="T78" fmla="*/ 25275 w 365"/>
                  <a:gd name="T79" fmla="*/ 1982 h 348"/>
                  <a:gd name="T80" fmla="*/ 26834 w 365"/>
                  <a:gd name="T81" fmla="*/ 2362 h 348"/>
                  <a:gd name="T82" fmla="*/ 28518 w 365"/>
                  <a:gd name="T83" fmla="*/ 2517 h 348"/>
                  <a:gd name="T84" fmla="*/ 28745 w 365"/>
                  <a:gd name="T85" fmla="*/ 3180 h 348"/>
                  <a:gd name="T86" fmla="*/ 29593 w 365"/>
                  <a:gd name="T87" fmla="*/ 3488 h 348"/>
                  <a:gd name="T88" fmla="*/ 31057 w 365"/>
                  <a:gd name="T89" fmla="*/ 3628 h 348"/>
                  <a:gd name="T90" fmla="*/ 32819 w 365"/>
                  <a:gd name="T91" fmla="*/ 3715 h 34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5"/>
                  <a:gd name="T139" fmla="*/ 0 h 348"/>
                  <a:gd name="T140" fmla="*/ 365 w 365"/>
                  <a:gd name="T141" fmla="*/ 348 h 34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5" h="348">
                    <a:moveTo>
                      <a:pt x="350" y="160"/>
                    </a:moveTo>
                    <a:lnTo>
                      <a:pt x="356" y="162"/>
                    </a:lnTo>
                    <a:lnTo>
                      <a:pt x="365" y="168"/>
                    </a:lnTo>
                    <a:lnTo>
                      <a:pt x="363" y="170"/>
                    </a:lnTo>
                    <a:lnTo>
                      <a:pt x="355" y="173"/>
                    </a:lnTo>
                    <a:lnTo>
                      <a:pt x="346" y="180"/>
                    </a:lnTo>
                    <a:lnTo>
                      <a:pt x="319" y="191"/>
                    </a:lnTo>
                    <a:lnTo>
                      <a:pt x="308" y="202"/>
                    </a:lnTo>
                    <a:lnTo>
                      <a:pt x="294" y="210"/>
                    </a:lnTo>
                    <a:lnTo>
                      <a:pt x="281" y="223"/>
                    </a:lnTo>
                    <a:lnTo>
                      <a:pt x="272" y="232"/>
                    </a:lnTo>
                    <a:lnTo>
                      <a:pt x="260" y="249"/>
                    </a:lnTo>
                    <a:lnTo>
                      <a:pt x="241" y="262"/>
                    </a:lnTo>
                    <a:lnTo>
                      <a:pt x="231" y="273"/>
                    </a:lnTo>
                    <a:lnTo>
                      <a:pt x="221" y="295"/>
                    </a:lnTo>
                    <a:lnTo>
                      <a:pt x="217" y="299"/>
                    </a:lnTo>
                    <a:lnTo>
                      <a:pt x="211" y="301"/>
                    </a:lnTo>
                    <a:lnTo>
                      <a:pt x="204" y="301"/>
                    </a:lnTo>
                    <a:lnTo>
                      <a:pt x="186" y="306"/>
                    </a:lnTo>
                    <a:lnTo>
                      <a:pt x="176" y="305"/>
                    </a:lnTo>
                    <a:lnTo>
                      <a:pt x="159" y="296"/>
                    </a:lnTo>
                    <a:lnTo>
                      <a:pt x="151" y="293"/>
                    </a:lnTo>
                    <a:lnTo>
                      <a:pt x="142" y="292"/>
                    </a:lnTo>
                    <a:lnTo>
                      <a:pt x="132" y="295"/>
                    </a:lnTo>
                    <a:lnTo>
                      <a:pt x="120" y="306"/>
                    </a:lnTo>
                    <a:lnTo>
                      <a:pt x="115" y="313"/>
                    </a:lnTo>
                    <a:lnTo>
                      <a:pt x="113" y="317"/>
                    </a:lnTo>
                    <a:lnTo>
                      <a:pt x="106" y="324"/>
                    </a:lnTo>
                    <a:lnTo>
                      <a:pt x="98" y="329"/>
                    </a:lnTo>
                    <a:lnTo>
                      <a:pt x="94" y="332"/>
                    </a:lnTo>
                    <a:lnTo>
                      <a:pt x="88" y="343"/>
                    </a:lnTo>
                    <a:lnTo>
                      <a:pt x="63" y="348"/>
                    </a:lnTo>
                    <a:lnTo>
                      <a:pt x="50" y="348"/>
                    </a:lnTo>
                    <a:lnTo>
                      <a:pt x="40" y="346"/>
                    </a:lnTo>
                    <a:lnTo>
                      <a:pt x="33" y="344"/>
                    </a:lnTo>
                    <a:lnTo>
                      <a:pt x="29" y="339"/>
                    </a:lnTo>
                    <a:lnTo>
                      <a:pt x="35" y="326"/>
                    </a:lnTo>
                    <a:lnTo>
                      <a:pt x="37" y="317"/>
                    </a:lnTo>
                    <a:lnTo>
                      <a:pt x="37" y="314"/>
                    </a:lnTo>
                    <a:lnTo>
                      <a:pt x="35" y="303"/>
                    </a:lnTo>
                    <a:lnTo>
                      <a:pt x="30" y="295"/>
                    </a:lnTo>
                    <a:lnTo>
                      <a:pt x="22" y="288"/>
                    </a:lnTo>
                    <a:lnTo>
                      <a:pt x="18" y="282"/>
                    </a:lnTo>
                    <a:lnTo>
                      <a:pt x="8" y="275"/>
                    </a:lnTo>
                    <a:lnTo>
                      <a:pt x="8" y="273"/>
                    </a:lnTo>
                    <a:lnTo>
                      <a:pt x="3" y="269"/>
                    </a:lnTo>
                    <a:lnTo>
                      <a:pt x="0" y="269"/>
                    </a:lnTo>
                    <a:lnTo>
                      <a:pt x="0" y="235"/>
                    </a:lnTo>
                    <a:lnTo>
                      <a:pt x="0" y="197"/>
                    </a:lnTo>
                    <a:lnTo>
                      <a:pt x="0" y="162"/>
                    </a:lnTo>
                    <a:lnTo>
                      <a:pt x="40" y="162"/>
                    </a:lnTo>
                    <a:lnTo>
                      <a:pt x="40" y="137"/>
                    </a:lnTo>
                    <a:lnTo>
                      <a:pt x="40" y="99"/>
                    </a:lnTo>
                    <a:lnTo>
                      <a:pt x="40" y="63"/>
                    </a:lnTo>
                    <a:lnTo>
                      <a:pt x="40" y="27"/>
                    </a:lnTo>
                    <a:lnTo>
                      <a:pt x="43" y="24"/>
                    </a:lnTo>
                    <a:lnTo>
                      <a:pt x="99" y="14"/>
                    </a:lnTo>
                    <a:lnTo>
                      <a:pt x="110" y="11"/>
                    </a:lnTo>
                    <a:lnTo>
                      <a:pt x="115" y="11"/>
                    </a:lnTo>
                    <a:lnTo>
                      <a:pt x="128" y="12"/>
                    </a:lnTo>
                    <a:lnTo>
                      <a:pt x="135" y="15"/>
                    </a:lnTo>
                    <a:lnTo>
                      <a:pt x="139" y="22"/>
                    </a:lnTo>
                    <a:lnTo>
                      <a:pt x="142" y="33"/>
                    </a:lnTo>
                    <a:lnTo>
                      <a:pt x="147" y="27"/>
                    </a:lnTo>
                    <a:lnTo>
                      <a:pt x="152" y="20"/>
                    </a:lnTo>
                    <a:lnTo>
                      <a:pt x="164" y="12"/>
                    </a:lnTo>
                    <a:lnTo>
                      <a:pt x="183" y="8"/>
                    </a:lnTo>
                    <a:lnTo>
                      <a:pt x="186" y="4"/>
                    </a:lnTo>
                    <a:lnTo>
                      <a:pt x="191" y="0"/>
                    </a:lnTo>
                    <a:lnTo>
                      <a:pt x="200" y="0"/>
                    </a:lnTo>
                    <a:lnTo>
                      <a:pt x="204" y="1"/>
                    </a:lnTo>
                    <a:lnTo>
                      <a:pt x="204" y="7"/>
                    </a:lnTo>
                    <a:lnTo>
                      <a:pt x="206" y="11"/>
                    </a:lnTo>
                    <a:lnTo>
                      <a:pt x="216" y="26"/>
                    </a:lnTo>
                    <a:lnTo>
                      <a:pt x="222" y="32"/>
                    </a:lnTo>
                    <a:lnTo>
                      <a:pt x="224" y="40"/>
                    </a:lnTo>
                    <a:lnTo>
                      <a:pt x="228" y="50"/>
                    </a:lnTo>
                    <a:lnTo>
                      <a:pt x="238" y="62"/>
                    </a:lnTo>
                    <a:lnTo>
                      <a:pt x="259" y="82"/>
                    </a:lnTo>
                    <a:lnTo>
                      <a:pt x="270" y="86"/>
                    </a:lnTo>
                    <a:lnTo>
                      <a:pt x="280" y="91"/>
                    </a:lnTo>
                    <a:lnTo>
                      <a:pt x="286" y="101"/>
                    </a:lnTo>
                    <a:lnTo>
                      <a:pt x="296" y="104"/>
                    </a:lnTo>
                    <a:lnTo>
                      <a:pt x="303" y="109"/>
                    </a:lnTo>
                    <a:lnTo>
                      <a:pt x="303" y="124"/>
                    </a:lnTo>
                    <a:lnTo>
                      <a:pt x="306" y="137"/>
                    </a:lnTo>
                    <a:lnTo>
                      <a:pt x="310" y="145"/>
                    </a:lnTo>
                    <a:lnTo>
                      <a:pt x="315" y="150"/>
                    </a:lnTo>
                    <a:lnTo>
                      <a:pt x="322" y="154"/>
                    </a:lnTo>
                    <a:lnTo>
                      <a:pt x="331" y="155"/>
                    </a:lnTo>
                    <a:lnTo>
                      <a:pt x="340" y="155"/>
                    </a:lnTo>
                    <a:lnTo>
                      <a:pt x="350" y="160"/>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3" name="Freeform 129"/>
              <p:cNvSpPr>
                <a:spLocks/>
              </p:cNvSpPr>
              <p:nvPr/>
            </p:nvSpPr>
            <p:spPr bwMode="auto">
              <a:xfrm>
                <a:off x="2100" y="3243"/>
                <a:ext cx="391" cy="365"/>
              </a:xfrm>
              <a:custGeom>
                <a:avLst/>
                <a:gdLst>
                  <a:gd name="T0" fmla="*/ 33283 w 365"/>
                  <a:gd name="T1" fmla="*/ 3796 h 348"/>
                  <a:gd name="T2" fmla="*/ 34135 w 365"/>
                  <a:gd name="T3" fmla="*/ 3981 h 348"/>
                  <a:gd name="T4" fmla="*/ 32390 w 365"/>
                  <a:gd name="T5" fmla="*/ 4214 h 348"/>
                  <a:gd name="T6" fmla="*/ 28991 w 365"/>
                  <a:gd name="T7" fmla="*/ 4680 h 348"/>
                  <a:gd name="T8" fmla="*/ 26333 w 365"/>
                  <a:gd name="T9" fmla="*/ 5187 h 348"/>
                  <a:gd name="T10" fmla="*/ 24354 w 365"/>
                  <a:gd name="T11" fmla="*/ 5811 h 348"/>
                  <a:gd name="T12" fmla="*/ 21706 w 365"/>
                  <a:gd name="T13" fmla="*/ 6386 h 348"/>
                  <a:gd name="T14" fmla="*/ 20377 w 365"/>
                  <a:gd name="T15" fmla="*/ 6947 h 348"/>
                  <a:gd name="T16" fmla="*/ 19193 w 365"/>
                  <a:gd name="T17" fmla="*/ 7033 h 348"/>
                  <a:gd name="T18" fmla="*/ 16484 w 365"/>
                  <a:gd name="T19" fmla="*/ 7120 h 348"/>
                  <a:gd name="T20" fmla="*/ 14166 w 365"/>
                  <a:gd name="T21" fmla="*/ 6819 h 348"/>
                  <a:gd name="T22" fmla="*/ 12345 w 365"/>
                  <a:gd name="T23" fmla="*/ 6848 h 348"/>
                  <a:gd name="T24" fmla="*/ 10758 w 365"/>
                  <a:gd name="T25" fmla="*/ 7284 h 348"/>
                  <a:gd name="T26" fmla="*/ 9928 w 365"/>
                  <a:gd name="T27" fmla="*/ 7534 h 348"/>
                  <a:gd name="T28" fmla="*/ 8756 w 365"/>
                  <a:gd name="T29" fmla="*/ 7763 h 348"/>
                  <a:gd name="T30" fmla="*/ 5794 w 365"/>
                  <a:gd name="T31" fmla="*/ 8142 h 348"/>
                  <a:gd name="T32" fmla="*/ 3712 w 365"/>
                  <a:gd name="T33" fmla="*/ 8106 h 348"/>
                  <a:gd name="T34" fmla="*/ 2632 w 365"/>
                  <a:gd name="T35" fmla="*/ 7868 h 348"/>
                  <a:gd name="T36" fmla="*/ 3465 w 365"/>
                  <a:gd name="T37" fmla="*/ 7401 h 348"/>
                  <a:gd name="T38" fmla="*/ 3235 w 365"/>
                  <a:gd name="T39" fmla="*/ 7070 h 348"/>
                  <a:gd name="T40" fmla="*/ 2064 w 365"/>
                  <a:gd name="T41" fmla="*/ 6727 h 348"/>
                  <a:gd name="T42" fmla="*/ 788 w 365"/>
                  <a:gd name="T43" fmla="*/ 6414 h 348"/>
                  <a:gd name="T44" fmla="*/ 3 w 365"/>
                  <a:gd name="T45" fmla="*/ 6232 h 348"/>
                  <a:gd name="T46" fmla="*/ 0 w 365"/>
                  <a:gd name="T47" fmla="*/ 5473 h 348"/>
                  <a:gd name="T48" fmla="*/ 0 w 365"/>
                  <a:gd name="T49" fmla="*/ 3796 h 348"/>
                  <a:gd name="T50" fmla="*/ 3712 w 365"/>
                  <a:gd name="T51" fmla="*/ 3180 h 348"/>
                  <a:gd name="T52" fmla="*/ 3712 w 365"/>
                  <a:gd name="T53" fmla="*/ 1465 h 348"/>
                  <a:gd name="T54" fmla="*/ 3976 w 365"/>
                  <a:gd name="T55" fmla="*/ 522 h 348"/>
                  <a:gd name="T56" fmla="*/ 10347 w 365"/>
                  <a:gd name="T57" fmla="*/ 282 h 348"/>
                  <a:gd name="T58" fmla="*/ 11969 w 365"/>
                  <a:gd name="T59" fmla="*/ 296 h 348"/>
                  <a:gd name="T60" fmla="*/ 13042 w 365"/>
                  <a:gd name="T61" fmla="*/ 475 h 348"/>
                  <a:gd name="T62" fmla="*/ 13735 w 365"/>
                  <a:gd name="T63" fmla="*/ 603 h 348"/>
                  <a:gd name="T64" fmla="*/ 15388 w 365"/>
                  <a:gd name="T65" fmla="*/ 296 h 348"/>
                  <a:gd name="T66" fmla="*/ 17414 w 365"/>
                  <a:gd name="T67" fmla="*/ 4 h 348"/>
                  <a:gd name="T68" fmla="*/ 18667 w 365"/>
                  <a:gd name="T69" fmla="*/ 0 h 348"/>
                  <a:gd name="T70" fmla="*/ 19193 w 365"/>
                  <a:gd name="T71" fmla="*/ 7 h 348"/>
                  <a:gd name="T72" fmla="*/ 20263 w 365"/>
                  <a:gd name="T73" fmla="*/ 575 h 348"/>
                  <a:gd name="T74" fmla="*/ 21087 w 365"/>
                  <a:gd name="T75" fmla="*/ 921 h 348"/>
                  <a:gd name="T76" fmla="*/ 22233 w 365"/>
                  <a:gd name="T77" fmla="*/ 1420 h 348"/>
                  <a:gd name="T78" fmla="*/ 25275 w 365"/>
                  <a:gd name="T79" fmla="*/ 1982 h 348"/>
                  <a:gd name="T80" fmla="*/ 26834 w 365"/>
                  <a:gd name="T81" fmla="*/ 2362 h 348"/>
                  <a:gd name="T82" fmla="*/ 28518 w 365"/>
                  <a:gd name="T83" fmla="*/ 2517 h 348"/>
                  <a:gd name="T84" fmla="*/ 28745 w 365"/>
                  <a:gd name="T85" fmla="*/ 3180 h 348"/>
                  <a:gd name="T86" fmla="*/ 29593 w 365"/>
                  <a:gd name="T87" fmla="*/ 3488 h 348"/>
                  <a:gd name="T88" fmla="*/ 31057 w 365"/>
                  <a:gd name="T89" fmla="*/ 3628 h 348"/>
                  <a:gd name="T90" fmla="*/ 32819 w 365"/>
                  <a:gd name="T91" fmla="*/ 3715 h 34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5"/>
                  <a:gd name="T139" fmla="*/ 0 h 348"/>
                  <a:gd name="T140" fmla="*/ 365 w 365"/>
                  <a:gd name="T141" fmla="*/ 348 h 34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5" h="348">
                    <a:moveTo>
                      <a:pt x="350" y="160"/>
                    </a:moveTo>
                    <a:lnTo>
                      <a:pt x="356" y="162"/>
                    </a:lnTo>
                    <a:lnTo>
                      <a:pt x="365" y="168"/>
                    </a:lnTo>
                    <a:lnTo>
                      <a:pt x="363" y="170"/>
                    </a:lnTo>
                    <a:lnTo>
                      <a:pt x="355" y="173"/>
                    </a:lnTo>
                    <a:lnTo>
                      <a:pt x="346" y="180"/>
                    </a:lnTo>
                    <a:lnTo>
                      <a:pt x="319" y="191"/>
                    </a:lnTo>
                    <a:lnTo>
                      <a:pt x="308" y="202"/>
                    </a:lnTo>
                    <a:lnTo>
                      <a:pt x="294" y="210"/>
                    </a:lnTo>
                    <a:lnTo>
                      <a:pt x="281" y="223"/>
                    </a:lnTo>
                    <a:lnTo>
                      <a:pt x="272" y="232"/>
                    </a:lnTo>
                    <a:lnTo>
                      <a:pt x="260" y="249"/>
                    </a:lnTo>
                    <a:lnTo>
                      <a:pt x="241" y="262"/>
                    </a:lnTo>
                    <a:lnTo>
                      <a:pt x="231" y="273"/>
                    </a:lnTo>
                    <a:lnTo>
                      <a:pt x="221" y="295"/>
                    </a:lnTo>
                    <a:lnTo>
                      <a:pt x="217" y="299"/>
                    </a:lnTo>
                    <a:lnTo>
                      <a:pt x="211" y="301"/>
                    </a:lnTo>
                    <a:lnTo>
                      <a:pt x="204" y="301"/>
                    </a:lnTo>
                    <a:lnTo>
                      <a:pt x="186" y="306"/>
                    </a:lnTo>
                    <a:lnTo>
                      <a:pt x="176" y="305"/>
                    </a:lnTo>
                    <a:lnTo>
                      <a:pt x="159" y="296"/>
                    </a:lnTo>
                    <a:lnTo>
                      <a:pt x="151" y="293"/>
                    </a:lnTo>
                    <a:lnTo>
                      <a:pt x="142" y="292"/>
                    </a:lnTo>
                    <a:lnTo>
                      <a:pt x="132" y="295"/>
                    </a:lnTo>
                    <a:lnTo>
                      <a:pt x="120" y="306"/>
                    </a:lnTo>
                    <a:lnTo>
                      <a:pt x="115" y="313"/>
                    </a:lnTo>
                    <a:lnTo>
                      <a:pt x="113" y="317"/>
                    </a:lnTo>
                    <a:lnTo>
                      <a:pt x="106" y="324"/>
                    </a:lnTo>
                    <a:lnTo>
                      <a:pt x="98" y="329"/>
                    </a:lnTo>
                    <a:lnTo>
                      <a:pt x="94" y="332"/>
                    </a:lnTo>
                    <a:lnTo>
                      <a:pt x="88" y="343"/>
                    </a:lnTo>
                    <a:lnTo>
                      <a:pt x="63" y="348"/>
                    </a:lnTo>
                    <a:lnTo>
                      <a:pt x="50" y="348"/>
                    </a:lnTo>
                    <a:lnTo>
                      <a:pt x="40" y="346"/>
                    </a:lnTo>
                    <a:lnTo>
                      <a:pt x="33" y="344"/>
                    </a:lnTo>
                    <a:lnTo>
                      <a:pt x="29" y="339"/>
                    </a:lnTo>
                    <a:lnTo>
                      <a:pt x="35" y="326"/>
                    </a:lnTo>
                    <a:lnTo>
                      <a:pt x="37" y="317"/>
                    </a:lnTo>
                    <a:lnTo>
                      <a:pt x="37" y="314"/>
                    </a:lnTo>
                    <a:lnTo>
                      <a:pt x="35" y="303"/>
                    </a:lnTo>
                    <a:lnTo>
                      <a:pt x="30" y="295"/>
                    </a:lnTo>
                    <a:lnTo>
                      <a:pt x="22" y="288"/>
                    </a:lnTo>
                    <a:lnTo>
                      <a:pt x="18" y="282"/>
                    </a:lnTo>
                    <a:lnTo>
                      <a:pt x="8" y="275"/>
                    </a:lnTo>
                    <a:lnTo>
                      <a:pt x="8" y="273"/>
                    </a:lnTo>
                    <a:lnTo>
                      <a:pt x="3" y="269"/>
                    </a:lnTo>
                    <a:lnTo>
                      <a:pt x="0" y="269"/>
                    </a:lnTo>
                    <a:lnTo>
                      <a:pt x="0" y="235"/>
                    </a:lnTo>
                    <a:lnTo>
                      <a:pt x="0" y="197"/>
                    </a:lnTo>
                    <a:lnTo>
                      <a:pt x="0" y="162"/>
                    </a:lnTo>
                    <a:lnTo>
                      <a:pt x="40" y="162"/>
                    </a:lnTo>
                    <a:lnTo>
                      <a:pt x="40" y="137"/>
                    </a:lnTo>
                    <a:lnTo>
                      <a:pt x="40" y="99"/>
                    </a:lnTo>
                    <a:lnTo>
                      <a:pt x="40" y="63"/>
                    </a:lnTo>
                    <a:lnTo>
                      <a:pt x="40" y="27"/>
                    </a:lnTo>
                    <a:lnTo>
                      <a:pt x="43" y="24"/>
                    </a:lnTo>
                    <a:lnTo>
                      <a:pt x="99" y="14"/>
                    </a:lnTo>
                    <a:lnTo>
                      <a:pt x="110" y="11"/>
                    </a:lnTo>
                    <a:lnTo>
                      <a:pt x="115" y="11"/>
                    </a:lnTo>
                    <a:lnTo>
                      <a:pt x="128" y="12"/>
                    </a:lnTo>
                    <a:lnTo>
                      <a:pt x="135" y="15"/>
                    </a:lnTo>
                    <a:lnTo>
                      <a:pt x="139" y="22"/>
                    </a:lnTo>
                    <a:lnTo>
                      <a:pt x="142" y="33"/>
                    </a:lnTo>
                    <a:lnTo>
                      <a:pt x="147" y="27"/>
                    </a:lnTo>
                    <a:lnTo>
                      <a:pt x="152" y="20"/>
                    </a:lnTo>
                    <a:lnTo>
                      <a:pt x="164" y="12"/>
                    </a:lnTo>
                    <a:lnTo>
                      <a:pt x="183" y="8"/>
                    </a:lnTo>
                    <a:lnTo>
                      <a:pt x="186" y="4"/>
                    </a:lnTo>
                    <a:lnTo>
                      <a:pt x="191" y="0"/>
                    </a:lnTo>
                    <a:lnTo>
                      <a:pt x="200" y="0"/>
                    </a:lnTo>
                    <a:lnTo>
                      <a:pt x="204" y="1"/>
                    </a:lnTo>
                    <a:lnTo>
                      <a:pt x="204" y="7"/>
                    </a:lnTo>
                    <a:lnTo>
                      <a:pt x="206" y="11"/>
                    </a:lnTo>
                    <a:lnTo>
                      <a:pt x="216" y="26"/>
                    </a:lnTo>
                    <a:lnTo>
                      <a:pt x="222" y="32"/>
                    </a:lnTo>
                    <a:lnTo>
                      <a:pt x="224" y="40"/>
                    </a:lnTo>
                    <a:lnTo>
                      <a:pt x="228" y="50"/>
                    </a:lnTo>
                    <a:lnTo>
                      <a:pt x="238" y="62"/>
                    </a:lnTo>
                    <a:lnTo>
                      <a:pt x="259" y="82"/>
                    </a:lnTo>
                    <a:lnTo>
                      <a:pt x="270" y="86"/>
                    </a:lnTo>
                    <a:lnTo>
                      <a:pt x="280" y="91"/>
                    </a:lnTo>
                    <a:lnTo>
                      <a:pt x="286" y="101"/>
                    </a:lnTo>
                    <a:lnTo>
                      <a:pt x="296" y="104"/>
                    </a:lnTo>
                    <a:lnTo>
                      <a:pt x="303" y="109"/>
                    </a:lnTo>
                    <a:lnTo>
                      <a:pt x="303" y="124"/>
                    </a:lnTo>
                    <a:lnTo>
                      <a:pt x="306" y="137"/>
                    </a:lnTo>
                    <a:lnTo>
                      <a:pt x="310" y="145"/>
                    </a:lnTo>
                    <a:lnTo>
                      <a:pt x="315" y="150"/>
                    </a:lnTo>
                    <a:lnTo>
                      <a:pt x="322" y="154"/>
                    </a:lnTo>
                    <a:lnTo>
                      <a:pt x="331" y="155"/>
                    </a:lnTo>
                    <a:lnTo>
                      <a:pt x="340" y="155"/>
                    </a:lnTo>
                    <a:lnTo>
                      <a:pt x="350" y="16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44" name="Freeform 130"/>
              <p:cNvSpPr>
                <a:spLocks/>
              </p:cNvSpPr>
              <p:nvPr/>
            </p:nvSpPr>
            <p:spPr bwMode="auto">
              <a:xfrm>
                <a:off x="1758" y="3208"/>
                <a:ext cx="557" cy="490"/>
              </a:xfrm>
              <a:custGeom>
                <a:avLst/>
                <a:gdLst>
                  <a:gd name="T0" fmla="*/ 15414 w 521"/>
                  <a:gd name="T1" fmla="*/ 10818 h 467"/>
                  <a:gd name="T2" fmla="*/ 14292 w 521"/>
                  <a:gd name="T3" fmla="*/ 10579 h 467"/>
                  <a:gd name="T4" fmla="*/ 12504 w 521"/>
                  <a:gd name="T5" fmla="*/ 10060 h 467"/>
                  <a:gd name="T6" fmla="*/ 11015 w 521"/>
                  <a:gd name="T7" fmla="*/ 9163 h 467"/>
                  <a:gd name="T8" fmla="*/ 10455 w 521"/>
                  <a:gd name="T9" fmla="*/ 8709 h 467"/>
                  <a:gd name="T10" fmla="*/ 10135 w 521"/>
                  <a:gd name="T11" fmla="*/ 8124 h 467"/>
                  <a:gd name="T12" fmla="*/ 9946 w 521"/>
                  <a:gd name="T13" fmla="*/ 7492 h 467"/>
                  <a:gd name="T14" fmla="*/ 9032 w 521"/>
                  <a:gd name="T15" fmla="*/ 6863 h 467"/>
                  <a:gd name="T16" fmla="*/ 8712 w 521"/>
                  <a:gd name="T17" fmla="*/ 5853 h 467"/>
                  <a:gd name="T18" fmla="*/ 8712 w 521"/>
                  <a:gd name="T19" fmla="*/ 5186 h 467"/>
                  <a:gd name="T20" fmla="*/ 6913 w 521"/>
                  <a:gd name="T21" fmla="*/ 4448 h 467"/>
                  <a:gd name="T22" fmla="*/ 5657 w 521"/>
                  <a:gd name="T23" fmla="*/ 3823 h 467"/>
                  <a:gd name="T24" fmla="*/ 4774 w 521"/>
                  <a:gd name="T25" fmla="*/ 3349 h 467"/>
                  <a:gd name="T26" fmla="*/ 3654 w 521"/>
                  <a:gd name="T27" fmla="*/ 2680 h 467"/>
                  <a:gd name="T28" fmla="*/ 2713 w 521"/>
                  <a:gd name="T29" fmla="*/ 2219 h 467"/>
                  <a:gd name="T30" fmla="*/ 1945 w 521"/>
                  <a:gd name="T31" fmla="*/ 1875 h 467"/>
                  <a:gd name="T32" fmla="*/ 932 w 521"/>
                  <a:gd name="T33" fmla="*/ 1578 h 467"/>
                  <a:gd name="T34" fmla="*/ 4 w 521"/>
                  <a:gd name="T35" fmla="*/ 980 h 467"/>
                  <a:gd name="T36" fmla="*/ 0 w 521"/>
                  <a:gd name="T37" fmla="*/ 374 h 467"/>
                  <a:gd name="T38" fmla="*/ 1945 w 521"/>
                  <a:gd name="T39" fmla="*/ 294 h 467"/>
                  <a:gd name="T40" fmla="*/ 3418 w 521"/>
                  <a:gd name="T41" fmla="*/ 0 h 467"/>
                  <a:gd name="T42" fmla="*/ 5666 w 521"/>
                  <a:gd name="T43" fmla="*/ 6 h 467"/>
                  <a:gd name="T44" fmla="*/ 7614 w 521"/>
                  <a:gd name="T45" fmla="*/ 374 h 467"/>
                  <a:gd name="T46" fmla="*/ 14448 w 521"/>
                  <a:gd name="T47" fmla="*/ 374 h 467"/>
                  <a:gd name="T48" fmla="*/ 21341 w 521"/>
                  <a:gd name="T49" fmla="*/ 374 h 467"/>
                  <a:gd name="T50" fmla="*/ 23659 w 521"/>
                  <a:gd name="T51" fmla="*/ 844 h 467"/>
                  <a:gd name="T52" fmla="*/ 26897 w 521"/>
                  <a:gd name="T53" fmla="*/ 804 h 467"/>
                  <a:gd name="T54" fmla="*/ 30429 w 521"/>
                  <a:gd name="T55" fmla="*/ 980 h 467"/>
                  <a:gd name="T56" fmla="*/ 31897 w 521"/>
                  <a:gd name="T57" fmla="*/ 1028 h 467"/>
                  <a:gd name="T58" fmla="*/ 36817 w 521"/>
                  <a:gd name="T59" fmla="*/ 632 h 467"/>
                  <a:gd name="T60" fmla="*/ 40023 w 521"/>
                  <a:gd name="T61" fmla="*/ 497 h 467"/>
                  <a:gd name="T62" fmla="*/ 42350 w 521"/>
                  <a:gd name="T63" fmla="*/ 574 h 467"/>
                  <a:gd name="T64" fmla="*/ 41632 w 521"/>
                  <a:gd name="T65" fmla="*/ 886 h 467"/>
                  <a:gd name="T66" fmla="*/ 38906 w 521"/>
                  <a:gd name="T67" fmla="*/ 1302 h 467"/>
                  <a:gd name="T68" fmla="*/ 37786 w 521"/>
                  <a:gd name="T69" fmla="*/ 1339 h 467"/>
                  <a:gd name="T70" fmla="*/ 35812 w 521"/>
                  <a:gd name="T71" fmla="*/ 1074 h 467"/>
                  <a:gd name="T72" fmla="*/ 29835 w 521"/>
                  <a:gd name="T73" fmla="*/ 1372 h 467"/>
                  <a:gd name="T74" fmla="*/ 29517 w 521"/>
                  <a:gd name="T75" fmla="*/ 3192 h 467"/>
                  <a:gd name="T76" fmla="*/ 26255 w 521"/>
                  <a:gd name="T77" fmla="*/ 4690 h 467"/>
                  <a:gd name="T78" fmla="*/ 26255 w 521"/>
                  <a:gd name="T79" fmla="*/ 7205 h 467"/>
                  <a:gd name="T80" fmla="*/ 26255 w 521"/>
                  <a:gd name="T81" fmla="*/ 9826 h 467"/>
                  <a:gd name="T82" fmla="*/ 25374 w 521"/>
                  <a:gd name="T83" fmla="*/ 10786 h 467"/>
                  <a:gd name="T84" fmla="*/ 22887 w 521"/>
                  <a:gd name="T85" fmla="*/ 11105 h 467"/>
                  <a:gd name="T86" fmla="*/ 20379 w 521"/>
                  <a:gd name="T87" fmla="*/ 11141 h 467"/>
                  <a:gd name="T88" fmla="*/ 18798 w 521"/>
                  <a:gd name="T89" fmla="*/ 10786 h 467"/>
                  <a:gd name="T90" fmla="*/ 16336 w 521"/>
                  <a:gd name="T91" fmla="*/ 10667 h 46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21"/>
                  <a:gd name="T139" fmla="*/ 0 h 467"/>
                  <a:gd name="T140" fmla="*/ 521 w 521"/>
                  <a:gd name="T141" fmla="*/ 467 h 46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21" h="467">
                    <a:moveTo>
                      <a:pt x="194" y="452"/>
                    </a:moveTo>
                    <a:lnTo>
                      <a:pt x="190" y="453"/>
                    </a:lnTo>
                    <a:lnTo>
                      <a:pt x="187" y="453"/>
                    </a:lnTo>
                    <a:lnTo>
                      <a:pt x="185" y="452"/>
                    </a:lnTo>
                    <a:lnTo>
                      <a:pt x="183" y="452"/>
                    </a:lnTo>
                    <a:lnTo>
                      <a:pt x="172" y="443"/>
                    </a:lnTo>
                    <a:lnTo>
                      <a:pt x="166" y="439"/>
                    </a:lnTo>
                    <a:lnTo>
                      <a:pt x="158" y="432"/>
                    </a:lnTo>
                    <a:lnTo>
                      <a:pt x="151" y="420"/>
                    </a:lnTo>
                    <a:lnTo>
                      <a:pt x="139" y="405"/>
                    </a:lnTo>
                    <a:lnTo>
                      <a:pt x="136" y="391"/>
                    </a:lnTo>
                    <a:lnTo>
                      <a:pt x="133" y="384"/>
                    </a:lnTo>
                    <a:lnTo>
                      <a:pt x="132" y="371"/>
                    </a:lnTo>
                    <a:lnTo>
                      <a:pt x="129" y="365"/>
                    </a:lnTo>
                    <a:lnTo>
                      <a:pt x="128" y="363"/>
                    </a:lnTo>
                    <a:lnTo>
                      <a:pt x="129" y="356"/>
                    </a:lnTo>
                    <a:lnTo>
                      <a:pt x="124" y="347"/>
                    </a:lnTo>
                    <a:lnTo>
                      <a:pt x="123" y="341"/>
                    </a:lnTo>
                    <a:lnTo>
                      <a:pt x="121" y="326"/>
                    </a:lnTo>
                    <a:lnTo>
                      <a:pt x="123" y="318"/>
                    </a:lnTo>
                    <a:lnTo>
                      <a:pt x="121" y="313"/>
                    </a:lnTo>
                    <a:lnTo>
                      <a:pt x="116" y="302"/>
                    </a:lnTo>
                    <a:lnTo>
                      <a:pt x="113" y="293"/>
                    </a:lnTo>
                    <a:lnTo>
                      <a:pt x="109" y="287"/>
                    </a:lnTo>
                    <a:lnTo>
                      <a:pt x="108" y="280"/>
                    </a:lnTo>
                    <a:lnTo>
                      <a:pt x="108" y="267"/>
                    </a:lnTo>
                    <a:lnTo>
                      <a:pt x="107" y="244"/>
                    </a:lnTo>
                    <a:lnTo>
                      <a:pt x="108" y="232"/>
                    </a:lnTo>
                    <a:lnTo>
                      <a:pt x="107" y="222"/>
                    </a:lnTo>
                    <a:lnTo>
                      <a:pt x="107" y="218"/>
                    </a:lnTo>
                    <a:lnTo>
                      <a:pt x="101" y="207"/>
                    </a:lnTo>
                    <a:lnTo>
                      <a:pt x="86" y="191"/>
                    </a:lnTo>
                    <a:lnTo>
                      <a:pt x="83" y="185"/>
                    </a:lnTo>
                    <a:lnTo>
                      <a:pt x="83" y="181"/>
                    </a:lnTo>
                    <a:lnTo>
                      <a:pt x="78" y="175"/>
                    </a:lnTo>
                    <a:lnTo>
                      <a:pt x="68" y="159"/>
                    </a:lnTo>
                    <a:lnTo>
                      <a:pt x="63" y="148"/>
                    </a:lnTo>
                    <a:lnTo>
                      <a:pt x="62" y="143"/>
                    </a:lnTo>
                    <a:lnTo>
                      <a:pt x="59" y="140"/>
                    </a:lnTo>
                    <a:lnTo>
                      <a:pt x="59" y="134"/>
                    </a:lnTo>
                    <a:lnTo>
                      <a:pt x="47" y="117"/>
                    </a:lnTo>
                    <a:lnTo>
                      <a:pt x="45" y="112"/>
                    </a:lnTo>
                    <a:lnTo>
                      <a:pt x="42" y="105"/>
                    </a:lnTo>
                    <a:lnTo>
                      <a:pt x="40" y="100"/>
                    </a:lnTo>
                    <a:lnTo>
                      <a:pt x="33" y="93"/>
                    </a:lnTo>
                    <a:lnTo>
                      <a:pt x="32" y="89"/>
                    </a:lnTo>
                    <a:lnTo>
                      <a:pt x="27" y="84"/>
                    </a:lnTo>
                    <a:lnTo>
                      <a:pt x="24" y="78"/>
                    </a:lnTo>
                    <a:lnTo>
                      <a:pt x="21" y="73"/>
                    </a:lnTo>
                    <a:lnTo>
                      <a:pt x="15" y="68"/>
                    </a:lnTo>
                    <a:lnTo>
                      <a:pt x="12" y="66"/>
                    </a:lnTo>
                    <a:lnTo>
                      <a:pt x="9" y="61"/>
                    </a:lnTo>
                    <a:lnTo>
                      <a:pt x="4" y="48"/>
                    </a:lnTo>
                    <a:lnTo>
                      <a:pt x="4" y="42"/>
                    </a:lnTo>
                    <a:lnTo>
                      <a:pt x="0" y="36"/>
                    </a:lnTo>
                    <a:lnTo>
                      <a:pt x="0" y="32"/>
                    </a:lnTo>
                    <a:lnTo>
                      <a:pt x="0" y="16"/>
                    </a:lnTo>
                    <a:lnTo>
                      <a:pt x="9" y="13"/>
                    </a:lnTo>
                    <a:lnTo>
                      <a:pt x="17" y="6"/>
                    </a:lnTo>
                    <a:lnTo>
                      <a:pt x="24" y="11"/>
                    </a:lnTo>
                    <a:lnTo>
                      <a:pt x="27" y="8"/>
                    </a:lnTo>
                    <a:lnTo>
                      <a:pt x="35" y="1"/>
                    </a:lnTo>
                    <a:lnTo>
                      <a:pt x="42" y="0"/>
                    </a:lnTo>
                    <a:lnTo>
                      <a:pt x="59" y="0"/>
                    </a:lnTo>
                    <a:lnTo>
                      <a:pt x="65" y="1"/>
                    </a:lnTo>
                    <a:lnTo>
                      <a:pt x="69" y="6"/>
                    </a:lnTo>
                    <a:lnTo>
                      <a:pt x="78" y="10"/>
                    </a:lnTo>
                    <a:lnTo>
                      <a:pt x="86" y="18"/>
                    </a:lnTo>
                    <a:lnTo>
                      <a:pt x="93" y="16"/>
                    </a:lnTo>
                    <a:lnTo>
                      <a:pt x="106" y="16"/>
                    </a:lnTo>
                    <a:lnTo>
                      <a:pt x="141" y="16"/>
                    </a:lnTo>
                    <a:lnTo>
                      <a:pt x="177" y="16"/>
                    </a:lnTo>
                    <a:lnTo>
                      <a:pt x="212" y="16"/>
                    </a:lnTo>
                    <a:lnTo>
                      <a:pt x="245" y="16"/>
                    </a:lnTo>
                    <a:lnTo>
                      <a:pt x="259" y="16"/>
                    </a:lnTo>
                    <a:lnTo>
                      <a:pt x="269" y="25"/>
                    </a:lnTo>
                    <a:lnTo>
                      <a:pt x="274" y="30"/>
                    </a:lnTo>
                    <a:lnTo>
                      <a:pt x="286" y="35"/>
                    </a:lnTo>
                    <a:lnTo>
                      <a:pt x="293" y="35"/>
                    </a:lnTo>
                    <a:lnTo>
                      <a:pt x="306" y="33"/>
                    </a:lnTo>
                    <a:lnTo>
                      <a:pt x="326" y="33"/>
                    </a:lnTo>
                    <a:lnTo>
                      <a:pt x="349" y="38"/>
                    </a:lnTo>
                    <a:lnTo>
                      <a:pt x="360" y="39"/>
                    </a:lnTo>
                    <a:lnTo>
                      <a:pt x="370" y="42"/>
                    </a:lnTo>
                    <a:lnTo>
                      <a:pt x="377" y="42"/>
                    </a:lnTo>
                    <a:lnTo>
                      <a:pt x="381" y="44"/>
                    </a:lnTo>
                    <a:lnTo>
                      <a:pt x="387" y="44"/>
                    </a:lnTo>
                    <a:lnTo>
                      <a:pt x="440" y="30"/>
                    </a:lnTo>
                    <a:lnTo>
                      <a:pt x="448" y="28"/>
                    </a:lnTo>
                    <a:lnTo>
                      <a:pt x="449" y="27"/>
                    </a:lnTo>
                    <a:lnTo>
                      <a:pt x="455" y="25"/>
                    </a:lnTo>
                    <a:lnTo>
                      <a:pt x="484" y="18"/>
                    </a:lnTo>
                    <a:lnTo>
                      <a:pt x="486" y="22"/>
                    </a:lnTo>
                    <a:lnTo>
                      <a:pt x="501" y="22"/>
                    </a:lnTo>
                    <a:lnTo>
                      <a:pt x="512" y="23"/>
                    </a:lnTo>
                    <a:lnTo>
                      <a:pt x="514" y="25"/>
                    </a:lnTo>
                    <a:lnTo>
                      <a:pt x="521" y="33"/>
                    </a:lnTo>
                    <a:lnTo>
                      <a:pt x="512" y="33"/>
                    </a:lnTo>
                    <a:lnTo>
                      <a:pt x="506" y="37"/>
                    </a:lnTo>
                    <a:lnTo>
                      <a:pt x="503" y="42"/>
                    </a:lnTo>
                    <a:lnTo>
                      <a:pt x="484" y="46"/>
                    </a:lnTo>
                    <a:lnTo>
                      <a:pt x="472" y="54"/>
                    </a:lnTo>
                    <a:lnTo>
                      <a:pt x="467" y="61"/>
                    </a:lnTo>
                    <a:lnTo>
                      <a:pt x="462" y="66"/>
                    </a:lnTo>
                    <a:lnTo>
                      <a:pt x="459" y="56"/>
                    </a:lnTo>
                    <a:lnTo>
                      <a:pt x="455" y="48"/>
                    </a:lnTo>
                    <a:lnTo>
                      <a:pt x="448" y="46"/>
                    </a:lnTo>
                    <a:lnTo>
                      <a:pt x="435" y="45"/>
                    </a:lnTo>
                    <a:lnTo>
                      <a:pt x="430" y="45"/>
                    </a:lnTo>
                    <a:lnTo>
                      <a:pt x="419" y="48"/>
                    </a:lnTo>
                    <a:lnTo>
                      <a:pt x="362" y="58"/>
                    </a:lnTo>
                    <a:lnTo>
                      <a:pt x="359" y="61"/>
                    </a:lnTo>
                    <a:lnTo>
                      <a:pt x="359" y="96"/>
                    </a:lnTo>
                    <a:lnTo>
                      <a:pt x="359" y="133"/>
                    </a:lnTo>
                    <a:lnTo>
                      <a:pt x="359" y="170"/>
                    </a:lnTo>
                    <a:lnTo>
                      <a:pt x="359" y="196"/>
                    </a:lnTo>
                    <a:lnTo>
                      <a:pt x="319" y="196"/>
                    </a:lnTo>
                    <a:lnTo>
                      <a:pt x="319" y="230"/>
                    </a:lnTo>
                    <a:lnTo>
                      <a:pt x="319" y="268"/>
                    </a:lnTo>
                    <a:lnTo>
                      <a:pt x="319" y="302"/>
                    </a:lnTo>
                    <a:lnTo>
                      <a:pt x="319" y="337"/>
                    </a:lnTo>
                    <a:lnTo>
                      <a:pt x="319" y="374"/>
                    </a:lnTo>
                    <a:lnTo>
                      <a:pt x="319" y="412"/>
                    </a:lnTo>
                    <a:lnTo>
                      <a:pt x="319" y="448"/>
                    </a:lnTo>
                    <a:lnTo>
                      <a:pt x="316" y="449"/>
                    </a:lnTo>
                    <a:lnTo>
                      <a:pt x="309" y="451"/>
                    </a:lnTo>
                    <a:lnTo>
                      <a:pt x="298" y="456"/>
                    </a:lnTo>
                    <a:lnTo>
                      <a:pt x="286" y="466"/>
                    </a:lnTo>
                    <a:lnTo>
                      <a:pt x="278" y="466"/>
                    </a:lnTo>
                    <a:lnTo>
                      <a:pt x="272" y="464"/>
                    </a:lnTo>
                    <a:lnTo>
                      <a:pt x="258" y="464"/>
                    </a:lnTo>
                    <a:lnTo>
                      <a:pt x="248" y="467"/>
                    </a:lnTo>
                    <a:lnTo>
                      <a:pt x="236" y="466"/>
                    </a:lnTo>
                    <a:lnTo>
                      <a:pt x="228" y="458"/>
                    </a:lnTo>
                    <a:lnTo>
                      <a:pt x="228" y="451"/>
                    </a:lnTo>
                    <a:lnTo>
                      <a:pt x="210" y="439"/>
                    </a:lnTo>
                    <a:lnTo>
                      <a:pt x="202" y="439"/>
                    </a:lnTo>
                    <a:lnTo>
                      <a:pt x="197" y="448"/>
                    </a:lnTo>
                    <a:lnTo>
                      <a:pt x="194" y="452"/>
                    </a:lnTo>
                    <a:close/>
                  </a:path>
                </a:pathLst>
              </a:custGeom>
              <a:solidFill>
                <a:srgbClr val="1737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5" name="Freeform 131"/>
              <p:cNvSpPr>
                <a:spLocks/>
              </p:cNvSpPr>
              <p:nvPr/>
            </p:nvSpPr>
            <p:spPr bwMode="auto">
              <a:xfrm>
                <a:off x="1758" y="3208"/>
                <a:ext cx="557" cy="490"/>
              </a:xfrm>
              <a:custGeom>
                <a:avLst/>
                <a:gdLst>
                  <a:gd name="T0" fmla="*/ 15414 w 521"/>
                  <a:gd name="T1" fmla="*/ 10818 h 467"/>
                  <a:gd name="T2" fmla="*/ 14292 w 521"/>
                  <a:gd name="T3" fmla="*/ 10579 h 467"/>
                  <a:gd name="T4" fmla="*/ 12504 w 521"/>
                  <a:gd name="T5" fmla="*/ 10060 h 467"/>
                  <a:gd name="T6" fmla="*/ 11015 w 521"/>
                  <a:gd name="T7" fmla="*/ 9163 h 467"/>
                  <a:gd name="T8" fmla="*/ 10455 w 521"/>
                  <a:gd name="T9" fmla="*/ 8709 h 467"/>
                  <a:gd name="T10" fmla="*/ 10135 w 521"/>
                  <a:gd name="T11" fmla="*/ 8124 h 467"/>
                  <a:gd name="T12" fmla="*/ 9946 w 521"/>
                  <a:gd name="T13" fmla="*/ 7492 h 467"/>
                  <a:gd name="T14" fmla="*/ 9032 w 521"/>
                  <a:gd name="T15" fmla="*/ 6863 h 467"/>
                  <a:gd name="T16" fmla="*/ 8712 w 521"/>
                  <a:gd name="T17" fmla="*/ 5853 h 467"/>
                  <a:gd name="T18" fmla="*/ 8712 w 521"/>
                  <a:gd name="T19" fmla="*/ 5186 h 467"/>
                  <a:gd name="T20" fmla="*/ 6913 w 521"/>
                  <a:gd name="T21" fmla="*/ 4448 h 467"/>
                  <a:gd name="T22" fmla="*/ 5657 w 521"/>
                  <a:gd name="T23" fmla="*/ 3823 h 467"/>
                  <a:gd name="T24" fmla="*/ 4774 w 521"/>
                  <a:gd name="T25" fmla="*/ 3349 h 467"/>
                  <a:gd name="T26" fmla="*/ 3654 w 521"/>
                  <a:gd name="T27" fmla="*/ 2680 h 467"/>
                  <a:gd name="T28" fmla="*/ 2713 w 521"/>
                  <a:gd name="T29" fmla="*/ 2219 h 467"/>
                  <a:gd name="T30" fmla="*/ 1945 w 521"/>
                  <a:gd name="T31" fmla="*/ 1875 h 467"/>
                  <a:gd name="T32" fmla="*/ 932 w 521"/>
                  <a:gd name="T33" fmla="*/ 1578 h 467"/>
                  <a:gd name="T34" fmla="*/ 4 w 521"/>
                  <a:gd name="T35" fmla="*/ 980 h 467"/>
                  <a:gd name="T36" fmla="*/ 0 w 521"/>
                  <a:gd name="T37" fmla="*/ 374 h 467"/>
                  <a:gd name="T38" fmla="*/ 1945 w 521"/>
                  <a:gd name="T39" fmla="*/ 294 h 467"/>
                  <a:gd name="T40" fmla="*/ 3418 w 521"/>
                  <a:gd name="T41" fmla="*/ 0 h 467"/>
                  <a:gd name="T42" fmla="*/ 5666 w 521"/>
                  <a:gd name="T43" fmla="*/ 6 h 467"/>
                  <a:gd name="T44" fmla="*/ 7614 w 521"/>
                  <a:gd name="T45" fmla="*/ 374 h 467"/>
                  <a:gd name="T46" fmla="*/ 14448 w 521"/>
                  <a:gd name="T47" fmla="*/ 374 h 467"/>
                  <a:gd name="T48" fmla="*/ 21341 w 521"/>
                  <a:gd name="T49" fmla="*/ 374 h 467"/>
                  <a:gd name="T50" fmla="*/ 23659 w 521"/>
                  <a:gd name="T51" fmla="*/ 844 h 467"/>
                  <a:gd name="T52" fmla="*/ 26897 w 521"/>
                  <a:gd name="T53" fmla="*/ 804 h 467"/>
                  <a:gd name="T54" fmla="*/ 30429 w 521"/>
                  <a:gd name="T55" fmla="*/ 980 h 467"/>
                  <a:gd name="T56" fmla="*/ 31897 w 521"/>
                  <a:gd name="T57" fmla="*/ 1028 h 467"/>
                  <a:gd name="T58" fmla="*/ 36817 w 521"/>
                  <a:gd name="T59" fmla="*/ 632 h 467"/>
                  <a:gd name="T60" fmla="*/ 40023 w 521"/>
                  <a:gd name="T61" fmla="*/ 497 h 467"/>
                  <a:gd name="T62" fmla="*/ 42350 w 521"/>
                  <a:gd name="T63" fmla="*/ 574 h 467"/>
                  <a:gd name="T64" fmla="*/ 41632 w 521"/>
                  <a:gd name="T65" fmla="*/ 886 h 467"/>
                  <a:gd name="T66" fmla="*/ 38906 w 521"/>
                  <a:gd name="T67" fmla="*/ 1302 h 467"/>
                  <a:gd name="T68" fmla="*/ 37786 w 521"/>
                  <a:gd name="T69" fmla="*/ 1339 h 467"/>
                  <a:gd name="T70" fmla="*/ 35812 w 521"/>
                  <a:gd name="T71" fmla="*/ 1074 h 467"/>
                  <a:gd name="T72" fmla="*/ 29835 w 521"/>
                  <a:gd name="T73" fmla="*/ 1372 h 467"/>
                  <a:gd name="T74" fmla="*/ 29517 w 521"/>
                  <a:gd name="T75" fmla="*/ 3192 h 467"/>
                  <a:gd name="T76" fmla="*/ 26255 w 521"/>
                  <a:gd name="T77" fmla="*/ 4690 h 467"/>
                  <a:gd name="T78" fmla="*/ 26255 w 521"/>
                  <a:gd name="T79" fmla="*/ 7205 h 467"/>
                  <a:gd name="T80" fmla="*/ 26255 w 521"/>
                  <a:gd name="T81" fmla="*/ 9826 h 467"/>
                  <a:gd name="T82" fmla="*/ 25374 w 521"/>
                  <a:gd name="T83" fmla="*/ 10786 h 467"/>
                  <a:gd name="T84" fmla="*/ 22887 w 521"/>
                  <a:gd name="T85" fmla="*/ 11105 h 467"/>
                  <a:gd name="T86" fmla="*/ 20379 w 521"/>
                  <a:gd name="T87" fmla="*/ 11141 h 467"/>
                  <a:gd name="T88" fmla="*/ 18798 w 521"/>
                  <a:gd name="T89" fmla="*/ 10786 h 467"/>
                  <a:gd name="T90" fmla="*/ 16336 w 521"/>
                  <a:gd name="T91" fmla="*/ 10667 h 46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21"/>
                  <a:gd name="T139" fmla="*/ 0 h 467"/>
                  <a:gd name="T140" fmla="*/ 521 w 521"/>
                  <a:gd name="T141" fmla="*/ 467 h 46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21" h="467">
                    <a:moveTo>
                      <a:pt x="194" y="452"/>
                    </a:moveTo>
                    <a:lnTo>
                      <a:pt x="190" y="453"/>
                    </a:lnTo>
                    <a:lnTo>
                      <a:pt x="187" y="453"/>
                    </a:lnTo>
                    <a:lnTo>
                      <a:pt x="185" y="452"/>
                    </a:lnTo>
                    <a:lnTo>
                      <a:pt x="183" y="452"/>
                    </a:lnTo>
                    <a:lnTo>
                      <a:pt x="172" y="443"/>
                    </a:lnTo>
                    <a:lnTo>
                      <a:pt x="166" y="439"/>
                    </a:lnTo>
                    <a:lnTo>
                      <a:pt x="158" y="432"/>
                    </a:lnTo>
                    <a:lnTo>
                      <a:pt x="151" y="420"/>
                    </a:lnTo>
                    <a:lnTo>
                      <a:pt x="139" y="405"/>
                    </a:lnTo>
                    <a:lnTo>
                      <a:pt x="136" y="391"/>
                    </a:lnTo>
                    <a:lnTo>
                      <a:pt x="133" y="384"/>
                    </a:lnTo>
                    <a:lnTo>
                      <a:pt x="132" y="371"/>
                    </a:lnTo>
                    <a:lnTo>
                      <a:pt x="129" y="365"/>
                    </a:lnTo>
                    <a:lnTo>
                      <a:pt x="128" y="363"/>
                    </a:lnTo>
                    <a:lnTo>
                      <a:pt x="129" y="356"/>
                    </a:lnTo>
                    <a:lnTo>
                      <a:pt x="124" y="347"/>
                    </a:lnTo>
                    <a:lnTo>
                      <a:pt x="123" y="341"/>
                    </a:lnTo>
                    <a:lnTo>
                      <a:pt x="121" y="326"/>
                    </a:lnTo>
                    <a:lnTo>
                      <a:pt x="123" y="318"/>
                    </a:lnTo>
                    <a:lnTo>
                      <a:pt x="121" y="313"/>
                    </a:lnTo>
                    <a:lnTo>
                      <a:pt x="116" y="302"/>
                    </a:lnTo>
                    <a:lnTo>
                      <a:pt x="113" y="293"/>
                    </a:lnTo>
                    <a:lnTo>
                      <a:pt x="109" y="287"/>
                    </a:lnTo>
                    <a:lnTo>
                      <a:pt x="108" y="280"/>
                    </a:lnTo>
                    <a:lnTo>
                      <a:pt x="108" y="267"/>
                    </a:lnTo>
                    <a:lnTo>
                      <a:pt x="107" y="244"/>
                    </a:lnTo>
                    <a:lnTo>
                      <a:pt x="108" y="232"/>
                    </a:lnTo>
                    <a:lnTo>
                      <a:pt x="107" y="222"/>
                    </a:lnTo>
                    <a:lnTo>
                      <a:pt x="107" y="218"/>
                    </a:lnTo>
                    <a:lnTo>
                      <a:pt x="101" y="207"/>
                    </a:lnTo>
                    <a:lnTo>
                      <a:pt x="86" y="191"/>
                    </a:lnTo>
                    <a:lnTo>
                      <a:pt x="83" y="185"/>
                    </a:lnTo>
                    <a:lnTo>
                      <a:pt x="83" y="181"/>
                    </a:lnTo>
                    <a:lnTo>
                      <a:pt x="78" y="175"/>
                    </a:lnTo>
                    <a:lnTo>
                      <a:pt x="68" y="159"/>
                    </a:lnTo>
                    <a:lnTo>
                      <a:pt x="63" y="148"/>
                    </a:lnTo>
                    <a:lnTo>
                      <a:pt x="62" y="143"/>
                    </a:lnTo>
                    <a:lnTo>
                      <a:pt x="59" y="140"/>
                    </a:lnTo>
                    <a:lnTo>
                      <a:pt x="59" y="134"/>
                    </a:lnTo>
                    <a:lnTo>
                      <a:pt x="47" y="117"/>
                    </a:lnTo>
                    <a:lnTo>
                      <a:pt x="45" y="112"/>
                    </a:lnTo>
                    <a:lnTo>
                      <a:pt x="42" y="105"/>
                    </a:lnTo>
                    <a:lnTo>
                      <a:pt x="40" y="100"/>
                    </a:lnTo>
                    <a:lnTo>
                      <a:pt x="33" y="93"/>
                    </a:lnTo>
                    <a:lnTo>
                      <a:pt x="32" y="89"/>
                    </a:lnTo>
                    <a:lnTo>
                      <a:pt x="27" y="84"/>
                    </a:lnTo>
                    <a:lnTo>
                      <a:pt x="24" y="78"/>
                    </a:lnTo>
                    <a:lnTo>
                      <a:pt x="21" y="73"/>
                    </a:lnTo>
                    <a:lnTo>
                      <a:pt x="15" y="68"/>
                    </a:lnTo>
                    <a:lnTo>
                      <a:pt x="12" y="66"/>
                    </a:lnTo>
                    <a:lnTo>
                      <a:pt x="9" y="61"/>
                    </a:lnTo>
                    <a:lnTo>
                      <a:pt x="4" y="48"/>
                    </a:lnTo>
                    <a:lnTo>
                      <a:pt x="4" y="42"/>
                    </a:lnTo>
                    <a:lnTo>
                      <a:pt x="0" y="36"/>
                    </a:lnTo>
                    <a:lnTo>
                      <a:pt x="0" y="32"/>
                    </a:lnTo>
                    <a:lnTo>
                      <a:pt x="0" y="16"/>
                    </a:lnTo>
                    <a:lnTo>
                      <a:pt x="9" y="13"/>
                    </a:lnTo>
                    <a:lnTo>
                      <a:pt x="17" y="6"/>
                    </a:lnTo>
                    <a:lnTo>
                      <a:pt x="24" y="11"/>
                    </a:lnTo>
                    <a:lnTo>
                      <a:pt x="27" y="8"/>
                    </a:lnTo>
                    <a:lnTo>
                      <a:pt x="35" y="1"/>
                    </a:lnTo>
                    <a:lnTo>
                      <a:pt x="42" y="0"/>
                    </a:lnTo>
                    <a:lnTo>
                      <a:pt x="59" y="0"/>
                    </a:lnTo>
                    <a:lnTo>
                      <a:pt x="65" y="1"/>
                    </a:lnTo>
                    <a:lnTo>
                      <a:pt x="69" y="6"/>
                    </a:lnTo>
                    <a:lnTo>
                      <a:pt x="78" y="10"/>
                    </a:lnTo>
                    <a:lnTo>
                      <a:pt x="86" y="18"/>
                    </a:lnTo>
                    <a:lnTo>
                      <a:pt x="93" y="16"/>
                    </a:lnTo>
                    <a:lnTo>
                      <a:pt x="106" y="16"/>
                    </a:lnTo>
                    <a:lnTo>
                      <a:pt x="141" y="16"/>
                    </a:lnTo>
                    <a:lnTo>
                      <a:pt x="177" y="16"/>
                    </a:lnTo>
                    <a:lnTo>
                      <a:pt x="212" y="16"/>
                    </a:lnTo>
                    <a:lnTo>
                      <a:pt x="245" y="16"/>
                    </a:lnTo>
                    <a:lnTo>
                      <a:pt x="259" y="16"/>
                    </a:lnTo>
                    <a:lnTo>
                      <a:pt x="269" y="25"/>
                    </a:lnTo>
                    <a:lnTo>
                      <a:pt x="274" y="30"/>
                    </a:lnTo>
                    <a:lnTo>
                      <a:pt x="286" y="35"/>
                    </a:lnTo>
                    <a:lnTo>
                      <a:pt x="293" y="35"/>
                    </a:lnTo>
                    <a:lnTo>
                      <a:pt x="306" y="33"/>
                    </a:lnTo>
                    <a:lnTo>
                      <a:pt x="326" y="33"/>
                    </a:lnTo>
                    <a:lnTo>
                      <a:pt x="349" y="38"/>
                    </a:lnTo>
                    <a:lnTo>
                      <a:pt x="360" y="39"/>
                    </a:lnTo>
                    <a:lnTo>
                      <a:pt x="370" y="42"/>
                    </a:lnTo>
                    <a:lnTo>
                      <a:pt x="377" y="42"/>
                    </a:lnTo>
                    <a:lnTo>
                      <a:pt x="381" y="44"/>
                    </a:lnTo>
                    <a:lnTo>
                      <a:pt x="387" y="44"/>
                    </a:lnTo>
                    <a:lnTo>
                      <a:pt x="440" y="30"/>
                    </a:lnTo>
                    <a:lnTo>
                      <a:pt x="448" y="28"/>
                    </a:lnTo>
                    <a:lnTo>
                      <a:pt x="449" y="27"/>
                    </a:lnTo>
                    <a:lnTo>
                      <a:pt x="455" y="25"/>
                    </a:lnTo>
                    <a:lnTo>
                      <a:pt x="484" y="18"/>
                    </a:lnTo>
                    <a:lnTo>
                      <a:pt x="486" y="22"/>
                    </a:lnTo>
                    <a:lnTo>
                      <a:pt x="501" y="22"/>
                    </a:lnTo>
                    <a:lnTo>
                      <a:pt x="512" y="23"/>
                    </a:lnTo>
                    <a:lnTo>
                      <a:pt x="514" y="25"/>
                    </a:lnTo>
                    <a:lnTo>
                      <a:pt x="521" y="33"/>
                    </a:lnTo>
                    <a:lnTo>
                      <a:pt x="512" y="33"/>
                    </a:lnTo>
                    <a:lnTo>
                      <a:pt x="506" y="37"/>
                    </a:lnTo>
                    <a:lnTo>
                      <a:pt x="503" y="42"/>
                    </a:lnTo>
                    <a:lnTo>
                      <a:pt x="484" y="46"/>
                    </a:lnTo>
                    <a:lnTo>
                      <a:pt x="472" y="54"/>
                    </a:lnTo>
                    <a:lnTo>
                      <a:pt x="467" y="61"/>
                    </a:lnTo>
                    <a:lnTo>
                      <a:pt x="462" y="66"/>
                    </a:lnTo>
                    <a:lnTo>
                      <a:pt x="459" y="56"/>
                    </a:lnTo>
                    <a:lnTo>
                      <a:pt x="455" y="48"/>
                    </a:lnTo>
                    <a:lnTo>
                      <a:pt x="448" y="46"/>
                    </a:lnTo>
                    <a:lnTo>
                      <a:pt x="435" y="45"/>
                    </a:lnTo>
                    <a:lnTo>
                      <a:pt x="430" y="45"/>
                    </a:lnTo>
                    <a:lnTo>
                      <a:pt x="419" y="48"/>
                    </a:lnTo>
                    <a:lnTo>
                      <a:pt x="362" y="58"/>
                    </a:lnTo>
                    <a:lnTo>
                      <a:pt x="359" y="61"/>
                    </a:lnTo>
                    <a:lnTo>
                      <a:pt x="359" y="96"/>
                    </a:lnTo>
                    <a:lnTo>
                      <a:pt x="359" y="133"/>
                    </a:lnTo>
                    <a:lnTo>
                      <a:pt x="359" y="170"/>
                    </a:lnTo>
                    <a:lnTo>
                      <a:pt x="359" y="196"/>
                    </a:lnTo>
                    <a:lnTo>
                      <a:pt x="319" y="196"/>
                    </a:lnTo>
                    <a:lnTo>
                      <a:pt x="319" y="230"/>
                    </a:lnTo>
                    <a:lnTo>
                      <a:pt x="319" y="268"/>
                    </a:lnTo>
                    <a:lnTo>
                      <a:pt x="319" y="302"/>
                    </a:lnTo>
                    <a:lnTo>
                      <a:pt x="319" y="337"/>
                    </a:lnTo>
                    <a:lnTo>
                      <a:pt x="319" y="374"/>
                    </a:lnTo>
                    <a:lnTo>
                      <a:pt x="319" y="412"/>
                    </a:lnTo>
                    <a:lnTo>
                      <a:pt x="319" y="448"/>
                    </a:lnTo>
                    <a:lnTo>
                      <a:pt x="316" y="449"/>
                    </a:lnTo>
                    <a:lnTo>
                      <a:pt x="309" y="451"/>
                    </a:lnTo>
                    <a:lnTo>
                      <a:pt x="298" y="456"/>
                    </a:lnTo>
                    <a:lnTo>
                      <a:pt x="286" y="466"/>
                    </a:lnTo>
                    <a:lnTo>
                      <a:pt x="278" y="466"/>
                    </a:lnTo>
                    <a:lnTo>
                      <a:pt x="272" y="464"/>
                    </a:lnTo>
                    <a:lnTo>
                      <a:pt x="258" y="464"/>
                    </a:lnTo>
                    <a:lnTo>
                      <a:pt x="248" y="467"/>
                    </a:lnTo>
                    <a:lnTo>
                      <a:pt x="236" y="466"/>
                    </a:lnTo>
                    <a:lnTo>
                      <a:pt x="228" y="458"/>
                    </a:lnTo>
                    <a:lnTo>
                      <a:pt x="228" y="451"/>
                    </a:lnTo>
                    <a:lnTo>
                      <a:pt x="210" y="439"/>
                    </a:lnTo>
                    <a:lnTo>
                      <a:pt x="202" y="439"/>
                    </a:lnTo>
                    <a:lnTo>
                      <a:pt x="197" y="448"/>
                    </a:lnTo>
                    <a:lnTo>
                      <a:pt x="194" y="452"/>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46" name="Freeform 132"/>
              <p:cNvSpPr>
                <a:spLocks/>
              </p:cNvSpPr>
              <p:nvPr/>
            </p:nvSpPr>
            <p:spPr bwMode="auto">
              <a:xfrm>
                <a:off x="575" y="1420"/>
                <a:ext cx="499" cy="501"/>
              </a:xfrm>
              <a:custGeom>
                <a:avLst/>
                <a:gdLst>
                  <a:gd name="T0" fmla="*/ 1350 w 466"/>
                  <a:gd name="T1" fmla="*/ 10867 h 477"/>
                  <a:gd name="T2" fmla="*/ 2036 w 466"/>
                  <a:gd name="T3" fmla="*/ 10183 h 477"/>
                  <a:gd name="T4" fmla="*/ 3196 w 466"/>
                  <a:gd name="T5" fmla="*/ 8754 h 477"/>
                  <a:gd name="T6" fmla="*/ 2866 w 466"/>
                  <a:gd name="T7" fmla="*/ 8055 h 477"/>
                  <a:gd name="T8" fmla="*/ 2036 w 466"/>
                  <a:gd name="T9" fmla="*/ 7556 h 477"/>
                  <a:gd name="T10" fmla="*/ 2604 w 466"/>
                  <a:gd name="T11" fmla="*/ 7090 h 477"/>
                  <a:gd name="T12" fmla="*/ 2036 w 466"/>
                  <a:gd name="T13" fmla="*/ 6438 h 477"/>
                  <a:gd name="T14" fmla="*/ 837 w 466"/>
                  <a:gd name="T15" fmla="*/ 6098 h 477"/>
                  <a:gd name="T16" fmla="*/ 0 w 466"/>
                  <a:gd name="T17" fmla="*/ 6119 h 477"/>
                  <a:gd name="T18" fmla="*/ 1 w 466"/>
                  <a:gd name="T19" fmla="*/ 5954 h 477"/>
                  <a:gd name="T20" fmla="*/ 959 w 466"/>
                  <a:gd name="T21" fmla="*/ 5638 h 477"/>
                  <a:gd name="T22" fmla="*/ 9547 w 466"/>
                  <a:gd name="T23" fmla="*/ 5638 h 477"/>
                  <a:gd name="T24" fmla="*/ 14084 w 466"/>
                  <a:gd name="T25" fmla="*/ 5379 h 477"/>
                  <a:gd name="T26" fmla="*/ 13740 w 466"/>
                  <a:gd name="T27" fmla="*/ 4240 h 477"/>
                  <a:gd name="T28" fmla="*/ 14421 w 466"/>
                  <a:gd name="T29" fmla="*/ 3844 h 477"/>
                  <a:gd name="T30" fmla="*/ 16871 w 466"/>
                  <a:gd name="T31" fmla="*/ 3672 h 477"/>
                  <a:gd name="T32" fmla="*/ 18136 w 466"/>
                  <a:gd name="T33" fmla="*/ 2037 h 477"/>
                  <a:gd name="T34" fmla="*/ 22737 w 466"/>
                  <a:gd name="T35" fmla="*/ 1072 h 477"/>
                  <a:gd name="T36" fmla="*/ 29356 w 466"/>
                  <a:gd name="T37" fmla="*/ 0 h 477"/>
                  <a:gd name="T38" fmla="*/ 42591 w 466"/>
                  <a:gd name="T39" fmla="*/ 2113 h 477"/>
                  <a:gd name="T40" fmla="*/ 37051 w 466"/>
                  <a:gd name="T41" fmla="*/ 4006 h 477"/>
                  <a:gd name="T42" fmla="*/ 38295 w 466"/>
                  <a:gd name="T43" fmla="*/ 6762 h 477"/>
                  <a:gd name="T44" fmla="*/ 39304 w 466"/>
                  <a:gd name="T45" fmla="*/ 9560 h 477"/>
                  <a:gd name="T46" fmla="*/ 40257 w 466"/>
                  <a:gd name="T47" fmla="*/ 11507 h 477"/>
                  <a:gd name="T48" fmla="*/ 29788 w 466"/>
                  <a:gd name="T49" fmla="*/ 11455 h 477"/>
                  <a:gd name="T50" fmla="*/ 22328 w 466"/>
                  <a:gd name="T51" fmla="*/ 11774 h 477"/>
                  <a:gd name="T52" fmla="*/ 20686 w 466"/>
                  <a:gd name="T53" fmla="*/ 11189 h 477"/>
                  <a:gd name="T54" fmla="*/ 19674 w 466"/>
                  <a:gd name="T55" fmla="*/ 11077 h 477"/>
                  <a:gd name="T56" fmla="*/ 19318 w 466"/>
                  <a:gd name="T57" fmla="*/ 11273 h 477"/>
                  <a:gd name="T58" fmla="*/ 16908 w 466"/>
                  <a:gd name="T59" fmla="*/ 12167 h 477"/>
                  <a:gd name="T60" fmla="*/ 15858 w 466"/>
                  <a:gd name="T61" fmla="*/ 12031 h 477"/>
                  <a:gd name="T62" fmla="*/ 15442 w 466"/>
                  <a:gd name="T63" fmla="*/ 11798 h 477"/>
                  <a:gd name="T64" fmla="*/ 14713 w 466"/>
                  <a:gd name="T65" fmla="*/ 11730 h 477"/>
                  <a:gd name="T66" fmla="*/ 14421 w 466"/>
                  <a:gd name="T67" fmla="*/ 11584 h 477"/>
                  <a:gd name="T68" fmla="*/ 13908 w 466"/>
                  <a:gd name="T69" fmla="*/ 11455 h 477"/>
                  <a:gd name="T70" fmla="*/ 13721 w 466"/>
                  <a:gd name="T71" fmla="*/ 11414 h 477"/>
                  <a:gd name="T72" fmla="*/ 13153 w 466"/>
                  <a:gd name="T73" fmla="*/ 11195 h 477"/>
                  <a:gd name="T74" fmla="*/ 11982 w 466"/>
                  <a:gd name="T75" fmla="*/ 10777 h 477"/>
                  <a:gd name="T76" fmla="*/ 11718 w 466"/>
                  <a:gd name="T77" fmla="*/ 10733 h 477"/>
                  <a:gd name="T78" fmla="*/ 10450 w 466"/>
                  <a:gd name="T79" fmla="*/ 10695 h 477"/>
                  <a:gd name="T80" fmla="*/ 9172 w 466"/>
                  <a:gd name="T81" fmla="*/ 10438 h 477"/>
                  <a:gd name="T82" fmla="*/ 8615 w 466"/>
                  <a:gd name="T83" fmla="*/ 10346 h 477"/>
                  <a:gd name="T84" fmla="*/ 6931 w 466"/>
                  <a:gd name="T85" fmla="*/ 10296 h 477"/>
                  <a:gd name="T86" fmla="*/ 6331 w 466"/>
                  <a:gd name="T87" fmla="*/ 10384 h 477"/>
                  <a:gd name="T88" fmla="*/ 4935 w 466"/>
                  <a:gd name="T89" fmla="*/ 10475 h 477"/>
                  <a:gd name="T90" fmla="*/ 3196 w 466"/>
                  <a:gd name="T91" fmla="*/ 10438 h 477"/>
                  <a:gd name="T92" fmla="*/ 2271 w 466"/>
                  <a:gd name="T93" fmla="*/ 10475 h 4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66"/>
                  <a:gd name="T142" fmla="*/ 0 h 477"/>
                  <a:gd name="T143" fmla="*/ 466 w 466"/>
                  <a:gd name="T144" fmla="*/ 477 h 4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66" h="477">
                    <a:moveTo>
                      <a:pt x="19" y="423"/>
                    </a:moveTo>
                    <a:lnTo>
                      <a:pt x="17" y="425"/>
                    </a:lnTo>
                    <a:lnTo>
                      <a:pt x="16" y="425"/>
                    </a:lnTo>
                    <a:lnTo>
                      <a:pt x="17" y="417"/>
                    </a:lnTo>
                    <a:lnTo>
                      <a:pt x="20" y="406"/>
                    </a:lnTo>
                    <a:lnTo>
                      <a:pt x="22" y="400"/>
                    </a:lnTo>
                    <a:lnTo>
                      <a:pt x="33" y="375"/>
                    </a:lnTo>
                    <a:lnTo>
                      <a:pt x="35" y="366"/>
                    </a:lnTo>
                    <a:lnTo>
                      <a:pt x="35" y="343"/>
                    </a:lnTo>
                    <a:lnTo>
                      <a:pt x="35" y="333"/>
                    </a:lnTo>
                    <a:lnTo>
                      <a:pt x="33" y="325"/>
                    </a:lnTo>
                    <a:lnTo>
                      <a:pt x="32" y="316"/>
                    </a:lnTo>
                    <a:lnTo>
                      <a:pt x="18" y="300"/>
                    </a:lnTo>
                    <a:lnTo>
                      <a:pt x="19" y="296"/>
                    </a:lnTo>
                    <a:lnTo>
                      <a:pt x="22" y="296"/>
                    </a:lnTo>
                    <a:lnTo>
                      <a:pt x="25" y="294"/>
                    </a:lnTo>
                    <a:lnTo>
                      <a:pt x="28" y="281"/>
                    </a:lnTo>
                    <a:lnTo>
                      <a:pt x="29" y="277"/>
                    </a:lnTo>
                    <a:lnTo>
                      <a:pt x="29" y="267"/>
                    </a:lnTo>
                    <a:lnTo>
                      <a:pt x="28" y="264"/>
                    </a:lnTo>
                    <a:lnTo>
                      <a:pt x="22" y="252"/>
                    </a:lnTo>
                    <a:lnTo>
                      <a:pt x="16" y="252"/>
                    </a:lnTo>
                    <a:lnTo>
                      <a:pt x="14" y="252"/>
                    </a:lnTo>
                    <a:lnTo>
                      <a:pt x="9" y="237"/>
                    </a:lnTo>
                    <a:lnTo>
                      <a:pt x="6" y="234"/>
                    </a:lnTo>
                    <a:lnTo>
                      <a:pt x="0" y="236"/>
                    </a:lnTo>
                    <a:lnTo>
                      <a:pt x="0" y="239"/>
                    </a:lnTo>
                    <a:lnTo>
                      <a:pt x="0" y="236"/>
                    </a:lnTo>
                    <a:lnTo>
                      <a:pt x="3" y="234"/>
                    </a:lnTo>
                    <a:lnTo>
                      <a:pt x="1" y="234"/>
                    </a:lnTo>
                    <a:lnTo>
                      <a:pt x="3" y="230"/>
                    </a:lnTo>
                    <a:lnTo>
                      <a:pt x="10" y="226"/>
                    </a:lnTo>
                    <a:lnTo>
                      <a:pt x="11" y="221"/>
                    </a:lnTo>
                    <a:lnTo>
                      <a:pt x="32" y="221"/>
                    </a:lnTo>
                    <a:lnTo>
                      <a:pt x="66" y="221"/>
                    </a:lnTo>
                    <a:lnTo>
                      <a:pt x="104" y="221"/>
                    </a:lnTo>
                    <a:lnTo>
                      <a:pt x="139" y="221"/>
                    </a:lnTo>
                    <a:lnTo>
                      <a:pt x="156" y="221"/>
                    </a:lnTo>
                    <a:lnTo>
                      <a:pt x="154" y="211"/>
                    </a:lnTo>
                    <a:lnTo>
                      <a:pt x="153" y="198"/>
                    </a:lnTo>
                    <a:lnTo>
                      <a:pt x="151" y="185"/>
                    </a:lnTo>
                    <a:lnTo>
                      <a:pt x="150" y="167"/>
                    </a:lnTo>
                    <a:lnTo>
                      <a:pt x="151" y="163"/>
                    </a:lnTo>
                    <a:lnTo>
                      <a:pt x="154" y="155"/>
                    </a:lnTo>
                    <a:lnTo>
                      <a:pt x="157" y="151"/>
                    </a:lnTo>
                    <a:lnTo>
                      <a:pt x="161" y="149"/>
                    </a:lnTo>
                    <a:lnTo>
                      <a:pt x="172" y="145"/>
                    </a:lnTo>
                    <a:lnTo>
                      <a:pt x="184" y="145"/>
                    </a:lnTo>
                    <a:lnTo>
                      <a:pt x="199" y="141"/>
                    </a:lnTo>
                    <a:lnTo>
                      <a:pt x="199" y="117"/>
                    </a:lnTo>
                    <a:lnTo>
                      <a:pt x="199" y="81"/>
                    </a:lnTo>
                    <a:lnTo>
                      <a:pt x="199" y="43"/>
                    </a:lnTo>
                    <a:lnTo>
                      <a:pt x="210" y="43"/>
                    </a:lnTo>
                    <a:lnTo>
                      <a:pt x="248" y="43"/>
                    </a:lnTo>
                    <a:lnTo>
                      <a:pt x="286" y="43"/>
                    </a:lnTo>
                    <a:lnTo>
                      <a:pt x="322" y="43"/>
                    </a:lnTo>
                    <a:lnTo>
                      <a:pt x="322" y="0"/>
                    </a:lnTo>
                    <a:lnTo>
                      <a:pt x="371" y="27"/>
                    </a:lnTo>
                    <a:lnTo>
                      <a:pt x="412" y="51"/>
                    </a:lnTo>
                    <a:lnTo>
                      <a:pt x="466" y="83"/>
                    </a:lnTo>
                    <a:lnTo>
                      <a:pt x="398" y="83"/>
                    </a:lnTo>
                    <a:lnTo>
                      <a:pt x="402" y="120"/>
                    </a:lnTo>
                    <a:lnTo>
                      <a:pt x="405" y="157"/>
                    </a:lnTo>
                    <a:lnTo>
                      <a:pt x="410" y="193"/>
                    </a:lnTo>
                    <a:lnTo>
                      <a:pt x="414" y="229"/>
                    </a:lnTo>
                    <a:lnTo>
                      <a:pt x="417" y="265"/>
                    </a:lnTo>
                    <a:lnTo>
                      <a:pt x="422" y="301"/>
                    </a:lnTo>
                    <a:lnTo>
                      <a:pt x="425" y="338"/>
                    </a:lnTo>
                    <a:lnTo>
                      <a:pt x="430" y="375"/>
                    </a:lnTo>
                    <a:lnTo>
                      <a:pt x="435" y="414"/>
                    </a:lnTo>
                    <a:lnTo>
                      <a:pt x="450" y="418"/>
                    </a:lnTo>
                    <a:lnTo>
                      <a:pt x="441" y="450"/>
                    </a:lnTo>
                    <a:lnTo>
                      <a:pt x="428" y="450"/>
                    </a:lnTo>
                    <a:lnTo>
                      <a:pt x="377" y="449"/>
                    </a:lnTo>
                    <a:lnTo>
                      <a:pt x="326" y="448"/>
                    </a:lnTo>
                    <a:lnTo>
                      <a:pt x="264" y="447"/>
                    </a:lnTo>
                    <a:lnTo>
                      <a:pt x="247" y="462"/>
                    </a:lnTo>
                    <a:lnTo>
                      <a:pt x="245" y="462"/>
                    </a:lnTo>
                    <a:lnTo>
                      <a:pt x="233" y="459"/>
                    </a:lnTo>
                    <a:lnTo>
                      <a:pt x="226" y="447"/>
                    </a:lnTo>
                    <a:lnTo>
                      <a:pt x="225" y="438"/>
                    </a:lnTo>
                    <a:lnTo>
                      <a:pt x="221" y="436"/>
                    </a:lnTo>
                    <a:lnTo>
                      <a:pt x="217" y="436"/>
                    </a:lnTo>
                    <a:lnTo>
                      <a:pt x="216" y="435"/>
                    </a:lnTo>
                    <a:lnTo>
                      <a:pt x="214" y="435"/>
                    </a:lnTo>
                    <a:lnTo>
                      <a:pt x="213" y="435"/>
                    </a:lnTo>
                    <a:lnTo>
                      <a:pt x="210" y="442"/>
                    </a:lnTo>
                    <a:lnTo>
                      <a:pt x="206" y="450"/>
                    </a:lnTo>
                    <a:lnTo>
                      <a:pt x="202" y="462"/>
                    </a:lnTo>
                    <a:lnTo>
                      <a:pt x="185" y="477"/>
                    </a:lnTo>
                    <a:lnTo>
                      <a:pt x="181" y="473"/>
                    </a:lnTo>
                    <a:lnTo>
                      <a:pt x="176" y="473"/>
                    </a:lnTo>
                    <a:lnTo>
                      <a:pt x="175" y="471"/>
                    </a:lnTo>
                    <a:lnTo>
                      <a:pt x="174" y="466"/>
                    </a:lnTo>
                    <a:lnTo>
                      <a:pt x="172" y="465"/>
                    </a:lnTo>
                    <a:lnTo>
                      <a:pt x="168" y="463"/>
                    </a:lnTo>
                    <a:lnTo>
                      <a:pt x="165" y="463"/>
                    </a:lnTo>
                    <a:lnTo>
                      <a:pt x="162" y="462"/>
                    </a:lnTo>
                    <a:lnTo>
                      <a:pt x="161" y="459"/>
                    </a:lnTo>
                    <a:lnTo>
                      <a:pt x="157" y="458"/>
                    </a:lnTo>
                    <a:lnTo>
                      <a:pt x="161" y="456"/>
                    </a:lnTo>
                    <a:lnTo>
                      <a:pt x="157" y="454"/>
                    </a:lnTo>
                    <a:lnTo>
                      <a:pt x="156" y="452"/>
                    </a:lnTo>
                    <a:lnTo>
                      <a:pt x="154" y="448"/>
                    </a:lnTo>
                    <a:lnTo>
                      <a:pt x="153" y="448"/>
                    </a:lnTo>
                    <a:lnTo>
                      <a:pt x="151" y="449"/>
                    </a:lnTo>
                    <a:lnTo>
                      <a:pt x="150" y="448"/>
                    </a:lnTo>
                    <a:lnTo>
                      <a:pt x="149" y="446"/>
                    </a:lnTo>
                    <a:lnTo>
                      <a:pt x="147" y="443"/>
                    </a:lnTo>
                    <a:lnTo>
                      <a:pt x="144" y="442"/>
                    </a:lnTo>
                    <a:lnTo>
                      <a:pt x="144" y="439"/>
                    </a:lnTo>
                    <a:lnTo>
                      <a:pt x="140" y="432"/>
                    </a:lnTo>
                    <a:lnTo>
                      <a:pt x="134" y="423"/>
                    </a:lnTo>
                    <a:lnTo>
                      <a:pt x="131" y="423"/>
                    </a:lnTo>
                    <a:lnTo>
                      <a:pt x="128" y="425"/>
                    </a:lnTo>
                    <a:lnTo>
                      <a:pt x="126" y="424"/>
                    </a:lnTo>
                    <a:lnTo>
                      <a:pt x="126" y="421"/>
                    </a:lnTo>
                    <a:lnTo>
                      <a:pt x="123" y="423"/>
                    </a:lnTo>
                    <a:lnTo>
                      <a:pt x="119" y="423"/>
                    </a:lnTo>
                    <a:lnTo>
                      <a:pt x="114" y="420"/>
                    </a:lnTo>
                    <a:lnTo>
                      <a:pt x="113" y="415"/>
                    </a:lnTo>
                    <a:lnTo>
                      <a:pt x="105" y="408"/>
                    </a:lnTo>
                    <a:lnTo>
                      <a:pt x="101" y="408"/>
                    </a:lnTo>
                    <a:lnTo>
                      <a:pt x="99" y="405"/>
                    </a:lnTo>
                    <a:lnTo>
                      <a:pt x="96" y="406"/>
                    </a:lnTo>
                    <a:lnTo>
                      <a:pt x="95" y="405"/>
                    </a:lnTo>
                    <a:lnTo>
                      <a:pt x="83" y="405"/>
                    </a:lnTo>
                    <a:lnTo>
                      <a:pt x="78" y="404"/>
                    </a:lnTo>
                    <a:lnTo>
                      <a:pt x="75" y="404"/>
                    </a:lnTo>
                    <a:lnTo>
                      <a:pt x="70" y="404"/>
                    </a:lnTo>
                    <a:lnTo>
                      <a:pt x="70" y="406"/>
                    </a:lnTo>
                    <a:lnTo>
                      <a:pt x="68" y="407"/>
                    </a:lnTo>
                    <a:lnTo>
                      <a:pt x="63" y="406"/>
                    </a:lnTo>
                    <a:lnTo>
                      <a:pt x="54" y="408"/>
                    </a:lnTo>
                    <a:lnTo>
                      <a:pt x="54" y="410"/>
                    </a:lnTo>
                    <a:lnTo>
                      <a:pt x="48" y="411"/>
                    </a:lnTo>
                    <a:lnTo>
                      <a:pt x="41" y="408"/>
                    </a:lnTo>
                    <a:lnTo>
                      <a:pt x="35" y="408"/>
                    </a:lnTo>
                    <a:lnTo>
                      <a:pt x="29" y="408"/>
                    </a:lnTo>
                    <a:lnTo>
                      <a:pt x="28" y="410"/>
                    </a:lnTo>
                    <a:lnTo>
                      <a:pt x="25" y="410"/>
                    </a:lnTo>
                    <a:lnTo>
                      <a:pt x="22" y="417"/>
                    </a:lnTo>
                    <a:lnTo>
                      <a:pt x="19" y="423"/>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7" name="Freeform 133"/>
              <p:cNvSpPr>
                <a:spLocks/>
              </p:cNvSpPr>
              <p:nvPr/>
            </p:nvSpPr>
            <p:spPr bwMode="auto">
              <a:xfrm>
                <a:off x="575" y="1420"/>
                <a:ext cx="499" cy="501"/>
              </a:xfrm>
              <a:custGeom>
                <a:avLst/>
                <a:gdLst>
                  <a:gd name="T0" fmla="*/ 1350 w 466"/>
                  <a:gd name="T1" fmla="*/ 10867 h 477"/>
                  <a:gd name="T2" fmla="*/ 2036 w 466"/>
                  <a:gd name="T3" fmla="*/ 10183 h 477"/>
                  <a:gd name="T4" fmla="*/ 3196 w 466"/>
                  <a:gd name="T5" fmla="*/ 8754 h 477"/>
                  <a:gd name="T6" fmla="*/ 2866 w 466"/>
                  <a:gd name="T7" fmla="*/ 8055 h 477"/>
                  <a:gd name="T8" fmla="*/ 2036 w 466"/>
                  <a:gd name="T9" fmla="*/ 7556 h 477"/>
                  <a:gd name="T10" fmla="*/ 2604 w 466"/>
                  <a:gd name="T11" fmla="*/ 7090 h 477"/>
                  <a:gd name="T12" fmla="*/ 2036 w 466"/>
                  <a:gd name="T13" fmla="*/ 6438 h 477"/>
                  <a:gd name="T14" fmla="*/ 837 w 466"/>
                  <a:gd name="T15" fmla="*/ 6098 h 477"/>
                  <a:gd name="T16" fmla="*/ 0 w 466"/>
                  <a:gd name="T17" fmla="*/ 6119 h 477"/>
                  <a:gd name="T18" fmla="*/ 1 w 466"/>
                  <a:gd name="T19" fmla="*/ 5954 h 477"/>
                  <a:gd name="T20" fmla="*/ 959 w 466"/>
                  <a:gd name="T21" fmla="*/ 5638 h 477"/>
                  <a:gd name="T22" fmla="*/ 9547 w 466"/>
                  <a:gd name="T23" fmla="*/ 5638 h 477"/>
                  <a:gd name="T24" fmla="*/ 14084 w 466"/>
                  <a:gd name="T25" fmla="*/ 5379 h 477"/>
                  <a:gd name="T26" fmla="*/ 13740 w 466"/>
                  <a:gd name="T27" fmla="*/ 4240 h 477"/>
                  <a:gd name="T28" fmla="*/ 14421 w 466"/>
                  <a:gd name="T29" fmla="*/ 3844 h 477"/>
                  <a:gd name="T30" fmla="*/ 16871 w 466"/>
                  <a:gd name="T31" fmla="*/ 3672 h 477"/>
                  <a:gd name="T32" fmla="*/ 18136 w 466"/>
                  <a:gd name="T33" fmla="*/ 2037 h 477"/>
                  <a:gd name="T34" fmla="*/ 22737 w 466"/>
                  <a:gd name="T35" fmla="*/ 1072 h 477"/>
                  <a:gd name="T36" fmla="*/ 29356 w 466"/>
                  <a:gd name="T37" fmla="*/ 0 h 477"/>
                  <a:gd name="T38" fmla="*/ 42591 w 466"/>
                  <a:gd name="T39" fmla="*/ 2113 h 477"/>
                  <a:gd name="T40" fmla="*/ 37051 w 466"/>
                  <a:gd name="T41" fmla="*/ 4006 h 477"/>
                  <a:gd name="T42" fmla="*/ 38295 w 466"/>
                  <a:gd name="T43" fmla="*/ 6762 h 477"/>
                  <a:gd name="T44" fmla="*/ 39304 w 466"/>
                  <a:gd name="T45" fmla="*/ 9560 h 477"/>
                  <a:gd name="T46" fmla="*/ 40257 w 466"/>
                  <a:gd name="T47" fmla="*/ 11507 h 477"/>
                  <a:gd name="T48" fmla="*/ 29788 w 466"/>
                  <a:gd name="T49" fmla="*/ 11455 h 477"/>
                  <a:gd name="T50" fmla="*/ 22328 w 466"/>
                  <a:gd name="T51" fmla="*/ 11774 h 477"/>
                  <a:gd name="T52" fmla="*/ 20686 w 466"/>
                  <a:gd name="T53" fmla="*/ 11189 h 477"/>
                  <a:gd name="T54" fmla="*/ 19674 w 466"/>
                  <a:gd name="T55" fmla="*/ 11077 h 477"/>
                  <a:gd name="T56" fmla="*/ 19318 w 466"/>
                  <a:gd name="T57" fmla="*/ 11273 h 477"/>
                  <a:gd name="T58" fmla="*/ 16908 w 466"/>
                  <a:gd name="T59" fmla="*/ 12167 h 477"/>
                  <a:gd name="T60" fmla="*/ 15858 w 466"/>
                  <a:gd name="T61" fmla="*/ 12031 h 477"/>
                  <a:gd name="T62" fmla="*/ 15442 w 466"/>
                  <a:gd name="T63" fmla="*/ 11798 h 477"/>
                  <a:gd name="T64" fmla="*/ 14713 w 466"/>
                  <a:gd name="T65" fmla="*/ 11730 h 477"/>
                  <a:gd name="T66" fmla="*/ 14421 w 466"/>
                  <a:gd name="T67" fmla="*/ 11584 h 477"/>
                  <a:gd name="T68" fmla="*/ 13908 w 466"/>
                  <a:gd name="T69" fmla="*/ 11455 h 477"/>
                  <a:gd name="T70" fmla="*/ 13721 w 466"/>
                  <a:gd name="T71" fmla="*/ 11414 h 477"/>
                  <a:gd name="T72" fmla="*/ 13153 w 466"/>
                  <a:gd name="T73" fmla="*/ 11195 h 477"/>
                  <a:gd name="T74" fmla="*/ 11982 w 466"/>
                  <a:gd name="T75" fmla="*/ 10777 h 477"/>
                  <a:gd name="T76" fmla="*/ 11718 w 466"/>
                  <a:gd name="T77" fmla="*/ 10733 h 477"/>
                  <a:gd name="T78" fmla="*/ 10450 w 466"/>
                  <a:gd name="T79" fmla="*/ 10695 h 477"/>
                  <a:gd name="T80" fmla="*/ 9172 w 466"/>
                  <a:gd name="T81" fmla="*/ 10438 h 477"/>
                  <a:gd name="T82" fmla="*/ 8615 w 466"/>
                  <a:gd name="T83" fmla="*/ 10346 h 477"/>
                  <a:gd name="T84" fmla="*/ 6931 w 466"/>
                  <a:gd name="T85" fmla="*/ 10296 h 477"/>
                  <a:gd name="T86" fmla="*/ 6331 w 466"/>
                  <a:gd name="T87" fmla="*/ 10384 h 477"/>
                  <a:gd name="T88" fmla="*/ 4935 w 466"/>
                  <a:gd name="T89" fmla="*/ 10475 h 477"/>
                  <a:gd name="T90" fmla="*/ 3196 w 466"/>
                  <a:gd name="T91" fmla="*/ 10438 h 477"/>
                  <a:gd name="T92" fmla="*/ 2271 w 466"/>
                  <a:gd name="T93" fmla="*/ 10475 h 4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66"/>
                  <a:gd name="T142" fmla="*/ 0 h 477"/>
                  <a:gd name="T143" fmla="*/ 466 w 466"/>
                  <a:gd name="T144" fmla="*/ 477 h 4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66" h="477">
                    <a:moveTo>
                      <a:pt x="19" y="423"/>
                    </a:moveTo>
                    <a:lnTo>
                      <a:pt x="17" y="425"/>
                    </a:lnTo>
                    <a:lnTo>
                      <a:pt x="16" y="425"/>
                    </a:lnTo>
                    <a:lnTo>
                      <a:pt x="17" y="417"/>
                    </a:lnTo>
                    <a:lnTo>
                      <a:pt x="20" y="406"/>
                    </a:lnTo>
                    <a:lnTo>
                      <a:pt x="22" y="400"/>
                    </a:lnTo>
                    <a:lnTo>
                      <a:pt x="33" y="375"/>
                    </a:lnTo>
                    <a:lnTo>
                      <a:pt x="35" y="366"/>
                    </a:lnTo>
                    <a:lnTo>
                      <a:pt x="35" y="343"/>
                    </a:lnTo>
                    <a:lnTo>
                      <a:pt x="35" y="333"/>
                    </a:lnTo>
                    <a:lnTo>
                      <a:pt x="33" y="325"/>
                    </a:lnTo>
                    <a:lnTo>
                      <a:pt x="32" y="316"/>
                    </a:lnTo>
                    <a:lnTo>
                      <a:pt x="18" y="300"/>
                    </a:lnTo>
                    <a:lnTo>
                      <a:pt x="19" y="296"/>
                    </a:lnTo>
                    <a:lnTo>
                      <a:pt x="22" y="296"/>
                    </a:lnTo>
                    <a:lnTo>
                      <a:pt x="25" y="294"/>
                    </a:lnTo>
                    <a:lnTo>
                      <a:pt x="28" y="281"/>
                    </a:lnTo>
                    <a:lnTo>
                      <a:pt x="29" y="277"/>
                    </a:lnTo>
                    <a:lnTo>
                      <a:pt x="29" y="267"/>
                    </a:lnTo>
                    <a:lnTo>
                      <a:pt x="28" y="264"/>
                    </a:lnTo>
                    <a:lnTo>
                      <a:pt x="22" y="252"/>
                    </a:lnTo>
                    <a:lnTo>
                      <a:pt x="16" y="252"/>
                    </a:lnTo>
                    <a:lnTo>
                      <a:pt x="14" y="252"/>
                    </a:lnTo>
                    <a:lnTo>
                      <a:pt x="9" y="237"/>
                    </a:lnTo>
                    <a:lnTo>
                      <a:pt x="6" y="234"/>
                    </a:lnTo>
                    <a:lnTo>
                      <a:pt x="0" y="236"/>
                    </a:lnTo>
                    <a:lnTo>
                      <a:pt x="0" y="239"/>
                    </a:lnTo>
                    <a:lnTo>
                      <a:pt x="0" y="236"/>
                    </a:lnTo>
                    <a:lnTo>
                      <a:pt x="3" y="234"/>
                    </a:lnTo>
                    <a:lnTo>
                      <a:pt x="1" y="234"/>
                    </a:lnTo>
                    <a:lnTo>
                      <a:pt x="3" y="230"/>
                    </a:lnTo>
                    <a:lnTo>
                      <a:pt x="10" y="226"/>
                    </a:lnTo>
                    <a:lnTo>
                      <a:pt x="11" y="221"/>
                    </a:lnTo>
                    <a:lnTo>
                      <a:pt x="32" y="221"/>
                    </a:lnTo>
                    <a:lnTo>
                      <a:pt x="66" y="221"/>
                    </a:lnTo>
                    <a:lnTo>
                      <a:pt x="104" y="221"/>
                    </a:lnTo>
                    <a:lnTo>
                      <a:pt x="139" y="221"/>
                    </a:lnTo>
                    <a:lnTo>
                      <a:pt x="156" y="221"/>
                    </a:lnTo>
                    <a:lnTo>
                      <a:pt x="154" y="211"/>
                    </a:lnTo>
                    <a:lnTo>
                      <a:pt x="153" y="198"/>
                    </a:lnTo>
                    <a:lnTo>
                      <a:pt x="151" y="185"/>
                    </a:lnTo>
                    <a:lnTo>
                      <a:pt x="150" y="167"/>
                    </a:lnTo>
                    <a:lnTo>
                      <a:pt x="151" y="163"/>
                    </a:lnTo>
                    <a:lnTo>
                      <a:pt x="154" y="155"/>
                    </a:lnTo>
                    <a:lnTo>
                      <a:pt x="157" y="151"/>
                    </a:lnTo>
                    <a:lnTo>
                      <a:pt x="161" y="149"/>
                    </a:lnTo>
                    <a:lnTo>
                      <a:pt x="172" y="145"/>
                    </a:lnTo>
                    <a:lnTo>
                      <a:pt x="184" y="145"/>
                    </a:lnTo>
                    <a:lnTo>
                      <a:pt x="199" y="141"/>
                    </a:lnTo>
                    <a:lnTo>
                      <a:pt x="199" y="117"/>
                    </a:lnTo>
                    <a:lnTo>
                      <a:pt x="199" y="81"/>
                    </a:lnTo>
                    <a:lnTo>
                      <a:pt x="199" y="43"/>
                    </a:lnTo>
                    <a:lnTo>
                      <a:pt x="210" y="43"/>
                    </a:lnTo>
                    <a:lnTo>
                      <a:pt x="248" y="43"/>
                    </a:lnTo>
                    <a:lnTo>
                      <a:pt x="286" y="43"/>
                    </a:lnTo>
                    <a:lnTo>
                      <a:pt x="322" y="43"/>
                    </a:lnTo>
                    <a:lnTo>
                      <a:pt x="322" y="0"/>
                    </a:lnTo>
                    <a:lnTo>
                      <a:pt x="371" y="27"/>
                    </a:lnTo>
                    <a:lnTo>
                      <a:pt x="412" y="51"/>
                    </a:lnTo>
                    <a:lnTo>
                      <a:pt x="466" y="83"/>
                    </a:lnTo>
                    <a:lnTo>
                      <a:pt x="398" y="83"/>
                    </a:lnTo>
                    <a:lnTo>
                      <a:pt x="402" y="120"/>
                    </a:lnTo>
                    <a:lnTo>
                      <a:pt x="405" y="157"/>
                    </a:lnTo>
                    <a:lnTo>
                      <a:pt x="410" y="193"/>
                    </a:lnTo>
                    <a:lnTo>
                      <a:pt x="414" y="229"/>
                    </a:lnTo>
                    <a:lnTo>
                      <a:pt x="417" y="265"/>
                    </a:lnTo>
                    <a:lnTo>
                      <a:pt x="422" y="301"/>
                    </a:lnTo>
                    <a:lnTo>
                      <a:pt x="425" y="338"/>
                    </a:lnTo>
                    <a:lnTo>
                      <a:pt x="430" y="375"/>
                    </a:lnTo>
                    <a:lnTo>
                      <a:pt x="435" y="414"/>
                    </a:lnTo>
                    <a:lnTo>
                      <a:pt x="450" y="418"/>
                    </a:lnTo>
                    <a:lnTo>
                      <a:pt x="441" y="450"/>
                    </a:lnTo>
                    <a:lnTo>
                      <a:pt x="428" y="450"/>
                    </a:lnTo>
                    <a:lnTo>
                      <a:pt x="377" y="449"/>
                    </a:lnTo>
                    <a:lnTo>
                      <a:pt x="326" y="448"/>
                    </a:lnTo>
                    <a:lnTo>
                      <a:pt x="264" y="447"/>
                    </a:lnTo>
                    <a:lnTo>
                      <a:pt x="247" y="462"/>
                    </a:lnTo>
                    <a:lnTo>
                      <a:pt x="245" y="462"/>
                    </a:lnTo>
                    <a:lnTo>
                      <a:pt x="233" y="459"/>
                    </a:lnTo>
                    <a:lnTo>
                      <a:pt x="226" y="447"/>
                    </a:lnTo>
                    <a:lnTo>
                      <a:pt x="225" y="438"/>
                    </a:lnTo>
                    <a:lnTo>
                      <a:pt x="221" y="436"/>
                    </a:lnTo>
                    <a:lnTo>
                      <a:pt x="217" y="436"/>
                    </a:lnTo>
                    <a:lnTo>
                      <a:pt x="216" y="435"/>
                    </a:lnTo>
                    <a:lnTo>
                      <a:pt x="214" y="435"/>
                    </a:lnTo>
                    <a:lnTo>
                      <a:pt x="213" y="435"/>
                    </a:lnTo>
                    <a:lnTo>
                      <a:pt x="210" y="442"/>
                    </a:lnTo>
                    <a:lnTo>
                      <a:pt x="206" y="450"/>
                    </a:lnTo>
                    <a:lnTo>
                      <a:pt x="202" y="462"/>
                    </a:lnTo>
                    <a:lnTo>
                      <a:pt x="185" y="477"/>
                    </a:lnTo>
                    <a:lnTo>
                      <a:pt x="181" y="473"/>
                    </a:lnTo>
                    <a:lnTo>
                      <a:pt x="176" y="473"/>
                    </a:lnTo>
                    <a:lnTo>
                      <a:pt x="175" y="471"/>
                    </a:lnTo>
                    <a:lnTo>
                      <a:pt x="174" y="466"/>
                    </a:lnTo>
                    <a:lnTo>
                      <a:pt x="172" y="465"/>
                    </a:lnTo>
                    <a:lnTo>
                      <a:pt x="168" y="463"/>
                    </a:lnTo>
                    <a:lnTo>
                      <a:pt x="165" y="463"/>
                    </a:lnTo>
                    <a:lnTo>
                      <a:pt x="162" y="462"/>
                    </a:lnTo>
                    <a:lnTo>
                      <a:pt x="161" y="459"/>
                    </a:lnTo>
                    <a:lnTo>
                      <a:pt x="157" y="458"/>
                    </a:lnTo>
                    <a:lnTo>
                      <a:pt x="161" y="456"/>
                    </a:lnTo>
                    <a:lnTo>
                      <a:pt x="157" y="454"/>
                    </a:lnTo>
                    <a:lnTo>
                      <a:pt x="156" y="452"/>
                    </a:lnTo>
                    <a:lnTo>
                      <a:pt x="154" y="448"/>
                    </a:lnTo>
                    <a:lnTo>
                      <a:pt x="153" y="448"/>
                    </a:lnTo>
                    <a:lnTo>
                      <a:pt x="151" y="449"/>
                    </a:lnTo>
                    <a:lnTo>
                      <a:pt x="150" y="448"/>
                    </a:lnTo>
                    <a:lnTo>
                      <a:pt x="149" y="446"/>
                    </a:lnTo>
                    <a:lnTo>
                      <a:pt x="147" y="443"/>
                    </a:lnTo>
                    <a:lnTo>
                      <a:pt x="144" y="442"/>
                    </a:lnTo>
                    <a:lnTo>
                      <a:pt x="144" y="439"/>
                    </a:lnTo>
                    <a:lnTo>
                      <a:pt x="140" y="432"/>
                    </a:lnTo>
                    <a:lnTo>
                      <a:pt x="134" y="423"/>
                    </a:lnTo>
                    <a:lnTo>
                      <a:pt x="131" y="423"/>
                    </a:lnTo>
                    <a:lnTo>
                      <a:pt x="128" y="425"/>
                    </a:lnTo>
                    <a:lnTo>
                      <a:pt x="126" y="424"/>
                    </a:lnTo>
                    <a:lnTo>
                      <a:pt x="126" y="421"/>
                    </a:lnTo>
                    <a:lnTo>
                      <a:pt x="123" y="423"/>
                    </a:lnTo>
                    <a:lnTo>
                      <a:pt x="119" y="423"/>
                    </a:lnTo>
                    <a:lnTo>
                      <a:pt x="114" y="420"/>
                    </a:lnTo>
                    <a:lnTo>
                      <a:pt x="113" y="415"/>
                    </a:lnTo>
                    <a:lnTo>
                      <a:pt x="105" y="408"/>
                    </a:lnTo>
                    <a:lnTo>
                      <a:pt x="101" y="408"/>
                    </a:lnTo>
                    <a:lnTo>
                      <a:pt x="99" y="405"/>
                    </a:lnTo>
                    <a:lnTo>
                      <a:pt x="96" y="406"/>
                    </a:lnTo>
                    <a:lnTo>
                      <a:pt x="95" y="405"/>
                    </a:lnTo>
                    <a:lnTo>
                      <a:pt x="83" y="405"/>
                    </a:lnTo>
                    <a:lnTo>
                      <a:pt x="78" y="404"/>
                    </a:lnTo>
                    <a:lnTo>
                      <a:pt x="75" y="404"/>
                    </a:lnTo>
                    <a:lnTo>
                      <a:pt x="70" y="404"/>
                    </a:lnTo>
                    <a:lnTo>
                      <a:pt x="70" y="406"/>
                    </a:lnTo>
                    <a:lnTo>
                      <a:pt x="68" y="407"/>
                    </a:lnTo>
                    <a:lnTo>
                      <a:pt x="63" y="406"/>
                    </a:lnTo>
                    <a:lnTo>
                      <a:pt x="54" y="408"/>
                    </a:lnTo>
                    <a:lnTo>
                      <a:pt x="54" y="410"/>
                    </a:lnTo>
                    <a:lnTo>
                      <a:pt x="48" y="411"/>
                    </a:lnTo>
                    <a:lnTo>
                      <a:pt x="41" y="408"/>
                    </a:lnTo>
                    <a:lnTo>
                      <a:pt x="35" y="408"/>
                    </a:lnTo>
                    <a:lnTo>
                      <a:pt x="29" y="408"/>
                    </a:lnTo>
                    <a:lnTo>
                      <a:pt x="28" y="410"/>
                    </a:lnTo>
                    <a:lnTo>
                      <a:pt x="25" y="410"/>
                    </a:lnTo>
                    <a:lnTo>
                      <a:pt x="22" y="417"/>
                    </a:lnTo>
                    <a:lnTo>
                      <a:pt x="19" y="423"/>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48" name="Freeform 134"/>
              <p:cNvSpPr>
                <a:spLocks/>
              </p:cNvSpPr>
              <p:nvPr/>
            </p:nvSpPr>
            <p:spPr bwMode="auto">
              <a:xfrm>
                <a:off x="2541" y="2432"/>
                <a:ext cx="38" cy="48"/>
              </a:xfrm>
              <a:custGeom>
                <a:avLst/>
                <a:gdLst>
                  <a:gd name="T0" fmla="*/ 6893 w 35"/>
                  <a:gd name="T1" fmla="*/ 2 h 46"/>
                  <a:gd name="T2" fmla="*/ 7330 w 35"/>
                  <a:gd name="T3" fmla="*/ 0 h 46"/>
                  <a:gd name="T4" fmla="*/ 7734 w 35"/>
                  <a:gd name="T5" fmla="*/ 0 h 46"/>
                  <a:gd name="T6" fmla="*/ 7958 w 35"/>
                  <a:gd name="T7" fmla="*/ 2 h 46"/>
                  <a:gd name="T8" fmla="*/ 7958 w 35"/>
                  <a:gd name="T9" fmla="*/ 241 h 46"/>
                  <a:gd name="T10" fmla="*/ 7734 w 35"/>
                  <a:gd name="T11" fmla="*/ 297 h 46"/>
                  <a:gd name="T12" fmla="*/ 6893 w 35"/>
                  <a:gd name="T13" fmla="*/ 337 h 46"/>
                  <a:gd name="T14" fmla="*/ 5386 w 35"/>
                  <a:gd name="T15" fmla="*/ 400 h 46"/>
                  <a:gd name="T16" fmla="*/ 4569 w 35"/>
                  <a:gd name="T17" fmla="*/ 454 h 46"/>
                  <a:gd name="T18" fmla="*/ 2569 w 35"/>
                  <a:gd name="T19" fmla="*/ 638 h 46"/>
                  <a:gd name="T20" fmla="*/ 1849 w 35"/>
                  <a:gd name="T21" fmla="*/ 744 h 46"/>
                  <a:gd name="T22" fmla="*/ 4 w 35"/>
                  <a:gd name="T23" fmla="*/ 744 h 46"/>
                  <a:gd name="T24" fmla="*/ 3 w 35"/>
                  <a:gd name="T25" fmla="*/ 713 h 46"/>
                  <a:gd name="T26" fmla="*/ 3 w 35"/>
                  <a:gd name="T27" fmla="*/ 638 h 46"/>
                  <a:gd name="T28" fmla="*/ 1 w 35"/>
                  <a:gd name="T29" fmla="*/ 638 h 46"/>
                  <a:gd name="T30" fmla="*/ 0 w 35"/>
                  <a:gd name="T31" fmla="*/ 638 h 46"/>
                  <a:gd name="T32" fmla="*/ 0 w 35"/>
                  <a:gd name="T33" fmla="*/ 517 h 46"/>
                  <a:gd name="T34" fmla="*/ 3 w 35"/>
                  <a:gd name="T35" fmla="*/ 417 h 46"/>
                  <a:gd name="T36" fmla="*/ 2366 w 35"/>
                  <a:gd name="T37" fmla="*/ 297 h 46"/>
                  <a:gd name="T38" fmla="*/ 4961 w 35"/>
                  <a:gd name="T39" fmla="*/ 9 h 46"/>
                  <a:gd name="T40" fmla="*/ 6043 w 35"/>
                  <a:gd name="T41" fmla="*/ 4 h 46"/>
                  <a:gd name="T42" fmla="*/ 6893 w 35"/>
                  <a:gd name="T43" fmla="*/ 2 h 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
                  <a:gd name="T67" fmla="*/ 0 h 46"/>
                  <a:gd name="T68" fmla="*/ 35 w 35"/>
                  <a:gd name="T69" fmla="*/ 46 h 4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 h="46">
                    <a:moveTo>
                      <a:pt x="30" y="2"/>
                    </a:moveTo>
                    <a:lnTo>
                      <a:pt x="32" y="0"/>
                    </a:lnTo>
                    <a:lnTo>
                      <a:pt x="34" y="0"/>
                    </a:lnTo>
                    <a:lnTo>
                      <a:pt x="35" y="2"/>
                    </a:lnTo>
                    <a:lnTo>
                      <a:pt x="35" y="14"/>
                    </a:lnTo>
                    <a:lnTo>
                      <a:pt x="34" y="19"/>
                    </a:lnTo>
                    <a:lnTo>
                      <a:pt x="30" y="22"/>
                    </a:lnTo>
                    <a:lnTo>
                      <a:pt x="24" y="26"/>
                    </a:lnTo>
                    <a:lnTo>
                      <a:pt x="20" y="29"/>
                    </a:lnTo>
                    <a:lnTo>
                      <a:pt x="12" y="39"/>
                    </a:lnTo>
                    <a:lnTo>
                      <a:pt x="8" y="46"/>
                    </a:lnTo>
                    <a:lnTo>
                      <a:pt x="4" y="46"/>
                    </a:lnTo>
                    <a:lnTo>
                      <a:pt x="3" y="44"/>
                    </a:lnTo>
                    <a:lnTo>
                      <a:pt x="3" y="39"/>
                    </a:lnTo>
                    <a:lnTo>
                      <a:pt x="1" y="39"/>
                    </a:lnTo>
                    <a:lnTo>
                      <a:pt x="0" y="39"/>
                    </a:lnTo>
                    <a:lnTo>
                      <a:pt x="0" y="32"/>
                    </a:lnTo>
                    <a:lnTo>
                      <a:pt x="3" y="27"/>
                    </a:lnTo>
                    <a:lnTo>
                      <a:pt x="11" y="19"/>
                    </a:lnTo>
                    <a:lnTo>
                      <a:pt x="22" y="9"/>
                    </a:lnTo>
                    <a:lnTo>
                      <a:pt x="27" y="4"/>
                    </a:lnTo>
                    <a:lnTo>
                      <a:pt x="3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9" name="Freeform 135"/>
              <p:cNvSpPr>
                <a:spLocks/>
              </p:cNvSpPr>
              <p:nvPr/>
            </p:nvSpPr>
            <p:spPr bwMode="auto">
              <a:xfrm>
                <a:off x="1818" y="1940"/>
                <a:ext cx="85" cy="75"/>
              </a:xfrm>
              <a:custGeom>
                <a:avLst/>
                <a:gdLst>
                  <a:gd name="T0" fmla="*/ 3230 w 80"/>
                  <a:gd name="T1" fmla="*/ 2272 h 71"/>
                  <a:gd name="T2" fmla="*/ 3865 w 80"/>
                  <a:gd name="T3" fmla="*/ 2136 h 71"/>
                  <a:gd name="T4" fmla="*/ 4153 w 80"/>
                  <a:gd name="T5" fmla="*/ 1914 h 71"/>
                  <a:gd name="T6" fmla="*/ 4364 w 80"/>
                  <a:gd name="T7" fmla="*/ 1727 h 71"/>
                  <a:gd name="T8" fmla="*/ 4374 w 80"/>
                  <a:gd name="T9" fmla="*/ 1635 h 71"/>
                  <a:gd name="T10" fmla="*/ 4111 w 80"/>
                  <a:gd name="T11" fmla="*/ 1243 h 71"/>
                  <a:gd name="T12" fmla="*/ 3865 w 80"/>
                  <a:gd name="T13" fmla="*/ 1243 h 71"/>
                  <a:gd name="T14" fmla="*/ 3511 w 80"/>
                  <a:gd name="T15" fmla="*/ 1243 h 71"/>
                  <a:gd name="T16" fmla="*/ 3230 w 80"/>
                  <a:gd name="T17" fmla="*/ 1114 h 71"/>
                  <a:gd name="T18" fmla="*/ 2856 w 80"/>
                  <a:gd name="T19" fmla="*/ 1177 h 71"/>
                  <a:gd name="T20" fmla="*/ 2161 w 80"/>
                  <a:gd name="T21" fmla="*/ 1114 h 71"/>
                  <a:gd name="T22" fmla="*/ 2034 w 80"/>
                  <a:gd name="T23" fmla="*/ 543 h 71"/>
                  <a:gd name="T24" fmla="*/ 1758 w 80"/>
                  <a:gd name="T25" fmla="*/ 413 h 71"/>
                  <a:gd name="T26" fmla="*/ 1558 w 80"/>
                  <a:gd name="T27" fmla="*/ 7 h 71"/>
                  <a:gd name="T28" fmla="*/ 1380 w 80"/>
                  <a:gd name="T29" fmla="*/ 4 h 71"/>
                  <a:gd name="T30" fmla="*/ 753 w 80"/>
                  <a:gd name="T31" fmla="*/ 0 h 71"/>
                  <a:gd name="T32" fmla="*/ 591 w 80"/>
                  <a:gd name="T33" fmla="*/ 2 h 71"/>
                  <a:gd name="T34" fmla="*/ 7 w 80"/>
                  <a:gd name="T35" fmla="*/ 4 h 71"/>
                  <a:gd name="T36" fmla="*/ 3 w 80"/>
                  <a:gd name="T37" fmla="*/ 5 h 71"/>
                  <a:gd name="T38" fmla="*/ 0 w 80"/>
                  <a:gd name="T39" fmla="*/ 413 h 71"/>
                  <a:gd name="T40" fmla="*/ 0 w 80"/>
                  <a:gd name="T41" fmla="*/ 514 h 71"/>
                  <a:gd name="T42" fmla="*/ 2 w 80"/>
                  <a:gd name="T43" fmla="*/ 606 h 71"/>
                  <a:gd name="T44" fmla="*/ 5 w 80"/>
                  <a:gd name="T45" fmla="*/ 714 h 71"/>
                  <a:gd name="T46" fmla="*/ 7 w 80"/>
                  <a:gd name="T47" fmla="*/ 1106 h 71"/>
                  <a:gd name="T48" fmla="*/ 591 w 80"/>
                  <a:gd name="T49" fmla="*/ 1243 h 71"/>
                  <a:gd name="T50" fmla="*/ 800 w 80"/>
                  <a:gd name="T51" fmla="*/ 1537 h 71"/>
                  <a:gd name="T52" fmla="*/ 1380 w 80"/>
                  <a:gd name="T53" fmla="*/ 1635 h 71"/>
                  <a:gd name="T54" fmla="*/ 1501 w 80"/>
                  <a:gd name="T55" fmla="*/ 1914 h 71"/>
                  <a:gd name="T56" fmla="*/ 1758 w 80"/>
                  <a:gd name="T57" fmla="*/ 2432 h 71"/>
                  <a:gd name="T58" fmla="*/ 2161 w 80"/>
                  <a:gd name="T59" fmla="*/ 2659 h 71"/>
                  <a:gd name="T60" fmla="*/ 2380 w 80"/>
                  <a:gd name="T61" fmla="*/ 2659 h 71"/>
                  <a:gd name="T62" fmla="*/ 2687 w 80"/>
                  <a:gd name="T63" fmla="*/ 2272 h 71"/>
                  <a:gd name="T64" fmla="*/ 3033 w 80"/>
                  <a:gd name="T65" fmla="*/ 2272 h 71"/>
                  <a:gd name="T66" fmla="*/ 3230 w 80"/>
                  <a:gd name="T67" fmla="*/ 2272 h 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0"/>
                  <a:gd name="T103" fmla="*/ 0 h 71"/>
                  <a:gd name="T104" fmla="*/ 80 w 80"/>
                  <a:gd name="T105" fmla="*/ 71 h 7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0" h="71">
                    <a:moveTo>
                      <a:pt x="59" y="61"/>
                    </a:moveTo>
                    <a:lnTo>
                      <a:pt x="69" y="57"/>
                    </a:lnTo>
                    <a:lnTo>
                      <a:pt x="76" y="51"/>
                    </a:lnTo>
                    <a:lnTo>
                      <a:pt x="78" y="46"/>
                    </a:lnTo>
                    <a:lnTo>
                      <a:pt x="80" y="44"/>
                    </a:lnTo>
                    <a:lnTo>
                      <a:pt x="74" y="34"/>
                    </a:lnTo>
                    <a:lnTo>
                      <a:pt x="69" y="34"/>
                    </a:lnTo>
                    <a:lnTo>
                      <a:pt x="64" y="34"/>
                    </a:lnTo>
                    <a:lnTo>
                      <a:pt x="59" y="30"/>
                    </a:lnTo>
                    <a:lnTo>
                      <a:pt x="52" y="32"/>
                    </a:lnTo>
                    <a:lnTo>
                      <a:pt x="39" y="30"/>
                    </a:lnTo>
                    <a:lnTo>
                      <a:pt x="37" y="15"/>
                    </a:lnTo>
                    <a:lnTo>
                      <a:pt x="32" y="10"/>
                    </a:lnTo>
                    <a:lnTo>
                      <a:pt x="28" y="7"/>
                    </a:lnTo>
                    <a:lnTo>
                      <a:pt x="24" y="4"/>
                    </a:lnTo>
                    <a:lnTo>
                      <a:pt x="14" y="0"/>
                    </a:lnTo>
                    <a:lnTo>
                      <a:pt x="10" y="2"/>
                    </a:lnTo>
                    <a:lnTo>
                      <a:pt x="7" y="4"/>
                    </a:lnTo>
                    <a:lnTo>
                      <a:pt x="3" y="5"/>
                    </a:lnTo>
                    <a:lnTo>
                      <a:pt x="0" y="10"/>
                    </a:lnTo>
                    <a:lnTo>
                      <a:pt x="0" y="14"/>
                    </a:lnTo>
                    <a:lnTo>
                      <a:pt x="2" y="17"/>
                    </a:lnTo>
                    <a:lnTo>
                      <a:pt x="5" y="20"/>
                    </a:lnTo>
                    <a:lnTo>
                      <a:pt x="7" y="29"/>
                    </a:lnTo>
                    <a:lnTo>
                      <a:pt x="10" y="34"/>
                    </a:lnTo>
                    <a:lnTo>
                      <a:pt x="15" y="41"/>
                    </a:lnTo>
                    <a:lnTo>
                      <a:pt x="24" y="44"/>
                    </a:lnTo>
                    <a:lnTo>
                      <a:pt x="27" y="51"/>
                    </a:lnTo>
                    <a:lnTo>
                      <a:pt x="32" y="66"/>
                    </a:lnTo>
                    <a:lnTo>
                      <a:pt x="39" y="71"/>
                    </a:lnTo>
                    <a:lnTo>
                      <a:pt x="42" y="71"/>
                    </a:lnTo>
                    <a:lnTo>
                      <a:pt x="48" y="61"/>
                    </a:lnTo>
                    <a:lnTo>
                      <a:pt x="54" y="61"/>
                    </a:lnTo>
                    <a:lnTo>
                      <a:pt x="59"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0" name="Freeform 136"/>
              <p:cNvSpPr>
                <a:spLocks/>
              </p:cNvSpPr>
              <p:nvPr/>
            </p:nvSpPr>
            <p:spPr bwMode="auto">
              <a:xfrm>
                <a:off x="2767" y="2341"/>
                <a:ext cx="35" cy="86"/>
              </a:xfrm>
              <a:custGeom>
                <a:avLst/>
                <a:gdLst>
                  <a:gd name="T0" fmla="*/ 7 w 33"/>
                  <a:gd name="T1" fmla="*/ 0 h 82"/>
                  <a:gd name="T2" fmla="*/ 2 w 33"/>
                  <a:gd name="T3" fmla="*/ 4 h 82"/>
                  <a:gd name="T4" fmla="*/ 0 w 33"/>
                  <a:gd name="T5" fmla="*/ 309 h 82"/>
                  <a:gd name="T6" fmla="*/ 0 w 33"/>
                  <a:gd name="T7" fmla="*/ 497 h 82"/>
                  <a:gd name="T8" fmla="*/ 2 w 33"/>
                  <a:gd name="T9" fmla="*/ 795 h 82"/>
                  <a:gd name="T10" fmla="*/ 6 w 33"/>
                  <a:gd name="T11" fmla="*/ 918 h 82"/>
                  <a:gd name="T12" fmla="*/ 6 w 33"/>
                  <a:gd name="T13" fmla="*/ 1165 h 82"/>
                  <a:gd name="T14" fmla="*/ 7 w 33"/>
                  <a:gd name="T15" fmla="*/ 1268 h 82"/>
                  <a:gd name="T16" fmla="*/ 549 w 33"/>
                  <a:gd name="T17" fmla="*/ 1330 h 82"/>
                  <a:gd name="T18" fmla="*/ 878 w 33"/>
                  <a:gd name="T19" fmla="*/ 1463 h 82"/>
                  <a:gd name="T20" fmla="*/ 1177 w 33"/>
                  <a:gd name="T21" fmla="*/ 1552 h 82"/>
                  <a:gd name="T22" fmla="*/ 1404 w 33"/>
                  <a:gd name="T23" fmla="*/ 1877 h 82"/>
                  <a:gd name="T24" fmla="*/ 1579 w 33"/>
                  <a:gd name="T25" fmla="*/ 1884 h 82"/>
                  <a:gd name="T26" fmla="*/ 1404 w 33"/>
                  <a:gd name="T27" fmla="*/ 1628 h 82"/>
                  <a:gd name="T28" fmla="*/ 1110 w 33"/>
                  <a:gd name="T29" fmla="*/ 1411 h 82"/>
                  <a:gd name="T30" fmla="*/ 781 w 33"/>
                  <a:gd name="T31" fmla="*/ 1268 h 82"/>
                  <a:gd name="T32" fmla="*/ 736 w 33"/>
                  <a:gd name="T33" fmla="*/ 1010 h 82"/>
                  <a:gd name="T34" fmla="*/ 654 w 33"/>
                  <a:gd name="T35" fmla="*/ 762 h 82"/>
                  <a:gd name="T36" fmla="*/ 781 w 33"/>
                  <a:gd name="T37" fmla="*/ 661 h 82"/>
                  <a:gd name="T38" fmla="*/ 654 w 33"/>
                  <a:gd name="T39" fmla="*/ 452 h 82"/>
                  <a:gd name="T40" fmla="*/ 654 w 33"/>
                  <a:gd name="T41" fmla="*/ 309 h 82"/>
                  <a:gd name="T42" fmla="*/ 549 w 33"/>
                  <a:gd name="T43" fmla="*/ 6 h 82"/>
                  <a:gd name="T44" fmla="*/ 7 w 33"/>
                  <a:gd name="T45" fmla="*/ 0 h 8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
                  <a:gd name="T70" fmla="*/ 0 h 82"/>
                  <a:gd name="T71" fmla="*/ 33 w 33"/>
                  <a:gd name="T72" fmla="*/ 82 h 8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 h="82">
                    <a:moveTo>
                      <a:pt x="7" y="0"/>
                    </a:moveTo>
                    <a:lnTo>
                      <a:pt x="2" y="4"/>
                    </a:lnTo>
                    <a:lnTo>
                      <a:pt x="0" y="13"/>
                    </a:lnTo>
                    <a:lnTo>
                      <a:pt x="0" y="23"/>
                    </a:lnTo>
                    <a:lnTo>
                      <a:pt x="2" y="34"/>
                    </a:lnTo>
                    <a:lnTo>
                      <a:pt x="6" y="40"/>
                    </a:lnTo>
                    <a:lnTo>
                      <a:pt x="6" y="50"/>
                    </a:lnTo>
                    <a:lnTo>
                      <a:pt x="7" y="54"/>
                    </a:lnTo>
                    <a:lnTo>
                      <a:pt x="11" y="57"/>
                    </a:lnTo>
                    <a:lnTo>
                      <a:pt x="19" y="63"/>
                    </a:lnTo>
                    <a:lnTo>
                      <a:pt x="24" y="67"/>
                    </a:lnTo>
                    <a:lnTo>
                      <a:pt x="29" y="81"/>
                    </a:lnTo>
                    <a:lnTo>
                      <a:pt x="33" y="82"/>
                    </a:lnTo>
                    <a:lnTo>
                      <a:pt x="29" y="70"/>
                    </a:lnTo>
                    <a:lnTo>
                      <a:pt x="23" y="61"/>
                    </a:lnTo>
                    <a:lnTo>
                      <a:pt x="17" y="54"/>
                    </a:lnTo>
                    <a:lnTo>
                      <a:pt x="16" y="44"/>
                    </a:lnTo>
                    <a:lnTo>
                      <a:pt x="14" y="33"/>
                    </a:lnTo>
                    <a:lnTo>
                      <a:pt x="17" y="29"/>
                    </a:lnTo>
                    <a:lnTo>
                      <a:pt x="14" y="21"/>
                    </a:lnTo>
                    <a:lnTo>
                      <a:pt x="14" y="13"/>
                    </a:lnTo>
                    <a:lnTo>
                      <a:pt x="11" y="6"/>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1" name="Freeform 137"/>
              <p:cNvSpPr>
                <a:spLocks/>
              </p:cNvSpPr>
              <p:nvPr/>
            </p:nvSpPr>
            <p:spPr bwMode="auto">
              <a:xfrm>
                <a:off x="2767" y="2341"/>
                <a:ext cx="35" cy="86"/>
              </a:xfrm>
              <a:custGeom>
                <a:avLst/>
                <a:gdLst>
                  <a:gd name="T0" fmla="*/ 7 w 33"/>
                  <a:gd name="T1" fmla="*/ 0 h 82"/>
                  <a:gd name="T2" fmla="*/ 2 w 33"/>
                  <a:gd name="T3" fmla="*/ 4 h 82"/>
                  <a:gd name="T4" fmla="*/ 0 w 33"/>
                  <a:gd name="T5" fmla="*/ 309 h 82"/>
                  <a:gd name="T6" fmla="*/ 0 w 33"/>
                  <a:gd name="T7" fmla="*/ 497 h 82"/>
                  <a:gd name="T8" fmla="*/ 2 w 33"/>
                  <a:gd name="T9" fmla="*/ 795 h 82"/>
                  <a:gd name="T10" fmla="*/ 6 w 33"/>
                  <a:gd name="T11" fmla="*/ 918 h 82"/>
                  <a:gd name="T12" fmla="*/ 6 w 33"/>
                  <a:gd name="T13" fmla="*/ 1165 h 82"/>
                  <a:gd name="T14" fmla="*/ 7 w 33"/>
                  <a:gd name="T15" fmla="*/ 1268 h 82"/>
                  <a:gd name="T16" fmla="*/ 549 w 33"/>
                  <a:gd name="T17" fmla="*/ 1330 h 82"/>
                  <a:gd name="T18" fmla="*/ 878 w 33"/>
                  <a:gd name="T19" fmla="*/ 1463 h 82"/>
                  <a:gd name="T20" fmla="*/ 1177 w 33"/>
                  <a:gd name="T21" fmla="*/ 1552 h 82"/>
                  <a:gd name="T22" fmla="*/ 1404 w 33"/>
                  <a:gd name="T23" fmla="*/ 1877 h 82"/>
                  <a:gd name="T24" fmla="*/ 1579 w 33"/>
                  <a:gd name="T25" fmla="*/ 1884 h 82"/>
                  <a:gd name="T26" fmla="*/ 1404 w 33"/>
                  <a:gd name="T27" fmla="*/ 1628 h 82"/>
                  <a:gd name="T28" fmla="*/ 1110 w 33"/>
                  <a:gd name="T29" fmla="*/ 1411 h 82"/>
                  <a:gd name="T30" fmla="*/ 781 w 33"/>
                  <a:gd name="T31" fmla="*/ 1268 h 82"/>
                  <a:gd name="T32" fmla="*/ 736 w 33"/>
                  <a:gd name="T33" fmla="*/ 1010 h 82"/>
                  <a:gd name="T34" fmla="*/ 654 w 33"/>
                  <a:gd name="T35" fmla="*/ 762 h 82"/>
                  <a:gd name="T36" fmla="*/ 781 w 33"/>
                  <a:gd name="T37" fmla="*/ 661 h 82"/>
                  <a:gd name="T38" fmla="*/ 654 w 33"/>
                  <a:gd name="T39" fmla="*/ 452 h 82"/>
                  <a:gd name="T40" fmla="*/ 654 w 33"/>
                  <a:gd name="T41" fmla="*/ 309 h 82"/>
                  <a:gd name="T42" fmla="*/ 549 w 33"/>
                  <a:gd name="T43" fmla="*/ 6 h 82"/>
                  <a:gd name="T44" fmla="*/ 7 w 33"/>
                  <a:gd name="T45" fmla="*/ 0 h 8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
                  <a:gd name="T70" fmla="*/ 0 h 82"/>
                  <a:gd name="T71" fmla="*/ 33 w 33"/>
                  <a:gd name="T72" fmla="*/ 82 h 8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 h="82">
                    <a:moveTo>
                      <a:pt x="7" y="0"/>
                    </a:moveTo>
                    <a:lnTo>
                      <a:pt x="2" y="4"/>
                    </a:lnTo>
                    <a:lnTo>
                      <a:pt x="0" y="13"/>
                    </a:lnTo>
                    <a:lnTo>
                      <a:pt x="0" y="23"/>
                    </a:lnTo>
                    <a:lnTo>
                      <a:pt x="2" y="34"/>
                    </a:lnTo>
                    <a:lnTo>
                      <a:pt x="6" y="40"/>
                    </a:lnTo>
                    <a:lnTo>
                      <a:pt x="6" y="50"/>
                    </a:lnTo>
                    <a:lnTo>
                      <a:pt x="7" y="54"/>
                    </a:lnTo>
                    <a:lnTo>
                      <a:pt x="11" y="57"/>
                    </a:lnTo>
                    <a:lnTo>
                      <a:pt x="19" y="63"/>
                    </a:lnTo>
                    <a:lnTo>
                      <a:pt x="24" y="67"/>
                    </a:lnTo>
                    <a:lnTo>
                      <a:pt x="29" y="81"/>
                    </a:lnTo>
                    <a:lnTo>
                      <a:pt x="33" y="82"/>
                    </a:lnTo>
                    <a:lnTo>
                      <a:pt x="29" y="70"/>
                    </a:lnTo>
                    <a:lnTo>
                      <a:pt x="23" y="61"/>
                    </a:lnTo>
                    <a:lnTo>
                      <a:pt x="17" y="54"/>
                    </a:lnTo>
                    <a:lnTo>
                      <a:pt x="16" y="44"/>
                    </a:lnTo>
                    <a:lnTo>
                      <a:pt x="14" y="33"/>
                    </a:lnTo>
                    <a:lnTo>
                      <a:pt x="17" y="29"/>
                    </a:lnTo>
                    <a:lnTo>
                      <a:pt x="14" y="21"/>
                    </a:lnTo>
                    <a:lnTo>
                      <a:pt x="14" y="13"/>
                    </a:lnTo>
                    <a:lnTo>
                      <a:pt x="11" y="6"/>
                    </a:lnTo>
                    <a:lnTo>
                      <a:pt x="7" y="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52" name="Freeform 138"/>
              <p:cNvSpPr>
                <a:spLocks/>
              </p:cNvSpPr>
              <p:nvPr/>
            </p:nvSpPr>
            <p:spPr bwMode="auto">
              <a:xfrm>
                <a:off x="2595" y="2509"/>
                <a:ext cx="126" cy="132"/>
              </a:xfrm>
              <a:custGeom>
                <a:avLst/>
                <a:gdLst>
                  <a:gd name="T0" fmla="*/ 6631 w 118"/>
                  <a:gd name="T1" fmla="*/ 525 h 125"/>
                  <a:gd name="T2" fmla="*/ 7081 w 118"/>
                  <a:gd name="T3" fmla="*/ 1012 h 125"/>
                  <a:gd name="T4" fmla="*/ 7787 w 118"/>
                  <a:gd name="T5" fmla="*/ 859 h 125"/>
                  <a:gd name="T6" fmla="*/ 9071 w 118"/>
                  <a:gd name="T7" fmla="*/ 770 h 125"/>
                  <a:gd name="T8" fmla="*/ 8203 w 118"/>
                  <a:gd name="T9" fmla="*/ 1102 h 125"/>
                  <a:gd name="T10" fmla="*/ 7134 w 118"/>
                  <a:gd name="T11" fmla="*/ 1229 h 125"/>
                  <a:gd name="T12" fmla="*/ 7483 w 118"/>
                  <a:gd name="T13" fmla="*/ 1811 h 125"/>
                  <a:gd name="T14" fmla="*/ 6631 w 118"/>
                  <a:gd name="T15" fmla="*/ 2119 h 125"/>
                  <a:gd name="T16" fmla="*/ 6631 w 118"/>
                  <a:gd name="T17" fmla="*/ 2377 h 125"/>
                  <a:gd name="T18" fmla="*/ 6257 w 118"/>
                  <a:gd name="T19" fmla="*/ 2534 h 125"/>
                  <a:gd name="T20" fmla="*/ 5860 w 118"/>
                  <a:gd name="T21" fmla="*/ 2651 h 125"/>
                  <a:gd name="T22" fmla="*/ 5488 w 118"/>
                  <a:gd name="T23" fmla="*/ 2984 h 125"/>
                  <a:gd name="T24" fmla="*/ 5049 w 118"/>
                  <a:gd name="T25" fmla="*/ 3104 h 125"/>
                  <a:gd name="T26" fmla="*/ 4728 w 118"/>
                  <a:gd name="T27" fmla="*/ 3297 h 125"/>
                  <a:gd name="T28" fmla="*/ 5049 w 118"/>
                  <a:gd name="T29" fmla="*/ 3477 h 125"/>
                  <a:gd name="T30" fmla="*/ 5860 w 118"/>
                  <a:gd name="T31" fmla="*/ 3547 h 125"/>
                  <a:gd name="T32" fmla="*/ 5391 w 118"/>
                  <a:gd name="T33" fmla="*/ 3878 h 125"/>
                  <a:gd name="T34" fmla="*/ 4608 w 118"/>
                  <a:gd name="T35" fmla="*/ 3918 h 125"/>
                  <a:gd name="T36" fmla="*/ 3784 w 118"/>
                  <a:gd name="T37" fmla="*/ 3956 h 125"/>
                  <a:gd name="T38" fmla="*/ 3703 w 118"/>
                  <a:gd name="T39" fmla="*/ 4369 h 125"/>
                  <a:gd name="T40" fmla="*/ 3190 w 118"/>
                  <a:gd name="T41" fmla="*/ 4077 h 125"/>
                  <a:gd name="T42" fmla="*/ 2668 w 118"/>
                  <a:gd name="T43" fmla="*/ 4100 h 125"/>
                  <a:gd name="T44" fmla="*/ 1800 w 118"/>
                  <a:gd name="T45" fmla="*/ 3746 h 125"/>
                  <a:gd name="T46" fmla="*/ 1215 w 118"/>
                  <a:gd name="T47" fmla="*/ 3801 h 125"/>
                  <a:gd name="T48" fmla="*/ 935 w 118"/>
                  <a:gd name="T49" fmla="*/ 4077 h 125"/>
                  <a:gd name="T50" fmla="*/ 5 w 118"/>
                  <a:gd name="T51" fmla="*/ 4330 h 125"/>
                  <a:gd name="T52" fmla="*/ 3 w 118"/>
                  <a:gd name="T53" fmla="*/ 3918 h 125"/>
                  <a:gd name="T54" fmla="*/ 1 w 118"/>
                  <a:gd name="T55" fmla="*/ 2799 h 125"/>
                  <a:gd name="T56" fmla="*/ 4 w 118"/>
                  <a:gd name="T57" fmla="*/ 2007 h 125"/>
                  <a:gd name="T58" fmla="*/ 0 w 118"/>
                  <a:gd name="T59" fmla="*/ 1705 h 125"/>
                  <a:gd name="T60" fmla="*/ 7 w 118"/>
                  <a:gd name="T61" fmla="*/ 770 h 125"/>
                  <a:gd name="T62" fmla="*/ 1066 w 118"/>
                  <a:gd name="T63" fmla="*/ 585 h 125"/>
                  <a:gd name="T64" fmla="*/ 1922 w 118"/>
                  <a:gd name="T65" fmla="*/ 400 h 125"/>
                  <a:gd name="T66" fmla="*/ 2499 w 118"/>
                  <a:gd name="T67" fmla="*/ 400 h 125"/>
                  <a:gd name="T68" fmla="*/ 2849 w 118"/>
                  <a:gd name="T69" fmla="*/ 7 h 125"/>
                  <a:gd name="T70" fmla="*/ 3884 w 118"/>
                  <a:gd name="T71" fmla="*/ 422 h 125"/>
                  <a:gd name="T72" fmla="*/ 4805 w 118"/>
                  <a:gd name="T73" fmla="*/ 4 h 125"/>
                  <a:gd name="T74" fmla="*/ 5860 w 118"/>
                  <a:gd name="T75" fmla="*/ 4 h 125"/>
                  <a:gd name="T76" fmla="*/ 6631 w 118"/>
                  <a:gd name="T77" fmla="*/ 4 h 12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8"/>
                  <a:gd name="T118" fmla="*/ 0 h 125"/>
                  <a:gd name="T119" fmla="*/ 118 w 118"/>
                  <a:gd name="T120" fmla="*/ 125 h 12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8" h="125">
                    <a:moveTo>
                      <a:pt x="87" y="4"/>
                    </a:moveTo>
                    <a:lnTo>
                      <a:pt x="87" y="15"/>
                    </a:lnTo>
                    <a:lnTo>
                      <a:pt x="91" y="21"/>
                    </a:lnTo>
                    <a:lnTo>
                      <a:pt x="93" y="27"/>
                    </a:lnTo>
                    <a:lnTo>
                      <a:pt x="98" y="25"/>
                    </a:lnTo>
                    <a:lnTo>
                      <a:pt x="103" y="24"/>
                    </a:lnTo>
                    <a:lnTo>
                      <a:pt x="110" y="22"/>
                    </a:lnTo>
                    <a:lnTo>
                      <a:pt x="118" y="22"/>
                    </a:lnTo>
                    <a:lnTo>
                      <a:pt x="118" y="25"/>
                    </a:lnTo>
                    <a:lnTo>
                      <a:pt x="109" y="30"/>
                    </a:lnTo>
                    <a:lnTo>
                      <a:pt x="103" y="34"/>
                    </a:lnTo>
                    <a:lnTo>
                      <a:pt x="95" y="34"/>
                    </a:lnTo>
                    <a:lnTo>
                      <a:pt x="90" y="44"/>
                    </a:lnTo>
                    <a:lnTo>
                      <a:pt x="97" y="50"/>
                    </a:lnTo>
                    <a:lnTo>
                      <a:pt x="88" y="53"/>
                    </a:lnTo>
                    <a:lnTo>
                      <a:pt x="87" y="58"/>
                    </a:lnTo>
                    <a:lnTo>
                      <a:pt x="88" y="62"/>
                    </a:lnTo>
                    <a:lnTo>
                      <a:pt x="87" y="65"/>
                    </a:lnTo>
                    <a:lnTo>
                      <a:pt x="84" y="63"/>
                    </a:lnTo>
                    <a:lnTo>
                      <a:pt x="83" y="70"/>
                    </a:lnTo>
                    <a:lnTo>
                      <a:pt x="78" y="70"/>
                    </a:lnTo>
                    <a:lnTo>
                      <a:pt x="78" y="73"/>
                    </a:lnTo>
                    <a:lnTo>
                      <a:pt x="75" y="78"/>
                    </a:lnTo>
                    <a:lnTo>
                      <a:pt x="73" y="82"/>
                    </a:lnTo>
                    <a:lnTo>
                      <a:pt x="70" y="82"/>
                    </a:lnTo>
                    <a:lnTo>
                      <a:pt x="66" y="84"/>
                    </a:lnTo>
                    <a:lnTo>
                      <a:pt x="70" y="86"/>
                    </a:lnTo>
                    <a:lnTo>
                      <a:pt x="62" y="91"/>
                    </a:lnTo>
                    <a:lnTo>
                      <a:pt x="61" y="93"/>
                    </a:lnTo>
                    <a:lnTo>
                      <a:pt x="66" y="95"/>
                    </a:lnTo>
                    <a:lnTo>
                      <a:pt x="76" y="95"/>
                    </a:lnTo>
                    <a:lnTo>
                      <a:pt x="78" y="98"/>
                    </a:lnTo>
                    <a:lnTo>
                      <a:pt x="78" y="99"/>
                    </a:lnTo>
                    <a:lnTo>
                      <a:pt x="70" y="106"/>
                    </a:lnTo>
                    <a:lnTo>
                      <a:pt x="65" y="108"/>
                    </a:lnTo>
                    <a:lnTo>
                      <a:pt x="61" y="108"/>
                    </a:lnTo>
                    <a:lnTo>
                      <a:pt x="53" y="108"/>
                    </a:lnTo>
                    <a:lnTo>
                      <a:pt x="50" y="109"/>
                    </a:lnTo>
                    <a:lnTo>
                      <a:pt x="49" y="116"/>
                    </a:lnTo>
                    <a:lnTo>
                      <a:pt x="49" y="120"/>
                    </a:lnTo>
                    <a:lnTo>
                      <a:pt x="44" y="125"/>
                    </a:lnTo>
                    <a:lnTo>
                      <a:pt x="42" y="111"/>
                    </a:lnTo>
                    <a:lnTo>
                      <a:pt x="39" y="110"/>
                    </a:lnTo>
                    <a:lnTo>
                      <a:pt x="35" y="113"/>
                    </a:lnTo>
                    <a:lnTo>
                      <a:pt x="30" y="110"/>
                    </a:lnTo>
                    <a:lnTo>
                      <a:pt x="23" y="103"/>
                    </a:lnTo>
                    <a:lnTo>
                      <a:pt x="20" y="99"/>
                    </a:lnTo>
                    <a:lnTo>
                      <a:pt x="17" y="104"/>
                    </a:lnTo>
                    <a:lnTo>
                      <a:pt x="18" y="111"/>
                    </a:lnTo>
                    <a:lnTo>
                      <a:pt x="13" y="111"/>
                    </a:lnTo>
                    <a:lnTo>
                      <a:pt x="11" y="116"/>
                    </a:lnTo>
                    <a:lnTo>
                      <a:pt x="5" y="119"/>
                    </a:lnTo>
                    <a:lnTo>
                      <a:pt x="1" y="113"/>
                    </a:lnTo>
                    <a:lnTo>
                      <a:pt x="3" y="108"/>
                    </a:lnTo>
                    <a:lnTo>
                      <a:pt x="0" y="92"/>
                    </a:lnTo>
                    <a:lnTo>
                      <a:pt x="1" y="77"/>
                    </a:lnTo>
                    <a:lnTo>
                      <a:pt x="3" y="68"/>
                    </a:lnTo>
                    <a:lnTo>
                      <a:pt x="4" y="55"/>
                    </a:lnTo>
                    <a:lnTo>
                      <a:pt x="3" y="50"/>
                    </a:lnTo>
                    <a:lnTo>
                      <a:pt x="0" y="46"/>
                    </a:lnTo>
                    <a:lnTo>
                      <a:pt x="8" y="27"/>
                    </a:lnTo>
                    <a:lnTo>
                      <a:pt x="7" y="22"/>
                    </a:lnTo>
                    <a:lnTo>
                      <a:pt x="7" y="19"/>
                    </a:lnTo>
                    <a:lnTo>
                      <a:pt x="15" y="17"/>
                    </a:lnTo>
                    <a:lnTo>
                      <a:pt x="22" y="15"/>
                    </a:lnTo>
                    <a:lnTo>
                      <a:pt x="25" y="10"/>
                    </a:lnTo>
                    <a:lnTo>
                      <a:pt x="29" y="11"/>
                    </a:lnTo>
                    <a:lnTo>
                      <a:pt x="33" y="10"/>
                    </a:lnTo>
                    <a:lnTo>
                      <a:pt x="34" y="5"/>
                    </a:lnTo>
                    <a:lnTo>
                      <a:pt x="37" y="7"/>
                    </a:lnTo>
                    <a:lnTo>
                      <a:pt x="45" y="9"/>
                    </a:lnTo>
                    <a:lnTo>
                      <a:pt x="51" y="11"/>
                    </a:lnTo>
                    <a:lnTo>
                      <a:pt x="59" y="0"/>
                    </a:lnTo>
                    <a:lnTo>
                      <a:pt x="63" y="4"/>
                    </a:lnTo>
                    <a:lnTo>
                      <a:pt x="73" y="7"/>
                    </a:lnTo>
                    <a:lnTo>
                      <a:pt x="78" y="4"/>
                    </a:lnTo>
                    <a:lnTo>
                      <a:pt x="85" y="5"/>
                    </a:lnTo>
                    <a:lnTo>
                      <a:pt x="8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3" name="Freeform 140"/>
              <p:cNvSpPr>
                <a:spLocks/>
              </p:cNvSpPr>
              <p:nvPr/>
            </p:nvSpPr>
            <p:spPr bwMode="auto">
              <a:xfrm>
                <a:off x="2486" y="2658"/>
                <a:ext cx="82" cy="220"/>
              </a:xfrm>
              <a:custGeom>
                <a:avLst/>
                <a:gdLst>
                  <a:gd name="T0" fmla="*/ 7 w 77"/>
                  <a:gd name="T1" fmla="*/ 0 h 209"/>
                  <a:gd name="T2" fmla="*/ 647 w 77"/>
                  <a:gd name="T3" fmla="*/ 3 h 209"/>
                  <a:gd name="T4" fmla="*/ 689 w 77"/>
                  <a:gd name="T5" fmla="*/ 9 h 209"/>
                  <a:gd name="T6" fmla="*/ 734 w 77"/>
                  <a:gd name="T7" fmla="*/ 452 h 209"/>
                  <a:gd name="T8" fmla="*/ 734 w 77"/>
                  <a:gd name="T9" fmla="*/ 681 h 209"/>
                  <a:gd name="T10" fmla="*/ 782 w 77"/>
                  <a:gd name="T11" fmla="*/ 894 h 209"/>
                  <a:gd name="T12" fmla="*/ 1006 w 77"/>
                  <a:gd name="T13" fmla="*/ 1043 h 209"/>
                  <a:gd name="T14" fmla="*/ 1294 w 77"/>
                  <a:gd name="T15" fmla="*/ 1156 h 209"/>
                  <a:gd name="T16" fmla="*/ 1215 w 77"/>
                  <a:gd name="T17" fmla="*/ 1573 h 209"/>
                  <a:gd name="T18" fmla="*/ 1294 w 77"/>
                  <a:gd name="T19" fmla="*/ 1929 h 209"/>
                  <a:gd name="T20" fmla="*/ 1467 w 77"/>
                  <a:gd name="T21" fmla="*/ 2000 h 209"/>
                  <a:gd name="T22" fmla="*/ 1743 w 77"/>
                  <a:gd name="T23" fmla="*/ 2105 h 209"/>
                  <a:gd name="T24" fmla="*/ 1663 w 77"/>
                  <a:gd name="T25" fmla="*/ 2373 h 209"/>
                  <a:gd name="T26" fmla="*/ 1771 w 77"/>
                  <a:gd name="T27" fmla="*/ 2677 h 209"/>
                  <a:gd name="T28" fmla="*/ 1886 w 77"/>
                  <a:gd name="T29" fmla="*/ 2949 h 209"/>
                  <a:gd name="T30" fmla="*/ 1856 w 77"/>
                  <a:gd name="T31" fmla="*/ 3066 h 209"/>
                  <a:gd name="T32" fmla="*/ 1562 w 77"/>
                  <a:gd name="T33" fmla="*/ 3174 h 209"/>
                  <a:gd name="T34" fmla="*/ 1743 w 77"/>
                  <a:gd name="T35" fmla="*/ 3459 h 209"/>
                  <a:gd name="T36" fmla="*/ 2750 w 77"/>
                  <a:gd name="T37" fmla="*/ 3759 h 209"/>
                  <a:gd name="T38" fmla="*/ 3538 w 77"/>
                  <a:gd name="T39" fmla="*/ 4102 h 209"/>
                  <a:gd name="T40" fmla="*/ 3538 w 77"/>
                  <a:gd name="T41" fmla="*/ 4247 h 209"/>
                  <a:gd name="T42" fmla="*/ 3538 w 77"/>
                  <a:gd name="T43" fmla="*/ 4615 h 209"/>
                  <a:gd name="T44" fmla="*/ 3836 w 77"/>
                  <a:gd name="T45" fmla="*/ 5036 h 209"/>
                  <a:gd name="T46" fmla="*/ 4205 w 77"/>
                  <a:gd name="T47" fmla="*/ 5301 h 209"/>
                  <a:gd name="T48" fmla="*/ 4350 w 77"/>
                  <a:gd name="T49" fmla="*/ 5558 h 209"/>
                  <a:gd name="T50" fmla="*/ 4907 w 77"/>
                  <a:gd name="T51" fmla="*/ 5964 h 209"/>
                  <a:gd name="T52" fmla="*/ 4552 w 77"/>
                  <a:gd name="T53" fmla="*/ 6183 h 209"/>
                  <a:gd name="T54" fmla="*/ 4013 w 77"/>
                  <a:gd name="T55" fmla="*/ 5964 h 209"/>
                  <a:gd name="T56" fmla="*/ 3768 w 77"/>
                  <a:gd name="T57" fmla="*/ 5964 h 209"/>
                  <a:gd name="T58" fmla="*/ 3538 w 77"/>
                  <a:gd name="T59" fmla="*/ 5964 h 209"/>
                  <a:gd name="T60" fmla="*/ 3538 w 77"/>
                  <a:gd name="T61" fmla="*/ 5739 h 209"/>
                  <a:gd name="T62" fmla="*/ 3538 w 77"/>
                  <a:gd name="T63" fmla="*/ 5655 h 209"/>
                  <a:gd name="T64" fmla="*/ 3364 w 77"/>
                  <a:gd name="T65" fmla="*/ 5474 h 209"/>
                  <a:gd name="T66" fmla="*/ 3119 w 77"/>
                  <a:gd name="T67" fmla="*/ 4706 h 209"/>
                  <a:gd name="T68" fmla="*/ 2708 w 77"/>
                  <a:gd name="T69" fmla="*/ 4471 h 209"/>
                  <a:gd name="T70" fmla="*/ 1977 w 77"/>
                  <a:gd name="T71" fmla="*/ 4412 h 209"/>
                  <a:gd name="T72" fmla="*/ 1467 w 77"/>
                  <a:gd name="T73" fmla="*/ 4165 h 209"/>
                  <a:gd name="T74" fmla="*/ 1071 w 77"/>
                  <a:gd name="T75" fmla="*/ 3981 h 209"/>
                  <a:gd name="T76" fmla="*/ 782 w 77"/>
                  <a:gd name="T77" fmla="*/ 3620 h 209"/>
                  <a:gd name="T78" fmla="*/ 647 w 77"/>
                  <a:gd name="T79" fmla="*/ 3459 h 209"/>
                  <a:gd name="T80" fmla="*/ 7 w 77"/>
                  <a:gd name="T81" fmla="*/ 3174 h 209"/>
                  <a:gd name="T82" fmla="*/ 608 w 77"/>
                  <a:gd name="T83" fmla="*/ 2864 h 209"/>
                  <a:gd name="T84" fmla="*/ 608 w 77"/>
                  <a:gd name="T85" fmla="*/ 2662 h 209"/>
                  <a:gd name="T86" fmla="*/ 4 w 77"/>
                  <a:gd name="T87" fmla="*/ 2373 h 209"/>
                  <a:gd name="T88" fmla="*/ 0 w 77"/>
                  <a:gd name="T89" fmla="*/ 2031 h 209"/>
                  <a:gd name="T90" fmla="*/ 1 w 77"/>
                  <a:gd name="T91" fmla="*/ 1656 h 209"/>
                  <a:gd name="T92" fmla="*/ 4 w 77"/>
                  <a:gd name="T93" fmla="*/ 1156 h 209"/>
                  <a:gd name="T94" fmla="*/ 3 w 77"/>
                  <a:gd name="T95" fmla="*/ 991 h 209"/>
                  <a:gd name="T96" fmla="*/ 1 w 77"/>
                  <a:gd name="T97" fmla="*/ 1027 h 209"/>
                  <a:gd name="T98" fmla="*/ 0 w 77"/>
                  <a:gd name="T99" fmla="*/ 941 h 209"/>
                  <a:gd name="T100" fmla="*/ 1 w 77"/>
                  <a:gd name="T101" fmla="*/ 681 h 209"/>
                  <a:gd name="T102" fmla="*/ 4 w 77"/>
                  <a:gd name="T103" fmla="*/ 388 h 209"/>
                  <a:gd name="T104" fmla="*/ 6 w 77"/>
                  <a:gd name="T105" fmla="*/ 6 h 209"/>
                  <a:gd name="T106" fmla="*/ 7 w 77"/>
                  <a:gd name="T107" fmla="*/ 0 h 20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7"/>
                  <a:gd name="T163" fmla="*/ 0 h 209"/>
                  <a:gd name="T164" fmla="*/ 77 w 77"/>
                  <a:gd name="T165" fmla="*/ 209 h 20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7" h="209">
                    <a:moveTo>
                      <a:pt x="7" y="0"/>
                    </a:moveTo>
                    <a:lnTo>
                      <a:pt x="10" y="3"/>
                    </a:lnTo>
                    <a:lnTo>
                      <a:pt x="11" y="9"/>
                    </a:lnTo>
                    <a:lnTo>
                      <a:pt x="12" y="16"/>
                    </a:lnTo>
                    <a:lnTo>
                      <a:pt x="12" y="24"/>
                    </a:lnTo>
                    <a:lnTo>
                      <a:pt x="13" y="30"/>
                    </a:lnTo>
                    <a:lnTo>
                      <a:pt x="17" y="36"/>
                    </a:lnTo>
                    <a:lnTo>
                      <a:pt x="21" y="40"/>
                    </a:lnTo>
                    <a:lnTo>
                      <a:pt x="20" y="54"/>
                    </a:lnTo>
                    <a:lnTo>
                      <a:pt x="21" y="65"/>
                    </a:lnTo>
                    <a:lnTo>
                      <a:pt x="23" y="67"/>
                    </a:lnTo>
                    <a:lnTo>
                      <a:pt x="27" y="71"/>
                    </a:lnTo>
                    <a:lnTo>
                      <a:pt x="26" y="81"/>
                    </a:lnTo>
                    <a:lnTo>
                      <a:pt x="28" y="91"/>
                    </a:lnTo>
                    <a:lnTo>
                      <a:pt x="30" y="100"/>
                    </a:lnTo>
                    <a:lnTo>
                      <a:pt x="29" y="104"/>
                    </a:lnTo>
                    <a:lnTo>
                      <a:pt x="24" y="107"/>
                    </a:lnTo>
                    <a:lnTo>
                      <a:pt x="27" y="118"/>
                    </a:lnTo>
                    <a:lnTo>
                      <a:pt x="43" y="126"/>
                    </a:lnTo>
                    <a:lnTo>
                      <a:pt x="55" y="139"/>
                    </a:lnTo>
                    <a:lnTo>
                      <a:pt x="55" y="145"/>
                    </a:lnTo>
                    <a:lnTo>
                      <a:pt x="55" y="155"/>
                    </a:lnTo>
                    <a:lnTo>
                      <a:pt x="61" y="171"/>
                    </a:lnTo>
                    <a:lnTo>
                      <a:pt x="66" y="180"/>
                    </a:lnTo>
                    <a:lnTo>
                      <a:pt x="69" y="188"/>
                    </a:lnTo>
                    <a:lnTo>
                      <a:pt x="77" y="201"/>
                    </a:lnTo>
                    <a:lnTo>
                      <a:pt x="71" y="209"/>
                    </a:lnTo>
                    <a:lnTo>
                      <a:pt x="63" y="201"/>
                    </a:lnTo>
                    <a:lnTo>
                      <a:pt x="59" y="201"/>
                    </a:lnTo>
                    <a:lnTo>
                      <a:pt x="55" y="201"/>
                    </a:lnTo>
                    <a:lnTo>
                      <a:pt x="55" y="194"/>
                    </a:lnTo>
                    <a:lnTo>
                      <a:pt x="55" y="190"/>
                    </a:lnTo>
                    <a:lnTo>
                      <a:pt x="53" y="186"/>
                    </a:lnTo>
                    <a:lnTo>
                      <a:pt x="49" y="161"/>
                    </a:lnTo>
                    <a:lnTo>
                      <a:pt x="42" y="153"/>
                    </a:lnTo>
                    <a:lnTo>
                      <a:pt x="31" y="149"/>
                    </a:lnTo>
                    <a:lnTo>
                      <a:pt x="23" y="140"/>
                    </a:lnTo>
                    <a:lnTo>
                      <a:pt x="18" y="135"/>
                    </a:lnTo>
                    <a:lnTo>
                      <a:pt x="13" y="123"/>
                    </a:lnTo>
                    <a:lnTo>
                      <a:pt x="10" y="118"/>
                    </a:lnTo>
                    <a:lnTo>
                      <a:pt x="7" y="107"/>
                    </a:lnTo>
                    <a:lnTo>
                      <a:pt x="9" y="97"/>
                    </a:lnTo>
                    <a:lnTo>
                      <a:pt x="9" y="90"/>
                    </a:lnTo>
                    <a:lnTo>
                      <a:pt x="4" y="81"/>
                    </a:lnTo>
                    <a:lnTo>
                      <a:pt x="0" y="68"/>
                    </a:lnTo>
                    <a:lnTo>
                      <a:pt x="1" y="57"/>
                    </a:lnTo>
                    <a:lnTo>
                      <a:pt x="4" y="40"/>
                    </a:lnTo>
                    <a:lnTo>
                      <a:pt x="3" y="34"/>
                    </a:lnTo>
                    <a:lnTo>
                      <a:pt x="1" y="35"/>
                    </a:lnTo>
                    <a:lnTo>
                      <a:pt x="0" y="32"/>
                    </a:lnTo>
                    <a:lnTo>
                      <a:pt x="1" y="24"/>
                    </a:lnTo>
                    <a:lnTo>
                      <a:pt x="4" y="13"/>
                    </a:lnTo>
                    <a:lnTo>
                      <a:pt x="6" y="6"/>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4" name="Freeform 141"/>
              <p:cNvSpPr>
                <a:spLocks/>
              </p:cNvSpPr>
              <p:nvPr/>
            </p:nvSpPr>
            <p:spPr bwMode="auto">
              <a:xfrm>
                <a:off x="2396" y="3193"/>
                <a:ext cx="77" cy="54"/>
              </a:xfrm>
              <a:custGeom>
                <a:avLst/>
                <a:gdLst>
                  <a:gd name="T0" fmla="*/ 5178 w 72"/>
                  <a:gd name="T1" fmla="*/ 1 h 51"/>
                  <a:gd name="T2" fmla="*/ 4814 w 72"/>
                  <a:gd name="T3" fmla="*/ 1 h 51"/>
                  <a:gd name="T4" fmla="*/ 4081 w 72"/>
                  <a:gd name="T5" fmla="*/ 0 h 51"/>
                  <a:gd name="T6" fmla="*/ 3680 w 72"/>
                  <a:gd name="T7" fmla="*/ 2 h 51"/>
                  <a:gd name="T8" fmla="*/ 3578 w 72"/>
                  <a:gd name="T9" fmla="*/ 4 h 51"/>
                  <a:gd name="T10" fmla="*/ 3441 w 72"/>
                  <a:gd name="T11" fmla="*/ 4 h 51"/>
                  <a:gd name="T12" fmla="*/ 3129 w 72"/>
                  <a:gd name="T13" fmla="*/ 484 h 51"/>
                  <a:gd name="T14" fmla="*/ 2558 w 72"/>
                  <a:gd name="T15" fmla="*/ 457 h 51"/>
                  <a:gd name="T16" fmla="*/ 2237 w 72"/>
                  <a:gd name="T17" fmla="*/ 484 h 51"/>
                  <a:gd name="T18" fmla="*/ 2237 w 72"/>
                  <a:gd name="T19" fmla="*/ 512 h 51"/>
                  <a:gd name="T20" fmla="*/ 2084 w 72"/>
                  <a:gd name="T21" fmla="*/ 608 h 51"/>
                  <a:gd name="T22" fmla="*/ 1822 w 72"/>
                  <a:gd name="T23" fmla="*/ 682 h 51"/>
                  <a:gd name="T24" fmla="*/ 1393 w 72"/>
                  <a:gd name="T25" fmla="*/ 1076 h 51"/>
                  <a:gd name="T26" fmla="*/ 871 w 72"/>
                  <a:gd name="T27" fmla="*/ 1351 h 51"/>
                  <a:gd name="T28" fmla="*/ 761 w 72"/>
                  <a:gd name="T29" fmla="*/ 1514 h 51"/>
                  <a:gd name="T30" fmla="*/ 761 w 72"/>
                  <a:gd name="T31" fmla="*/ 1605 h 51"/>
                  <a:gd name="T32" fmla="*/ 6 w 72"/>
                  <a:gd name="T33" fmla="*/ 1797 h 51"/>
                  <a:gd name="T34" fmla="*/ 3 w 72"/>
                  <a:gd name="T35" fmla="*/ 1905 h 51"/>
                  <a:gd name="T36" fmla="*/ 0 w 72"/>
                  <a:gd name="T37" fmla="*/ 2204 h 51"/>
                  <a:gd name="T38" fmla="*/ 3 w 72"/>
                  <a:gd name="T39" fmla="*/ 2204 h 51"/>
                  <a:gd name="T40" fmla="*/ 7 w 72"/>
                  <a:gd name="T41" fmla="*/ 2017 h 51"/>
                  <a:gd name="T42" fmla="*/ 871 w 72"/>
                  <a:gd name="T43" fmla="*/ 1797 h 51"/>
                  <a:gd name="T44" fmla="*/ 1139 w 72"/>
                  <a:gd name="T45" fmla="*/ 1797 h 51"/>
                  <a:gd name="T46" fmla="*/ 1218 w 72"/>
                  <a:gd name="T47" fmla="*/ 1605 h 51"/>
                  <a:gd name="T48" fmla="*/ 1490 w 72"/>
                  <a:gd name="T49" fmla="*/ 1516 h 51"/>
                  <a:gd name="T50" fmla="*/ 1822 w 72"/>
                  <a:gd name="T51" fmla="*/ 1352 h 51"/>
                  <a:gd name="T52" fmla="*/ 2084 w 72"/>
                  <a:gd name="T53" fmla="*/ 1276 h 51"/>
                  <a:gd name="T54" fmla="*/ 2237 w 72"/>
                  <a:gd name="T55" fmla="*/ 1206 h 51"/>
                  <a:gd name="T56" fmla="*/ 2384 w 72"/>
                  <a:gd name="T57" fmla="*/ 1076 h 51"/>
                  <a:gd name="T58" fmla="*/ 2550 w 72"/>
                  <a:gd name="T59" fmla="*/ 1016 h 51"/>
                  <a:gd name="T60" fmla="*/ 2926 w 72"/>
                  <a:gd name="T61" fmla="*/ 857 h 51"/>
                  <a:gd name="T62" fmla="*/ 3129 w 72"/>
                  <a:gd name="T63" fmla="*/ 907 h 51"/>
                  <a:gd name="T64" fmla="*/ 3218 w 72"/>
                  <a:gd name="T65" fmla="*/ 857 h 51"/>
                  <a:gd name="T66" fmla="*/ 3218 w 72"/>
                  <a:gd name="T67" fmla="*/ 764 h 51"/>
                  <a:gd name="T68" fmla="*/ 3218 w 72"/>
                  <a:gd name="T69" fmla="*/ 682 h 51"/>
                  <a:gd name="T70" fmla="*/ 3441 w 72"/>
                  <a:gd name="T71" fmla="*/ 608 h 51"/>
                  <a:gd name="T72" fmla="*/ 3680 w 72"/>
                  <a:gd name="T73" fmla="*/ 574 h 51"/>
                  <a:gd name="T74" fmla="*/ 3936 w 72"/>
                  <a:gd name="T75" fmla="*/ 512 h 51"/>
                  <a:gd name="T76" fmla="*/ 4081 w 72"/>
                  <a:gd name="T77" fmla="*/ 512 h 51"/>
                  <a:gd name="T78" fmla="*/ 4209 w 72"/>
                  <a:gd name="T79" fmla="*/ 574 h 51"/>
                  <a:gd name="T80" fmla="*/ 4376 w 72"/>
                  <a:gd name="T81" fmla="*/ 512 h 51"/>
                  <a:gd name="T82" fmla="*/ 4501 w 72"/>
                  <a:gd name="T83" fmla="*/ 457 h 51"/>
                  <a:gd name="T84" fmla="*/ 4528 w 72"/>
                  <a:gd name="T85" fmla="*/ 432 h 51"/>
                  <a:gd name="T86" fmla="*/ 4842 w 72"/>
                  <a:gd name="T87" fmla="*/ 457 h 51"/>
                  <a:gd name="T88" fmla="*/ 5353 w 72"/>
                  <a:gd name="T89" fmla="*/ 512 h 51"/>
                  <a:gd name="T90" fmla="*/ 5506 w 72"/>
                  <a:gd name="T91" fmla="*/ 512 h 51"/>
                  <a:gd name="T92" fmla="*/ 5725 w 72"/>
                  <a:gd name="T93" fmla="*/ 457 h 51"/>
                  <a:gd name="T94" fmla="*/ 6105 w 72"/>
                  <a:gd name="T95" fmla="*/ 8 h 51"/>
                  <a:gd name="T96" fmla="*/ 5888 w 72"/>
                  <a:gd name="T97" fmla="*/ 5 h 51"/>
                  <a:gd name="T98" fmla="*/ 5178 w 72"/>
                  <a:gd name="T99" fmla="*/ 1 h 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2"/>
                  <a:gd name="T151" fmla="*/ 0 h 51"/>
                  <a:gd name="T152" fmla="*/ 72 w 72"/>
                  <a:gd name="T153" fmla="*/ 51 h 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2" h="51">
                    <a:moveTo>
                      <a:pt x="62" y="1"/>
                    </a:moveTo>
                    <a:lnTo>
                      <a:pt x="57" y="1"/>
                    </a:lnTo>
                    <a:lnTo>
                      <a:pt x="48" y="0"/>
                    </a:lnTo>
                    <a:lnTo>
                      <a:pt x="44" y="2"/>
                    </a:lnTo>
                    <a:lnTo>
                      <a:pt x="43" y="4"/>
                    </a:lnTo>
                    <a:lnTo>
                      <a:pt x="41" y="4"/>
                    </a:lnTo>
                    <a:lnTo>
                      <a:pt x="37" y="11"/>
                    </a:lnTo>
                    <a:lnTo>
                      <a:pt x="31" y="10"/>
                    </a:lnTo>
                    <a:lnTo>
                      <a:pt x="27" y="11"/>
                    </a:lnTo>
                    <a:lnTo>
                      <a:pt x="27" y="12"/>
                    </a:lnTo>
                    <a:lnTo>
                      <a:pt x="24" y="15"/>
                    </a:lnTo>
                    <a:lnTo>
                      <a:pt x="21" y="17"/>
                    </a:lnTo>
                    <a:lnTo>
                      <a:pt x="17" y="25"/>
                    </a:lnTo>
                    <a:lnTo>
                      <a:pt x="10" y="31"/>
                    </a:lnTo>
                    <a:lnTo>
                      <a:pt x="8" y="35"/>
                    </a:lnTo>
                    <a:lnTo>
                      <a:pt x="8" y="38"/>
                    </a:lnTo>
                    <a:lnTo>
                      <a:pt x="6" y="41"/>
                    </a:lnTo>
                    <a:lnTo>
                      <a:pt x="3" y="44"/>
                    </a:lnTo>
                    <a:lnTo>
                      <a:pt x="0" y="51"/>
                    </a:lnTo>
                    <a:lnTo>
                      <a:pt x="3" y="51"/>
                    </a:lnTo>
                    <a:lnTo>
                      <a:pt x="7" y="47"/>
                    </a:lnTo>
                    <a:lnTo>
                      <a:pt x="10" y="41"/>
                    </a:lnTo>
                    <a:lnTo>
                      <a:pt x="14" y="41"/>
                    </a:lnTo>
                    <a:lnTo>
                      <a:pt x="15" y="38"/>
                    </a:lnTo>
                    <a:lnTo>
                      <a:pt x="18" y="36"/>
                    </a:lnTo>
                    <a:lnTo>
                      <a:pt x="21" y="32"/>
                    </a:lnTo>
                    <a:lnTo>
                      <a:pt x="24" y="29"/>
                    </a:lnTo>
                    <a:lnTo>
                      <a:pt x="27" y="28"/>
                    </a:lnTo>
                    <a:lnTo>
                      <a:pt x="28" y="25"/>
                    </a:lnTo>
                    <a:lnTo>
                      <a:pt x="30" y="24"/>
                    </a:lnTo>
                    <a:lnTo>
                      <a:pt x="35" y="21"/>
                    </a:lnTo>
                    <a:lnTo>
                      <a:pt x="37" y="22"/>
                    </a:lnTo>
                    <a:lnTo>
                      <a:pt x="38" y="21"/>
                    </a:lnTo>
                    <a:lnTo>
                      <a:pt x="38" y="19"/>
                    </a:lnTo>
                    <a:lnTo>
                      <a:pt x="38" y="17"/>
                    </a:lnTo>
                    <a:lnTo>
                      <a:pt x="41" y="15"/>
                    </a:lnTo>
                    <a:lnTo>
                      <a:pt x="44" y="14"/>
                    </a:lnTo>
                    <a:lnTo>
                      <a:pt x="47" y="12"/>
                    </a:lnTo>
                    <a:lnTo>
                      <a:pt x="48" y="12"/>
                    </a:lnTo>
                    <a:lnTo>
                      <a:pt x="50" y="14"/>
                    </a:lnTo>
                    <a:lnTo>
                      <a:pt x="52" y="12"/>
                    </a:lnTo>
                    <a:lnTo>
                      <a:pt x="53" y="10"/>
                    </a:lnTo>
                    <a:lnTo>
                      <a:pt x="54" y="9"/>
                    </a:lnTo>
                    <a:lnTo>
                      <a:pt x="58" y="10"/>
                    </a:lnTo>
                    <a:lnTo>
                      <a:pt x="64" y="12"/>
                    </a:lnTo>
                    <a:lnTo>
                      <a:pt x="65" y="12"/>
                    </a:lnTo>
                    <a:lnTo>
                      <a:pt x="68" y="10"/>
                    </a:lnTo>
                    <a:lnTo>
                      <a:pt x="72" y="8"/>
                    </a:lnTo>
                    <a:lnTo>
                      <a:pt x="70" y="5"/>
                    </a:lnTo>
                    <a:lnTo>
                      <a:pt x="62"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5" name="Freeform 142"/>
              <p:cNvSpPr>
                <a:spLocks/>
              </p:cNvSpPr>
              <p:nvPr/>
            </p:nvSpPr>
            <p:spPr bwMode="auto">
              <a:xfrm>
                <a:off x="2555" y="3154"/>
                <a:ext cx="59" cy="31"/>
              </a:xfrm>
              <a:custGeom>
                <a:avLst/>
                <a:gdLst>
                  <a:gd name="T0" fmla="*/ 1367 w 55"/>
                  <a:gd name="T1" fmla="*/ 2368 h 29"/>
                  <a:gd name="T2" fmla="*/ 5 w 55"/>
                  <a:gd name="T3" fmla="*/ 1588 h 29"/>
                  <a:gd name="T4" fmla="*/ 2 w 55"/>
                  <a:gd name="T5" fmla="*/ 1486 h 29"/>
                  <a:gd name="T6" fmla="*/ 0 w 55"/>
                  <a:gd name="T7" fmla="*/ 1138 h 29"/>
                  <a:gd name="T8" fmla="*/ 0 w 55"/>
                  <a:gd name="T9" fmla="*/ 5 h 29"/>
                  <a:gd name="T10" fmla="*/ 2 w 55"/>
                  <a:gd name="T11" fmla="*/ 0 h 29"/>
                  <a:gd name="T12" fmla="*/ 2234 w 55"/>
                  <a:gd name="T13" fmla="*/ 872 h 29"/>
                  <a:gd name="T14" fmla="*/ 4203 w 55"/>
                  <a:gd name="T15" fmla="*/ 0 h 29"/>
                  <a:gd name="T16" fmla="*/ 5693 w 55"/>
                  <a:gd name="T17" fmla="*/ 816 h 29"/>
                  <a:gd name="T18" fmla="*/ 5106 w 55"/>
                  <a:gd name="T19" fmla="*/ 1588 h 29"/>
                  <a:gd name="T20" fmla="*/ 4299 w 55"/>
                  <a:gd name="T21" fmla="*/ 2072 h 29"/>
                  <a:gd name="T22" fmla="*/ 3173 w 55"/>
                  <a:gd name="T23" fmla="*/ 2368 h 29"/>
                  <a:gd name="T24" fmla="*/ 1367 w 55"/>
                  <a:gd name="T25" fmla="*/ 2368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29"/>
                  <a:gd name="T41" fmla="*/ 55 w 55"/>
                  <a:gd name="T42" fmla="*/ 29 h 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29">
                    <a:moveTo>
                      <a:pt x="14" y="29"/>
                    </a:moveTo>
                    <a:lnTo>
                      <a:pt x="5" y="20"/>
                    </a:lnTo>
                    <a:lnTo>
                      <a:pt x="2" y="19"/>
                    </a:lnTo>
                    <a:lnTo>
                      <a:pt x="0" y="15"/>
                    </a:lnTo>
                    <a:lnTo>
                      <a:pt x="0" y="5"/>
                    </a:lnTo>
                    <a:lnTo>
                      <a:pt x="2" y="0"/>
                    </a:lnTo>
                    <a:lnTo>
                      <a:pt x="21" y="11"/>
                    </a:lnTo>
                    <a:lnTo>
                      <a:pt x="41" y="0"/>
                    </a:lnTo>
                    <a:lnTo>
                      <a:pt x="55" y="10"/>
                    </a:lnTo>
                    <a:lnTo>
                      <a:pt x="49" y="20"/>
                    </a:lnTo>
                    <a:lnTo>
                      <a:pt x="42" y="25"/>
                    </a:lnTo>
                    <a:lnTo>
                      <a:pt x="31" y="29"/>
                    </a:lnTo>
                    <a:lnTo>
                      <a:pt x="14"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6" name="Freeform 143"/>
              <p:cNvSpPr>
                <a:spLocks/>
              </p:cNvSpPr>
              <p:nvPr/>
            </p:nvSpPr>
            <p:spPr bwMode="auto">
              <a:xfrm>
                <a:off x="2471" y="2871"/>
                <a:ext cx="31" cy="30"/>
              </a:xfrm>
              <a:custGeom>
                <a:avLst/>
                <a:gdLst>
                  <a:gd name="T0" fmla="*/ 5 w 29"/>
                  <a:gd name="T1" fmla="*/ 174 h 29"/>
                  <a:gd name="T2" fmla="*/ 816 w 29"/>
                  <a:gd name="T3" fmla="*/ 12 h 29"/>
                  <a:gd name="T4" fmla="*/ 816 w 29"/>
                  <a:gd name="T5" fmla="*/ 4 h 29"/>
                  <a:gd name="T6" fmla="*/ 816 w 29"/>
                  <a:gd name="T7" fmla="*/ 1 h 29"/>
                  <a:gd name="T8" fmla="*/ 1138 w 29"/>
                  <a:gd name="T9" fmla="*/ 0 h 29"/>
                  <a:gd name="T10" fmla="*/ 1216 w 29"/>
                  <a:gd name="T11" fmla="*/ 0 h 29"/>
                  <a:gd name="T12" fmla="*/ 1588 w 29"/>
                  <a:gd name="T13" fmla="*/ 1 h 29"/>
                  <a:gd name="T14" fmla="*/ 1938 w 29"/>
                  <a:gd name="T15" fmla="*/ 3 h 29"/>
                  <a:gd name="T16" fmla="*/ 2074 w 29"/>
                  <a:gd name="T17" fmla="*/ 5 h 29"/>
                  <a:gd name="T18" fmla="*/ 2368 w 29"/>
                  <a:gd name="T19" fmla="*/ 9 h 29"/>
                  <a:gd name="T20" fmla="*/ 2074 w 29"/>
                  <a:gd name="T21" fmla="*/ 12 h 29"/>
                  <a:gd name="T22" fmla="*/ 1938 w 29"/>
                  <a:gd name="T23" fmla="*/ 162 h 29"/>
                  <a:gd name="T24" fmla="*/ 1588 w 29"/>
                  <a:gd name="T25" fmla="*/ 186 h 29"/>
                  <a:gd name="T26" fmla="*/ 1588 w 29"/>
                  <a:gd name="T27" fmla="*/ 199 h 29"/>
                  <a:gd name="T28" fmla="*/ 1390 w 29"/>
                  <a:gd name="T29" fmla="*/ 228 h 29"/>
                  <a:gd name="T30" fmla="*/ 1390 w 29"/>
                  <a:gd name="T31" fmla="*/ 252 h 29"/>
                  <a:gd name="T32" fmla="*/ 1138 w 29"/>
                  <a:gd name="T33" fmla="*/ 252 h 29"/>
                  <a:gd name="T34" fmla="*/ 816 w 29"/>
                  <a:gd name="T35" fmla="*/ 252 h 29"/>
                  <a:gd name="T36" fmla="*/ 5 w 29"/>
                  <a:gd name="T37" fmla="*/ 252 h 29"/>
                  <a:gd name="T38" fmla="*/ 5 w 29"/>
                  <a:gd name="T39" fmla="*/ 252 h 29"/>
                  <a:gd name="T40" fmla="*/ 2 w 29"/>
                  <a:gd name="T41" fmla="*/ 244 h 29"/>
                  <a:gd name="T42" fmla="*/ 0 w 29"/>
                  <a:gd name="T43" fmla="*/ 228 h 29"/>
                  <a:gd name="T44" fmla="*/ 5 w 29"/>
                  <a:gd name="T45" fmla="*/ 174 h 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
                  <a:gd name="T70" fmla="*/ 0 h 29"/>
                  <a:gd name="T71" fmla="*/ 29 w 29"/>
                  <a:gd name="T72" fmla="*/ 29 h 2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 h="29">
                    <a:moveTo>
                      <a:pt x="5" y="18"/>
                    </a:moveTo>
                    <a:lnTo>
                      <a:pt x="10" y="12"/>
                    </a:lnTo>
                    <a:lnTo>
                      <a:pt x="10" y="4"/>
                    </a:lnTo>
                    <a:lnTo>
                      <a:pt x="10" y="1"/>
                    </a:lnTo>
                    <a:lnTo>
                      <a:pt x="15" y="0"/>
                    </a:lnTo>
                    <a:lnTo>
                      <a:pt x="16" y="0"/>
                    </a:lnTo>
                    <a:lnTo>
                      <a:pt x="20" y="1"/>
                    </a:lnTo>
                    <a:lnTo>
                      <a:pt x="23" y="3"/>
                    </a:lnTo>
                    <a:lnTo>
                      <a:pt x="26" y="5"/>
                    </a:lnTo>
                    <a:lnTo>
                      <a:pt x="29" y="9"/>
                    </a:lnTo>
                    <a:lnTo>
                      <a:pt x="26" y="12"/>
                    </a:lnTo>
                    <a:lnTo>
                      <a:pt x="23" y="16"/>
                    </a:lnTo>
                    <a:lnTo>
                      <a:pt x="20" y="20"/>
                    </a:lnTo>
                    <a:lnTo>
                      <a:pt x="20" y="22"/>
                    </a:lnTo>
                    <a:lnTo>
                      <a:pt x="18" y="26"/>
                    </a:lnTo>
                    <a:lnTo>
                      <a:pt x="18" y="29"/>
                    </a:lnTo>
                    <a:lnTo>
                      <a:pt x="15" y="29"/>
                    </a:lnTo>
                    <a:lnTo>
                      <a:pt x="10" y="29"/>
                    </a:lnTo>
                    <a:lnTo>
                      <a:pt x="5" y="29"/>
                    </a:lnTo>
                    <a:lnTo>
                      <a:pt x="2" y="28"/>
                    </a:lnTo>
                    <a:lnTo>
                      <a:pt x="0" y="26"/>
                    </a:lnTo>
                    <a:lnTo>
                      <a:pt x="5"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357" name="Picture 14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557" y="1543"/>
                <a:ext cx="104"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 name="Picture 145"/>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557" y="1543"/>
                <a:ext cx="104"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 name="Freeform 146"/>
              <p:cNvSpPr>
                <a:spLocks/>
              </p:cNvSpPr>
              <p:nvPr/>
            </p:nvSpPr>
            <p:spPr bwMode="auto">
              <a:xfrm>
                <a:off x="2563" y="1548"/>
                <a:ext cx="84" cy="100"/>
              </a:xfrm>
              <a:custGeom>
                <a:avLst/>
                <a:gdLst>
                  <a:gd name="T0" fmla="*/ 3722 w 79"/>
                  <a:gd name="T1" fmla="*/ 3 h 95"/>
                  <a:gd name="T2" fmla="*/ 3958 w 79"/>
                  <a:gd name="T3" fmla="*/ 4 h 95"/>
                  <a:gd name="T4" fmla="*/ 4037 w 79"/>
                  <a:gd name="T5" fmla="*/ 7 h 95"/>
                  <a:gd name="T6" fmla="*/ 3965 w 79"/>
                  <a:gd name="T7" fmla="*/ 388 h 95"/>
                  <a:gd name="T8" fmla="*/ 3571 w 79"/>
                  <a:gd name="T9" fmla="*/ 452 h 95"/>
                  <a:gd name="T10" fmla="*/ 3328 w 79"/>
                  <a:gd name="T11" fmla="*/ 527 h 95"/>
                  <a:gd name="T12" fmla="*/ 3722 w 79"/>
                  <a:gd name="T13" fmla="*/ 584 h 95"/>
                  <a:gd name="T14" fmla="*/ 3965 w 79"/>
                  <a:gd name="T15" fmla="*/ 584 h 95"/>
                  <a:gd name="T16" fmla="*/ 3763 w 79"/>
                  <a:gd name="T17" fmla="*/ 837 h 95"/>
                  <a:gd name="T18" fmla="*/ 3358 w 79"/>
                  <a:gd name="T19" fmla="*/ 1156 h 95"/>
                  <a:gd name="T20" fmla="*/ 3102 w 79"/>
                  <a:gd name="T21" fmla="*/ 1217 h 95"/>
                  <a:gd name="T22" fmla="*/ 2604 w 79"/>
                  <a:gd name="T23" fmla="*/ 1156 h 95"/>
                  <a:gd name="T24" fmla="*/ 2279 w 79"/>
                  <a:gd name="T25" fmla="*/ 1281 h 95"/>
                  <a:gd name="T26" fmla="*/ 1782 w 79"/>
                  <a:gd name="T27" fmla="*/ 1261 h 95"/>
                  <a:gd name="T28" fmla="*/ 1782 w 79"/>
                  <a:gd name="T29" fmla="*/ 1471 h 95"/>
                  <a:gd name="T30" fmla="*/ 1499 w 79"/>
                  <a:gd name="T31" fmla="*/ 1654 h 95"/>
                  <a:gd name="T32" fmla="*/ 1037 w 79"/>
                  <a:gd name="T33" fmla="*/ 1656 h 95"/>
                  <a:gd name="T34" fmla="*/ 917 w 79"/>
                  <a:gd name="T35" fmla="*/ 2000 h 95"/>
                  <a:gd name="T36" fmla="*/ 561 w 79"/>
                  <a:gd name="T37" fmla="*/ 2333 h 95"/>
                  <a:gd name="T38" fmla="*/ 5 w 79"/>
                  <a:gd name="T39" fmla="*/ 2494 h 95"/>
                  <a:gd name="T40" fmla="*/ 0 w 79"/>
                  <a:gd name="T41" fmla="*/ 2585 h 95"/>
                  <a:gd name="T42" fmla="*/ 0 w 79"/>
                  <a:gd name="T43" fmla="*/ 2767 h 95"/>
                  <a:gd name="T44" fmla="*/ 4 w 79"/>
                  <a:gd name="T45" fmla="*/ 2767 h 95"/>
                  <a:gd name="T46" fmla="*/ 7 w 79"/>
                  <a:gd name="T47" fmla="*/ 2629 h 95"/>
                  <a:gd name="T48" fmla="*/ 763 w 79"/>
                  <a:gd name="T49" fmla="*/ 2494 h 95"/>
                  <a:gd name="T50" fmla="*/ 1173 w 79"/>
                  <a:gd name="T51" fmla="*/ 2071 h 95"/>
                  <a:gd name="T52" fmla="*/ 1410 w 79"/>
                  <a:gd name="T53" fmla="*/ 1929 h 95"/>
                  <a:gd name="T54" fmla="*/ 1802 w 79"/>
                  <a:gd name="T55" fmla="*/ 1743 h 95"/>
                  <a:gd name="T56" fmla="*/ 1916 w 79"/>
                  <a:gd name="T57" fmla="*/ 1629 h 95"/>
                  <a:gd name="T58" fmla="*/ 2426 w 79"/>
                  <a:gd name="T59" fmla="*/ 1471 h 95"/>
                  <a:gd name="T60" fmla="*/ 2743 w 79"/>
                  <a:gd name="T61" fmla="*/ 1348 h 95"/>
                  <a:gd name="T62" fmla="*/ 3102 w 79"/>
                  <a:gd name="T63" fmla="*/ 1492 h 95"/>
                  <a:gd name="T64" fmla="*/ 3722 w 79"/>
                  <a:gd name="T65" fmla="*/ 1138 h 95"/>
                  <a:gd name="T66" fmla="*/ 4037 w 79"/>
                  <a:gd name="T67" fmla="*/ 1081 h 95"/>
                  <a:gd name="T68" fmla="*/ 4523 w 79"/>
                  <a:gd name="T69" fmla="*/ 1261 h 95"/>
                  <a:gd name="T70" fmla="*/ 4254 w 79"/>
                  <a:gd name="T71" fmla="*/ 1081 h 95"/>
                  <a:gd name="T72" fmla="*/ 4329 w 79"/>
                  <a:gd name="T73" fmla="*/ 837 h 95"/>
                  <a:gd name="T74" fmla="*/ 4329 w 79"/>
                  <a:gd name="T75" fmla="*/ 584 h 95"/>
                  <a:gd name="T76" fmla="*/ 4483 w 79"/>
                  <a:gd name="T77" fmla="*/ 388 h 95"/>
                  <a:gd name="T78" fmla="*/ 4483 w 79"/>
                  <a:gd name="T79" fmla="*/ 2 h 95"/>
                  <a:gd name="T80" fmla="*/ 3965 w 79"/>
                  <a:gd name="T81" fmla="*/ 0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9"/>
                  <a:gd name="T124" fmla="*/ 0 h 95"/>
                  <a:gd name="T125" fmla="*/ 79 w 79"/>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9" h="95">
                    <a:moveTo>
                      <a:pt x="66" y="1"/>
                    </a:moveTo>
                    <a:lnTo>
                      <a:pt x="64" y="3"/>
                    </a:lnTo>
                    <a:lnTo>
                      <a:pt x="66" y="4"/>
                    </a:lnTo>
                    <a:lnTo>
                      <a:pt x="68" y="4"/>
                    </a:lnTo>
                    <a:lnTo>
                      <a:pt x="69" y="6"/>
                    </a:lnTo>
                    <a:lnTo>
                      <a:pt x="71" y="7"/>
                    </a:lnTo>
                    <a:lnTo>
                      <a:pt x="71" y="11"/>
                    </a:lnTo>
                    <a:lnTo>
                      <a:pt x="69" y="13"/>
                    </a:lnTo>
                    <a:lnTo>
                      <a:pt x="66" y="13"/>
                    </a:lnTo>
                    <a:lnTo>
                      <a:pt x="63" y="16"/>
                    </a:lnTo>
                    <a:lnTo>
                      <a:pt x="59" y="17"/>
                    </a:lnTo>
                    <a:lnTo>
                      <a:pt x="58" y="19"/>
                    </a:lnTo>
                    <a:lnTo>
                      <a:pt x="61" y="21"/>
                    </a:lnTo>
                    <a:lnTo>
                      <a:pt x="64" y="21"/>
                    </a:lnTo>
                    <a:lnTo>
                      <a:pt x="68" y="19"/>
                    </a:lnTo>
                    <a:lnTo>
                      <a:pt x="69" y="21"/>
                    </a:lnTo>
                    <a:lnTo>
                      <a:pt x="69" y="24"/>
                    </a:lnTo>
                    <a:lnTo>
                      <a:pt x="66" y="28"/>
                    </a:lnTo>
                    <a:lnTo>
                      <a:pt x="61" y="36"/>
                    </a:lnTo>
                    <a:lnTo>
                      <a:pt x="59" y="40"/>
                    </a:lnTo>
                    <a:lnTo>
                      <a:pt x="56" y="42"/>
                    </a:lnTo>
                    <a:lnTo>
                      <a:pt x="54" y="42"/>
                    </a:lnTo>
                    <a:lnTo>
                      <a:pt x="51" y="40"/>
                    </a:lnTo>
                    <a:lnTo>
                      <a:pt x="46" y="40"/>
                    </a:lnTo>
                    <a:lnTo>
                      <a:pt x="44" y="40"/>
                    </a:lnTo>
                    <a:lnTo>
                      <a:pt x="39" y="44"/>
                    </a:lnTo>
                    <a:lnTo>
                      <a:pt x="36" y="45"/>
                    </a:lnTo>
                    <a:lnTo>
                      <a:pt x="31" y="43"/>
                    </a:lnTo>
                    <a:lnTo>
                      <a:pt x="32" y="47"/>
                    </a:lnTo>
                    <a:lnTo>
                      <a:pt x="31" y="49"/>
                    </a:lnTo>
                    <a:lnTo>
                      <a:pt x="29" y="53"/>
                    </a:lnTo>
                    <a:lnTo>
                      <a:pt x="26" y="56"/>
                    </a:lnTo>
                    <a:lnTo>
                      <a:pt x="22" y="59"/>
                    </a:lnTo>
                    <a:lnTo>
                      <a:pt x="19" y="57"/>
                    </a:lnTo>
                    <a:lnTo>
                      <a:pt x="19" y="63"/>
                    </a:lnTo>
                    <a:lnTo>
                      <a:pt x="17" y="67"/>
                    </a:lnTo>
                    <a:lnTo>
                      <a:pt x="14" y="70"/>
                    </a:lnTo>
                    <a:lnTo>
                      <a:pt x="9" y="79"/>
                    </a:lnTo>
                    <a:lnTo>
                      <a:pt x="7" y="79"/>
                    </a:lnTo>
                    <a:lnTo>
                      <a:pt x="5" y="84"/>
                    </a:lnTo>
                    <a:lnTo>
                      <a:pt x="2" y="86"/>
                    </a:lnTo>
                    <a:lnTo>
                      <a:pt x="0" y="87"/>
                    </a:lnTo>
                    <a:lnTo>
                      <a:pt x="0" y="91"/>
                    </a:lnTo>
                    <a:lnTo>
                      <a:pt x="0" y="94"/>
                    </a:lnTo>
                    <a:lnTo>
                      <a:pt x="2" y="95"/>
                    </a:lnTo>
                    <a:lnTo>
                      <a:pt x="4" y="94"/>
                    </a:lnTo>
                    <a:lnTo>
                      <a:pt x="5" y="91"/>
                    </a:lnTo>
                    <a:lnTo>
                      <a:pt x="7" y="89"/>
                    </a:lnTo>
                    <a:lnTo>
                      <a:pt x="10" y="86"/>
                    </a:lnTo>
                    <a:lnTo>
                      <a:pt x="14" y="84"/>
                    </a:lnTo>
                    <a:lnTo>
                      <a:pt x="17" y="79"/>
                    </a:lnTo>
                    <a:lnTo>
                      <a:pt x="21" y="70"/>
                    </a:lnTo>
                    <a:lnTo>
                      <a:pt x="21" y="67"/>
                    </a:lnTo>
                    <a:lnTo>
                      <a:pt x="24" y="65"/>
                    </a:lnTo>
                    <a:lnTo>
                      <a:pt x="29" y="60"/>
                    </a:lnTo>
                    <a:lnTo>
                      <a:pt x="32" y="60"/>
                    </a:lnTo>
                    <a:lnTo>
                      <a:pt x="34" y="59"/>
                    </a:lnTo>
                    <a:lnTo>
                      <a:pt x="34" y="55"/>
                    </a:lnTo>
                    <a:lnTo>
                      <a:pt x="37" y="52"/>
                    </a:lnTo>
                    <a:lnTo>
                      <a:pt x="42" y="49"/>
                    </a:lnTo>
                    <a:lnTo>
                      <a:pt x="44" y="46"/>
                    </a:lnTo>
                    <a:lnTo>
                      <a:pt x="48" y="46"/>
                    </a:lnTo>
                    <a:lnTo>
                      <a:pt x="49" y="50"/>
                    </a:lnTo>
                    <a:lnTo>
                      <a:pt x="54" y="50"/>
                    </a:lnTo>
                    <a:lnTo>
                      <a:pt x="61" y="46"/>
                    </a:lnTo>
                    <a:lnTo>
                      <a:pt x="64" y="39"/>
                    </a:lnTo>
                    <a:lnTo>
                      <a:pt x="68" y="37"/>
                    </a:lnTo>
                    <a:lnTo>
                      <a:pt x="71" y="37"/>
                    </a:lnTo>
                    <a:lnTo>
                      <a:pt x="73" y="40"/>
                    </a:lnTo>
                    <a:lnTo>
                      <a:pt x="79" y="43"/>
                    </a:lnTo>
                    <a:lnTo>
                      <a:pt x="79" y="39"/>
                    </a:lnTo>
                    <a:lnTo>
                      <a:pt x="74" y="37"/>
                    </a:lnTo>
                    <a:lnTo>
                      <a:pt x="74" y="33"/>
                    </a:lnTo>
                    <a:lnTo>
                      <a:pt x="76" y="28"/>
                    </a:lnTo>
                    <a:lnTo>
                      <a:pt x="79" y="24"/>
                    </a:lnTo>
                    <a:lnTo>
                      <a:pt x="76" y="21"/>
                    </a:lnTo>
                    <a:lnTo>
                      <a:pt x="78" y="16"/>
                    </a:lnTo>
                    <a:lnTo>
                      <a:pt x="78" y="13"/>
                    </a:lnTo>
                    <a:lnTo>
                      <a:pt x="79" y="7"/>
                    </a:lnTo>
                    <a:lnTo>
                      <a:pt x="78" y="2"/>
                    </a:lnTo>
                    <a:lnTo>
                      <a:pt x="74" y="2"/>
                    </a:lnTo>
                    <a:lnTo>
                      <a:pt x="69" y="0"/>
                    </a:lnTo>
                    <a:lnTo>
                      <a:pt x="66"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0" name="Freeform 147"/>
              <p:cNvSpPr>
                <a:spLocks/>
              </p:cNvSpPr>
              <p:nvPr/>
            </p:nvSpPr>
            <p:spPr bwMode="auto">
              <a:xfrm>
                <a:off x="2563" y="1548"/>
                <a:ext cx="84" cy="100"/>
              </a:xfrm>
              <a:custGeom>
                <a:avLst/>
                <a:gdLst>
                  <a:gd name="T0" fmla="*/ 3722 w 79"/>
                  <a:gd name="T1" fmla="*/ 3 h 95"/>
                  <a:gd name="T2" fmla="*/ 3958 w 79"/>
                  <a:gd name="T3" fmla="*/ 4 h 95"/>
                  <a:gd name="T4" fmla="*/ 4037 w 79"/>
                  <a:gd name="T5" fmla="*/ 7 h 95"/>
                  <a:gd name="T6" fmla="*/ 3965 w 79"/>
                  <a:gd name="T7" fmla="*/ 388 h 95"/>
                  <a:gd name="T8" fmla="*/ 3571 w 79"/>
                  <a:gd name="T9" fmla="*/ 452 h 95"/>
                  <a:gd name="T10" fmla="*/ 3328 w 79"/>
                  <a:gd name="T11" fmla="*/ 527 h 95"/>
                  <a:gd name="T12" fmla="*/ 3722 w 79"/>
                  <a:gd name="T13" fmla="*/ 584 h 95"/>
                  <a:gd name="T14" fmla="*/ 3965 w 79"/>
                  <a:gd name="T15" fmla="*/ 584 h 95"/>
                  <a:gd name="T16" fmla="*/ 3763 w 79"/>
                  <a:gd name="T17" fmla="*/ 837 h 95"/>
                  <a:gd name="T18" fmla="*/ 3358 w 79"/>
                  <a:gd name="T19" fmla="*/ 1156 h 95"/>
                  <a:gd name="T20" fmla="*/ 3102 w 79"/>
                  <a:gd name="T21" fmla="*/ 1217 h 95"/>
                  <a:gd name="T22" fmla="*/ 2604 w 79"/>
                  <a:gd name="T23" fmla="*/ 1156 h 95"/>
                  <a:gd name="T24" fmla="*/ 2279 w 79"/>
                  <a:gd name="T25" fmla="*/ 1281 h 95"/>
                  <a:gd name="T26" fmla="*/ 1782 w 79"/>
                  <a:gd name="T27" fmla="*/ 1261 h 95"/>
                  <a:gd name="T28" fmla="*/ 1782 w 79"/>
                  <a:gd name="T29" fmla="*/ 1471 h 95"/>
                  <a:gd name="T30" fmla="*/ 1499 w 79"/>
                  <a:gd name="T31" fmla="*/ 1654 h 95"/>
                  <a:gd name="T32" fmla="*/ 1037 w 79"/>
                  <a:gd name="T33" fmla="*/ 1656 h 95"/>
                  <a:gd name="T34" fmla="*/ 917 w 79"/>
                  <a:gd name="T35" fmla="*/ 2000 h 95"/>
                  <a:gd name="T36" fmla="*/ 561 w 79"/>
                  <a:gd name="T37" fmla="*/ 2333 h 95"/>
                  <a:gd name="T38" fmla="*/ 5 w 79"/>
                  <a:gd name="T39" fmla="*/ 2494 h 95"/>
                  <a:gd name="T40" fmla="*/ 0 w 79"/>
                  <a:gd name="T41" fmla="*/ 2585 h 95"/>
                  <a:gd name="T42" fmla="*/ 0 w 79"/>
                  <a:gd name="T43" fmla="*/ 2767 h 95"/>
                  <a:gd name="T44" fmla="*/ 4 w 79"/>
                  <a:gd name="T45" fmla="*/ 2767 h 95"/>
                  <a:gd name="T46" fmla="*/ 7 w 79"/>
                  <a:gd name="T47" fmla="*/ 2629 h 95"/>
                  <a:gd name="T48" fmla="*/ 763 w 79"/>
                  <a:gd name="T49" fmla="*/ 2494 h 95"/>
                  <a:gd name="T50" fmla="*/ 1173 w 79"/>
                  <a:gd name="T51" fmla="*/ 2071 h 95"/>
                  <a:gd name="T52" fmla="*/ 1410 w 79"/>
                  <a:gd name="T53" fmla="*/ 1929 h 95"/>
                  <a:gd name="T54" fmla="*/ 1802 w 79"/>
                  <a:gd name="T55" fmla="*/ 1743 h 95"/>
                  <a:gd name="T56" fmla="*/ 1916 w 79"/>
                  <a:gd name="T57" fmla="*/ 1629 h 95"/>
                  <a:gd name="T58" fmla="*/ 2426 w 79"/>
                  <a:gd name="T59" fmla="*/ 1471 h 95"/>
                  <a:gd name="T60" fmla="*/ 2743 w 79"/>
                  <a:gd name="T61" fmla="*/ 1348 h 95"/>
                  <a:gd name="T62" fmla="*/ 3102 w 79"/>
                  <a:gd name="T63" fmla="*/ 1492 h 95"/>
                  <a:gd name="T64" fmla="*/ 3722 w 79"/>
                  <a:gd name="T65" fmla="*/ 1138 h 95"/>
                  <a:gd name="T66" fmla="*/ 4037 w 79"/>
                  <a:gd name="T67" fmla="*/ 1081 h 95"/>
                  <a:gd name="T68" fmla="*/ 4523 w 79"/>
                  <a:gd name="T69" fmla="*/ 1261 h 95"/>
                  <a:gd name="T70" fmla="*/ 4254 w 79"/>
                  <a:gd name="T71" fmla="*/ 1081 h 95"/>
                  <a:gd name="T72" fmla="*/ 4329 w 79"/>
                  <a:gd name="T73" fmla="*/ 837 h 95"/>
                  <a:gd name="T74" fmla="*/ 4329 w 79"/>
                  <a:gd name="T75" fmla="*/ 584 h 95"/>
                  <a:gd name="T76" fmla="*/ 4483 w 79"/>
                  <a:gd name="T77" fmla="*/ 388 h 95"/>
                  <a:gd name="T78" fmla="*/ 4483 w 79"/>
                  <a:gd name="T79" fmla="*/ 2 h 95"/>
                  <a:gd name="T80" fmla="*/ 3965 w 79"/>
                  <a:gd name="T81" fmla="*/ 0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9"/>
                  <a:gd name="T124" fmla="*/ 0 h 95"/>
                  <a:gd name="T125" fmla="*/ 79 w 79"/>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9" h="95">
                    <a:moveTo>
                      <a:pt x="66" y="1"/>
                    </a:moveTo>
                    <a:lnTo>
                      <a:pt x="64" y="3"/>
                    </a:lnTo>
                    <a:lnTo>
                      <a:pt x="66" y="4"/>
                    </a:lnTo>
                    <a:lnTo>
                      <a:pt x="68" y="4"/>
                    </a:lnTo>
                    <a:lnTo>
                      <a:pt x="69" y="6"/>
                    </a:lnTo>
                    <a:lnTo>
                      <a:pt x="71" y="7"/>
                    </a:lnTo>
                    <a:lnTo>
                      <a:pt x="71" y="11"/>
                    </a:lnTo>
                    <a:lnTo>
                      <a:pt x="69" y="13"/>
                    </a:lnTo>
                    <a:lnTo>
                      <a:pt x="66" y="13"/>
                    </a:lnTo>
                    <a:lnTo>
                      <a:pt x="63" y="16"/>
                    </a:lnTo>
                    <a:lnTo>
                      <a:pt x="59" y="17"/>
                    </a:lnTo>
                    <a:lnTo>
                      <a:pt x="58" y="19"/>
                    </a:lnTo>
                    <a:lnTo>
                      <a:pt x="61" y="21"/>
                    </a:lnTo>
                    <a:lnTo>
                      <a:pt x="64" y="21"/>
                    </a:lnTo>
                    <a:lnTo>
                      <a:pt x="68" y="19"/>
                    </a:lnTo>
                    <a:lnTo>
                      <a:pt x="69" y="21"/>
                    </a:lnTo>
                    <a:lnTo>
                      <a:pt x="69" y="24"/>
                    </a:lnTo>
                    <a:lnTo>
                      <a:pt x="66" y="28"/>
                    </a:lnTo>
                    <a:lnTo>
                      <a:pt x="61" y="36"/>
                    </a:lnTo>
                    <a:lnTo>
                      <a:pt x="59" y="40"/>
                    </a:lnTo>
                    <a:lnTo>
                      <a:pt x="56" y="42"/>
                    </a:lnTo>
                    <a:lnTo>
                      <a:pt x="54" y="42"/>
                    </a:lnTo>
                    <a:lnTo>
                      <a:pt x="51" y="40"/>
                    </a:lnTo>
                    <a:lnTo>
                      <a:pt x="46" y="40"/>
                    </a:lnTo>
                    <a:lnTo>
                      <a:pt x="44" y="40"/>
                    </a:lnTo>
                    <a:lnTo>
                      <a:pt x="39" y="44"/>
                    </a:lnTo>
                    <a:lnTo>
                      <a:pt x="36" y="45"/>
                    </a:lnTo>
                    <a:lnTo>
                      <a:pt x="31" y="43"/>
                    </a:lnTo>
                    <a:lnTo>
                      <a:pt x="32" y="47"/>
                    </a:lnTo>
                    <a:lnTo>
                      <a:pt x="31" y="49"/>
                    </a:lnTo>
                    <a:lnTo>
                      <a:pt x="29" y="53"/>
                    </a:lnTo>
                    <a:lnTo>
                      <a:pt x="26" y="56"/>
                    </a:lnTo>
                    <a:lnTo>
                      <a:pt x="22" y="59"/>
                    </a:lnTo>
                    <a:lnTo>
                      <a:pt x="19" y="57"/>
                    </a:lnTo>
                    <a:lnTo>
                      <a:pt x="19" y="63"/>
                    </a:lnTo>
                    <a:lnTo>
                      <a:pt x="17" y="67"/>
                    </a:lnTo>
                    <a:lnTo>
                      <a:pt x="14" y="70"/>
                    </a:lnTo>
                    <a:lnTo>
                      <a:pt x="9" y="79"/>
                    </a:lnTo>
                    <a:lnTo>
                      <a:pt x="7" y="79"/>
                    </a:lnTo>
                    <a:lnTo>
                      <a:pt x="5" y="84"/>
                    </a:lnTo>
                    <a:lnTo>
                      <a:pt x="2" y="86"/>
                    </a:lnTo>
                    <a:lnTo>
                      <a:pt x="0" y="87"/>
                    </a:lnTo>
                    <a:lnTo>
                      <a:pt x="0" y="91"/>
                    </a:lnTo>
                    <a:lnTo>
                      <a:pt x="0" y="94"/>
                    </a:lnTo>
                    <a:lnTo>
                      <a:pt x="2" y="95"/>
                    </a:lnTo>
                    <a:lnTo>
                      <a:pt x="4" y="94"/>
                    </a:lnTo>
                    <a:lnTo>
                      <a:pt x="5" y="91"/>
                    </a:lnTo>
                    <a:lnTo>
                      <a:pt x="7" y="89"/>
                    </a:lnTo>
                    <a:lnTo>
                      <a:pt x="10" y="86"/>
                    </a:lnTo>
                    <a:lnTo>
                      <a:pt x="14" y="84"/>
                    </a:lnTo>
                    <a:lnTo>
                      <a:pt x="17" y="79"/>
                    </a:lnTo>
                    <a:lnTo>
                      <a:pt x="21" y="70"/>
                    </a:lnTo>
                    <a:lnTo>
                      <a:pt x="21" y="67"/>
                    </a:lnTo>
                    <a:lnTo>
                      <a:pt x="24" y="65"/>
                    </a:lnTo>
                    <a:lnTo>
                      <a:pt x="29" y="60"/>
                    </a:lnTo>
                    <a:lnTo>
                      <a:pt x="32" y="60"/>
                    </a:lnTo>
                    <a:lnTo>
                      <a:pt x="34" y="59"/>
                    </a:lnTo>
                    <a:lnTo>
                      <a:pt x="34" y="55"/>
                    </a:lnTo>
                    <a:lnTo>
                      <a:pt x="37" y="52"/>
                    </a:lnTo>
                    <a:lnTo>
                      <a:pt x="42" y="49"/>
                    </a:lnTo>
                    <a:lnTo>
                      <a:pt x="44" y="46"/>
                    </a:lnTo>
                    <a:lnTo>
                      <a:pt x="48" y="46"/>
                    </a:lnTo>
                    <a:lnTo>
                      <a:pt x="49" y="50"/>
                    </a:lnTo>
                    <a:lnTo>
                      <a:pt x="54" y="50"/>
                    </a:lnTo>
                    <a:lnTo>
                      <a:pt x="61" y="46"/>
                    </a:lnTo>
                    <a:lnTo>
                      <a:pt x="64" y="39"/>
                    </a:lnTo>
                    <a:lnTo>
                      <a:pt x="68" y="37"/>
                    </a:lnTo>
                    <a:lnTo>
                      <a:pt x="71" y="37"/>
                    </a:lnTo>
                    <a:lnTo>
                      <a:pt x="73" y="40"/>
                    </a:lnTo>
                    <a:lnTo>
                      <a:pt x="79" y="43"/>
                    </a:lnTo>
                    <a:lnTo>
                      <a:pt x="79" y="39"/>
                    </a:lnTo>
                    <a:lnTo>
                      <a:pt x="74" y="37"/>
                    </a:lnTo>
                    <a:lnTo>
                      <a:pt x="74" y="33"/>
                    </a:lnTo>
                    <a:lnTo>
                      <a:pt x="76" y="28"/>
                    </a:lnTo>
                    <a:lnTo>
                      <a:pt x="79" y="24"/>
                    </a:lnTo>
                    <a:lnTo>
                      <a:pt x="76" y="21"/>
                    </a:lnTo>
                    <a:lnTo>
                      <a:pt x="78" y="16"/>
                    </a:lnTo>
                    <a:lnTo>
                      <a:pt x="78" y="13"/>
                    </a:lnTo>
                    <a:lnTo>
                      <a:pt x="79" y="7"/>
                    </a:lnTo>
                    <a:lnTo>
                      <a:pt x="78" y="2"/>
                    </a:lnTo>
                    <a:lnTo>
                      <a:pt x="74" y="2"/>
                    </a:lnTo>
                    <a:lnTo>
                      <a:pt x="69" y="0"/>
                    </a:lnTo>
                    <a:lnTo>
                      <a:pt x="66" y="1"/>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61" name="Freeform 148"/>
              <p:cNvSpPr>
                <a:spLocks/>
              </p:cNvSpPr>
              <p:nvPr/>
            </p:nvSpPr>
            <p:spPr bwMode="auto">
              <a:xfrm>
                <a:off x="2493" y="2525"/>
                <a:ext cx="30" cy="31"/>
              </a:xfrm>
              <a:custGeom>
                <a:avLst/>
                <a:gdLst>
                  <a:gd name="T0" fmla="*/ 1367 w 28"/>
                  <a:gd name="T1" fmla="*/ 4 h 29"/>
                  <a:gd name="T2" fmla="*/ 2141 w 28"/>
                  <a:gd name="T3" fmla="*/ 0 h 29"/>
                  <a:gd name="T4" fmla="*/ 2634 w 28"/>
                  <a:gd name="T5" fmla="*/ 2 h 29"/>
                  <a:gd name="T6" fmla="*/ 2634 w 28"/>
                  <a:gd name="T7" fmla="*/ 1065 h 29"/>
                  <a:gd name="T8" fmla="*/ 1931 w 28"/>
                  <a:gd name="T9" fmla="*/ 1390 h 29"/>
                  <a:gd name="T10" fmla="*/ 1465 w 28"/>
                  <a:gd name="T11" fmla="*/ 1938 h 29"/>
                  <a:gd name="T12" fmla="*/ 969 w 28"/>
                  <a:gd name="T13" fmla="*/ 2074 h 29"/>
                  <a:gd name="T14" fmla="*/ 5 w 28"/>
                  <a:gd name="T15" fmla="*/ 2368 h 29"/>
                  <a:gd name="T16" fmla="*/ 0 w 28"/>
                  <a:gd name="T17" fmla="*/ 1938 h 29"/>
                  <a:gd name="T18" fmla="*/ 0 w 28"/>
                  <a:gd name="T19" fmla="*/ 1486 h 29"/>
                  <a:gd name="T20" fmla="*/ 5 w 28"/>
                  <a:gd name="T21" fmla="*/ 714 h 29"/>
                  <a:gd name="T22" fmla="*/ 1367 w 28"/>
                  <a:gd name="T23" fmla="*/ 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29"/>
                  <a:gd name="T38" fmla="*/ 28 w 28"/>
                  <a:gd name="T39" fmla="*/ 29 h 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29">
                    <a:moveTo>
                      <a:pt x="15" y="4"/>
                    </a:moveTo>
                    <a:lnTo>
                      <a:pt x="22" y="0"/>
                    </a:lnTo>
                    <a:lnTo>
                      <a:pt x="28" y="2"/>
                    </a:lnTo>
                    <a:lnTo>
                      <a:pt x="28" y="14"/>
                    </a:lnTo>
                    <a:lnTo>
                      <a:pt x="20" y="18"/>
                    </a:lnTo>
                    <a:lnTo>
                      <a:pt x="16" y="23"/>
                    </a:lnTo>
                    <a:lnTo>
                      <a:pt x="10" y="26"/>
                    </a:lnTo>
                    <a:lnTo>
                      <a:pt x="5" y="29"/>
                    </a:lnTo>
                    <a:lnTo>
                      <a:pt x="0" y="23"/>
                    </a:lnTo>
                    <a:lnTo>
                      <a:pt x="0" y="19"/>
                    </a:lnTo>
                    <a:lnTo>
                      <a:pt x="5" y="8"/>
                    </a:lnTo>
                    <a:lnTo>
                      <a:pt x="1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2" name="Freeform 149"/>
              <p:cNvSpPr>
                <a:spLocks/>
              </p:cNvSpPr>
              <p:nvPr/>
            </p:nvSpPr>
            <p:spPr bwMode="auto">
              <a:xfrm>
                <a:off x="3071" y="2982"/>
                <a:ext cx="30" cy="29"/>
              </a:xfrm>
              <a:custGeom>
                <a:avLst/>
                <a:gdLst>
                  <a:gd name="T0" fmla="*/ 1112 w 28"/>
                  <a:gd name="T1" fmla="*/ 0 h 28"/>
                  <a:gd name="T2" fmla="*/ 3 w 28"/>
                  <a:gd name="T3" fmla="*/ 3 h 28"/>
                  <a:gd name="T4" fmla="*/ 0 w 28"/>
                  <a:gd name="T5" fmla="*/ 3 h 28"/>
                  <a:gd name="T6" fmla="*/ 3 w 28"/>
                  <a:gd name="T7" fmla="*/ 164 h 28"/>
                  <a:gd name="T8" fmla="*/ 0 w 28"/>
                  <a:gd name="T9" fmla="*/ 182 h 28"/>
                  <a:gd name="T10" fmla="*/ 5 w 28"/>
                  <a:gd name="T11" fmla="*/ 210 h 28"/>
                  <a:gd name="T12" fmla="*/ 904 w 28"/>
                  <a:gd name="T13" fmla="*/ 226 h 28"/>
                  <a:gd name="T14" fmla="*/ 1367 w 28"/>
                  <a:gd name="T15" fmla="*/ 260 h 28"/>
                  <a:gd name="T16" fmla="*/ 2217 w 28"/>
                  <a:gd name="T17" fmla="*/ 269 h 28"/>
                  <a:gd name="T18" fmla="*/ 2634 w 28"/>
                  <a:gd name="T19" fmla="*/ 242 h 28"/>
                  <a:gd name="T20" fmla="*/ 2634 w 28"/>
                  <a:gd name="T21" fmla="*/ 226 h 28"/>
                  <a:gd name="T22" fmla="*/ 1682 w 28"/>
                  <a:gd name="T23" fmla="*/ 13 h 28"/>
                  <a:gd name="T24" fmla="*/ 1682 w 28"/>
                  <a:gd name="T25" fmla="*/ 3 h 28"/>
                  <a:gd name="T26" fmla="*/ 1112 w 28"/>
                  <a:gd name="T27" fmla="*/ 0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28"/>
                  <a:gd name="T44" fmla="*/ 28 w 28"/>
                  <a:gd name="T45" fmla="*/ 28 h 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28">
                    <a:moveTo>
                      <a:pt x="12" y="0"/>
                    </a:moveTo>
                    <a:lnTo>
                      <a:pt x="3" y="3"/>
                    </a:lnTo>
                    <a:lnTo>
                      <a:pt x="0" y="3"/>
                    </a:lnTo>
                    <a:lnTo>
                      <a:pt x="3" y="14"/>
                    </a:lnTo>
                    <a:lnTo>
                      <a:pt x="0" y="17"/>
                    </a:lnTo>
                    <a:lnTo>
                      <a:pt x="5" y="21"/>
                    </a:lnTo>
                    <a:lnTo>
                      <a:pt x="9" y="23"/>
                    </a:lnTo>
                    <a:lnTo>
                      <a:pt x="15" y="27"/>
                    </a:lnTo>
                    <a:lnTo>
                      <a:pt x="23" y="28"/>
                    </a:lnTo>
                    <a:lnTo>
                      <a:pt x="28" y="25"/>
                    </a:lnTo>
                    <a:lnTo>
                      <a:pt x="28" y="23"/>
                    </a:lnTo>
                    <a:lnTo>
                      <a:pt x="18" y="13"/>
                    </a:lnTo>
                    <a:lnTo>
                      <a:pt x="18" y="3"/>
                    </a:lnTo>
                    <a:lnTo>
                      <a:pt x="12" y="0"/>
                    </a:lnTo>
                    <a:close/>
                  </a:path>
                </a:pathLst>
              </a:custGeom>
              <a:solidFill>
                <a:srgbClr val="DA979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3" name="Freeform 150"/>
              <p:cNvSpPr>
                <a:spLocks/>
              </p:cNvSpPr>
              <p:nvPr/>
            </p:nvSpPr>
            <p:spPr bwMode="auto">
              <a:xfrm>
                <a:off x="3071" y="2982"/>
                <a:ext cx="30" cy="29"/>
              </a:xfrm>
              <a:custGeom>
                <a:avLst/>
                <a:gdLst>
                  <a:gd name="T0" fmla="*/ 1112 w 28"/>
                  <a:gd name="T1" fmla="*/ 0 h 28"/>
                  <a:gd name="T2" fmla="*/ 3 w 28"/>
                  <a:gd name="T3" fmla="*/ 3 h 28"/>
                  <a:gd name="T4" fmla="*/ 0 w 28"/>
                  <a:gd name="T5" fmla="*/ 3 h 28"/>
                  <a:gd name="T6" fmla="*/ 3 w 28"/>
                  <a:gd name="T7" fmla="*/ 164 h 28"/>
                  <a:gd name="T8" fmla="*/ 0 w 28"/>
                  <a:gd name="T9" fmla="*/ 182 h 28"/>
                  <a:gd name="T10" fmla="*/ 5 w 28"/>
                  <a:gd name="T11" fmla="*/ 210 h 28"/>
                  <a:gd name="T12" fmla="*/ 904 w 28"/>
                  <a:gd name="T13" fmla="*/ 226 h 28"/>
                  <a:gd name="T14" fmla="*/ 1367 w 28"/>
                  <a:gd name="T15" fmla="*/ 260 h 28"/>
                  <a:gd name="T16" fmla="*/ 2217 w 28"/>
                  <a:gd name="T17" fmla="*/ 269 h 28"/>
                  <a:gd name="T18" fmla="*/ 2634 w 28"/>
                  <a:gd name="T19" fmla="*/ 242 h 28"/>
                  <a:gd name="T20" fmla="*/ 2634 w 28"/>
                  <a:gd name="T21" fmla="*/ 226 h 28"/>
                  <a:gd name="T22" fmla="*/ 1682 w 28"/>
                  <a:gd name="T23" fmla="*/ 13 h 28"/>
                  <a:gd name="T24" fmla="*/ 1682 w 28"/>
                  <a:gd name="T25" fmla="*/ 3 h 28"/>
                  <a:gd name="T26" fmla="*/ 1112 w 28"/>
                  <a:gd name="T27" fmla="*/ 0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28"/>
                  <a:gd name="T44" fmla="*/ 28 w 28"/>
                  <a:gd name="T45" fmla="*/ 28 h 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28">
                    <a:moveTo>
                      <a:pt x="12" y="0"/>
                    </a:moveTo>
                    <a:lnTo>
                      <a:pt x="3" y="3"/>
                    </a:lnTo>
                    <a:lnTo>
                      <a:pt x="0" y="3"/>
                    </a:lnTo>
                    <a:lnTo>
                      <a:pt x="3" y="14"/>
                    </a:lnTo>
                    <a:lnTo>
                      <a:pt x="0" y="17"/>
                    </a:lnTo>
                    <a:lnTo>
                      <a:pt x="5" y="21"/>
                    </a:lnTo>
                    <a:lnTo>
                      <a:pt x="9" y="23"/>
                    </a:lnTo>
                    <a:lnTo>
                      <a:pt x="15" y="27"/>
                    </a:lnTo>
                    <a:lnTo>
                      <a:pt x="23" y="28"/>
                    </a:lnTo>
                    <a:lnTo>
                      <a:pt x="28" y="25"/>
                    </a:lnTo>
                    <a:lnTo>
                      <a:pt x="28" y="23"/>
                    </a:lnTo>
                    <a:lnTo>
                      <a:pt x="18" y="13"/>
                    </a:lnTo>
                    <a:lnTo>
                      <a:pt x="18" y="3"/>
                    </a:lnTo>
                    <a:lnTo>
                      <a:pt x="12" y="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64" name="Freeform 151"/>
              <p:cNvSpPr>
                <a:spLocks/>
              </p:cNvSpPr>
              <p:nvPr/>
            </p:nvSpPr>
            <p:spPr bwMode="auto">
              <a:xfrm>
                <a:off x="3067" y="3018"/>
                <a:ext cx="293" cy="543"/>
              </a:xfrm>
              <a:custGeom>
                <a:avLst/>
                <a:gdLst>
                  <a:gd name="T0" fmla="*/ 2994 w 274"/>
                  <a:gd name="T1" fmla="*/ 4858 h 517"/>
                  <a:gd name="T2" fmla="*/ 2800 w 274"/>
                  <a:gd name="T3" fmla="*/ 5990 h 517"/>
                  <a:gd name="T4" fmla="*/ 4058 w 274"/>
                  <a:gd name="T5" fmla="*/ 7089 h 517"/>
                  <a:gd name="T6" fmla="*/ 4075 w 274"/>
                  <a:gd name="T7" fmla="*/ 7482 h 517"/>
                  <a:gd name="T8" fmla="*/ 2141 w 274"/>
                  <a:gd name="T9" fmla="*/ 8416 h 517"/>
                  <a:gd name="T10" fmla="*/ 896 w 274"/>
                  <a:gd name="T11" fmla="*/ 9079 h 517"/>
                  <a:gd name="T12" fmla="*/ 0 w 274"/>
                  <a:gd name="T13" fmla="*/ 9783 h 517"/>
                  <a:gd name="T14" fmla="*/ 6 w 274"/>
                  <a:gd name="T15" fmla="*/ 10546 h 517"/>
                  <a:gd name="T16" fmla="*/ 1531 w 274"/>
                  <a:gd name="T17" fmla="*/ 11174 h 517"/>
                  <a:gd name="T18" fmla="*/ 1432 w 274"/>
                  <a:gd name="T19" fmla="*/ 11832 h 517"/>
                  <a:gd name="T20" fmla="*/ 3424 w 274"/>
                  <a:gd name="T21" fmla="*/ 12683 h 517"/>
                  <a:gd name="T22" fmla="*/ 6121 w 274"/>
                  <a:gd name="T23" fmla="*/ 13179 h 517"/>
                  <a:gd name="T24" fmla="*/ 10736 w 274"/>
                  <a:gd name="T25" fmla="*/ 12689 h 517"/>
                  <a:gd name="T26" fmla="*/ 12238 w 274"/>
                  <a:gd name="T27" fmla="*/ 12504 h 517"/>
                  <a:gd name="T28" fmla="*/ 13797 w 274"/>
                  <a:gd name="T29" fmla="*/ 11635 h 517"/>
                  <a:gd name="T30" fmla="*/ 14754 w 274"/>
                  <a:gd name="T31" fmla="*/ 10367 h 517"/>
                  <a:gd name="T32" fmla="*/ 16595 w 274"/>
                  <a:gd name="T33" fmla="*/ 8753 h 517"/>
                  <a:gd name="T34" fmla="*/ 18354 w 274"/>
                  <a:gd name="T35" fmla="*/ 7062 h 517"/>
                  <a:gd name="T36" fmla="*/ 19237 w 274"/>
                  <a:gd name="T37" fmla="*/ 6402 h 517"/>
                  <a:gd name="T38" fmla="*/ 20142 w 274"/>
                  <a:gd name="T39" fmla="*/ 4880 h 517"/>
                  <a:gd name="T40" fmla="*/ 20988 w 274"/>
                  <a:gd name="T41" fmla="*/ 4393 h 517"/>
                  <a:gd name="T42" fmla="*/ 20630 w 274"/>
                  <a:gd name="T43" fmla="*/ 3610 h 517"/>
                  <a:gd name="T44" fmla="*/ 21694 w 274"/>
                  <a:gd name="T45" fmla="*/ 3437 h 517"/>
                  <a:gd name="T46" fmla="*/ 22751 w 274"/>
                  <a:gd name="T47" fmla="*/ 3437 h 517"/>
                  <a:gd name="T48" fmla="*/ 22441 w 274"/>
                  <a:gd name="T49" fmla="*/ 2646 h 517"/>
                  <a:gd name="T50" fmla="*/ 21880 w 274"/>
                  <a:gd name="T51" fmla="*/ 1839 h 517"/>
                  <a:gd name="T52" fmla="*/ 21321 w 274"/>
                  <a:gd name="T53" fmla="*/ 1021 h 517"/>
                  <a:gd name="T54" fmla="*/ 20161 w 274"/>
                  <a:gd name="T55" fmla="*/ 379 h 517"/>
                  <a:gd name="T56" fmla="*/ 18354 w 274"/>
                  <a:gd name="T57" fmla="*/ 4 h 517"/>
                  <a:gd name="T58" fmla="*/ 17893 w 274"/>
                  <a:gd name="T59" fmla="*/ 379 h 517"/>
                  <a:gd name="T60" fmla="*/ 17112 w 274"/>
                  <a:gd name="T61" fmla="*/ 1171 h 517"/>
                  <a:gd name="T62" fmla="*/ 15777 w 274"/>
                  <a:gd name="T63" fmla="*/ 1572 h 517"/>
                  <a:gd name="T64" fmla="*/ 14712 w 274"/>
                  <a:gd name="T65" fmla="*/ 1425 h 517"/>
                  <a:gd name="T66" fmla="*/ 15216 w 274"/>
                  <a:gd name="T67" fmla="*/ 2002 h 517"/>
                  <a:gd name="T68" fmla="*/ 14229 w 274"/>
                  <a:gd name="T69" fmla="*/ 2137 h 517"/>
                  <a:gd name="T70" fmla="*/ 15216 w 274"/>
                  <a:gd name="T71" fmla="*/ 2444 h 517"/>
                  <a:gd name="T72" fmla="*/ 13484 w 274"/>
                  <a:gd name="T73" fmla="*/ 2779 h 517"/>
                  <a:gd name="T74" fmla="*/ 13037 w 274"/>
                  <a:gd name="T75" fmla="*/ 2567 h 517"/>
                  <a:gd name="T76" fmla="*/ 12192 w 274"/>
                  <a:gd name="T77" fmla="*/ 2919 h 517"/>
                  <a:gd name="T78" fmla="*/ 11917 w 274"/>
                  <a:gd name="T79" fmla="*/ 3281 h 517"/>
                  <a:gd name="T80" fmla="*/ 10736 w 274"/>
                  <a:gd name="T81" fmla="*/ 3124 h 517"/>
                  <a:gd name="T82" fmla="*/ 10702 w 274"/>
                  <a:gd name="T83" fmla="*/ 3654 h 517"/>
                  <a:gd name="T84" fmla="*/ 9786 w 274"/>
                  <a:gd name="T85" fmla="*/ 3801 h 517"/>
                  <a:gd name="T86" fmla="*/ 8898 w 274"/>
                  <a:gd name="T87" fmla="*/ 3446 h 517"/>
                  <a:gd name="T88" fmla="*/ 7546 w 274"/>
                  <a:gd name="T89" fmla="*/ 3552 h 517"/>
                  <a:gd name="T90" fmla="*/ 6999 w 274"/>
                  <a:gd name="T91" fmla="*/ 3746 h 517"/>
                  <a:gd name="T92" fmla="*/ 6259 w 274"/>
                  <a:gd name="T93" fmla="*/ 3746 h 517"/>
                  <a:gd name="T94" fmla="*/ 4476 w 274"/>
                  <a:gd name="T95" fmla="*/ 3983 h 51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4"/>
                  <a:gd name="T145" fmla="*/ 0 h 517"/>
                  <a:gd name="T146" fmla="*/ 274 w 274"/>
                  <a:gd name="T147" fmla="*/ 517 h 51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4" h="517">
                    <a:moveTo>
                      <a:pt x="44" y="157"/>
                    </a:moveTo>
                    <a:lnTo>
                      <a:pt x="46" y="168"/>
                    </a:lnTo>
                    <a:lnTo>
                      <a:pt x="36" y="190"/>
                    </a:lnTo>
                    <a:lnTo>
                      <a:pt x="26" y="205"/>
                    </a:lnTo>
                    <a:lnTo>
                      <a:pt x="33" y="216"/>
                    </a:lnTo>
                    <a:lnTo>
                      <a:pt x="34" y="236"/>
                    </a:lnTo>
                    <a:lnTo>
                      <a:pt x="38" y="255"/>
                    </a:lnTo>
                    <a:lnTo>
                      <a:pt x="43" y="268"/>
                    </a:lnTo>
                    <a:lnTo>
                      <a:pt x="48" y="277"/>
                    </a:lnTo>
                    <a:lnTo>
                      <a:pt x="50" y="284"/>
                    </a:lnTo>
                    <a:lnTo>
                      <a:pt x="47" y="287"/>
                    </a:lnTo>
                    <a:lnTo>
                      <a:pt x="49" y="294"/>
                    </a:lnTo>
                    <a:lnTo>
                      <a:pt x="46" y="302"/>
                    </a:lnTo>
                    <a:lnTo>
                      <a:pt x="39" y="308"/>
                    </a:lnTo>
                    <a:lnTo>
                      <a:pt x="26" y="331"/>
                    </a:lnTo>
                    <a:lnTo>
                      <a:pt x="21" y="348"/>
                    </a:lnTo>
                    <a:lnTo>
                      <a:pt x="15" y="349"/>
                    </a:lnTo>
                    <a:lnTo>
                      <a:pt x="11" y="356"/>
                    </a:lnTo>
                    <a:lnTo>
                      <a:pt x="5" y="366"/>
                    </a:lnTo>
                    <a:lnTo>
                      <a:pt x="0" y="374"/>
                    </a:lnTo>
                    <a:lnTo>
                      <a:pt x="0" y="385"/>
                    </a:lnTo>
                    <a:lnTo>
                      <a:pt x="1" y="394"/>
                    </a:lnTo>
                    <a:lnTo>
                      <a:pt x="1" y="404"/>
                    </a:lnTo>
                    <a:lnTo>
                      <a:pt x="6" y="414"/>
                    </a:lnTo>
                    <a:lnTo>
                      <a:pt x="12" y="418"/>
                    </a:lnTo>
                    <a:lnTo>
                      <a:pt x="16" y="427"/>
                    </a:lnTo>
                    <a:lnTo>
                      <a:pt x="19" y="438"/>
                    </a:lnTo>
                    <a:lnTo>
                      <a:pt x="16" y="445"/>
                    </a:lnTo>
                    <a:lnTo>
                      <a:pt x="16" y="453"/>
                    </a:lnTo>
                    <a:lnTo>
                      <a:pt x="18" y="465"/>
                    </a:lnTo>
                    <a:lnTo>
                      <a:pt x="22" y="476"/>
                    </a:lnTo>
                    <a:lnTo>
                      <a:pt x="33" y="490"/>
                    </a:lnTo>
                    <a:lnTo>
                      <a:pt x="41" y="497"/>
                    </a:lnTo>
                    <a:lnTo>
                      <a:pt x="50" y="502"/>
                    </a:lnTo>
                    <a:lnTo>
                      <a:pt x="60" y="507"/>
                    </a:lnTo>
                    <a:lnTo>
                      <a:pt x="74" y="517"/>
                    </a:lnTo>
                    <a:lnTo>
                      <a:pt x="84" y="515"/>
                    </a:lnTo>
                    <a:lnTo>
                      <a:pt x="106" y="503"/>
                    </a:lnTo>
                    <a:lnTo>
                      <a:pt x="129" y="498"/>
                    </a:lnTo>
                    <a:lnTo>
                      <a:pt x="135" y="500"/>
                    </a:lnTo>
                    <a:lnTo>
                      <a:pt x="142" y="496"/>
                    </a:lnTo>
                    <a:lnTo>
                      <a:pt x="147" y="490"/>
                    </a:lnTo>
                    <a:lnTo>
                      <a:pt x="156" y="476"/>
                    </a:lnTo>
                    <a:lnTo>
                      <a:pt x="160" y="468"/>
                    </a:lnTo>
                    <a:lnTo>
                      <a:pt x="166" y="458"/>
                    </a:lnTo>
                    <a:lnTo>
                      <a:pt x="170" y="437"/>
                    </a:lnTo>
                    <a:lnTo>
                      <a:pt x="173" y="425"/>
                    </a:lnTo>
                    <a:lnTo>
                      <a:pt x="178" y="407"/>
                    </a:lnTo>
                    <a:lnTo>
                      <a:pt x="187" y="380"/>
                    </a:lnTo>
                    <a:lnTo>
                      <a:pt x="190" y="369"/>
                    </a:lnTo>
                    <a:lnTo>
                      <a:pt x="199" y="344"/>
                    </a:lnTo>
                    <a:lnTo>
                      <a:pt x="202" y="329"/>
                    </a:lnTo>
                    <a:lnTo>
                      <a:pt x="210" y="310"/>
                    </a:lnTo>
                    <a:lnTo>
                      <a:pt x="221" y="275"/>
                    </a:lnTo>
                    <a:lnTo>
                      <a:pt x="223" y="269"/>
                    </a:lnTo>
                    <a:lnTo>
                      <a:pt x="224" y="269"/>
                    </a:lnTo>
                    <a:lnTo>
                      <a:pt x="231" y="249"/>
                    </a:lnTo>
                    <a:lnTo>
                      <a:pt x="238" y="214"/>
                    </a:lnTo>
                    <a:lnTo>
                      <a:pt x="238" y="204"/>
                    </a:lnTo>
                    <a:lnTo>
                      <a:pt x="240" y="192"/>
                    </a:lnTo>
                    <a:lnTo>
                      <a:pt x="245" y="182"/>
                    </a:lnTo>
                    <a:lnTo>
                      <a:pt x="250" y="178"/>
                    </a:lnTo>
                    <a:lnTo>
                      <a:pt x="252" y="171"/>
                    </a:lnTo>
                    <a:lnTo>
                      <a:pt x="252" y="160"/>
                    </a:lnTo>
                    <a:lnTo>
                      <a:pt x="248" y="151"/>
                    </a:lnTo>
                    <a:lnTo>
                      <a:pt x="248" y="141"/>
                    </a:lnTo>
                    <a:lnTo>
                      <a:pt x="250" y="125"/>
                    </a:lnTo>
                    <a:lnTo>
                      <a:pt x="257" y="125"/>
                    </a:lnTo>
                    <a:lnTo>
                      <a:pt x="260" y="134"/>
                    </a:lnTo>
                    <a:lnTo>
                      <a:pt x="263" y="144"/>
                    </a:lnTo>
                    <a:lnTo>
                      <a:pt x="269" y="144"/>
                    </a:lnTo>
                    <a:lnTo>
                      <a:pt x="273" y="134"/>
                    </a:lnTo>
                    <a:lnTo>
                      <a:pt x="274" y="124"/>
                    </a:lnTo>
                    <a:lnTo>
                      <a:pt x="273" y="114"/>
                    </a:lnTo>
                    <a:lnTo>
                      <a:pt x="268" y="104"/>
                    </a:lnTo>
                    <a:lnTo>
                      <a:pt x="266" y="93"/>
                    </a:lnTo>
                    <a:lnTo>
                      <a:pt x="265" y="82"/>
                    </a:lnTo>
                    <a:lnTo>
                      <a:pt x="263" y="72"/>
                    </a:lnTo>
                    <a:lnTo>
                      <a:pt x="260" y="60"/>
                    </a:lnTo>
                    <a:lnTo>
                      <a:pt x="257" y="48"/>
                    </a:lnTo>
                    <a:lnTo>
                      <a:pt x="256" y="41"/>
                    </a:lnTo>
                    <a:lnTo>
                      <a:pt x="253" y="31"/>
                    </a:lnTo>
                    <a:lnTo>
                      <a:pt x="248" y="22"/>
                    </a:lnTo>
                    <a:lnTo>
                      <a:pt x="241" y="15"/>
                    </a:lnTo>
                    <a:lnTo>
                      <a:pt x="235" y="7"/>
                    </a:lnTo>
                    <a:lnTo>
                      <a:pt x="227" y="0"/>
                    </a:lnTo>
                    <a:lnTo>
                      <a:pt x="221" y="4"/>
                    </a:lnTo>
                    <a:lnTo>
                      <a:pt x="215" y="11"/>
                    </a:lnTo>
                    <a:lnTo>
                      <a:pt x="211" y="10"/>
                    </a:lnTo>
                    <a:lnTo>
                      <a:pt x="215" y="15"/>
                    </a:lnTo>
                    <a:lnTo>
                      <a:pt x="215" y="31"/>
                    </a:lnTo>
                    <a:lnTo>
                      <a:pt x="211" y="41"/>
                    </a:lnTo>
                    <a:lnTo>
                      <a:pt x="205" y="46"/>
                    </a:lnTo>
                    <a:lnTo>
                      <a:pt x="200" y="41"/>
                    </a:lnTo>
                    <a:lnTo>
                      <a:pt x="199" y="50"/>
                    </a:lnTo>
                    <a:lnTo>
                      <a:pt x="190" y="62"/>
                    </a:lnTo>
                    <a:lnTo>
                      <a:pt x="187" y="56"/>
                    </a:lnTo>
                    <a:lnTo>
                      <a:pt x="179" y="52"/>
                    </a:lnTo>
                    <a:lnTo>
                      <a:pt x="177" y="56"/>
                    </a:lnTo>
                    <a:lnTo>
                      <a:pt x="179" y="63"/>
                    </a:lnTo>
                    <a:lnTo>
                      <a:pt x="182" y="69"/>
                    </a:lnTo>
                    <a:lnTo>
                      <a:pt x="182" y="78"/>
                    </a:lnTo>
                    <a:lnTo>
                      <a:pt x="177" y="74"/>
                    </a:lnTo>
                    <a:lnTo>
                      <a:pt x="172" y="81"/>
                    </a:lnTo>
                    <a:lnTo>
                      <a:pt x="170" y="85"/>
                    </a:lnTo>
                    <a:lnTo>
                      <a:pt x="173" y="91"/>
                    </a:lnTo>
                    <a:lnTo>
                      <a:pt x="179" y="93"/>
                    </a:lnTo>
                    <a:lnTo>
                      <a:pt x="182" y="96"/>
                    </a:lnTo>
                    <a:lnTo>
                      <a:pt x="177" y="97"/>
                    </a:lnTo>
                    <a:lnTo>
                      <a:pt x="172" y="96"/>
                    </a:lnTo>
                    <a:lnTo>
                      <a:pt x="160" y="109"/>
                    </a:lnTo>
                    <a:lnTo>
                      <a:pt x="162" y="101"/>
                    </a:lnTo>
                    <a:lnTo>
                      <a:pt x="160" y="97"/>
                    </a:lnTo>
                    <a:lnTo>
                      <a:pt x="156" y="101"/>
                    </a:lnTo>
                    <a:lnTo>
                      <a:pt x="156" y="103"/>
                    </a:lnTo>
                    <a:lnTo>
                      <a:pt x="150" y="110"/>
                    </a:lnTo>
                    <a:lnTo>
                      <a:pt x="146" y="114"/>
                    </a:lnTo>
                    <a:lnTo>
                      <a:pt x="153" y="127"/>
                    </a:lnTo>
                    <a:lnTo>
                      <a:pt x="149" y="130"/>
                    </a:lnTo>
                    <a:lnTo>
                      <a:pt x="143" y="129"/>
                    </a:lnTo>
                    <a:lnTo>
                      <a:pt x="142" y="120"/>
                    </a:lnTo>
                    <a:lnTo>
                      <a:pt x="137" y="119"/>
                    </a:lnTo>
                    <a:lnTo>
                      <a:pt x="129" y="123"/>
                    </a:lnTo>
                    <a:lnTo>
                      <a:pt x="121" y="130"/>
                    </a:lnTo>
                    <a:lnTo>
                      <a:pt x="121" y="137"/>
                    </a:lnTo>
                    <a:lnTo>
                      <a:pt x="128" y="144"/>
                    </a:lnTo>
                    <a:lnTo>
                      <a:pt x="129" y="149"/>
                    </a:lnTo>
                    <a:lnTo>
                      <a:pt x="124" y="150"/>
                    </a:lnTo>
                    <a:lnTo>
                      <a:pt x="118" y="149"/>
                    </a:lnTo>
                    <a:lnTo>
                      <a:pt x="114" y="145"/>
                    </a:lnTo>
                    <a:lnTo>
                      <a:pt x="111" y="137"/>
                    </a:lnTo>
                    <a:lnTo>
                      <a:pt x="107" y="135"/>
                    </a:lnTo>
                    <a:lnTo>
                      <a:pt x="102" y="140"/>
                    </a:lnTo>
                    <a:lnTo>
                      <a:pt x="98" y="137"/>
                    </a:lnTo>
                    <a:lnTo>
                      <a:pt x="91" y="139"/>
                    </a:lnTo>
                    <a:lnTo>
                      <a:pt x="91" y="144"/>
                    </a:lnTo>
                    <a:lnTo>
                      <a:pt x="87" y="148"/>
                    </a:lnTo>
                    <a:lnTo>
                      <a:pt x="84" y="147"/>
                    </a:lnTo>
                    <a:lnTo>
                      <a:pt x="79" y="151"/>
                    </a:lnTo>
                    <a:lnTo>
                      <a:pt x="77" y="150"/>
                    </a:lnTo>
                    <a:lnTo>
                      <a:pt x="75" y="147"/>
                    </a:lnTo>
                    <a:lnTo>
                      <a:pt x="67" y="151"/>
                    </a:lnTo>
                    <a:lnTo>
                      <a:pt x="64" y="154"/>
                    </a:lnTo>
                    <a:lnTo>
                      <a:pt x="53" y="155"/>
                    </a:lnTo>
                    <a:lnTo>
                      <a:pt x="48" y="152"/>
                    </a:lnTo>
                    <a:lnTo>
                      <a:pt x="44" y="157"/>
                    </a:lnTo>
                    <a:close/>
                  </a:path>
                </a:pathLst>
              </a:custGeom>
              <a:solidFill>
                <a:srgbClr val="0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5" name="Freeform 152"/>
              <p:cNvSpPr>
                <a:spLocks/>
              </p:cNvSpPr>
              <p:nvPr/>
            </p:nvSpPr>
            <p:spPr bwMode="auto">
              <a:xfrm>
                <a:off x="3067" y="3018"/>
                <a:ext cx="293" cy="543"/>
              </a:xfrm>
              <a:custGeom>
                <a:avLst/>
                <a:gdLst>
                  <a:gd name="T0" fmla="*/ 2994 w 274"/>
                  <a:gd name="T1" fmla="*/ 4858 h 517"/>
                  <a:gd name="T2" fmla="*/ 2800 w 274"/>
                  <a:gd name="T3" fmla="*/ 5990 h 517"/>
                  <a:gd name="T4" fmla="*/ 4058 w 274"/>
                  <a:gd name="T5" fmla="*/ 7089 h 517"/>
                  <a:gd name="T6" fmla="*/ 4075 w 274"/>
                  <a:gd name="T7" fmla="*/ 7482 h 517"/>
                  <a:gd name="T8" fmla="*/ 2141 w 274"/>
                  <a:gd name="T9" fmla="*/ 8416 h 517"/>
                  <a:gd name="T10" fmla="*/ 896 w 274"/>
                  <a:gd name="T11" fmla="*/ 9079 h 517"/>
                  <a:gd name="T12" fmla="*/ 0 w 274"/>
                  <a:gd name="T13" fmla="*/ 9783 h 517"/>
                  <a:gd name="T14" fmla="*/ 6 w 274"/>
                  <a:gd name="T15" fmla="*/ 10546 h 517"/>
                  <a:gd name="T16" fmla="*/ 1531 w 274"/>
                  <a:gd name="T17" fmla="*/ 11174 h 517"/>
                  <a:gd name="T18" fmla="*/ 1432 w 274"/>
                  <a:gd name="T19" fmla="*/ 11832 h 517"/>
                  <a:gd name="T20" fmla="*/ 3424 w 274"/>
                  <a:gd name="T21" fmla="*/ 12683 h 517"/>
                  <a:gd name="T22" fmla="*/ 6121 w 274"/>
                  <a:gd name="T23" fmla="*/ 13179 h 517"/>
                  <a:gd name="T24" fmla="*/ 10736 w 274"/>
                  <a:gd name="T25" fmla="*/ 12689 h 517"/>
                  <a:gd name="T26" fmla="*/ 12238 w 274"/>
                  <a:gd name="T27" fmla="*/ 12504 h 517"/>
                  <a:gd name="T28" fmla="*/ 13797 w 274"/>
                  <a:gd name="T29" fmla="*/ 11635 h 517"/>
                  <a:gd name="T30" fmla="*/ 14754 w 274"/>
                  <a:gd name="T31" fmla="*/ 10367 h 517"/>
                  <a:gd name="T32" fmla="*/ 16595 w 274"/>
                  <a:gd name="T33" fmla="*/ 8753 h 517"/>
                  <a:gd name="T34" fmla="*/ 18354 w 274"/>
                  <a:gd name="T35" fmla="*/ 7062 h 517"/>
                  <a:gd name="T36" fmla="*/ 19237 w 274"/>
                  <a:gd name="T37" fmla="*/ 6402 h 517"/>
                  <a:gd name="T38" fmla="*/ 20142 w 274"/>
                  <a:gd name="T39" fmla="*/ 4880 h 517"/>
                  <a:gd name="T40" fmla="*/ 20988 w 274"/>
                  <a:gd name="T41" fmla="*/ 4393 h 517"/>
                  <a:gd name="T42" fmla="*/ 20630 w 274"/>
                  <a:gd name="T43" fmla="*/ 3610 h 517"/>
                  <a:gd name="T44" fmla="*/ 21694 w 274"/>
                  <a:gd name="T45" fmla="*/ 3437 h 517"/>
                  <a:gd name="T46" fmla="*/ 22751 w 274"/>
                  <a:gd name="T47" fmla="*/ 3437 h 517"/>
                  <a:gd name="T48" fmla="*/ 22441 w 274"/>
                  <a:gd name="T49" fmla="*/ 2646 h 517"/>
                  <a:gd name="T50" fmla="*/ 21880 w 274"/>
                  <a:gd name="T51" fmla="*/ 1839 h 517"/>
                  <a:gd name="T52" fmla="*/ 21321 w 274"/>
                  <a:gd name="T53" fmla="*/ 1021 h 517"/>
                  <a:gd name="T54" fmla="*/ 20161 w 274"/>
                  <a:gd name="T55" fmla="*/ 379 h 517"/>
                  <a:gd name="T56" fmla="*/ 18354 w 274"/>
                  <a:gd name="T57" fmla="*/ 4 h 517"/>
                  <a:gd name="T58" fmla="*/ 17893 w 274"/>
                  <a:gd name="T59" fmla="*/ 379 h 517"/>
                  <a:gd name="T60" fmla="*/ 17112 w 274"/>
                  <a:gd name="T61" fmla="*/ 1171 h 517"/>
                  <a:gd name="T62" fmla="*/ 15777 w 274"/>
                  <a:gd name="T63" fmla="*/ 1572 h 517"/>
                  <a:gd name="T64" fmla="*/ 14712 w 274"/>
                  <a:gd name="T65" fmla="*/ 1425 h 517"/>
                  <a:gd name="T66" fmla="*/ 15216 w 274"/>
                  <a:gd name="T67" fmla="*/ 2002 h 517"/>
                  <a:gd name="T68" fmla="*/ 14229 w 274"/>
                  <a:gd name="T69" fmla="*/ 2137 h 517"/>
                  <a:gd name="T70" fmla="*/ 15216 w 274"/>
                  <a:gd name="T71" fmla="*/ 2444 h 517"/>
                  <a:gd name="T72" fmla="*/ 13484 w 274"/>
                  <a:gd name="T73" fmla="*/ 2779 h 517"/>
                  <a:gd name="T74" fmla="*/ 13037 w 274"/>
                  <a:gd name="T75" fmla="*/ 2567 h 517"/>
                  <a:gd name="T76" fmla="*/ 12192 w 274"/>
                  <a:gd name="T77" fmla="*/ 2919 h 517"/>
                  <a:gd name="T78" fmla="*/ 11917 w 274"/>
                  <a:gd name="T79" fmla="*/ 3281 h 517"/>
                  <a:gd name="T80" fmla="*/ 10736 w 274"/>
                  <a:gd name="T81" fmla="*/ 3124 h 517"/>
                  <a:gd name="T82" fmla="*/ 10702 w 274"/>
                  <a:gd name="T83" fmla="*/ 3654 h 517"/>
                  <a:gd name="T84" fmla="*/ 9786 w 274"/>
                  <a:gd name="T85" fmla="*/ 3801 h 517"/>
                  <a:gd name="T86" fmla="*/ 8898 w 274"/>
                  <a:gd name="T87" fmla="*/ 3446 h 517"/>
                  <a:gd name="T88" fmla="*/ 7546 w 274"/>
                  <a:gd name="T89" fmla="*/ 3552 h 517"/>
                  <a:gd name="T90" fmla="*/ 6999 w 274"/>
                  <a:gd name="T91" fmla="*/ 3746 h 517"/>
                  <a:gd name="T92" fmla="*/ 6259 w 274"/>
                  <a:gd name="T93" fmla="*/ 3746 h 517"/>
                  <a:gd name="T94" fmla="*/ 4476 w 274"/>
                  <a:gd name="T95" fmla="*/ 3983 h 51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4"/>
                  <a:gd name="T145" fmla="*/ 0 h 517"/>
                  <a:gd name="T146" fmla="*/ 274 w 274"/>
                  <a:gd name="T147" fmla="*/ 517 h 51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4" h="517">
                    <a:moveTo>
                      <a:pt x="44" y="157"/>
                    </a:moveTo>
                    <a:lnTo>
                      <a:pt x="46" y="168"/>
                    </a:lnTo>
                    <a:lnTo>
                      <a:pt x="36" y="190"/>
                    </a:lnTo>
                    <a:lnTo>
                      <a:pt x="26" y="205"/>
                    </a:lnTo>
                    <a:lnTo>
                      <a:pt x="33" y="216"/>
                    </a:lnTo>
                    <a:lnTo>
                      <a:pt x="34" y="236"/>
                    </a:lnTo>
                    <a:lnTo>
                      <a:pt x="38" y="255"/>
                    </a:lnTo>
                    <a:lnTo>
                      <a:pt x="43" y="268"/>
                    </a:lnTo>
                    <a:lnTo>
                      <a:pt x="48" y="277"/>
                    </a:lnTo>
                    <a:lnTo>
                      <a:pt x="50" y="284"/>
                    </a:lnTo>
                    <a:lnTo>
                      <a:pt x="47" y="287"/>
                    </a:lnTo>
                    <a:lnTo>
                      <a:pt x="49" y="294"/>
                    </a:lnTo>
                    <a:lnTo>
                      <a:pt x="46" y="302"/>
                    </a:lnTo>
                    <a:lnTo>
                      <a:pt x="39" y="308"/>
                    </a:lnTo>
                    <a:lnTo>
                      <a:pt x="26" y="331"/>
                    </a:lnTo>
                    <a:lnTo>
                      <a:pt x="21" y="348"/>
                    </a:lnTo>
                    <a:lnTo>
                      <a:pt x="15" y="349"/>
                    </a:lnTo>
                    <a:lnTo>
                      <a:pt x="11" y="356"/>
                    </a:lnTo>
                    <a:lnTo>
                      <a:pt x="5" y="366"/>
                    </a:lnTo>
                    <a:lnTo>
                      <a:pt x="0" y="374"/>
                    </a:lnTo>
                    <a:lnTo>
                      <a:pt x="0" y="385"/>
                    </a:lnTo>
                    <a:lnTo>
                      <a:pt x="1" y="394"/>
                    </a:lnTo>
                    <a:lnTo>
                      <a:pt x="1" y="404"/>
                    </a:lnTo>
                    <a:lnTo>
                      <a:pt x="6" y="414"/>
                    </a:lnTo>
                    <a:lnTo>
                      <a:pt x="12" y="418"/>
                    </a:lnTo>
                    <a:lnTo>
                      <a:pt x="16" y="427"/>
                    </a:lnTo>
                    <a:lnTo>
                      <a:pt x="19" y="438"/>
                    </a:lnTo>
                    <a:lnTo>
                      <a:pt x="16" y="445"/>
                    </a:lnTo>
                    <a:lnTo>
                      <a:pt x="16" y="453"/>
                    </a:lnTo>
                    <a:lnTo>
                      <a:pt x="18" y="465"/>
                    </a:lnTo>
                    <a:lnTo>
                      <a:pt x="22" y="476"/>
                    </a:lnTo>
                    <a:lnTo>
                      <a:pt x="33" y="490"/>
                    </a:lnTo>
                    <a:lnTo>
                      <a:pt x="41" y="497"/>
                    </a:lnTo>
                    <a:lnTo>
                      <a:pt x="50" y="502"/>
                    </a:lnTo>
                    <a:lnTo>
                      <a:pt x="60" y="507"/>
                    </a:lnTo>
                    <a:lnTo>
                      <a:pt x="74" y="517"/>
                    </a:lnTo>
                    <a:lnTo>
                      <a:pt x="84" y="515"/>
                    </a:lnTo>
                    <a:lnTo>
                      <a:pt x="106" y="503"/>
                    </a:lnTo>
                    <a:lnTo>
                      <a:pt x="129" y="498"/>
                    </a:lnTo>
                    <a:lnTo>
                      <a:pt x="135" y="500"/>
                    </a:lnTo>
                    <a:lnTo>
                      <a:pt x="142" y="496"/>
                    </a:lnTo>
                    <a:lnTo>
                      <a:pt x="147" y="490"/>
                    </a:lnTo>
                    <a:lnTo>
                      <a:pt x="156" y="476"/>
                    </a:lnTo>
                    <a:lnTo>
                      <a:pt x="160" y="468"/>
                    </a:lnTo>
                    <a:lnTo>
                      <a:pt x="166" y="458"/>
                    </a:lnTo>
                    <a:lnTo>
                      <a:pt x="170" y="437"/>
                    </a:lnTo>
                    <a:lnTo>
                      <a:pt x="173" y="425"/>
                    </a:lnTo>
                    <a:lnTo>
                      <a:pt x="178" y="407"/>
                    </a:lnTo>
                    <a:lnTo>
                      <a:pt x="187" y="380"/>
                    </a:lnTo>
                    <a:lnTo>
                      <a:pt x="190" y="369"/>
                    </a:lnTo>
                    <a:lnTo>
                      <a:pt x="199" y="344"/>
                    </a:lnTo>
                    <a:lnTo>
                      <a:pt x="202" y="329"/>
                    </a:lnTo>
                    <a:lnTo>
                      <a:pt x="210" y="310"/>
                    </a:lnTo>
                    <a:lnTo>
                      <a:pt x="221" y="275"/>
                    </a:lnTo>
                    <a:lnTo>
                      <a:pt x="223" y="269"/>
                    </a:lnTo>
                    <a:lnTo>
                      <a:pt x="224" y="269"/>
                    </a:lnTo>
                    <a:lnTo>
                      <a:pt x="231" y="249"/>
                    </a:lnTo>
                    <a:lnTo>
                      <a:pt x="238" y="214"/>
                    </a:lnTo>
                    <a:lnTo>
                      <a:pt x="238" y="204"/>
                    </a:lnTo>
                    <a:lnTo>
                      <a:pt x="240" y="192"/>
                    </a:lnTo>
                    <a:lnTo>
                      <a:pt x="245" y="182"/>
                    </a:lnTo>
                    <a:lnTo>
                      <a:pt x="250" y="178"/>
                    </a:lnTo>
                    <a:lnTo>
                      <a:pt x="252" y="171"/>
                    </a:lnTo>
                    <a:lnTo>
                      <a:pt x="252" y="160"/>
                    </a:lnTo>
                    <a:lnTo>
                      <a:pt x="248" y="151"/>
                    </a:lnTo>
                    <a:lnTo>
                      <a:pt x="248" y="141"/>
                    </a:lnTo>
                    <a:lnTo>
                      <a:pt x="250" y="125"/>
                    </a:lnTo>
                    <a:lnTo>
                      <a:pt x="257" y="125"/>
                    </a:lnTo>
                    <a:lnTo>
                      <a:pt x="260" y="134"/>
                    </a:lnTo>
                    <a:lnTo>
                      <a:pt x="263" y="144"/>
                    </a:lnTo>
                    <a:lnTo>
                      <a:pt x="269" y="144"/>
                    </a:lnTo>
                    <a:lnTo>
                      <a:pt x="273" y="134"/>
                    </a:lnTo>
                    <a:lnTo>
                      <a:pt x="274" y="124"/>
                    </a:lnTo>
                    <a:lnTo>
                      <a:pt x="273" y="114"/>
                    </a:lnTo>
                    <a:lnTo>
                      <a:pt x="268" y="104"/>
                    </a:lnTo>
                    <a:lnTo>
                      <a:pt x="266" y="93"/>
                    </a:lnTo>
                    <a:lnTo>
                      <a:pt x="265" y="82"/>
                    </a:lnTo>
                    <a:lnTo>
                      <a:pt x="263" y="72"/>
                    </a:lnTo>
                    <a:lnTo>
                      <a:pt x="260" y="60"/>
                    </a:lnTo>
                    <a:lnTo>
                      <a:pt x="257" y="48"/>
                    </a:lnTo>
                    <a:lnTo>
                      <a:pt x="256" y="41"/>
                    </a:lnTo>
                    <a:lnTo>
                      <a:pt x="253" y="31"/>
                    </a:lnTo>
                    <a:lnTo>
                      <a:pt x="248" y="22"/>
                    </a:lnTo>
                    <a:lnTo>
                      <a:pt x="241" y="15"/>
                    </a:lnTo>
                    <a:lnTo>
                      <a:pt x="235" y="7"/>
                    </a:lnTo>
                    <a:lnTo>
                      <a:pt x="227" y="0"/>
                    </a:lnTo>
                    <a:lnTo>
                      <a:pt x="221" y="4"/>
                    </a:lnTo>
                    <a:lnTo>
                      <a:pt x="215" y="11"/>
                    </a:lnTo>
                    <a:lnTo>
                      <a:pt x="211" y="10"/>
                    </a:lnTo>
                    <a:lnTo>
                      <a:pt x="215" y="15"/>
                    </a:lnTo>
                    <a:lnTo>
                      <a:pt x="215" y="31"/>
                    </a:lnTo>
                    <a:lnTo>
                      <a:pt x="211" y="41"/>
                    </a:lnTo>
                    <a:lnTo>
                      <a:pt x="205" y="46"/>
                    </a:lnTo>
                    <a:lnTo>
                      <a:pt x="200" y="41"/>
                    </a:lnTo>
                    <a:lnTo>
                      <a:pt x="199" y="50"/>
                    </a:lnTo>
                    <a:lnTo>
                      <a:pt x="190" y="62"/>
                    </a:lnTo>
                    <a:lnTo>
                      <a:pt x="187" y="56"/>
                    </a:lnTo>
                    <a:lnTo>
                      <a:pt x="179" y="52"/>
                    </a:lnTo>
                    <a:lnTo>
                      <a:pt x="177" y="56"/>
                    </a:lnTo>
                    <a:lnTo>
                      <a:pt x="179" y="63"/>
                    </a:lnTo>
                    <a:lnTo>
                      <a:pt x="182" y="69"/>
                    </a:lnTo>
                    <a:lnTo>
                      <a:pt x="182" y="78"/>
                    </a:lnTo>
                    <a:lnTo>
                      <a:pt x="177" y="74"/>
                    </a:lnTo>
                    <a:lnTo>
                      <a:pt x="172" y="81"/>
                    </a:lnTo>
                    <a:lnTo>
                      <a:pt x="170" y="85"/>
                    </a:lnTo>
                    <a:lnTo>
                      <a:pt x="173" y="91"/>
                    </a:lnTo>
                    <a:lnTo>
                      <a:pt x="179" y="93"/>
                    </a:lnTo>
                    <a:lnTo>
                      <a:pt x="182" y="96"/>
                    </a:lnTo>
                    <a:lnTo>
                      <a:pt x="177" y="97"/>
                    </a:lnTo>
                    <a:lnTo>
                      <a:pt x="172" y="96"/>
                    </a:lnTo>
                    <a:lnTo>
                      <a:pt x="160" y="109"/>
                    </a:lnTo>
                    <a:lnTo>
                      <a:pt x="162" y="101"/>
                    </a:lnTo>
                    <a:lnTo>
                      <a:pt x="160" y="97"/>
                    </a:lnTo>
                    <a:lnTo>
                      <a:pt x="156" y="101"/>
                    </a:lnTo>
                    <a:lnTo>
                      <a:pt x="156" y="103"/>
                    </a:lnTo>
                    <a:lnTo>
                      <a:pt x="150" y="110"/>
                    </a:lnTo>
                    <a:lnTo>
                      <a:pt x="146" y="114"/>
                    </a:lnTo>
                    <a:lnTo>
                      <a:pt x="153" y="127"/>
                    </a:lnTo>
                    <a:lnTo>
                      <a:pt x="149" y="130"/>
                    </a:lnTo>
                    <a:lnTo>
                      <a:pt x="143" y="129"/>
                    </a:lnTo>
                    <a:lnTo>
                      <a:pt x="142" y="120"/>
                    </a:lnTo>
                    <a:lnTo>
                      <a:pt x="137" y="119"/>
                    </a:lnTo>
                    <a:lnTo>
                      <a:pt x="129" y="123"/>
                    </a:lnTo>
                    <a:lnTo>
                      <a:pt x="121" y="130"/>
                    </a:lnTo>
                    <a:lnTo>
                      <a:pt x="121" y="137"/>
                    </a:lnTo>
                    <a:lnTo>
                      <a:pt x="128" y="144"/>
                    </a:lnTo>
                    <a:lnTo>
                      <a:pt x="129" y="149"/>
                    </a:lnTo>
                    <a:lnTo>
                      <a:pt x="124" y="150"/>
                    </a:lnTo>
                    <a:lnTo>
                      <a:pt x="118" y="149"/>
                    </a:lnTo>
                    <a:lnTo>
                      <a:pt x="114" y="145"/>
                    </a:lnTo>
                    <a:lnTo>
                      <a:pt x="111" y="137"/>
                    </a:lnTo>
                    <a:lnTo>
                      <a:pt x="107" y="135"/>
                    </a:lnTo>
                    <a:lnTo>
                      <a:pt x="102" y="140"/>
                    </a:lnTo>
                    <a:lnTo>
                      <a:pt x="98" y="137"/>
                    </a:lnTo>
                    <a:lnTo>
                      <a:pt x="91" y="139"/>
                    </a:lnTo>
                    <a:lnTo>
                      <a:pt x="91" y="144"/>
                    </a:lnTo>
                    <a:lnTo>
                      <a:pt x="87" y="148"/>
                    </a:lnTo>
                    <a:lnTo>
                      <a:pt x="84" y="147"/>
                    </a:lnTo>
                    <a:lnTo>
                      <a:pt x="79" y="151"/>
                    </a:lnTo>
                    <a:lnTo>
                      <a:pt x="77" y="150"/>
                    </a:lnTo>
                    <a:lnTo>
                      <a:pt x="75" y="147"/>
                    </a:lnTo>
                    <a:lnTo>
                      <a:pt x="67" y="151"/>
                    </a:lnTo>
                    <a:lnTo>
                      <a:pt x="64" y="154"/>
                    </a:lnTo>
                    <a:lnTo>
                      <a:pt x="53" y="155"/>
                    </a:lnTo>
                    <a:lnTo>
                      <a:pt x="48" y="152"/>
                    </a:lnTo>
                    <a:lnTo>
                      <a:pt x="44" y="157"/>
                    </a:lnTo>
                    <a:close/>
                  </a:path>
                </a:pathLst>
              </a:custGeom>
              <a:solidFill>
                <a:srgbClr val="9BBB59"/>
              </a:solidFill>
              <a:ln w="7938">
                <a:solidFill>
                  <a:srgbClr val="1C1329"/>
                </a:solidFill>
                <a:miter lim="800000"/>
                <a:headEnd/>
                <a:tailEnd/>
              </a:ln>
            </p:spPr>
            <p:txBody>
              <a:bodyPr/>
              <a:lstStyle/>
              <a:p>
                <a:endParaRPr lang="en-US"/>
              </a:p>
            </p:txBody>
          </p:sp>
          <p:sp>
            <p:nvSpPr>
              <p:cNvPr id="366" name="Freeform 153"/>
              <p:cNvSpPr>
                <a:spLocks/>
              </p:cNvSpPr>
              <p:nvPr/>
            </p:nvSpPr>
            <p:spPr bwMode="auto">
              <a:xfrm>
                <a:off x="3561" y="3372"/>
                <a:ext cx="31" cy="29"/>
              </a:xfrm>
              <a:custGeom>
                <a:avLst/>
                <a:gdLst>
                  <a:gd name="T0" fmla="*/ 2 w 29"/>
                  <a:gd name="T1" fmla="*/ 4 h 28"/>
                  <a:gd name="T2" fmla="*/ 5 w 29"/>
                  <a:gd name="T3" fmla="*/ 164 h 28"/>
                  <a:gd name="T4" fmla="*/ 996 w 29"/>
                  <a:gd name="T5" fmla="*/ 218 h 28"/>
                  <a:gd name="T6" fmla="*/ 1486 w 29"/>
                  <a:gd name="T7" fmla="*/ 269 h 28"/>
                  <a:gd name="T8" fmla="*/ 2215 w 29"/>
                  <a:gd name="T9" fmla="*/ 251 h 28"/>
                  <a:gd name="T10" fmla="*/ 2368 w 29"/>
                  <a:gd name="T11" fmla="*/ 196 h 28"/>
                  <a:gd name="T12" fmla="*/ 2368 w 29"/>
                  <a:gd name="T13" fmla="*/ 11 h 28"/>
                  <a:gd name="T14" fmla="*/ 1938 w 29"/>
                  <a:gd name="T15" fmla="*/ 4 h 28"/>
                  <a:gd name="T16" fmla="*/ 1300 w 29"/>
                  <a:gd name="T17" fmla="*/ 0 h 28"/>
                  <a:gd name="T18" fmla="*/ 0 w 29"/>
                  <a:gd name="T19" fmla="*/ 2 h 28"/>
                  <a:gd name="T20" fmla="*/ 2 w 29"/>
                  <a:gd name="T21" fmla="*/ 4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8"/>
                  <a:gd name="T35" fmla="*/ 29 w 29"/>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8">
                    <a:moveTo>
                      <a:pt x="2" y="4"/>
                    </a:moveTo>
                    <a:lnTo>
                      <a:pt x="5" y="14"/>
                    </a:lnTo>
                    <a:lnTo>
                      <a:pt x="13" y="22"/>
                    </a:lnTo>
                    <a:lnTo>
                      <a:pt x="19" y="28"/>
                    </a:lnTo>
                    <a:lnTo>
                      <a:pt x="27" y="26"/>
                    </a:lnTo>
                    <a:lnTo>
                      <a:pt x="29" y="19"/>
                    </a:lnTo>
                    <a:lnTo>
                      <a:pt x="29" y="11"/>
                    </a:lnTo>
                    <a:lnTo>
                      <a:pt x="23" y="4"/>
                    </a:lnTo>
                    <a:lnTo>
                      <a:pt x="17" y="0"/>
                    </a:lnTo>
                    <a:lnTo>
                      <a:pt x="0" y="2"/>
                    </a:lnTo>
                    <a:lnTo>
                      <a:pt x="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7" name="Freeform 154"/>
              <p:cNvSpPr>
                <a:spLocks/>
              </p:cNvSpPr>
              <p:nvPr/>
            </p:nvSpPr>
            <p:spPr bwMode="auto">
              <a:xfrm>
                <a:off x="3561" y="3372"/>
                <a:ext cx="31" cy="29"/>
              </a:xfrm>
              <a:custGeom>
                <a:avLst/>
                <a:gdLst>
                  <a:gd name="T0" fmla="*/ 2 w 29"/>
                  <a:gd name="T1" fmla="*/ 4 h 28"/>
                  <a:gd name="T2" fmla="*/ 5 w 29"/>
                  <a:gd name="T3" fmla="*/ 164 h 28"/>
                  <a:gd name="T4" fmla="*/ 996 w 29"/>
                  <a:gd name="T5" fmla="*/ 218 h 28"/>
                  <a:gd name="T6" fmla="*/ 1486 w 29"/>
                  <a:gd name="T7" fmla="*/ 269 h 28"/>
                  <a:gd name="T8" fmla="*/ 2215 w 29"/>
                  <a:gd name="T9" fmla="*/ 251 h 28"/>
                  <a:gd name="T10" fmla="*/ 2368 w 29"/>
                  <a:gd name="T11" fmla="*/ 196 h 28"/>
                  <a:gd name="T12" fmla="*/ 2368 w 29"/>
                  <a:gd name="T13" fmla="*/ 11 h 28"/>
                  <a:gd name="T14" fmla="*/ 1938 w 29"/>
                  <a:gd name="T15" fmla="*/ 4 h 28"/>
                  <a:gd name="T16" fmla="*/ 1300 w 29"/>
                  <a:gd name="T17" fmla="*/ 0 h 28"/>
                  <a:gd name="T18" fmla="*/ 0 w 29"/>
                  <a:gd name="T19" fmla="*/ 2 h 28"/>
                  <a:gd name="T20" fmla="*/ 2 w 29"/>
                  <a:gd name="T21" fmla="*/ 4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8"/>
                  <a:gd name="T35" fmla="*/ 29 w 29"/>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8">
                    <a:moveTo>
                      <a:pt x="2" y="4"/>
                    </a:moveTo>
                    <a:lnTo>
                      <a:pt x="5" y="14"/>
                    </a:lnTo>
                    <a:lnTo>
                      <a:pt x="13" y="22"/>
                    </a:lnTo>
                    <a:lnTo>
                      <a:pt x="19" y="28"/>
                    </a:lnTo>
                    <a:lnTo>
                      <a:pt x="27" y="26"/>
                    </a:lnTo>
                    <a:lnTo>
                      <a:pt x="29" y="19"/>
                    </a:lnTo>
                    <a:lnTo>
                      <a:pt x="29" y="11"/>
                    </a:lnTo>
                    <a:lnTo>
                      <a:pt x="23" y="4"/>
                    </a:lnTo>
                    <a:lnTo>
                      <a:pt x="17" y="0"/>
                    </a:lnTo>
                    <a:lnTo>
                      <a:pt x="0" y="2"/>
                    </a:lnTo>
                    <a:lnTo>
                      <a:pt x="2" y="4"/>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68" name="Freeform 155"/>
              <p:cNvSpPr>
                <a:spLocks/>
              </p:cNvSpPr>
              <p:nvPr/>
            </p:nvSpPr>
            <p:spPr bwMode="auto">
              <a:xfrm>
                <a:off x="3652" y="3333"/>
                <a:ext cx="30" cy="29"/>
              </a:xfrm>
              <a:custGeom>
                <a:avLst/>
                <a:gdLst>
                  <a:gd name="T0" fmla="*/ 1038 w 28"/>
                  <a:gd name="T1" fmla="*/ 4 h 28"/>
                  <a:gd name="T2" fmla="*/ 6 w 28"/>
                  <a:gd name="T3" fmla="*/ 9 h 28"/>
                  <a:gd name="T4" fmla="*/ 0 w 28"/>
                  <a:gd name="T5" fmla="*/ 189 h 28"/>
                  <a:gd name="T6" fmla="*/ 2 w 28"/>
                  <a:gd name="T7" fmla="*/ 269 h 28"/>
                  <a:gd name="T8" fmla="*/ 1570 w 28"/>
                  <a:gd name="T9" fmla="*/ 251 h 28"/>
                  <a:gd name="T10" fmla="*/ 2375 w 28"/>
                  <a:gd name="T11" fmla="*/ 226 h 28"/>
                  <a:gd name="T12" fmla="*/ 2634 w 28"/>
                  <a:gd name="T13" fmla="*/ 176 h 28"/>
                  <a:gd name="T14" fmla="*/ 2294 w 28"/>
                  <a:gd name="T15" fmla="*/ 7 h 28"/>
                  <a:gd name="T16" fmla="*/ 2141 w 28"/>
                  <a:gd name="T17" fmla="*/ 0 h 28"/>
                  <a:gd name="T18" fmla="*/ 1112 w 28"/>
                  <a:gd name="T19" fmla="*/ 2 h 28"/>
                  <a:gd name="T20" fmla="*/ 1038 w 28"/>
                  <a:gd name="T21" fmla="*/ 4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28"/>
                  <a:gd name="T35" fmla="*/ 28 w 28"/>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28">
                    <a:moveTo>
                      <a:pt x="11" y="4"/>
                    </a:moveTo>
                    <a:lnTo>
                      <a:pt x="6" y="9"/>
                    </a:lnTo>
                    <a:lnTo>
                      <a:pt x="0" y="18"/>
                    </a:lnTo>
                    <a:lnTo>
                      <a:pt x="2" y="28"/>
                    </a:lnTo>
                    <a:lnTo>
                      <a:pt x="17" y="26"/>
                    </a:lnTo>
                    <a:lnTo>
                      <a:pt x="25" y="23"/>
                    </a:lnTo>
                    <a:lnTo>
                      <a:pt x="28" y="16"/>
                    </a:lnTo>
                    <a:lnTo>
                      <a:pt x="24" y="7"/>
                    </a:lnTo>
                    <a:lnTo>
                      <a:pt x="22" y="0"/>
                    </a:lnTo>
                    <a:lnTo>
                      <a:pt x="12" y="2"/>
                    </a:lnTo>
                    <a:lnTo>
                      <a:pt x="1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9" name="Freeform 156"/>
              <p:cNvSpPr>
                <a:spLocks/>
              </p:cNvSpPr>
              <p:nvPr/>
            </p:nvSpPr>
            <p:spPr bwMode="auto">
              <a:xfrm>
                <a:off x="3652" y="3333"/>
                <a:ext cx="30" cy="29"/>
              </a:xfrm>
              <a:custGeom>
                <a:avLst/>
                <a:gdLst>
                  <a:gd name="T0" fmla="*/ 1038 w 28"/>
                  <a:gd name="T1" fmla="*/ 4 h 28"/>
                  <a:gd name="T2" fmla="*/ 6 w 28"/>
                  <a:gd name="T3" fmla="*/ 9 h 28"/>
                  <a:gd name="T4" fmla="*/ 0 w 28"/>
                  <a:gd name="T5" fmla="*/ 189 h 28"/>
                  <a:gd name="T6" fmla="*/ 2 w 28"/>
                  <a:gd name="T7" fmla="*/ 269 h 28"/>
                  <a:gd name="T8" fmla="*/ 1570 w 28"/>
                  <a:gd name="T9" fmla="*/ 251 h 28"/>
                  <a:gd name="T10" fmla="*/ 2375 w 28"/>
                  <a:gd name="T11" fmla="*/ 226 h 28"/>
                  <a:gd name="T12" fmla="*/ 2634 w 28"/>
                  <a:gd name="T13" fmla="*/ 176 h 28"/>
                  <a:gd name="T14" fmla="*/ 2294 w 28"/>
                  <a:gd name="T15" fmla="*/ 7 h 28"/>
                  <a:gd name="T16" fmla="*/ 2141 w 28"/>
                  <a:gd name="T17" fmla="*/ 0 h 28"/>
                  <a:gd name="T18" fmla="*/ 1112 w 28"/>
                  <a:gd name="T19" fmla="*/ 2 h 28"/>
                  <a:gd name="T20" fmla="*/ 1038 w 28"/>
                  <a:gd name="T21" fmla="*/ 4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28"/>
                  <a:gd name="T35" fmla="*/ 28 w 28"/>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28">
                    <a:moveTo>
                      <a:pt x="11" y="4"/>
                    </a:moveTo>
                    <a:lnTo>
                      <a:pt x="6" y="9"/>
                    </a:lnTo>
                    <a:lnTo>
                      <a:pt x="0" y="18"/>
                    </a:lnTo>
                    <a:lnTo>
                      <a:pt x="2" y="28"/>
                    </a:lnTo>
                    <a:lnTo>
                      <a:pt x="17" y="26"/>
                    </a:lnTo>
                    <a:lnTo>
                      <a:pt x="25" y="23"/>
                    </a:lnTo>
                    <a:lnTo>
                      <a:pt x="28" y="16"/>
                    </a:lnTo>
                    <a:lnTo>
                      <a:pt x="24" y="7"/>
                    </a:lnTo>
                    <a:lnTo>
                      <a:pt x="22" y="0"/>
                    </a:lnTo>
                    <a:lnTo>
                      <a:pt x="12" y="2"/>
                    </a:lnTo>
                    <a:lnTo>
                      <a:pt x="11" y="4"/>
                    </a:lnTo>
                    <a:close/>
                  </a:path>
                </a:pathLst>
              </a:custGeom>
              <a:solidFill>
                <a:srgbClr val="9CBC5A"/>
              </a:solidFill>
              <a:ln w="7938">
                <a:solidFill>
                  <a:srgbClr val="1C1329"/>
                </a:solidFill>
                <a:miter lim="800000"/>
                <a:headEnd/>
                <a:tailEnd/>
              </a:ln>
            </p:spPr>
            <p:txBody>
              <a:bodyPr/>
              <a:lstStyle/>
              <a:p>
                <a:endParaRPr lang="en-US"/>
              </a:p>
            </p:txBody>
          </p:sp>
          <p:sp>
            <p:nvSpPr>
              <p:cNvPr id="370" name="Freeform 157"/>
              <p:cNvSpPr>
                <a:spLocks/>
              </p:cNvSpPr>
              <p:nvPr/>
            </p:nvSpPr>
            <p:spPr bwMode="auto">
              <a:xfrm>
                <a:off x="1626" y="2366"/>
                <a:ext cx="31" cy="31"/>
              </a:xfrm>
              <a:custGeom>
                <a:avLst/>
                <a:gdLst>
                  <a:gd name="T0" fmla="*/ 2368 w 29"/>
                  <a:gd name="T1" fmla="*/ 763 h 29"/>
                  <a:gd name="T2" fmla="*/ 1588 w 29"/>
                  <a:gd name="T3" fmla="*/ 0 h 29"/>
                  <a:gd name="T4" fmla="*/ 872 w 29"/>
                  <a:gd name="T5" fmla="*/ 0 h 29"/>
                  <a:gd name="T6" fmla="*/ 5 w 29"/>
                  <a:gd name="T7" fmla="*/ 1138 h 29"/>
                  <a:gd name="T8" fmla="*/ 0 w 29"/>
                  <a:gd name="T9" fmla="*/ 1588 h 29"/>
                  <a:gd name="T10" fmla="*/ 0 w 29"/>
                  <a:gd name="T11" fmla="*/ 1938 h 29"/>
                  <a:gd name="T12" fmla="*/ 2 w 29"/>
                  <a:gd name="T13" fmla="*/ 1940 h 29"/>
                  <a:gd name="T14" fmla="*/ 7 w 29"/>
                  <a:gd name="T15" fmla="*/ 2215 h 29"/>
                  <a:gd name="T16" fmla="*/ 816 w 29"/>
                  <a:gd name="T17" fmla="*/ 2368 h 29"/>
                  <a:gd name="T18" fmla="*/ 1216 w 29"/>
                  <a:gd name="T19" fmla="*/ 2368 h 29"/>
                  <a:gd name="T20" fmla="*/ 1815 w 29"/>
                  <a:gd name="T21" fmla="*/ 2215 h 29"/>
                  <a:gd name="T22" fmla="*/ 1938 w 29"/>
                  <a:gd name="T23" fmla="*/ 1940 h 29"/>
                  <a:gd name="T24" fmla="*/ 2074 w 29"/>
                  <a:gd name="T25" fmla="*/ 1698 h 29"/>
                  <a:gd name="T26" fmla="*/ 2368 w 29"/>
                  <a:gd name="T27" fmla="*/ 1138 h 29"/>
                  <a:gd name="T28" fmla="*/ 2368 w 29"/>
                  <a:gd name="T29" fmla="*/ 763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29"/>
                  <a:gd name="T47" fmla="*/ 29 w 29"/>
                  <a:gd name="T48" fmla="*/ 29 h 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29">
                    <a:moveTo>
                      <a:pt x="29" y="9"/>
                    </a:moveTo>
                    <a:lnTo>
                      <a:pt x="20" y="0"/>
                    </a:lnTo>
                    <a:lnTo>
                      <a:pt x="11" y="0"/>
                    </a:lnTo>
                    <a:lnTo>
                      <a:pt x="5" y="15"/>
                    </a:lnTo>
                    <a:lnTo>
                      <a:pt x="0" y="20"/>
                    </a:lnTo>
                    <a:lnTo>
                      <a:pt x="0" y="23"/>
                    </a:lnTo>
                    <a:lnTo>
                      <a:pt x="2" y="24"/>
                    </a:lnTo>
                    <a:lnTo>
                      <a:pt x="7" y="27"/>
                    </a:lnTo>
                    <a:lnTo>
                      <a:pt x="10" y="29"/>
                    </a:lnTo>
                    <a:lnTo>
                      <a:pt x="16" y="29"/>
                    </a:lnTo>
                    <a:lnTo>
                      <a:pt x="22" y="27"/>
                    </a:lnTo>
                    <a:lnTo>
                      <a:pt x="23" y="24"/>
                    </a:lnTo>
                    <a:lnTo>
                      <a:pt x="26" y="21"/>
                    </a:lnTo>
                    <a:lnTo>
                      <a:pt x="29" y="15"/>
                    </a:lnTo>
                    <a:lnTo>
                      <a:pt x="29"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1" name="Freeform 158"/>
              <p:cNvSpPr>
                <a:spLocks/>
              </p:cNvSpPr>
              <p:nvPr/>
            </p:nvSpPr>
            <p:spPr bwMode="auto">
              <a:xfrm>
                <a:off x="1626" y="2366"/>
                <a:ext cx="31" cy="31"/>
              </a:xfrm>
              <a:custGeom>
                <a:avLst/>
                <a:gdLst>
                  <a:gd name="T0" fmla="*/ 2368 w 29"/>
                  <a:gd name="T1" fmla="*/ 763 h 29"/>
                  <a:gd name="T2" fmla="*/ 1588 w 29"/>
                  <a:gd name="T3" fmla="*/ 0 h 29"/>
                  <a:gd name="T4" fmla="*/ 872 w 29"/>
                  <a:gd name="T5" fmla="*/ 0 h 29"/>
                  <a:gd name="T6" fmla="*/ 5 w 29"/>
                  <a:gd name="T7" fmla="*/ 1138 h 29"/>
                  <a:gd name="T8" fmla="*/ 0 w 29"/>
                  <a:gd name="T9" fmla="*/ 1588 h 29"/>
                  <a:gd name="T10" fmla="*/ 0 w 29"/>
                  <a:gd name="T11" fmla="*/ 1938 h 29"/>
                  <a:gd name="T12" fmla="*/ 2 w 29"/>
                  <a:gd name="T13" fmla="*/ 1940 h 29"/>
                  <a:gd name="T14" fmla="*/ 7 w 29"/>
                  <a:gd name="T15" fmla="*/ 2215 h 29"/>
                  <a:gd name="T16" fmla="*/ 816 w 29"/>
                  <a:gd name="T17" fmla="*/ 2368 h 29"/>
                  <a:gd name="T18" fmla="*/ 1216 w 29"/>
                  <a:gd name="T19" fmla="*/ 2368 h 29"/>
                  <a:gd name="T20" fmla="*/ 1815 w 29"/>
                  <a:gd name="T21" fmla="*/ 2215 h 29"/>
                  <a:gd name="T22" fmla="*/ 1938 w 29"/>
                  <a:gd name="T23" fmla="*/ 1940 h 29"/>
                  <a:gd name="T24" fmla="*/ 2074 w 29"/>
                  <a:gd name="T25" fmla="*/ 1698 h 29"/>
                  <a:gd name="T26" fmla="*/ 2368 w 29"/>
                  <a:gd name="T27" fmla="*/ 1138 h 29"/>
                  <a:gd name="T28" fmla="*/ 2368 w 29"/>
                  <a:gd name="T29" fmla="*/ 763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29"/>
                  <a:gd name="T47" fmla="*/ 29 w 29"/>
                  <a:gd name="T48" fmla="*/ 29 h 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29">
                    <a:moveTo>
                      <a:pt x="29" y="9"/>
                    </a:moveTo>
                    <a:lnTo>
                      <a:pt x="20" y="0"/>
                    </a:lnTo>
                    <a:lnTo>
                      <a:pt x="11" y="0"/>
                    </a:lnTo>
                    <a:lnTo>
                      <a:pt x="5" y="15"/>
                    </a:lnTo>
                    <a:lnTo>
                      <a:pt x="0" y="20"/>
                    </a:lnTo>
                    <a:lnTo>
                      <a:pt x="0" y="23"/>
                    </a:lnTo>
                    <a:lnTo>
                      <a:pt x="2" y="24"/>
                    </a:lnTo>
                    <a:lnTo>
                      <a:pt x="7" y="27"/>
                    </a:lnTo>
                    <a:lnTo>
                      <a:pt x="10" y="29"/>
                    </a:lnTo>
                    <a:lnTo>
                      <a:pt x="16" y="29"/>
                    </a:lnTo>
                    <a:lnTo>
                      <a:pt x="22" y="27"/>
                    </a:lnTo>
                    <a:lnTo>
                      <a:pt x="23" y="24"/>
                    </a:lnTo>
                    <a:lnTo>
                      <a:pt x="26" y="21"/>
                    </a:lnTo>
                    <a:lnTo>
                      <a:pt x="29" y="15"/>
                    </a:lnTo>
                    <a:lnTo>
                      <a:pt x="29" y="9"/>
                    </a:lnTo>
                    <a:close/>
                  </a:path>
                </a:pathLst>
              </a:custGeom>
              <a:solidFill>
                <a:srgbClr val="DA9797"/>
              </a:solidFill>
              <a:ln w="7938">
                <a:solidFill>
                  <a:srgbClr val="1C1329"/>
                </a:solidFill>
                <a:miter lim="800000"/>
                <a:headEnd/>
                <a:tailEnd/>
              </a:ln>
            </p:spPr>
            <p:txBody>
              <a:bodyPr/>
              <a:lstStyle/>
              <a:p>
                <a:endParaRPr lang="en-US"/>
              </a:p>
            </p:txBody>
          </p:sp>
          <p:sp>
            <p:nvSpPr>
              <p:cNvPr id="372" name="Freeform 159"/>
              <p:cNvSpPr>
                <a:spLocks/>
              </p:cNvSpPr>
              <p:nvPr/>
            </p:nvSpPr>
            <p:spPr bwMode="auto">
              <a:xfrm>
                <a:off x="2928" y="2723"/>
                <a:ext cx="30" cy="30"/>
              </a:xfrm>
              <a:custGeom>
                <a:avLst/>
                <a:gdLst>
                  <a:gd name="T0" fmla="*/ 2634 w 28"/>
                  <a:gd name="T1" fmla="*/ 10 h 29"/>
                  <a:gd name="T2" fmla="*/ 2634 w 28"/>
                  <a:gd name="T3" fmla="*/ 10 h 29"/>
                  <a:gd name="T4" fmla="*/ 2069 w 28"/>
                  <a:gd name="T5" fmla="*/ 0 h 29"/>
                  <a:gd name="T6" fmla="*/ 969 w 28"/>
                  <a:gd name="T7" fmla="*/ 1 h 29"/>
                  <a:gd name="T8" fmla="*/ 0 w 28"/>
                  <a:gd name="T9" fmla="*/ 0 h 29"/>
                  <a:gd name="T10" fmla="*/ 0 w 28"/>
                  <a:gd name="T11" fmla="*/ 12 h 29"/>
                  <a:gd name="T12" fmla="*/ 0 w 28"/>
                  <a:gd name="T13" fmla="*/ 213 h 29"/>
                  <a:gd name="T14" fmla="*/ 1682 w 28"/>
                  <a:gd name="T15" fmla="*/ 252 h 29"/>
                  <a:gd name="T16" fmla="*/ 2634 w 28"/>
                  <a:gd name="T17" fmla="*/ 168 h 29"/>
                  <a:gd name="T18" fmla="*/ 2634 w 28"/>
                  <a:gd name="T19" fmla="*/ 10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29"/>
                  <a:gd name="T32" fmla="*/ 28 w 28"/>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29">
                    <a:moveTo>
                      <a:pt x="28" y="10"/>
                    </a:moveTo>
                    <a:lnTo>
                      <a:pt x="28" y="10"/>
                    </a:lnTo>
                    <a:lnTo>
                      <a:pt x="21" y="0"/>
                    </a:lnTo>
                    <a:lnTo>
                      <a:pt x="10" y="1"/>
                    </a:lnTo>
                    <a:lnTo>
                      <a:pt x="0" y="0"/>
                    </a:lnTo>
                    <a:lnTo>
                      <a:pt x="0" y="12"/>
                    </a:lnTo>
                    <a:lnTo>
                      <a:pt x="0" y="24"/>
                    </a:lnTo>
                    <a:lnTo>
                      <a:pt x="18" y="29"/>
                    </a:lnTo>
                    <a:lnTo>
                      <a:pt x="28" y="17"/>
                    </a:lnTo>
                    <a:lnTo>
                      <a:pt x="28" y="10"/>
                    </a:lnTo>
                    <a:close/>
                  </a:path>
                </a:pathLst>
              </a:custGeom>
              <a:solidFill>
                <a:srgbClr val="9CBC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3" name="Freeform 160"/>
              <p:cNvSpPr>
                <a:spLocks/>
              </p:cNvSpPr>
              <p:nvPr/>
            </p:nvSpPr>
            <p:spPr bwMode="auto">
              <a:xfrm>
                <a:off x="2928" y="2723"/>
                <a:ext cx="30" cy="30"/>
              </a:xfrm>
              <a:custGeom>
                <a:avLst/>
                <a:gdLst>
                  <a:gd name="T0" fmla="*/ 2634 w 28"/>
                  <a:gd name="T1" fmla="*/ 10 h 29"/>
                  <a:gd name="T2" fmla="*/ 2634 w 28"/>
                  <a:gd name="T3" fmla="*/ 10 h 29"/>
                  <a:gd name="T4" fmla="*/ 2069 w 28"/>
                  <a:gd name="T5" fmla="*/ 0 h 29"/>
                  <a:gd name="T6" fmla="*/ 969 w 28"/>
                  <a:gd name="T7" fmla="*/ 1 h 29"/>
                  <a:gd name="T8" fmla="*/ 0 w 28"/>
                  <a:gd name="T9" fmla="*/ 0 h 29"/>
                  <a:gd name="T10" fmla="*/ 0 w 28"/>
                  <a:gd name="T11" fmla="*/ 12 h 29"/>
                  <a:gd name="T12" fmla="*/ 0 w 28"/>
                  <a:gd name="T13" fmla="*/ 213 h 29"/>
                  <a:gd name="T14" fmla="*/ 1682 w 28"/>
                  <a:gd name="T15" fmla="*/ 252 h 29"/>
                  <a:gd name="T16" fmla="*/ 2634 w 28"/>
                  <a:gd name="T17" fmla="*/ 168 h 29"/>
                  <a:gd name="T18" fmla="*/ 2634 w 28"/>
                  <a:gd name="T19" fmla="*/ 10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29"/>
                  <a:gd name="T32" fmla="*/ 28 w 28"/>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29">
                    <a:moveTo>
                      <a:pt x="28" y="10"/>
                    </a:moveTo>
                    <a:lnTo>
                      <a:pt x="28" y="10"/>
                    </a:lnTo>
                    <a:lnTo>
                      <a:pt x="21" y="0"/>
                    </a:lnTo>
                    <a:lnTo>
                      <a:pt x="10" y="1"/>
                    </a:lnTo>
                    <a:lnTo>
                      <a:pt x="0" y="0"/>
                    </a:lnTo>
                    <a:lnTo>
                      <a:pt x="0" y="12"/>
                    </a:lnTo>
                    <a:lnTo>
                      <a:pt x="0" y="24"/>
                    </a:lnTo>
                    <a:lnTo>
                      <a:pt x="18" y="29"/>
                    </a:lnTo>
                    <a:lnTo>
                      <a:pt x="28" y="17"/>
                    </a:lnTo>
                    <a:lnTo>
                      <a:pt x="28" y="1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74" name="Freeform 161"/>
              <p:cNvSpPr>
                <a:spLocks/>
              </p:cNvSpPr>
              <p:nvPr/>
            </p:nvSpPr>
            <p:spPr bwMode="auto">
              <a:xfrm>
                <a:off x="2909" y="2757"/>
                <a:ext cx="31" cy="31"/>
              </a:xfrm>
              <a:custGeom>
                <a:avLst/>
                <a:gdLst>
                  <a:gd name="T0" fmla="*/ 714 w 29"/>
                  <a:gd name="T1" fmla="*/ 0 h 29"/>
                  <a:gd name="T2" fmla="*/ 2 w 29"/>
                  <a:gd name="T3" fmla="*/ 0 h 29"/>
                  <a:gd name="T4" fmla="*/ 0 w 29"/>
                  <a:gd name="T5" fmla="*/ 6 h 29"/>
                  <a:gd name="T6" fmla="*/ 2 w 29"/>
                  <a:gd name="T7" fmla="*/ 1698 h 29"/>
                  <a:gd name="T8" fmla="*/ 2368 w 29"/>
                  <a:gd name="T9" fmla="*/ 2368 h 29"/>
                  <a:gd name="T10" fmla="*/ 1938 w 29"/>
                  <a:gd name="T11" fmla="*/ 1588 h 29"/>
                  <a:gd name="T12" fmla="*/ 1390 w 29"/>
                  <a:gd name="T13" fmla="*/ 1390 h 29"/>
                  <a:gd name="T14" fmla="*/ 816 w 29"/>
                  <a:gd name="T15" fmla="*/ 1216 h 29"/>
                  <a:gd name="T16" fmla="*/ 714 w 29"/>
                  <a:gd name="T17" fmla="*/ 7 h 29"/>
                  <a:gd name="T18" fmla="*/ 714 w 29"/>
                  <a:gd name="T19" fmla="*/ 0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29"/>
                  <a:gd name="T32" fmla="*/ 29 w 29"/>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29">
                    <a:moveTo>
                      <a:pt x="8" y="0"/>
                    </a:moveTo>
                    <a:lnTo>
                      <a:pt x="2" y="0"/>
                    </a:lnTo>
                    <a:lnTo>
                      <a:pt x="0" y="6"/>
                    </a:lnTo>
                    <a:lnTo>
                      <a:pt x="2" y="21"/>
                    </a:lnTo>
                    <a:lnTo>
                      <a:pt x="29" y="29"/>
                    </a:lnTo>
                    <a:lnTo>
                      <a:pt x="23" y="20"/>
                    </a:lnTo>
                    <a:lnTo>
                      <a:pt x="18" y="18"/>
                    </a:lnTo>
                    <a:lnTo>
                      <a:pt x="10" y="16"/>
                    </a:lnTo>
                    <a:lnTo>
                      <a:pt x="8" y="7"/>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5" name="Freeform 162"/>
              <p:cNvSpPr>
                <a:spLocks/>
              </p:cNvSpPr>
              <p:nvPr/>
            </p:nvSpPr>
            <p:spPr bwMode="auto">
              <a:xfrm>
                <a:off x="2909" y="2757"/>
                <a:ext cx="31" cy="31"/>
              </a:xfrm>
              <a:custGeom>
                <a:avLst/>
                <a:gdLst>
                  <a:gd name="T0" fmla="*/ 714 w 29"/>
                  <a:gd name="T1" fmla="*/ 0 h 29"/>
                  <a:gd name="T2" fmla="*/ 2 w 29"/>
                  <a:gd name="T3" fmla="*/ 0 h 29"/>
                  <a:gd name="T4" fmla="*/ 0 w 29"/>
                  <a:gd name="T5" fmla="*/ 6 h 29"/>
                  <a:gd name="T6" fmla="*/ 2 w 29"/>
                  <a:gd name="T7" fmla="*/ 1698 h 29"/>
                  <a:gd name="T8" fmla="*/ 2368 w 29"/>
                  <a:gd name="T9" fmla="*/ 2368 h 29"/>
                  <a:gd name="T10" fmla="*/ 1938 w 29"/>
                  <a:gd name="T11" fmla="*/ 1588 h 29"/>
                  <a:gd name="T12" fmla="*/ 1390 w 29"/>
                  <a:gd name="T13" fmla="*/ 1390 h 29"/>
                  <a:gd name="T14" fmla="*/ 816 w 29"/>
                  <a:gd name="T15" fmla="*/ 1216 h 29"/>
                  <a:gd name="T16" fmla="*/ 714 w 29"/>
                  <a:gd name="T17" fmla="*/ 7 h 29"/>
                  <a:gd name="T18" fmla="*/ 714 w 29"/>
                  <a:gd name="T19" fmla="*/ 0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29"/>
                  <a:gd name="T32" fmla="*/ 29 w 29"/>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29">
                    <a:moveTo>
                      <a:pt x="8" y="0"/>
                    </a:moveTo>
                    <a:lnTo>
                      <a:pt x="2" y="0"/>
                    </a:lnTo>
                    <a:lnTo>
                      <a:pt x="0" y="6"/>
                    </a:lnTo>
                    <a:lnTo>
                      <a:pt x="2" y="21"/>
                    </a:lnTo>
                    <a:lnTo>
                      <a:pt x="29" y="29"/>
                    </a:lnTo>
                    <a:lnTo>
                      <a:pt x="23" y="20"/>
                    </a:lnTo>
                    <a:lnTo>
                      <a:pt x="18" y="18"/>
                    </a:lnTo>
                    <a:lnTo>
                      <a:pt x="10" y="16"/>
                    </a:lnTo>
                    <a:lnTo>
                      <a:pt x="8" y="7"/>
                    </a:lnTo>
                    <a:lnTo>
                      <a:pt x="8" y="0"/>
                    </a:lnTo>
                    <a:close/>
                  </a:path>
                </a:pathLst>
              </a:custGeom>
              <a:solidFill>
                <a:srgbClr val="FFFFFF"/>
              </a:solidFill>
              <a:ln w="7938">
                <a:solidFill>
                  <a:srgbClr val="1C1329"/>
                </a:solidFill>
                <a:miter lim="800000"/>
                <a:headEnd/>
                <a:tailEnd/>
              </a:ln>
            </p:spPr>
            <p:txBody>
              <a:bodyPr/>
              <a:lstStyle/>
              <a:p>
                <a:endParaRPr lang="en-US"/>
              </a:p>
            </p:txBody>
          </p:sp>
          <p:sp>
            <p:nvSpPr>
              <p:cNvPr id="376" name="Freeform 163"/>
              <p:cNvSpPr>
                <a:spLocks/>
              </p:cNvSpPr>
              <p:nvPr/>
            </p:nvSpPr>
            <p:spPr bwMode="auto">
              <a:xfrm>
                <a:off x="3050" y="2049"/>
                <a:ext cx="31" cy="31"/>
              </a:xfrm>
              <a:custGeom>
                <a:avLst/>
                <a:gdLst>
                  <a:gd name="T0" fmla="*/ 872 w 29"/>
                  <a:gd name="T1" fmla="*/ 816 h 29"/>
                  <a:gd name="T2" fmla="*/ 1216 w 29"/>
                  <a:gd name="T3" fmla="*/ 0 h 29"/>
                  <a:gd name="T4" fmla="*/ 1216 w 29"/>
                  <a:gd name="T5" fmla="*/ 816 h 29"/>
                  <a:gd name="T6" fmla="*/ 2368 w 29"/>
                  <a:gd name="T7" fmla="*/ 816 h 29"/>
                  <a:gd name="T8" fmla="*/ 1698 w 29"/>
                  <a:gd name="T9" fmla="*/ 1390 h 29"/>
                  <a:gd name="T10" fmla="*/ 1938 w 29"/>
                  <a:gd name="T11" fmla="*/ 2368 h 29"/>
                  <a:gd name="T12" fmla="*/ 1216 w 29"/>
                  <a:gd name="T13" fmla="*/ 1698 h 29"/>
                  <a:gd name="T14" fmla="*/ 5 w 29"/>
                  <a:gd name="T15" fmla="*/ 2368 h 29"/>
                  <a:gd name="T16" fmla="*/ 714 w 29"/>
                  <a:gd name="T17" fmla="*/ 1390 h 29"/>
                  <a:gd name="T18" fmla="*/ 0 w 29"/>
                  <a:gd name="T19" fmla="*/ 816 h 29"/>
                  <a:gd name="T20" fmla="*/ 872 w 29"/>
                  <a:gd name="T21" fmla="*/ 816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9"/>
                  <a:gd name="T35" fmla="*/ 29 w 29"/>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9">
                    <a:moveTo>
                      <a:pt x="11" y="10"/>
                    </a:moveTo>
                    <a:lnTo>
                      <a:pt x="16" y="0"/>
                    </a:lnTo>
                    <a:lnTo>
                      <a:pt x="16" y="10"/>
                    </a:lnTo>
                    <a:lnTo>
                      <a:pt x="29" y="10"/>
                    </a:lnTo>
                    <a:lnTo>
                      <a:pt x="21" y="18"/>
                    </a:lnTo>
                    <a:lnTo>
                      <a:pt x="23" y="29"/>
                    </a:lnTo>
                    <a:lnTo>
                      <a:pt x="16" y="21"/>
                    </a:lnTo>
                    <a:lnTo>
                      <a:pt x="5" y="29"/>
                    </a:lnTo>
                    <a:lnTo>
                      <a:pt x="8" y="18"/>
                    </a:lnTo>
                    <a:lnTo>
                      <a:pt x="0" y="10"/>
                    </a:lnTo>
                    <a:lnTo>
                      <a:pt x="11"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7" name="Freeform 164"/>
              <p:cNvSpPr>
                <a:spLocks/>
              </p:cNvSpPr>
              <p:nvPr/>
            </p:nvSpPr>
            <p:spPr bwMode="auto">
              <a:xfrm>
                <a:off x="3050" y="2049"/>
                <a:ext cx="31" cy="31"/>
              </a:xfrm>
              <a:custGeom>
                <a:avLst/>
                <a:gdLst>
                  <a:gd name="T0" fmla="*/ 872 w 29"/>
                  <a:gd name="T1" fmla="*/ 816 h 29"/>
                  <a:gd name="T2" fmla="*/ 1216 w 29"/>
                  <a:gd name="T3" fmla="*/ 0 h 29"/>
                  <a:gd name="T4" fmla="*/ 1216 w 29"/>
                  <a:gd name="T5" fmla="*/ 816 h 29"/>
                  <a:gd name="T6" fmla="*/ 2368 w 29"/>
                  <a:gd name="T7" fmla="*/ 816 h 29"/>
                  <a:gd name="T8" fmla="*/ 1698 w 29"/>
                  <a:gd name="T9" fmla="*/ 1390 h 29"/>
                  <a:gd name="T10" fmla="*/ 1938 w 29"/>
                  <a:gd name="T11" fmla="*/ 2368 h 29"/>
                  <a:gd name="T12" fmla="*/ 1216 w 29"/>
                  <a:gd name="T13" fmla="*/ 1698 h 29"/>
                  <a:gd name="T14" fmla="*/ 5 w 29"/>
                  <a:gd name="T15" fmla="*/ 2368 h 29"/>
                  <a:gd name="T16" fmla="*/ 714 w 29"/>
                  <a:gd name="T17" fmla="*/ 1390 h 29"/>
                  <a:gd name="T18" fmla="*/ 0 w 29"/>
                  <a:gd name="T19" fmla="*/ 816 h 29"/>
                  <a:gd name="T20" fmla="*/ 872 w 29"/>
                  <a:gd name="T21" fmla="*/ 816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9"/>
                  <a:gd name="T35" fmla="*/ 29 w 29"/>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9">
                    <a:moveTo>
                      <a:pt x="11" y="10"/>
                    </a:moveTo>
                    <a:lnTo>
                      <a:pt x="16" y="0"/>
                    </a:lnTo>
                    <a:lnTo>
                      <a:pt x="16" y="10"/>
                    </a:lnTo>
                    <a:lnTo>
                      <a:pt x="29" y="10"/>
                    </a:lnTo>
                    <a:lnTo>
                      <a:pt x="21" y="18"/>
                    </a:lnTo>
                    <a:lnTo>
                      <a:pt x="23" y="29"/>
                    </a:lnTo>
                    <a:lnTo>
                      <a:pt x="16" y="21"/>
                    </a:lnTo>
                    <a:lnTo>
                      <a:pt x="5" y="29"/>
                    </a:lnTo>
                    <a:lnTo>
                      <a:pt x="8" y="18"/>
                    </a:lnTo>
                    <a:lnTo>
                      <a:pt x="0" y="10"/>
                    </a:lnTo>
                    <a:lnTo>
                      <a:pt x="11" y="1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pic>
            <p:nvPicPr>
              <p:cNvPr id="378" name="Picture 165"/>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73" y="1961"/>
                <a:ext cx="4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 name="Picture 16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73" y="1961"/>
                <a:ext cx="4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0" name="Freeform 167"/>
              <p:cNvSpPr>
                <a:spLocks/>
              </p:cNvSpPr>
              <p:nvPr/>
            </p:nvSpPr>
            <p:spPr bwMode="auto">
              <a:xfrm>
                <a:off x="578" y="1966"/>
                <a:ext cx="31" cy="31"/>
              </a:xfrm>
              <a:custGeom>
                <a:avLst/>
                <a:gdLst>
                  <a:gd name="T0" fmla="*/ 816 w 29"/>
                  <a:gd name="T1" fmla="*/ 763 h 29"/>
                  <a:gd name="T2" fmla="*/ 996 w 29"/>
                  <a:gd name="T3" fmla="*/ 0 h 29"/>
                  <a:gd name="T4" fmla="*/ 1216 w 29"/>
                  <a:gd name="T5" fmla="*/ 763 h 29"/>
                  <a:gd name="T6" fmla="*/ 2368 w 29"/>
                  <a:gd name="T7" fmla="*/ 763 h 29"/>
                  <a:gd name="T8" fmla="*/ 1588 w 29"/>
                  <a:gd name="T9" fmla="*/ 1300 h 29"/>
                  <a:gd name="T10" fmla="*/ 1698 w 29"/>
                  <a:gd name="T11" fmla="*/ 2368 h 29"/>
                  <a:gd name="T12" fmla="*/ 996 w 29"/>
                  <a:gd name="T13" fmla="*/ 1698 h 29"/>
                  <a:gd name="T14" fmla="*/ 5 w 29"/>
                  <a:gd name="T15" fmla="*/ 2368 h 29"/>
                  <a:gd name="T16" fmla="*/ 714 w 29"/>
                  <a:gd name="T17" fmla="*/ 1300 h 29"/>
                  <a:gd name="T18" fmla="*/ 0 w 29"/>
                  <a:gd name="T19" fmla="*/ 763 h 29"/>
                  <a:gd name="T20" fmla="*/ 816 w 29"/>
                  <a:gd name="T21" fmla="*/ 763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9"/>
                  <a:gd name="T35" fmla="*/ 29 w 29"/>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9">
                    <a:moveTo>
                      <a:pt x="10" y="9"/>
                    </a:moveTo>
                    <a:lnTo>
                      <a:pt x="13" y="0"/>
                    </a:lnTo>
                    <a:lnTo>
                      <a:pt x="16" y="9"/>
                    </a:lnTo>
                    <a:lnTo>
                      <a:pt x="29" y="9"/>
                    </a:lnTo>
                    <a:lnTo>
                      <a:pt x="20" y="17"/>
                    </a:lnTo>
                    <a:lnTo>
                      <a:pt x="21" y="29"/>
                    </a:lnTo>
                    <a:lnTo>
                      <a:pt x="13" y="21"/>
                    </a:lnTo>
                    <a:lnTo>
                      <a:pt x="5" y="29"/>
                    </a:lnTo>
                    <a:lnTo>
                      <a:pt x="8" y="17"/>
                    </a:lnTo>
                    <a:lnTo>
                      <a:pt x="0" y="9"/>
                    </a:lnTo>
                    <a:lnTo>
                      <a:pt x="1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1" name="Freeform 168"/>
              <p:cNvSpPr>
                <a:spLocks/>
              </p:cNvSpPr>
              <p:nvPr/>
            </p:nvSpPr>
            <p:spPr bwMode="auto">
              <a:xfrm>
                <a:off x="578" y="1966"/>
                <a:ext cx="31" cy="31"/>
              </a:xfrm>
              <a:custGeom>
                <a:avLst/>
                <a:gdLst>
                  <a:gd name="T0" fmla="*/ 816 w 29"/>
                  <a:gd name="T1" fmla="*/ 763 h 29"/>
                  <a:gd name="T2" fmla="*/ 996 w 29"/>
                  <a:gd name="T3" fmla="*/ 0 h 29"/>
                  <a:gd name="T4" fmla="*/ 1216 w 29"/>
                  <a:gd name="T5" fmla="*/ 763 h 29"/>
                  <a:gd name="T6" fmla="*/ 2368 w 29"/>
                  <a:gd name="T7" fmla="*/ 763 h 29"/>
                  <a:gd name="T8" fmla="*/ 1588 w 29"/>
                  <a:gd name="T9" fmla="*/ 1300 h 29"/>
                  <a:gd name="T10" fmla="*/ 1698 w 29"/>
                  <a:gd name="T11" fmla="*/ 2368 h 29"/>
                  <a:gd name="T12" fmla="*/ 996 w 29"/>
                  <a:gd name="T13" fmla="*/ 1698 h 29"/>
                  <a:gd name="T14" fmla="*/ 5 w 29"/>
                  <a:gd name="T15" fmla="*/ 2368 h 29"/>
                  <a:gd name="T16" fmla="*/ 714 w 29"/>
                  <a:gd name="T17" fmla="*/ 1300 h 29"/>
                  <a:gd name="T18" fmla="*/ 0 w 29"/>
                  <a:gd name="T19" fmla="*/ 763 h 29"/>
                  <a:gd name="T20" fmla="*/ 816 w 29"/>
                  <a:gd name="T21" fmla="*/ 763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9"/>
                  <a:gd name="T35" fmla="*/ 29 w 29"/>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9">
                    <a:moveTo>
                      <a:pt x="10" y="9"/>
                    </a:moveTo>
                    <a:lnTo>
                      <a:pt x="13" y="0"/>
                    </a:lnTo>
                    <a:lnTo>
                      <a:pt x="16" y="9"/>
                    </a:lnTo>
                    <a:lnTo>
                      <a:pt x="29" y="9"/>
                    </a:lnTo>
                    <a:lnTo>
                      <a:pt x="20" y="17"/>
                    </a:lnTo>
                    <a:lnTo>
                      <a:pt x="21" y="29"/>
                    </a:lnTo>
                    <a:lnTo>
                      <a:pt x="13" y="21"/>
                    </a:lnTo>
                    <a:lnTo>
                      <a:pt x="5" y="29"/>
                    </a:lnTo>
                    <a:lnTo>
                      <a:pt x="8" y="17"/>
                    </a:lnTo>
                    <a:lnTo>
                      <a:pt x="0" y="9"/>
                    </a:lnTo>
                    <a:lnTo>
                      <a:pt x="10" y="9"/>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2" name="Freeform 169"/>
              <p:cNvSpPr>
                <a:spLocks/>
              </p:cNvSpPr>
              <p:nvPr/>
            </p:nvSpPr>
            <p:spPr bwMode="auto">
              <a:xfrm>
                <a:off x="1525" y="2605"/>
                <a:ext cx="32" cy="29"/>
              </a:xfrm>
              <a:custGeom>
                <a:avLst/>
                <a:gdLst>
                  <a:gd name="T0" fmla="*/ 10407 w 29"/>
                  <a:gd name="T1" fmla="*/ 0 h 28"/>
                  <a:gd name="T2" fmla="*/ 5766 w 29"/>
                  <a:gd name="T3" fmla="*/ 2 h 28"/>
                  <a:gd name="T4" fmla="*/ 5225 w 29"/>
                  <a:gd name="T5" fmla="*/ 2 h 28"/>
                  <a:gd name="T6" fmla="*/ 3 w 29"/>
                  <a:gd name="T7" fmla="*/ 4 h 28"/>
                  <a:gd name="T8" fmla="*/ 0 w 29"/>
                  <a:gd name="T9" fmla="*/ 10 h 28"/>
                  <a:gd name="T10" fmla="*/ 0 w 29"/>
                  <a:gd name="T11" fmla="*/ 176 h 28"/>
                  <a:gd name="T12" fmla="*/ 2 w 29"/>
                  <a:gd name="T13" fmla="*/ 196 h 28"/>
                  <a:gd name="T14" fmla="*/ 2 w 29"/>
                  <a:gd name="T15" fmla="*/ 203 h 28"/>
                  <a:gd name="T16" fmla="*/ 3 w 29"/>
                  <a:gd name="T17" fmla="*/ 203 h 28"/>
                  <a:gd name="T18" fmla="*/ 3 w 29"/>
                  <a:gd name="T19" fmla="*/ 234 h 28"/>
                  <a:gd name="T20" fmla="*/ 3 w 29"/>
                  <a:gd name="T21" fmla="*/ 269 h 28"/>
                  <a:gd name="T22" fmla="*/ 3889 w 29"/>
                  <a:gd name="T23" fmla="*/ 242 h 28"/>
                  <a:gd name="T24" fmla="*/ 3889 w 29"/>
                  <a:gd name="T25" fmla="*/ 234 h 28"/>
                  <a:gd name="T26" fmla="*/ 4291 w 29"/>
                  <a:gd name="T27" fmla="*/ 234 h 28"/>
                  <a:gd name="T28" fmla="*/ 4291 w 29"/>
                  <a:gd name="T29" fmla="*/ 242 h 28"/>
                  <a:gd name="T30" fmla="*/ 5766 w 29"/>
                  <a:gd name="T31" fmla="*/ 234 h 28"/>
                  <a:gd name="T32" fmla="*/ 5766 w 29"/>
                  <a:gd name="T33" fmla="*/ 226 h 28"/>
                  <a:gd name="T34" fmla="*/ 7746 w 29"/>
                  <a:gd name="T35" fmla="*/ 226 h 28"/>
                  <a:gd name="T36" fmla="*/ 10407 w 29"/>
                  <a:gd name="T37" fmla="*/ 203 h 28"/>
                  <a:gd name="T38" fmla="*/ 10627 w 29"/>
                  <a:gd name="T39" fmla="*/ 189 h 28"/>
                  <a:gd name="T40" fmla="*/ 17026 w 29"/>
                  <a:gd name="T41" fmla="*/ 12 h 28"/>
                  <a:gd name="T42" fmla="*/ 17385 w 29"/>
                  <a:gd name="T43" fmla="*/ 6 h 28"/>
                  <a:gd name="T44" fmla="*/ 19183 w 29"/>
                  <a:gd name="T45" fmla="*/ 5 h 28"/>
                  <a:gd name="T46" fmla="*/ 17026 w 29"/>
                  <a:gd name="T47" fmla="*/ 4 h 28"/>
                  <a:gd name="T48" fmla="*/ 17026 w 29"/>
                  <a:gd name="T49" fmla="*/ 2 h 28"/>
                  <a:gd name="T50" fmla="*/ 14278 w 29"/>
                  <a:gd name="T51" fmla="*/ 2 h 28"/>
                  <a:gd name="T52" fmla="*/ 15755 w 29"/>
                  <a:gd name="T53" fmla="*/ 1 h 28"/>
                  <a:gd name="T54" fmla="*/ 12939 w 29"/>
                  <a:gd name="T55" fmla="*/ 0 h 28"/>
                  <a:gd name="T56" fmla="*/ 12672 w 29"/>
                  <a:gd name="T57" fmla="*/ 0 h 28"/>
                  <a:gd name="T58" fmla="*/ 10407 w 29"/>
                  <a:gd name="T59" fmla="*/ 0 h 2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
                  <a:gd name="T91" fmla="*/ 0 h 28"/>
                  <a:gd name="T92" fmla="*/ 29 w 29"/>
                  <a:gd name="T93" fmla="*/ 28 h 2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 h="28">
                    <a:moveTo>
                      <a:pt x="15" y="0"/>
                    </a:moveTo>
                    <a:lnTo>
                      <a:pt x="9" y="2"/>
                    </a:lnTo>
                    <a:lnTo>
                      <a:pt x="8" y="2"/>
                    </a:lnTo>
                    <a:lnTo>
                      <a:pt x="3" y="4"/>
                    </a:lnTo>
                    <a:lnTo>
                      <a:pt x="0" y="10"/>
                    </a:lnTo>
                    <a:lnTo>
                      <a:pt x="0" y="16"/>
                    </a:lnTo>
                    <a:lnTo>
                      <a:pt x="2" y="19"/>
                    </a:lnTo>
                    <a:lnTo>
                      <a:pt x="2" y="20"/>
                    </a:lnTo>
                    <a:lnTo>
                      <a:pt x="3" y="20"/>
                    </a:lnTo>
                    <a:lnTo>
                      <a:pt x="3" y="24"/>
                    </a:lnTo>
                    <a:lnTo>
                      <a:pt x="3" y="28"/>
                    </a:lnTo>
                    <a:lnTo>
                      <a:pt x="5" y="25"/>
                    </a:lnTo>
                    <a:lnTo>
                      <a:pt x="5" y="24"/>
                    </a:lnTo>
                    <a:lnTo>
                      <a:pt x="6" y="24"/>
                    </a:lnTo>
                    <a:lnTo>
                      <a:pt x="6" y="25"/>
                    </a:lnTo>
                    <a:lnTo>
                      <a:pt x="9" y="24"/>
                    </a:lnTo>
                    <a:lnTo>
                      <a:pt x="9" y="23"/>
                    </a:lnTo>
                    <a:lnTo>
                      <a:pt x="12" y="23"/>
                    </a:lnTo>
                    <a:lnTo>
                      <a:pt x="15" y="20"/>
                    </a:lnTo>
                    <a:lnTo>
                      <a:pt x="16" y="18"/>
                    </a:lnTo>
                    <a:lnTo>
                      <a:pt x="25" y="12"/>
                    </a:lnTo>
                    <a:lnTo>
                      <a:pt x="26" y="6"/>
                    </a:lnTo>
                    <a:lnTo>
                      <a:pt x="29" y="5"/>
                    </a:lnTo>
                    <a:lnTo>
                      <a:pt x="25" y="4"/>
                    </a:lnTo>
                    <a:lnTo>
                      <a:pt x="25" y="2"/>
                    </a:lnTo>
                    <a:lnTo>
                      <a:pt x="22" y="2"/>
                    </a:lnTo>
                    <a:lnTo>
                      <a:pt x="24" y="1"/>
                    </a:lnTo>
                    <a:lnTo>
                      <a:pt x="20" y="0"/>
                    </a:lnTo>
                    <a:lnTo>
                      <a:pt x="19" y="0"/>
                    </a:lnTo>
                    <a:lnTo>
                      <a:pt x="15" y="0"/>
                    </a:lnTo>
                    <a:close/>
                  </a:path>
                </a:pathLst>
              </a:custGeom>
              <a:solidFill>
                <a:srgbClr val="DA979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3" name="Freeform 170"/>
              <p:cNvSpPr>
                <a:spLocks/>
              </p:cNvSpPr>
              <p:nvPr/>
            </p:nvSpPr>
            <p:spPr bwMode="auto">
              <a:xfrm>
                <a:off x="1525" y="2605"/>
                <a:ext cx="32" cy="29"/>
              </a:xfrm>
              <a:custGeom>
                <a:avLst/>
                <a:gdLst>
                  <a:gd name="T0" fmla="*/ 10407 w 29"/>
                  <a:gd name="T1" fmla="*/ 0 h 28"/>
                  <a:gd name="T2" fmla="*/ 5766 w 29"/>
                  <a:gd name="T3" fmla="*/ 2 h 28"/>
                  <a:gd name="T4" fmla="*/ 5225 w 29"/>
                  <a:gd name="T5" fmla="*/ 2 h 28"/>
                  <a:gd name="T6" fmla="*/ 3 w 29"/>
                  <a:gd name="T7" fmla="*/ 4 h 28"/>
                  <a:gd name="T8" fmla="*/ 0 w 29"/>
                  <a:gd name="T9" fmla="*/ 10 h 28"/>
                  <a:gd name="T10" fmla="*/ 0 w 29"/>
                  <a:gd name="T11" fmla="*/ 176 h 28"/>
                  <a:gd name="T12" fmla="*/ 2 w 29"/>
                  <a:gd name="T13" fmla="*/ 196 h 28"/>
                  <a:gd name="T14" fmla="*/ 2 w 29"/>
                  <a:gd name="T15" fmla="*/ 203 h 28"/>
                  <a:gd name="T16" fmla="*/ 3 w 29"/>
                  <a:gd name="T17" fmla="*/ 203 h 28"/>
                  <a:gd name="T18" fmla="*/ 3 w 29"/>
                  <a:gd name="T19" fmla="*/ 234 h 28"/>
                  <a:gd name="T20" fmla="*/ 3 w 29"/>
                  <a:gd name="T21" fmla="*/ 269 h 28"/>
                  <a:gd name="T22" fmla="*/ 3889 w 29"/>
                  <a:gd name="T23" fmla="*/ 242 h 28"/>
                  <a:gd name="T24" fmla="*/ 3889 w 29"/>
                  <a:gd name="T25" fmla="*/ 234 h 28"/>
                  <a:gd name="T26" fmla="*/ 4291 w 29"/>
                  <a:gd name="T27" fmla="*/ 234 h 28"/>
                  <a:gd name="T28" fmla="*/ 4291 w 29"/>
                  <a:gd name="T29" fmla="*/ 242 h 28"/>
                  <a:gd name="T30" fmla="*/ 5766 w 29"/>
                  <a:gd name="T31" fmla="*/ 234 h 28"/>
                  <a:gd name="T32" fmla="*/ 5766 w 29"/>
                  <a:gd name="T33" fmla="*/ 226 h 28"/>
                  <a:gd name="T34" fmla="*/ 7746 w 29"/>
                  <a:gd name="T35" fmla="*/ 226 h 28"/>
                  <a:gd name="T36" fmla="*/ 10407 w 29"/>
                  <a:gd name="T37" fmla="*/ 203 h 28"/>
                  <a:gd name="T38" fmla="*/ 10627 w 29"/>
                  <a:gd name="T39" fmla="*/ 189 h 28"/>
                  <a:gd name="T40" fmla="*/ 17026 w 29"/>
                  <a:gd name="T41" fmla="*/ 12 h 28"/>
                  <a:gd name="T42" fmla="*/ 17385 w 29"/>
                  <a:gd name="T43" fmla="*/ 6 h 28"/>
                  <a:gd name="T44" fmla="*/ 19183 w 29"/>
                  <a:gd name="T45" fmla="*/ 5 h 28"/>
                  <a:gd name="T46" fmla="*/ 17026 w 29"/>
                  <a:gd name="T47" fmla="*/ 4 h 28"/>
                  <a:gd name="T48" fmla="*/ 17026 w 29"/>
                  <a:gd name="T49" fmla="*/ 2 h 28"/>
                  <a:gd name="T50" fmla="*/ 14278 w 29"/>
                  <a:gd name="T51" fmla="*/ 2 h 28"/>
                  <a:gd name="T52" fmla="*/ 15755 w 29"/>
                  <a:gd name="T53" fmla="*/ 1 h 28"/>
                  <a:gd name="T54" fmla="*/ 12939 w 29"/>
                  <a:gd name="T55" fmla="*/ 0 h 28"/>
                  <a:gd name="T56" fmla="*/ 12672 w 29"/>
                  <a:gd name="T57" fmla="*/ 0 h 28"/>
                  <a:gd name="T58" fmla="*/ 10407 w 29"/>
                  <a:gd name="T59" fmla="*/ 0 h 2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
                  <a:gd name="T91" fmla="*/ 0 h 28"/>
                  <a:gd name="T92" fmla="*/ 29 w 29"/>
                  <a:gd name="T93" fmla="*/ 28 h 2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 h="28">
                    <a:moveTo>
                      <a:pt x="15" y="0"/>
                    </a:moveTo>
                    <a:lnTo>
                      <a:pt x="9" y="2"/>
                    </a:lnTo>
                    <a:lnTo>
                      <a:pt x="8" y="2"/>
                    </a:lnTo>
                    <a:lnTo>
                      <a:pt x="3" y="4"/>
                    </a:lnTo>
                    <a:lnTo>
                      <a:pt x="0" y="10"/>
                    </a:lnTo>
                    <a:lnTo>
                      <a:pt x="0" y="16"/>
                    </a:lnTo>
                    <a:lnTo>
                      <a:pt x="2" y="19"/>
                    </a:lnTo>
                    <a:lnTo>
                      <a:pt x="2" y="20"/>
                    </a:lnTo>
                    <a:lnTo>
                      <a:pt x="3" y="20"/>
                    </a:lnTo>
                    <a:lnTo>
                      <a:pt x="3" y="24"/>
                    </a:lnTo>
                    <a:lnTo>
                      <a:pt x="3" y="28"/>
                    </a:lnTo>
                    <a:lnTo>
                      <a:pt x="5" y="25"/>
                    </a:lnTo>
                    <a:lnTo>
                      <a:pt x="5" y="24"/>
                    </a:lnTo>
                    <a:lnTo>
                      <a:pt x="6" y="24"/>
                    </a:lnTo>
                    <a:lnTo>
                      <a:pt x="6" y="25"/>
                    </a:lnTo>
                    <a:lnTo>
                      <a:pt x="9" y="24"/>
                    </a:lnTo>
                    <a:lnTo>
                      <a:pt x="9" y="23"/>
                    </a:lnTo>
                    <a:lnTo>
                      <a:pt x="12" y="23"/>
                    </a:lnTo>
                    <a:lnTo>
                      <a:pt x="15" y="20"/>
                    </a:lnTo>
                    <a:lnTo>
                      <a:pt x="16" y="18"/>
                    </a:lnTo>
                    <a:lnTo>
                      <a:pt x="25" y="12"/>
                    </a:lnTo>
                    <a:lnTo>
                      <a:pt x="26" y="6"/>
                    </a:lnTo>
                    <a:lnTo>
                      <a:pt x="29" y="5"/>
                    </a:lnTo>
                    <a:lnTo>
                      <a:pt x="25" y="4"/>
                    </a:lnTo>
                    <a:lnTo>
                      <a:pt x="25" y="2"/>
                    </a:lnTo>
                    <a:lnTo>
                      <a:pt x="22" y="2"/>
                    </a:lnTo>
                    <a:lnTo>
                      <a:pt x="24" y="1"/>
                    </a:lnTo>
                    <a:lnTo>
                      <a:pt x="20" y="0"/>
                    </a:lnTo>
                    <a:lnTo>
                      <a:pt x="19" y="0"/>
                    </a:lnTo>
                    <a:lnTo>
                      <a:pt x="15" y="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4" name="Freeform 171"/>
              <p:cNvSpPr>
                <a:spLocks/>
              </p:cNvSpPr>
              <p:nvPr/>
            </p:nvSpPr>
            <p:spPr bwMode="auto">
              <a:xfrm>
                <a:off x="1548" y="2533"/>
                <a:ext cx="31" cy="30"/>
              </a:xfrm>
              <a:custGeom>
                <a:avLst/>
                <a:gdLst>
                  <a:gd name="T0" fmla="*/ 6 w 29"/>
                  <a:gd name="T1" fmla="*/ 0 h 28"/>
                  <a:gd name="T2" fmla="*/ 6 w 29"/>
                  <a:gd name="T3" fmla="*/ 969 h 28"/>
                  <a:gd name="T4" fmla="*/ 0 w 29"/>
                  <a:gd name="T5" fmla="*/ 969 h 28"/>
                  <a:gd name="T6" fmla="*/ 0 w 29"/>
                  <a:gd name="T7" fmla="*/ 1276 h 28"/>
                  <a:gd name="T8" fmla="*/ 0 w 29"/>
                  <a:gd name="T9" fmla="*/ 1931 h 28"/>
                  <a:gd name="T10" fmla="*/ 2 w 29"/>
                  <a:gd name="T11" fmla="*/ 1802 h 28"/>
                  <a:gd name="T12" fmla="*/ 4 w 29"/>
                  <a:gd name="T13" fmla="*/ 2141 h 28"/>
                  <a:gd name="T14" fmla="*/ 6 w 29"/>
                  <a:gd name="T15" fmla="*/ 1931 h 28"/>
                  <a:gd name="T16" fmla="*/ 816 w 29"/>
                  <a:gd name="T17" fmla="*/ 2141 h 28"/>
                  <a:gd name="T18" fmla="*/ 932 w 29"/>
                  <a:gd name="T19" fmla="*/ 2634 h 28"/>
                  <a:gd name="T20" fmla="*/ 1138 w 29"/>
                  <a:gd name="T21" fmla="*/ 2294 h 28"/>
                  <a:gd name="T22" fmla="*/ 1138 w 29"/>
                  <a:gd name="T23" fmla="*/ 1931 h 28"/>
                  <a:gd name="T24" fmla="*/ 1486 w 29"/>
                  <a:gd name="T25" fmla="*/ 1931 h 28"/>
                  <a:gd name="T26" fmla="*/ 1486 w 29"/>
                  <a:gd name="T27" fmla="*/ 1367 h 28"/>
                  <a:gd name="T28" fmla="*/ 1486 w 29"/>
                  <a:gd name="T29" fmla="*/ 969 h 28"/>
                  <a:gd name="T30" fmla="*/ 2072 w 29"/>
                  <a:gd name="T31" fmla="*/ 904 h 28"/>
                  <a:gd name="T32" fmla="*/ 2368 w 29"/>
                  <a:gd name="T33" fmla="*/ 2 h 28"/>
                  <a:gd name="T34" fmla="*/ 1486 w 29"/>
                  <a:gd name="T35" fmla="*/ 4 h 28"/>
                  <a:gd name="T36" fmla="*/ 2072 w 29"/>
                  <a:gd name="T37" fmla="*/ 0 h 28"/>
                  <a:gd name="T38" fmla="*/ 2072 w 29"/>
                  <a:gd name="T39" fmla="*/ 0 h 28"/>
                  <a:gd name="T40" fmla="*/ 1815 w 29"/>
                  <a:gd name="T41" fmla="*/ 0 h 28"/>
                  <a:gd name="T42" fmla="*/ 1486 w 29"/>
                  <a:gd name="T43" fmla="*/ 0 h 28"/>
                  <a:gd name="T44" fmla="*/ 1138 w 29"/>
                  <a:gd name="T45" fmla="*/ 0 h 28"/>
                  <a:gd name="T46" fmla="*/ 6 w 29"/>
                  <a:gd name="T47" fmla="*/ 0 h 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9"/>
                  <a:gd name="T73" fmla="*/ 0 h 28"/>
                  <a:gd name="T74" fmla="*/ 29 w 29"/>
                  <a:gd name="T75" fmla="*/ 28 h 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9" h="28">
                    <a:moveTo>
                      <a:pt x="6" y="0"/>
                    </a:moveTo>
                    <a:lnTo>
                      <a:pt x="6" y="10"/>
                    </a:lnTo>
                    <a:lnTo>
                      <a:pt x="0" y="10"/>
                    </a:lnTo>
                    <a:lnTo>
                      <a:pt x="0" y="14"/>
                    </a:lnTo>
                    <a:lnTo>
                      <a:pt x="0" y="20"/>
                    </a:lnTo>
                    <a:lnTo>
                      <a:pt x="2" y="19"/>
                    </a:lnTo>
                    <a:lnTo>
                      <a:pt x="4" y="22"/>
                    </a:lnTo>
                    <a:lnTo>
                      <a:pt x="6" y="20"/>
                    </a:lnTo>
                    <a:lnTo>
                      <a:pt x="10" y="22"/>
                    </a:lnTo>
                    <a:lnTo>
                      <a:pt x="12" y="28"/>
                    </a:lnTo>
                    <a:lnTo>
                      <a:pt x="15" y="24"/>
                    </a:lnTo>
                    <a:lnTo>
                      <a:pt x="15" y="20"/>
                    </a:lnTo>
                    <a:lnTo>
                      <a:pt x="19" y="20"/>
                    </a:lnTo>
                    <a:lnTo>
                      <a:pt x="19" y="15"/>
                    </a:lnTo>
                    <a:lnTo>
                      <a:pt x="19" y="10"/>
                    </a:lnTo>
                    <a:lnTo>
                      <a:pt x="25" y="9"/>
                    </a:lnTo>
                    <a:lnTo>
                      <a:pt x="29" y="2"/>
                    </a:lnTo>
                    <a:lnTo>
                      <a:pt x="19" y="4"/>
                    </a:lnTo>
                    <a:lnTo>
                      <a:pt x="25" y="0"/>
                    </a:lnTo>
                    <a:lnTo>
                      <a:pt x="22" y="0"/>
                    </a:lnTo>
                    <a:lnTo>
                      <a:pt x="19" y="0"/>
                    </a:lnTo>
                    <a:lnTo>
                      <a:pt x="15" y="0"/>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5" name="Freeform 172"/>
              <p:cNvSpPr>
                <a:spLocks/>
              </p:cNvSpPr>
              <p:nvPr/>
            </p:nvSpPr>
            <p:spPr bwMode="auto">
              <a:xfrm>
                <a:off x="1548" y="2533"/>
                <a:ext cx="31" cy="30"/>
              </a:xfrm>
              <a:custGeom>
                <a:avLst/>
                <a:gdLst>
                  <a:gd name="T0" fmla="*/ 6 w 29"/>
                  <a:gd name="T1" fmla="*/ 0 h 28"/>
                  <a:gd name="T2" fmla="*/ 6 w 29"/>
                  <a:gd name="T3" fmla="*/ 969 h 28"/>
                  <a:gd name="T4" fmla="*/ 0 w 29"/>
                  <a:gd name="T5" fmla="*/ 969 h 28"/>
                  <a:gd name="T6" fmla="*/ 0 w 29"/>
                  <a:gd name="T7" fmla="*/ 1276 h 28"/>
                  <a:gd name="T8" fmla="*/ 0 w 29"/>
                  <a:gd name="T9" fmla="*/ 1931 h 28"/>
                  <a:gd name="T10" fmla="*/ 2 w 29"/>
                  <a:gd name="T11" fmla="*/ 1802 h 28"/>
                  <a:gd name="T12" fmla="*/ 4 w 29"/>
                  <a:gd name="T13" fmla="*/ 2141 h 28"/>
                  <a:gd name="T14" fmla="*/ 6 w 29"/>
                  <a:gd name="T15" fmla="*/ 1931 h 28"/>
                  <a:gd name="T16" fmla="*/ 816 w 29"/>
                  <a:gd name="T17" fmla="*/ 2141 h 28"/>
                  <a:gd name="T18" fmla="*/ 932 w 29"/>
                  <a:gd name="T19" fmla="*/ 2634 h 28"/>
                  <a:gd name="T20" fmla="*/ 1138 w 29"/>
                  <a:gd name="T21" fmla="*/ 2294 h 28"/>
                  <a:gd name="T22" fmla="*/ 1138 w 29"/>
                  <a:gd name="T23" fmla="*/ 1931 h 28"/>
                  <a:gd name="T24" fmla="*/ 1486 w 29"/>
                  <a:gd name="T25" fmla="*/ 1931 h 28"/>
                  <a:gd name="T26" fmla="*/ 1486 w 29"/>
                  <a:gd name="T27" fmla="*/ 1367 h 28"/>
                  <a:gd name="T28" fmla="*/ 1486 w 29"/>
                  <a:gd name="T29" fmla="*/ 969 h 28"/>
                  <a:gd name="T30" fmla="*/ 2072 w 29"/>
                  <a:gd name="T31" fmla="*/ 904 h 28"/>
                  <a:gd name="T32" fmla="*/ 2368 w 29"/>
                  <a:gd name="T33" fmla="*/ 2 h 28"/>
                  <a:gd name="T34" fmla="*/ 1486 w 29"/>
                  <a:gd name="T35" fmla="*/ 4 h 28"/>
                  <a:gd name="T36" fmla="*/ 2072 w 29"/>
                  <a:gd name="T37" fmla="*/ 0 h 28"/>
                  <a:gd name="T38" fmla="*/ 2072 w 29"/>
                  <a:gd name="T39" fmla="*/ 0 h 28"/>
                  <a:gd name="T40" fmla="*/ 1815 w 29"/>
                  <a:gd name="T41" fmla="*/ 0 h 28"/>
                  <a:gd name="T42" fmla="*/ 1486 w 29"/>
                  <a:gd name="T43" fmla="*/ 0 h 28"/>
                  <a:gd name="T44" fmla="*/ 1138 w 29"/>
                  <a:gd name="T45" fmla="*/ 0 h 28"/>
                  <a:gd name="T46" fmla="*/ 6 w 29"/>
                  <a:gd name="T47" fmla="*/ 0 h 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9"/>
                  <a:gd name="T73" fmla="*/ 0 h 28"/>
                  <a:gd name="T74" fmla="*/ 29 w 29"/>
                  <a:gd name="T75" fmla="*/ 28 h 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9" h="28">
                    <a:moveTo>
                      <a:pt x="6" y="0"/>
                    </a:moveTo>
                    <a:lnTo>
                      <a:pt x="6" y="10"/>
                    </a:lnTo>
                    <a:lnTo>
                      <a:pt x="0" y="10"/>
                    </a:lnTo>
                    <a:lnTo>
                      <a:pt x="0" y="14"/>
                    </a:lnTo>
                    <a:lnTo>
                      <a:pt x="0" y="20"/>
                    </a:lnTo>
                    <a:lnTo>
                      <a:pt x="2" y="19"/>
                    </a:lnTo>
                    <a:lnTo>
                      <a:pt x="4" y="22"/>
                    </a:lnTo>
                    <a:lnTo>
                      <a:pt x="6" y="20"/>
                    </a:lnTo>
                    <a:lnTo>
                      <a:pt x="10" y="22"/>
                    </a:lnTo>
                    <a:lnTo>
                      <a:pt x="12" y="28"/>
                    </a:lnTo>
                    <a:lnTo>
                      <a:pt x="15" y="24"/>
                    </a:lnTo>
                    <a:lnTo>
                      <a:pt x="15" y="20"/>
                    </a:lnTo>
                    <a:lnTo>
                      <a:pt x="19" y="20"/>
                    </a:lnTo>
                    <a:lnTo>
                      <a:pt x="19" y="15"/>
                    </a:lnTo>
                    <a:lnTo>
                      <a:pt x="19" y="10"/>
                    </a:lnTo>
                    <a:lnTo>
                      <a:pt x="25" y="9"/>
                    </a:lnTo>
                    <a:lnTo>
                      <a:pt x="29" y="2"/>
                    </a:lnTo>
                    <a:lnTo>
                      <a:pt x="19" y="4"/>
                    </a:lnTo>
                    <a:lnTo>
                      <a:pt x="25" y="0"/>
                    </a:lnTo>
                    <a:lnTo>
                      <a:pt x="22" y="0"/>
                    </a:lnTo>
                    <a:lnTo>
                      <a:pt x="19" y="0"/>
                    </a:lnTo>
                    <a:lnTo>
                      <a:pt x="15" y="0"/>
                    </a:lnTo>
                    <a:lnTo>
                      <a:pt x="6" y="0"/>
                    </a:lnTo>
                    <a:close/>
                  </a:path>
                </a:pathLst>
              </a:custGeom>
              <a:solidFill>
                <a:srgbClr val="DA9797"/>
              </a:solidFill>
              <a:ln w="7938">
                <a:solidFill>
                  <a:srgbClr val="1C1329"/>
                </a:solidFill>
                <a:miter lim="800000"/>
                <a:headEnd/>
                <a:tailEnd/>
              </a:ln>
            </p:spPr>
            <p:txBody>
              <a:bodyPr/>
              <a:lstStyle/>
              <a:p>
                <a:endParaRPr lang="en-US"/>
              </a:p>
            </p:txBody>
          </p:sp>
          <p:sp>
            <p:nvSpPr>
              <p:cNvPr id="386" name="Freeform 173"/>
              <p:cNvSpPr>
                <a:spLocks/>
              </p:cNvSpPr>
              <p:nvPr/>
            </p:nvSpPr>
            <p:spPr bwMode="auto">
              <a:xfrm>
                <a:off x="346" y="1814"/>
                <a:ext cx="30" cy="30"/>
              </a:xfrm>
              <a:custGeom>
                <a:avLst/>
                <a:gdLst>
                  <a:gd name="T0" fmla="*/ 2 w 28"/>
                  <a:gd name="T1" fmla="*/ 4 h 29"/>
                  <a:gd name="T2" fmla="*/ 5 w 28"/>
                  <a:gd name="T3" fmla="*/ 0 h 29"/>
                  <a:gd name="T4" fmla="*/ 2 w 28"/>
                  <a:gd name="T5" fmla="*/ 0 h 29"/>
                  <a:gd name="T6" fmla="*/ 0 w 28"/>
                  <a:gd name="T7" fmla="*/ 3 h 29"/>
                  <a:gd name="T8" fmla="*/ 0 w 28"/>
                  <a:gd name="T9" fmla="*/ 10 h 29"/>
                  <a:gd name="T10" fmla="*/ 0 w 28"/>
                  <a:gd name="T11" fmla="*/ 162 h 29"/>
                  <a:gd name="T12" fmla="*/ 6 w 28"/>
                  <a:gd name="T13" fmla="*/ 213 h 29"/>
                  <a:gd name="T14" fmla="*/ 1802 w 28"/>
                  <a:gd name="T15" fmla="*/ 252 h 29"/>
                  <a:gd name="T16" fmla="*/ 2634 w 28"/>
                  <a:gd name="T17" fmla="*/ 180 h 29"/>
                  <a:gd name="T18" fmla="*/ 1682 w 28"/>
                  <a:gd name="T19" fmla="*/ 10 h 29"/>
                  <a:gd name="T20" fmla="*/ 1276 w 28"/>
                  <a:gd name="T21" fmla="*/ 10 h 29"/>
                  <a:gd name="T22" fmla="*/ 969 w 28"/>
                  <a:gd name="T23" fmla="*/ 5 h 29"/>
                  <a:gd name="T24" fmla="*/ 2 w 28"/>
                  <a:gd name="T25" fmla="*/ 4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29"/>
                  <a:gd name="T41" fmla="*/ 28 w 28"/>
                  <a:gd name="T42" fmla="*/ 29 h 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29">
                    <a:moveTo>
                      <a:pt x="2" y="4"/>
                    </a:moveTo>
                    <a:lnTo>
                      <a:pt x="5" y="0"/>
                    </a:lnTo>
                    <a:lnTo>
                      <a:pt x="2" y="0"/>
                    </a:lnTo>
                    <a:lnTo>
                      <a:pt x="0" y="3"/>
                    </a:lnTo>
                    <a:lnTo>
                      <a:pt x="0" y="10"/>
                    </a:lnTo>
                    <a:lnTo>
                      <a:pt x="0" y="16"/>
                    </a:lnTo>
                    <a:lnTo>
                      <a:pt x="6" y="24"/>
                    </a:lnTo>
                    <a:lnTo>
                      <a:pt x="19" y="29"/>
                    </a:lnTo>
                    <a:lnTo>
                      <a:pt x="28" y="19"/>
                    </a:lnTo>
                    <a:lnTo>
                      <a:pt x="18" y="10"/>
                    </a:lnTo>
                    <a:lnTo>
                      <a:pt x="14" y="10"/>
                    </a:lnTo>
                    <a:lnTo>
                      <a:pt x="10" y="5"/>
                    </a:lnTo>
                    <a:lnTo>
                      <a:pt x="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7" name="Freeform 174"/>
              <p:cNvSpPr>
                <a:spLocks/>
              </p:cNvSpPr>
              <p:nvPr/>
            </p:nvSpPr>
            <p:spPr bwMode="auto">
              <a:xfrm>
                <a:off x="346" y="1814"/>
                <a:ext cx="30" cy="30"/>
              </a:xfrm>
              <a:custGeom>
                <a:avLst/>
                <a:gdLst>
                  <a:gd name="T0" fmla="*/ 2 w 28"/>
                  <a:gd name="T1" fmla="*/ 4 h 29"/>
                  <a:gd name="T2" fmla="*/ 5 w 28"/>
                  <a:gd name="T3" fmla="*/ 0 h 29"/>
                  <a:gd name="T4" fmla="*/ 2 w 28"/>
                  <a:gd name="T5" fmla="*/ 0 h 29"/>
                  <a:gd name="T6" fmla="*/ 0 w 28"/>
                  <a:gd name="T7" fmla="*/ 3 h 29"/>
                  <a:gd name="T8" fmla="*/ 0 w 28"/>
                  <a:gd name="T9" fmla="*/ 10 h 29"/>
                  <a:gd name="T10" fmla="*/ 0 w 28"/>
                  <a:gd name="T11" fmla="*/ 162 h 29"/>
                  <a:gd name="T12" fmla="*/ 6 w 28"/>
                  <a:gd name="T13" fmla="*/ 213 h 29"/>
                  <a:gd name="T14" fmla="*/ 1802 w 28"/>
                  <a:gd name="T15" fmla="*/ 252 h 29"/>
                  <a:gd name="T16" fmla="*/ 2634 w 28"/>
                  <a:gd name="T17" fmla="*/ 180 h 29"/>
                  <a:gd name="T18" fmla="*/ 1682 w 28"/>
                  <a:gd name="T19" fmla="*/ 10 h 29"/>
                  <a:gd name="T20" fmla="*/ 1276 w 28"/>
                  <a:gd name="T21" fmla="*/ 10 h 29"/>
                  <a:gd name="T22" fmla="*/ 969 w 28"/>
                  <a:gd name="T23" fmla="*/ 5 h 29"/>
                  <a:gd name="T24" fmla="*/ 2 w 28"/>
                  <a:gd name="T25" fmla="*/ 4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29"/>
                  <a:gd name="T41" fmla="*/ 28 w 28"/>
                  <a:gd name="T42" fmla="*/ 29 h 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29">
                    <a:moveTo>
                      <a:pt x="2" y="4"/>
                    </a:moveTo>
                    <a:lnTo>
                      <a:pt x="5" y="0"/>
                    </a:lnTo>
                    <a:lnTo>
                      <a:pt x="2" y="0"/>
                    </a:lnTo>
                    <a:lnTo>
                      <a:pt x="0" y="3"/>
                    </a:lnTo>
                    <a:lnTo>
                      <a:pt x="0" y="10"/>
                    </a:lnTo>
                    <a:lnTo>
                      <a:pt x="0" y="16"/>
                    </a:lnTo>
                    <a:lnTo>
                      <a:pt x="6" y="24"/>
                    </a:lnTo>
                    <a:lnTo>
                      <a:pt x="19" y="29"/>
                    </a:lnTo>
                    <a:lnTo>
                      <a:pt x="28" y="19"/>
                    </a:lnTo>
                    <a:lnTo>
                      <a:pt x="18" y="10"/>
                    </a:lnTo>
                    <a:lnTo>
                      <a:pt x="14" y="10"/>
                    </a:lnTo>
                    <a:lnTo>
                      <a:pt x="10" y="5"/>
                    </a:lnTo>
                    <a:lnTo>
                      <a:pt x="2" y="4"/>
                    </a:lnTo>
                    <a:close/>
                  </a:path>
                </a:pathLst>
              </a:custGeom>
              <a:solidFill>
                <a:srgbClr val="DA9797"/>
              </a:solidFill>
              <a:ln w="7938">
                <a:solidFill>
                  <a:srgbClr val="1C1329"/>
                </a:solidFill>
                <a:miter lim="800000"/>
                <a:headEnd/>
                <a:tailEnd/>
              </a:ln>
            </p:spPr>
            <p:txBody>
              <a:bodyPr/>
              <a:lstStyle/>
              <a:p>
                <a:endParaRPr lang="en-US"/>
              </a:p>
            </p:txBody>
          </p:sp>
          <p:sp>
            <p:nvSpPr>
              <p:cNvPr id="388" name="Freeform 175"/>
              <p:cNvSpPr>
                <a:spLocks/>
              </p:cNvSpPr>
              <p:nvPr/>
            </p:nvSpPr>
            <p:spPr bwMode="auto">
              <a:xfrm>
                <a:off x="317" y="1835"/>
                <a:ext cx="30" cy="30"/>
              </a:xfrm>
              <a:custGeom>
                <a:avLst/>
                <a:gdLst>
                  <a:gd name="T0" fmla="*/ 1038 w 28"/>
                  <a:gd name="T1" fmla="*/ 0 h 29"/>
                  <a:gd name="T2" fmla="*/ 0 w 28"/>
                  <a:gd name="T3" fmla="*/ 162 h 29"/>
                  <a:gd name="T4" fmla="*/ 1 w 28"/>
                  <a:gd name="T5" fmla="*/ 228 h 29"/>
                  <a:gd name="T6" fmla="*/ 904 w 28"/>
                  <a:gd name="T7" fmla="*/ 252 h 29"/>
                  <a:gd name="T8" fmla="*/ 2217 w 28"/>
                  <a:gd name="T9" fmla="*/ 228 h 29"/>
                  <a:gd name="T10" fmla="*/ 2634 w 28"/>
                  <a:gd name="T11" fmla="*/ 162 h 29"/>
                  <a:gd name="T12" fmla="*/ 1931 w 28"/>
                  <a:gd name="T13" fmla="*/ 1 h 29"/>
                  <a:gd name="T14" fmla="*/ 1038 w 28"/>
                  <a:gd name="T15" fmla="*/ 0 h 29"/>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9"/>
                  <a:gd name="T26" fmla="*/ 28 w 28"/>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9">
                    <a:moveTo>
                      <a:pt x="11" y="0"/>
                    </a:moveTo>
                    <a:lnTo>
                      <a:pt x="0" y="16"/>
                    </a:lnTo>
                    <a:lnTo>
                      <a:pt x="1" y="26"/>
                    </a:lnTo>
                    <a:lnTo>
                      <a:pt x="9" y="29"/>
                    </a:lnTo>
                    <a:lnTo>
                      <a:pt x="23" y="26"/>
                    </a:lnTo>
                    <a:lnTo>
                      <a:pt x="28" y="16"/>
                    </a:lnTo>
                    <a:lnTo>
                      <a:pt x="20" y="1"/>
                    </a:lnTo>
                    <a:lnTo>
                      <a:pt x="1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9" name="Freeform 176"/>
              <p:cNvSpPr>
                <a:spLocks/>
              </p:cNvSpPr>
              <p:nvPr/>
            </p:nvSpPr>
            <p:spPr bwMode="auto">
              <a:xfrm>
                <a:off x="317" y="1835"/>
                <a:ext cx="30" cy="30"/>
              </a:xfrm>
              <a:custGeom>
                <a:avLst/>
                <a:gdLst>
                  <a:gd name="T0" fmla="*/ 1038 w 28"/>
                  <a:gd name="T1" fmla="*/ 0 h 29"/>
                  <a:gd name="T2" fmla="*/ 0 w 28"/>
                  <a:gd name="T3" fmla="*/ 162 h 29"/>
                  <a:gd name="T4" fmla="*/ 1 w 28"/>
                  <a:gd name="T5" fmla="*/ 228 h 29"/>
                  <a:gd name="T6" fmla="*/ 904 w 28"/>
                  <a:gd name="T7" fmla="*/ 252 h 29"/>
                  <a:gd name="T8" fmla="*/ 2217 w 28"/>
                  <a:gd name="T9" fmla="*/ 228 h 29"/>
                  <a:gd name="T10" fmla="*/ 2634 w 28"/>
                  <a:gd name="T11" fmla="*/ 162 h 29"/>
                  <a:gd name="T12" fmla="*/ 1931 w 28"/>
                  <a:gd name="T13" fmla="*/ 1 h 29"/>
                  <a:gd name="T14" fmla="*/ 1038 w 28"/>
                  <a:gd name="T15" fmla="*/ 0 h 29"/>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9"/>
                  <a:gd name="T26" fmla="*/ 28 w 28"/>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9">
                    <a:moveTo>
                      <a:pt x="11" y="0"/>
                    </a:moveTo>
                    <a:lnTo>
                      <a:pt x="0" y="16"/>
                    </a:lnTo>
                    <a:lnTo>
                      <a:pt x="1" y="26"/>
                    </a:lnTo>
                    <a:lnTo>
                      <a:pt x="9" y="29"/>
                    </a:lnTo>
                    <a:lnTo>
                      <a:pt x="23" y="26"/>
                    </a:lnTo>
                    <a:lnTo>
                      <a:pt x="28" y="16"/>
                    </a:lnTo>
                    <a:lnTo>
                      <a:pt x="20" y="1"/>
                    </a:lnTo>
                    <a:lnTo>
                      <a:pt x="11" y="0"/>
                    </a:lnTo>
                    <a:close/>
                  </a:path>
                </a:pathLst>
              </a:custGeom>
              <a:solidFill>
                <a:srgbClr val="DA9797"/>
              </a:solidFill>
              <a:ln w="7938">
                <a:solidFill>
                  <a:srgbClr val="1C1329"/>
                </a:solidFill>
                <a:miter lim="800000"/>
                <a:headEnd/>
                <a:tailEnd/>
              </a:ln>
            </p:spPr>
            <p:txBody>
              <a:bodyPr/>
              <a:lstStyle/>
              <a:p>
                <a:endParaRPr lang="en-US"/>
              </a:p>
            </p:txBody>
          </p:sp>
          <p:sp>
            <p:nvSpPr>
              <p:cNvPr id="390" name="Freeform 177"/>
              <p:cNvSpPr>
                <a:spLocks/>
              </p:cNvSpPr>
              <p:nvPr/>
            </p:nvSpPr>
            <p:spPr bwMode="auto">
              <a:xfrm>
                <a:off x="306" y="1849"/>
                <a:ext cx="31" cy="30"/>
              </a:xfrm>
              <a:custGeom>
                <a:avLst/>
                <a:gdLst>
                  <a:gd name="T0" fmla="*/ 5 w 29"/>
                  <a:gd name="T1" fmla="*/ 0 h 29"/>
                  <a:gd name="T2" fmla="*/ 0 w 29"/>
                  <a:gd name="T3" fmla="*/ 252 h 29"/>
                  <a:gd name="T4" fmla="*/ 1216 w 29"/>
                  <a:gd name="T5" fmla="*/ 220 h 29"/>
                  <a:gd name="T6" fmla="*/ 2368 w 29"/>
                  <a:gd name="T7" fmla="*/ 0 h 29"/>
                  <a:gd name="T8" fmla="*/ 5 w 29"/>
                  <a:gd name="T9" fmla="*/ 0 h 29"/>
                  <a:gd name="T10" fmla="*/ 0 60000 65536"/>
                  <a:gd name="T11" fmla="*/ 0 60000 65536"/>
                  <a:gd name="T12" fmla="*/ 0 60000 65536"/>
                  <a:gd name="T13" fmla="*/ 0 60000 65536"/>
                  <a:gd name="T14" fmla="*/ 0 60000 65536"/>
                  <a:gd name="T15" fmla="*/ 0 w 29"/>
                  <a:gd name="T16" fmla="*/ 0 h 29"/>
                  <a:gd name="T17" fmla="*/ 29 w 29"/>
                  <a:gd name="T18" fmla="*/ 29 h 29"/>
                </a:gdLst>
                <a:ahLst/>
                <a:cxnLst>
                  <a:cxn ang="T10">
                    <a:pos x="T0" y="T1"/>
                  </a:cxn>
                  <a:cxn ang="T11">
                    <a:pos x="T2" y="T3"/>
                  </a:cxn>
                  <a:cxn ang="T12">
                    <a:pos x="T4" y="T5"/>
                  </a:cxn>
                  <a:cxn ang="T13">
                    <a:pos x="T6" y="T7"/>
                  </a:cxn>
                  <a:cxn ang="T14">
                    <a:pos x="T8" y="T9"/>
                  </a:cxn>
                </a:cxnLst>
                <a:rect l="T15" t="T16" r="T17" b="T18"/>
                <a:pathLst>
                  <a:path w="29" h="29">
                    <a:moveTo>
                      <a:pt x="5" y="0"/>
                    </a:moveTo>
                    <a:lnTo>
                      <a:pt x="0" y="29"/>
                    </a:lnTo>
                    <a:lnTo>
                      <a:pt x="16" y="25"/>
                    </a:lnTo>
                    <a:lnTo>
                      <a:pt x="29" y="0"/>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1" name="Freeform 178"/>
              <p:cNvSpPr>
                <a:spLocks/>
              </p:cNvSpPr>
              <p:nvPr/>
            </p:nvSpPr>
            <p:spPr bwMode="auto">
              <a:xfrm>
                <a:off x="306" y="1849"/>
                <a:ext cx="31" cy="30"/>
              </a:xfrm>
              <a:custGeom>
                <a:avLst/>
                <a:gdLst>
                  <a:gd name="T0" fmla="*/ 5 w 29"/>
                  <a:gd name="T1" fmla="*/ 0 h 29"/>
                  <a:gd name="T2" fmla="*/ 0 w 29"/>
                  <a:gd name="T3" fmla="*/ 252 h 29"/>
                  <a:gd name="T4" fmla="*/ 1216 w 29"/>
                  <a:gd name="T5" fmla="*/ 220 h 29"/>
                  <a:gd name="T6" fmla="*/ 2368 w 29"/>
                  <a:gd name="T7" fmla="*/ 0 h 29"/>
                  <a:gd name="T8" fmla="*/ 5 w 29"/>
                  <a:gd name="T9" fmla="*/ 0 h 29"/>
                  <a:gd name="T10" fmla="*/ 0 60000 65536"/>
                  <a:gd name="T11" fmla="*/ 0 60000 65536"/>
                  <a:gd name="T12" fmla="*/ 0 60000 65536"/>
                  <a:gd name="T13" fmla="*/ 0 60000 65536"/>
                  <a:gd name="T14" fmla="*/ 0 60000 65536"/>
                  <a:gd name="T15" fmla="*/ 0 w 29"/>
                  <a:gd name="T16" fmla="*/ 0 h 29"/>
                  <a:gd name="T17" fmla="*/ 29 w 29"/>
                  <a:gd name="T18" fmla="*/ 29 h 29"/>
                </a:gdLst>
                <a:ahLst/>
                <a:cxnLst>
                  <a:cxn ang="T10">
                    <a:pos x="T0" y="T1"/>
                  </a:cxn>
                  <a:cxn ang="T11">
                    <a:pos x="T2" y="T3"/>
                  </a:cxn>
                  <a:cxn ang="T12">
                    <a:pos x="T4" y="T5"/>
                  </a:cxn>
                  <a:cxn ang="T13">
                    <a:pos x="T6" y="T7"/>
                  </a:cxn>
                  <a:cxn ang="T14">
                    <a:pos x="T8" y="T9"/>
                  </a:cxn>
                </a:cxnLst>
                <a:rect l="T15" t="T16" r="T17" b="T18"/>
                <a:pathLst>
                  <a:path w="29" h="29">
                    <a:moveTo>
                      <a:pt x="5" y="0"/>
                    </a:moveTo>
                    <a:lnTo>
                      <a:pt x="0" y="29"/>
                    </a:lnTo>
                    <a:lnTo>
                      <a:pt x="16" y="25"/>
                    </a:lnTo>
                    <a:lnTo>
                      <a:pt x="29" y="0"/>
                    </a:lnTo>
                    <a:lnTo>
                      <a:pt x="5" y="0"/>
                    </a:lnTo>
                    <a:close/>
                  </a:path>
                </a:pathLst>
              </a:custGeom>
              <a:solidFill>
                <a:srgbClr val="DA9797"/>
              </a:solidFill>
              <a:ln w="7938">
                <a:solidFill>
                  <a:srgbClr val="1C1329"/>
                </a:solidFill>
                <a:miter lim="800000"/>
                <a:headEnd/>
                <a:tailEnd/>
              </a:ln>
            </p:spPr>
            <p:txBody>
              <a:bodyPr/>
              <a:lstStyle/>
              <a:p>
                <a:endParaRPr lang="en-US"/>
              </a:p>
            </p:txBody>
          </p:sp>
          <p:sp>
            <p:nvSpPr>
              <p:cNvPr id="392" name="Freeform 179"/>
              <p:cNvSpPr>
                <a:spLocks/>
              </p:cNvSpPr>
              <p:nvPr/>
            </p:nvSpPr>
            <p:spPr bwMode="auto">
              <a:xfrm>
                <a:off x="370" y="1812"/>
                <a:ext cx="29" cy="29"/>
              </a:xfrm>
              <a:custGeom>
                <a:avLst/>
                <a:gdLst>
                  <a:gd name="T0" fmla="*/ 0 w 28"/>
                  <a:gd name="T1" fmla="*/ 5 h 28"/>
                  <a:gd name="T2" fmla="*/ 0 w 28"/>
                  <a:gd name="T3" fmla="*/ 269 h 28"/>
                  <a:gd name="T4" fmla="*/ 269 w 28"/>
                  <a:gd name="T5" fmla="*/ 218 h 28"/>
                  <a:gd name="T6" fmla="*/ 234 w 28"/>
                  <a:gd name="T7" fmla="*/ 5 h 28"/>
                  <a:gd name="T8" fmla="*/ 7 w 28"/>
                  <a:gd name="T9" fmla="*/ 0 h 28"/>
                  <a:gd name="T10" fmla="*/ 0 w 28"/>
                  <a:gd name="T11" fmla="*/ 5 h 28"/>
                  <a:gd name="T12" fmla="*/ 0 60000 65536"/>
                  <a:gd name="T13" fmla="*/ 0 60000 65536"/>
                  <a:gd name="T14" fmla="*/ 0 60000 65536"/>
                  <a:gd name="T15" fmla="*/ 0 60000 65536"/>
                  <a:gd name="T16" fmla="*/ 0 60000 65536"/>
                  <a:gd name="T17" fmla="*/ 0 60000 65536"/>
                  <a:gd name="T18" fmla="*/ 0 w 28"/>
                  <a:gd name="T19" fmla="*/ 0 h 28"/>
                  <a:gd name="T20" fmla="*/ 28 w 28"/>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8" h="28">
                    <a:moveTo>
                      <a:pt x="0" y="5"/>
                    </a:moveTo>
                    <a:lnTo>
                      <a:pt x="0" y="28"/>
                    </a:lnTo>
                    <a:lnTo>
                      <a:pt x="28" y="22"/>
                    </a:lnTo>
                    <a:lnTo>
                      <a:pt x="24" y="5"/>
                    </a:lnTo>
                    <a:lnTo>
                      <a:pt x="7" y="0"/>
                    </a:lnTo>
                    <a:lnTo>
                      <a:pt x="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3" name="Freeform 180"/>
              <p:cNvSpPr>
                <a:spLocks/>
              </p:cNvSpPr>
              <p:nvPr/>
            </p:nvSpPr>
            <p:spPr bwMode="auto">
              <a:xfrm>
                <a:off x="370" y="1812"/>
                <a:ext cx="29" cy="29"/>
              </a:xfrm>
              <a:custGeom>
                <a:avLst/>
                <a:gdLst>
                  <a:gd name="T0" fmla="*/ 0 w 28"/>
                  <a:gd name="T1" fmla="*/ 5 h 28"/>
                  <a:gd name="T2" fmla="*/ 0 w 28"/>
                  <a:gd name="T3" fmla="*/ 269 h 28"/>
                  <a:gd name="T4" fmla="*/ 269 w 28"/>
                  <a:gd name="T5" fmla="*/ 218 h 28"/>
                  <a:gd name="T6" fmla="*/ 234 w 28"/>
                  <a:gd name="T7" fmla="*/ 5 h 28"/>
                  <a:gd name="T8" fmla="*/ 7 w 28"/>
                  <a:gd name="T9" fmla="*/ 0 h 28"/>
                  <a:gd name="T10" fmla="*/ 0 w 28"/>
                  <a:gd name="T11" fmla="*/ 5 h 28"/>
                  <a:gd name="T12" fmla="*/ 0 60000 65536"/>
                  <a:gd name="T13" fmla="*/ 0 60000 65536"/>
                  <a:gd name="T14" fmla="*/ 0 60000 65536"/>
                  <a:gd name="T15" fmla="*/ 0 60000 65536"/>
                  <a:gd name="T16" fmla="*/ 0 60000 65536"/>
                  <a:gd name="T17" fmla="*/ 0 60000 65536"/>
                  <a:gd name="T18" fmla="*/ 0 w 28"/>
                  <a:gd name="T19" fmla="*/ 0 h 28"/>
                  <a:gd name="T20" fmla="*/ 28 w 28"/>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8" h="28">
                    <a:moveTo>
                      <a:pt x="0" y="5"/>
                    </a:moveTo>
                    <a:lnTo>
                      <a:pt x="0" y="28"/>
                    </a:lnTo>
                    <a:lnTo>
                      <a:pt x="28" y="22"/>
                    </a:lnTo>
                    <a:lnTo>
                      <a:pt x="24" y="5"/>
                    </a:lnTo>
                    <a:lnTo>
                      <a:pt x="7" y="0"/>
                    </a:lnTo>
                    <a:lnTo>
                      <a:pt x="0" y="5"/>
                    </a:lnTo>
                    <a:close/>
                  </a:path>
                </a:pathLst>
              </a:custGeom>
              <a:solidFill>
                <a:srgbClr val="DA9797"/>
              </a:solidFill>
              <a:ln w="7938">
                <a:solidFill>
                  <a:srgbClr val="1C1329"/>
                </a:solidFill>
                <a:miter lim="800000"/>
                <a:headEnd/>
                <a:tailEnd/>
              </a:ln>
            </p:spPr>
            <p:txBody>
              <a:bodyPr/>
              <a:lstStyle/>
              <a:p>
                <a:endParaRPr lang="en-US"/>
              </a:p>
            </p:txBody>
          </p:sp>
          <p:sp>
            <p:nvSpPr>
              <p:cNvPr id="394" name="Freeform 181"/>
              <p:cNvSpPr>
                <a:spLocks/>
              </p:cNvSpPr>
              <p:nvPr/>
            </p:nvSpPr>
            <p:spPr bwMode="auto">
              <a:xfrm>
                <a:off x="375" y="1761"/>
                <a:ext cx="31" cy="30"/>
              </a:xfrm>
              <a:custGeom>
                <a:avLst/>
                <a:gdLst>
                  <a:gd name="T0" fmla="*/ 6 w 29"/>
                  <a:gd name="T1" fmla="*/ 2634 h 28"/>
                  <a:gd name="T2" fmla="*/ 1815 w 29"/>
                  <a:gd name="T3" fmla="*/ 2217 h 28"/>
                  <a:gd name="T4" fmla="*/ 1588 w 29"/>
                  <a:gd name="T5" fmla="*/ 1682 h 28"/>
                  <a:gd name="T6" fmla="*/ 2368 w 29"/>
                  <a:gd name="T7" fmla="*/ 1682 h 28"/>
                  <a:gd name="T8" fmla="*/ 2368 w 29"/>
                  <a:gd name="T9" fmla="*/ 5 h 28"/>
                  <a:gd name="T10" fmla="*/ 1486 w 29"/>
                  <a:gd name="T11" fmla="*/ 0 h 28"/>
                  <a:gd name="T12" fmla="*/ 5 w 29"/>
                  <a:gd name="T13" fmla="*/ 2 h 28"/>
                  <a:gd name="T14" fmla="*/ 2 w 29"/>
                  <a:gd name="T15" fmla="*/ 1 h 28"/>
                  <a:gd name="T16" fmla="*/ 1 w 29"/>
                  <a:gd name="T17" fmla="*/ 904 h 28"/>
                  <a:gd name="T18" fmla="*/ 0 w 29"/>
                  <a:gd name="T19" fmla="*/ 1931 h 28"/>
                  <a:gd name="T20" fmla="*/ 6 w 29"/>
                  <a:gd name="T21" fmla="*/ 2634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8"/>
                  <a:gd name="T35" fmla="*/ 29 w 29"/>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8">
                    <a:moveTo>
                      <a:pt x="6" y="28"/>
                    </a:moveTo>
                    <a:lnTo>
                      <a:pt x="22" y="23"/>
                    </a:lnTo>
                    <a:lnTo>
                      <a:pt x="20" y="18"/>
                    </a:lnTo>
                    <a:lnTo>
                      <a:pt x="29" y="18"/>
                    </a:lnTo>
                    <a:lnTo>
                      <a:pt x="29" y="5"/>
                    </a:lnTo>
                    <a:lnTo>
                      <a:pt x="19" y="0"/>
                    </a:lnTo>
                    <a:lnTo>
                      <a:pt x="5" y="2"/>
                    </a:lnTo>
                    <a:lnTo>
                      <a:pt x="2" y="1"/>
                    </a:lnTo>
                    <a:lnTo>
                      <a:pt x="1" y="9"/>
                    </a:lnTo>
                    <a:lnTo>
                      <a:pt x="0" y="20"/>
                    </a:lnTo>
                    <a:lnTo>
                      <a:pt x="6"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5" name="Freeform 182"/>
              <p:cNvSpPr>
                <a:spLocks/>
              </p:cNvSpPr>
              <p:nvPr/>
            </p:nvSpPr>
            <p:spPr bwMode="auto">
              <a:xfrm>
                <a:off x="375" y="1761"/>
                <a:ext cx="31" cy="30"/>
              </a:xfrm>
              <a:custGeom>
                <a:avLst/>
                <a:gdLst>
                  <a:gd name="T0" fmla="*/ 6 w 29"/>
                  <a:gd name="T1" fmla="*/ 2634 h 28"/>
                  <a:gd name="T2" fmla="*/ 1815 w 29"/>
                  <a:gd name="T3" fmla="*/ 2217 h 28"/>
                  <a:gd name="T4" fmla="*/ 1588 w 29"/>
                  <a:gd name="T5" fmla="*/ 1682 h 28"/>
                  <a:gd name="T6" fmla="*/ 2368 w 29"/>
                  <a:gd name="T7" fmla="*/ 1682 h 28"/>
                  <a:gd name="T8" fmla="*/ 2368 w 29"/>
                  <a:gd name="T9" fmla="*/ 5 h 28"/>
                  <a:gd name="T10" fmla="*/ 1486 w 29"/>
                  <a:gd name="T11" fmla="*/ 0 h 28"/>
                  <a:gd name="T12" fmla="*/ 5 w 29"/>
                  <a:gd name="T13" fmla="*/ 2 h 28"/>
                  <a:gd name="T14" fmla="*/ 2 w 29"/>
                  <a:gd name="T15" fmla="*/ 1 h 28"/>
                  <a:gd name="T16" fmla="*/ 1 w 29"/>
                  <a:gd name="T17" fmla="*/ 904 h 28"/>
                  <a:gd name="T18" fmla="*/ 0 w 29"/>
                  <a:gd name="T19" fmla="*/ 1931 h 28"/>
                  <a:gd name="T20" fmla="*/ 6 w 29"/>
                  <a:gd name="T21" fmla="*/ 2634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8"/>
                  <a:gd name="T35" fmla="*/ 29 w 29"/>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8">
                    <a:moveTo>
                      <a:pt x="6" y="28"/>
                    </a:moveTo>
                    <a:lnTo>
                      <a:pt x="22" y="23"/>
                    </a:lnTo>
                    <a:lnTo>
                      <a:pt x="20" y="18"/>
                    </a:lnTo>
                    <a:lnTo>
                      <a:pt x="29" y="18"/>
                    </a:lnTo>
                    <a:lnTo>
                      <a:pt x="29" y="5"/>
                    </a:lnTo>
                    <a:lnTo>
                      <a:pt x="19" y="0"/>
                    </a:lnTo>
                    <a:lnTo>
                      <a:pt x="5" y="2"/>
                    </a:lnTo>
                    <a:lnTo>
                      <a:pt x="2" y="1"/>
                    </a:lnTo>
                    <a:lnTo>
                      <a:pt x="1" y="9"/>
                    </a:lnTo>
                    <a:lnTo>
                      <a:pt x="0" y="20"/>
                    </a:lnTo>
                    <a:lnTo>
                      <a:pt x="6" y="28"/>
                    </a:lnTo>
                    <a:close/>
                  </a:path>
                </a:pathLst>
              </a:custGeom>
              <a:solidFill>
                <a:srgbClr val="DA9797"/>
              </a:solidFill>
              <a:ln w="7938">
                <a:solidFill>
                  <a:srgbClr val="1C1329"/>
                </a:solidFill>
                <a:miter lim="800000"/>
                <a:headEnd/>
                <a:tailEnd/>
              </a:ln>
            </p:spPr>
            <p:txBody>
              <a:bodyPr/>
              <a:lstStyle/>
              <a:p>
                <a:endParaRPr lang="en-US"/>
              </a:p>
            </p:txBody>
          </p:sp>
          <p:sp>
            <p:nvSpPr>
              <p:cNvPr id="396" name="Freeform 183"/>
              <p:cNvSpPr>
                <a:spLocks/>
              </p:cNvSpPr>
              <p:nvPr/>
            </p:nvSpPr>
            <p:spPr bwMode="auto">
              <a:xfrm>
                <a:off x="311" y="1751"/>
                <a:ext cx="30" cy="29"/>
              </a:xfrm>
              <a:custGeom>
                <a:avLst/>
                <a:gdLst>
                  <a:gd name="T0" fmla="*/ 844 w 28"/>
                  <a:gd name="T1" fmla="*/ 269 h 28"/>
                  <a:gd name="T2" fmla="*/ 904 w 28"/>
                  <a:gd name="T3" fmla="*/ 189 h 28"/>
                  <a:gd name="T4" fmla="*/ 1570 w 28"/>
                  <a:gd name="T5" fmla="*/ 164 h 28"/>
                  <a:gd name="T6" fmla="*/ 1802 w 28"/>
                  <a:gd name="T7" fmla="*/ 176 h 28"/>
                  <a:gd name="T8" fmla="*/ 2634 w 28"/>
                  <a:gd name="T9" fmla="*/ 11 h 28"/>
                  <a:gd name="T10" fmla="*/ 2217 w 28"/>
                  <a:gd name="T11" fmla="*/ 4 h 28"/>
                  <a:gd name="T12" fmla="*/ 1367 w 28"/>
                  <a:gd name="T13" fmla="*/ 4 h 28"/>
                  <a:gd name="T14" fmla="*/ 1112 w 28"/>
                  <a:gd name="T15" fmla="*/ 1 h 28"/>
                  <a:gd name="T16" fmla="*/ 904 w 28"/>
                  <a:gd name="T17" fmla="*/ 5 h 28"/>
                  <a:gd name="T18" fmla="*/ 4 w 28"/>
                  <a:gd name="T19" fmla="*/ 0 h 28"/>
                  <a:gd name="T20" fmla="*/ 0 w 28"/>
                  <a:gd name="T21" fmla="*/ 9 h 28"/>
                  <a:gd name="T22" fmla="*/ 844 w 28"/>
                  <a:gd name="T23" fmla="*/ 269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28"/>
                  <a:gd name="T38" fmla="*/ 28 w 28"/>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28">
                    <a:moveTo>
                      <a:pt x="8" y="28"/>
                    </a:moveTo>
                    <a:lnTo>
                      <a:pt x="9" y="18"/>
                    </a:lnTo>
                    <a:lnTo>
                      <a:pt x="17" y="14"/>
                    </a:lnTo>
                    <a:lnTo>
                      <a:pt x="19" y="16"/>
                    </a:lnTo>
                    <a:lnTo>
                      <a:pt x="28" y="11"/>
                    </a:lnTo>
                    <a:lnTo>
                      <a:pt x="23" y="4"/>
                    </a:lnTo>
                    <a:lnTo>
                      <a:pt x="15" y="4"/>
                    </a:lnTo>
                    <a:lnTo>
                      <a:pt x="12" y="1"/>
                    </a:lnTo>
                    <a:lnTo>
                      <a:pt x="9" y="5"/>
                    </a:lnTo>
                    <a:lnTo>
                      <a:pt x="4" y="0"/>
                    </a:lnTo>
                    <a:lnTo>
                      <a:pt x="0" y="9"/>
                    </a:lnTo>
                    <a:lnTo>
                      <a:pt x="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7" name="Freeform 184"/>
              <p:cNvSpPr>
                <a:spLocks/>
              </p:cNvSpPr>
              <p:nvPr/>
            </p:nvSpPr>
            <p:spPr bwMode="auto">
              <a:xfrm>
                <a:off x="311" y="1751"/>
                <a:ext cx="30" cy="29"/>
              </a:xfrm>
              <a:custGeom>
                <a:avLst/>
                <a:gdLst>
                  <a:gd name="T0" fmla="*/ 844 w 28"/>
                  <a:gd name="T1" fmla="*/ 269 h 28"/>
                  <a:gd name="T2" fmla="*/ 904 w 28"/>
                  <a:gd name="T3" fmla="*/ 189 h 28"/>
                  <a:gd name="T4" fmla="*/ 1570 w 28"/>
                  <a:gd name="T5" fmla="*/ 164 h 28"/>
                  <a:gd name="T6" fmla="*/ 1802 w 28"/>
                  <a:gd name="T7" fmla="*/ 176 h 28"/>
                  <a:gd name="T8" fmla="*/ 2634 w 28"/>
                  <a:gd name="T9" fmla="*/ 11 h 28"/>
                  <a:gd name="T10" fmla="*/ 2217 w 28"/>
                  <a:gd name="T11" fmla="*/ 4 h 28"/>
                  <a:gd name="T12" fmla="*/ 1367 w 28"/>
                  <a:gd name="T13" fmla="*/ 4 h 28"/>
                  <a:gd name="T14" fmla="*/ 1112 w 28"/>
                  <a:gd name="T15" fmla="*/ 1 h 28"/>
                  <a:gd name="T16" fmla="*/ 904 w 28"/>
                  <a:gd name="T17" fmla="*/ 5 h 28"/>
                  <a:gd name="T18" fmla="*/ 4 w 28"/>
                  <a:gd name="T19" fmla="*/ 0 h 28"/>
                  <a:gd name="T20" fmla="*/ 0 w 28"/>
                  <a:gd name="T21" fmla="*/ 9 h 28"/>
                  <a:gd name="T22" fmla="*/ 844 w 28"/>
                  <a:gd name="T23" fmla="*/ 269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28"/>
                  <a:gd name="T38" fmla="*/ 28 w 28"/>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28">
                    <a:moveTo>
                      <a:pt x="8" y="28"/>
                    </a:moveTo>
                    <a:lnTo>
                      <a:pt x="9" y="18"/>
                    </a:lnTo>
                    <a:lnTo>
                      <a:pt x="17" y="14"/>
                    </a:lnTo>
                    <a:lnTo>
                      <a:pt x="19" y="16"/>
                    </a:lnTo>
                    <a:lnTo>
                      <a:pt x="28" y="11"/>
                    </a:lnTo>
                    <a:lnTo>
                      <a:pt x="23" y="4"/>
                    </a:lnTo>
                    <a:lnTo>
                      <a:pt x="15" y="4"/>
                    </a:lnTo>
                    <a:lnTo>
                      <a:pt x="12" y="1"/>
                    </a:lnTo>
                    <a:lnTo>
                      <a:pt x="9" y="5"/>
                    </a:lnTo>
                    <a:lnTo>
                      <a:pt x="4" y="0"/>
                    </a:lnTo>
                    <a:lnTo>
                      <a:pt x="0" y="9"/>
                    </a:lnTo>
                    <a:lnTo>
                      <a:pt x="8" y="28"/>
                    </a:lnTo>
                    <a:close/>
                  </a:path>
                </a:pathLst>
              </a:custGeom>
              <a:solidFill>
                <a:srgbClr val="DA9797"/>
              </a:solidFill>
              <a:ln w="7938">
                <a:solidFill>
                  <a:srgbClr val="1C1329"/>
                </a:solidFill>
                <a:miter lim="800000"/>
                <a:headEnd/>
                <a:tailEnd/>
              </a:ln>
            </p:spPr>
            <p:txBody>
              <a:bodyPr/>
              <a:lstStyle/>
              <a:p>
                <a:endParaRPr lang="en-US"/>
              </a:p>
            </p:txBody>
          </p:sp>
          <p:sp>
            <p:nvSpPr>
              <p:cNvPr id="398" name="Freeform 185"/>
              <p:cNvSpPr>
                <a:spLocks/>
              </p:cNvSpPr>
              <p:nvPr/>
            </p:nvSpPr>
            <p:spPr bwMode="auto">
              <a:xfrm>
                <a:off x="373" y="1730"/>
                <a:ext cx="31" cy="29"/>
              </a:xfrm>
              <a:custGeom>
                <a:avLst/>
                <a:gdLst>
                  <a:gd name="T0" fmla="*/ 1815 w 29"/>
                  <a:gd name="T1" fmla="*/ 269 h 28"/>
                  <a:gd name="T2" fmla="*/ 1815 w 29"/>
                  <a:gd name="T3" fmla="*/ 196 h 28"/>
                  <a:gd name="T4" fmla="*/ 2368 w 29"/>
                  <a:gd name="T5" fmla="*/ 176 h 28"/>
                  <a:gd name="T6" fmla="*/ 1486 w 29"/>
                  <a:gd name="T7" fmla="*/ 9 h 28"/>
                  <a:gd name="T8" fmla="*/ 1486 w 29"/>
                  <a:gd name="T9" fmla="*/ 1 h 28"/>
                  <a:gd name="T10" fmla="*/ 872 w 29"/>
                  <a:gd name="T11" fmla="*/ 0 h 28"/>
                  <a:gd name="T12" fmla="*/ 0 w 29"/>
                  <a:gd name="T13" fmla="*/ 1 h 28"/>
                  <a:gd name="T14" fmla="*/ 2 w 29"/>
                  <a:gd name="T15" fmla="*/ 11 h 28"/>
                  <a:gd name="T16" fmla="*/ 0 w 29"/>
                  <a:gd name="T17" fmla="*/ 170 h 28"/>
                  <a:gd name="T18" fmla="*/ 932 w 29"/>
                  <a:gd name="T19" fmla="*/ 176 h 28"/>
                  <a:gd name="T20" fmla="*/ 1815 w 29"/>
                  <a:gd name="T21" fmla="*/ 269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8"/>
                  <a:gd name="T35" fmla="*/ 29 w 29"/>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8">
                    <a:moveTo>
                      <a:pt x="22" y="28"/>
                    </a:moveTo>
                    <a:lnTo>
                      <a:pt x="22" y="19"/>
                    </a:lnTo>
                    <a:lnTo>
                      <a:pt x="29" y="16"/>
                    </a:lnTo>
                    <a:lnTo>
                      <a:pt x="19" y="9"/>
                    </a:lnTo>
                    <a:lnTo>
                      <a:pt x="19" y="1"/>
                    </a:lnTo>
                    <a:lnTo>
                      <a:pt x="11" y="0"/>
                    </a:lnTo>
                    <a:lnTo>
                      <a:pt x="0" y="1"/>
                    </a:lnTo>
                    <a:lnTo>
                      <a:pt x="2" y="11"/>
                    </a:lnTo>
                    <a:lnTo>
                      <a:pt x="0" y="15"/>
                    </a:lnTo>
                    <a:lnTo>
                      <a:pt x="12" y="16"/>
                    </a:lnTo>
                    <a:lnTo>
                      <a:pt x="22"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9" name="Freeform 186"/>
              <p:cNvSpPr>
                <a:spLocks/>
              </p:cNvSpPr>
              <p:nvPr/>
            </p:nvSpPr>
            <p:spPr bwMode="auto">
              <a:xfrm>
                <a:off x="373" y="1730"/>
                <a:ext cx="31" cy="29"/>
              </a:xfrm>
              <a:custGeom>
                <a:avLst/>
                <a:gdLst>
                  <a:gd name="T0" fmla="*/ 1815 w 29"/>
                  <a:gd name="T1" fmla="*/ 269 h 28"/>
                  <a:gd name="T2" fmla="*/ 1815 w 29"/>
                  <a:gd name="T3" fmla="*/ 196 h 28"/>
                  <a:gd name="T4" fmla="*/ 2368 w 29"/>
                  <a:gd name="T5" fmla="*/ 176 h 28"/>
                  <a:gd name="T6" fmla="*/ 1486 w 29"/>
                  <a:gd name="T7" fmla="*/ 9 h 28"/>
                  <a:gd name="T8" fmla="*/ 1486 w 29"/>
                  <a:gd name="T9" fmla="*/ 1 h 28"/>
                  <a:gd name="T10" fmla="*/ 872 w 29"/>
                  <a:gd name="T11" fmla="*/ 0 h 28"/>
                  <a:gd name="T12" fmla="*/ 0 w 29"/>
                  <a:gd name="T13" fmla="*/ 1 h 28"/>
                  <a:gd name="T14" fmla="*/ 2 w 29"/>
                  <a:gd name="T15" fmla="*/ 11 h 28"/>
                  <a:gd name="T16" fmla="*/ 0 w 29"/>
                  <a:gd name="T17" fmla="*/ 170 h 28"/>
                  <a:gd name="T18" fmla="*/ 932 w 29"/>
                  <a:gd name="T19" fmla="*/ 176 h 28"/>
                  <a:gd name="T20" fmla="*/ 1815 w 29"/>
                  <a:gd name="T21" fmla="*/ 269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8"/>
                  <a:gd name="T35" fmla="*/ 29 w 29"/>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8">
                    <a:moveTo>
                      <a:pt x="22" y="28"/>
                    </a:moveTo>
                    <a:lnTo>
                      <a:pt x="22" y="19"/>
                    </a:lnTo>
                    <a:lnTo>
                      <a:pt x="29" y="16"/>
                    </a:lnTo>
                    <a:lnTo>
                      <a:pt x="19" y="9"/>
                    </a:lnTo>
                    <a:lnTo>
                      <a:pt x="19" y="1"/>
                    </a:lnTo>
                    <a:lnTo>
                      <a:pt x="11" y="0"/>
                    </a:lnTo>
                    <a:lnTo>
                      <a:pt x="0" y="1"/>
                    </a:lnTo>
                    <a:lnTo>
                      <a:pt x="2" y="11"/>
                    </a:lnTo>
                    <a:lnTo>
                      <a:pt x="0" y="15"/>
                    </a:lnTo>
                    <a:lnTo>
                      <a:pt x="12" y="16"/>
                    </a:lnTo>
                    <a:lnTo>
                      <a:pt x="22" y="28"/>
                    </a:lnTo>
                    <a:close/>
                  </a:path>
                </a:pathLst>
              </a:custGeom>
              <a:solidFill>
                <a:srgbClr val="DA9797"/>
              </a:solidFill>
              <a:ln w="7938">
                <a:solidFill>
                  <a:srgbClr val="1C1329"/>
                </a:solidFill>
                <a:miter lim="800000"/>
                <a:headEnd/>
                <a:tailEnd/>
              </a:ln>
            </p:spPr>
            <p:txBody>
              <a:bodyPr/>
              <a:lstStyle/>
              <a:p>
                <a:endParaRPr lang="en-US"/>
              </a:p>
            </p:txBody>
          </p:sp>
          <p:sp>
            <p:nvSpPr>
              <p:cNvPr id="400" name="Freeform 187"/>
              <p:cNvSpPr>
                <a:spLocks/>
              </p:cNvSpPr>
              <p:nvPr/>
            </p:nvSpPr>
            <p:spPr bwMode="auto">
              <a:xfrm>
                <a:off x="280" y="1742"/>
                <a:ext cx="31" cy="30"/>
              </a:xfrm>
              <a:custGeom>
                <a:avLst/>
                <a:gdLst>
                  <a:gd name="T0" fmla="*/ 1815 w 29"/>
                  <a:gd name="T1" fmla="*/ 0 h 28"/>
                  <a:gd name="T2" fmla="*/ 2368 w 29"/>
                  <a:gd name="T3" fmla="*/ 1465 h 28"/>
                  <a:gd name="T4" fmla="*/ 1138 w 29"/>
                  <a:gd name="T5" fmla="*/ 2294 h 28"/>
                  <a:gd name="T6" fmla="*/ 816 w 29"/>
                  <a:gd name="T7" fmla="*/ 2634 h 28"/>
                  <a:gd name="T8" fmla="*/ 0 w 29"/>
                  <a:gd name="T9" fmla="*/ 1931 h 28"/>
                  <a:gd name="T10" fmla="*/ 816 w 29"/>
                  <a:gd name="T11" fmla="*/ 1276 h 28"/>
                  <a:gd name="T12" fmla="*/ 872 w 29"/>
                  <a:gd name="T13" fmla="*/ 1 h 28"/>
                  <a:gd name="T14" fmla="*/ 1815 w 29"/>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29"/>
                  <a:gd name="T25" fmla="*/ 0 h 28"/>
                  <a:gd name="T26" fmla="*/ 29 w 2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 h="28">
                    <a:moveTo>
                      <a:pt x="22" y="0"/>
                    </a:moveTo>
                    <a:lnTo>
                      <a:pt x="29" y="16"/>
                    </a:lnTo>
                    <a:lnTo>
                      <a:pt x="15" y="24"/>
                    </a:lnTo>
                    <a:lnTo>
                      <a:pt x="10" y="28"/>
                    </a:lnTo>
                    <a:lnTo>
                      <a:pt x="0" y="20"/>
                    </a:lnTo>
                    <a:lnTo>
                      <a:pt x="10" y="14"/>
                    </a:lnTo>
                    <a:lnTo>
                      <a:pt x="11" y="1"/>
                    </a:ln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1" name="Freeform 188"/>
              <p:cNvSpPr>
                <a:spLocks/>
              </p:cNvSpPr>
              <p:nvPr/>
            </p:nvSpPr>
            <p:spPr bwMode="auto">
              <a:xfrm>
                <a:off x="280" y="1742"/>
                <a:ext cx="31" cy="30"/>
              </a:xfrm>
              <a:custGeom>
                <a:avLst/>
                <a:gdLst>
                  <a:gd name="T0" fmla="*/ 1815 w 29"/>
                  <a:gd name="T1" fmla="*/ 0 h 28"/>
                  <a:gd name="T2" fmla="*/ 2368 w 29"/>
                  <a:gd name="T3" fmla="*/ 1465 h 28"/>
                  <a:gd name="T4" fmla="*/ 1138 w 29"/>
                  <a:gd name="T5" fmla="*/ 2294 h 28"/>
                  <a:gd name="T6" fmla="*/ 816 w 29"/>
                  <a:gd name="T7" fmla="*/ 2634 h 28"/>
                  <a:gd name="T8" fmla="*/ 0 w 29"/>
                  <a:gd name="T9" fmla="*/ 1931 h 28"/>
                  <a:gd name="T10" fmla="*/ 816 w 29"/>
                  <a:gd name="T11" fmla="*/ 1276 h 28"/>
                  <a:gd name="T12" fmla="*/ 872 w 29"/>
                  <a:gd name="T13" fmla="*/ 1 h 28"/>
                  <a:gd name="T14" fmla="*/ 1815 w 29"/>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29"/>
                  <a:gd name="T25" fmla="*/ 0 h 28"/>
                  <a:gd name="T26" fmla="*/ 29 w 2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 h="28">
                    <a:moveTo>
                      <a:pt x="22" y="0"/>
                    </a:moveTo>
                    <a:lnTo>
                      <a:pt x="29" y="16"/>
                    </a:lnTo>
                    <a:lnTo>
                      <a:pt x="15" y="24"/>
                    </a:lnTo>
                    <a:lnTo>
                      <a:pt x="10" y="28"/>
                    </a:lnTo>
                    <a:lnTo>
                      <a:pt x="0" y="20"/>
                    </a:lnTo>
                    <a:lnTo>
                      <a:pt x="10" y="14"/>
                    </a:lnTo>
                    <a:lnTo>
                      <a:pt x="11" y="1"/>
                    </a:lnTo>
                    <a:lnTo>
                      <a:pt x="22" y="0"/>
                    </a:lnTo>
                    <a:close/>
                  </a:path>
                </a:pathLst>
              </a:custGeom>
              <a:solidFill>
                <a:srgbClr val="DA9797"/>
              </a:solidFill>
              <a:ln w="7938">
                <a:solidFill>
                  <a:srgbClr val="1C1329"/>
                </a:solidFill>
                <a:miter lim="800000"/>
                <a:headEnd/>
                <a:tailEnd/>
              </a:ln>
            </p:spPr>
            <p:txBody>
              <a:bodyPr/>
              <a:lstStyle/>
              <a:p>
                <a:endParaRPr lang="en-US"/>
              </a:p>
            </p:txBody>
          </p:sp>
          <p:sp>
            <p:nvSpPr>
              <p:cNvPr id="402" name="Freeform 189"/>
              <p:cNvSpPr>
                <a:spLocks/>
              </p:cNvSpPr>
              <p:nvPr/>
            </p:nvSpPr>
            <p:spPr bwMode="auto">
              <a:xfrm>
                <a:off x="267" y="1728"/>
                <a:ext cx="31" cy="30"/>
              </a:xfrm>
              <a:custGeom>
                <a:avLst/>
                <a:gdLst>
                  <a:gd name="T0" fmla="*/ 1698 w 29"/>
                  <a:gd name="T1" fmla="*/ 0 h 29"/>
                  <a:gd name="T2" fmla="*/ 1138 w 29"/>
                  <a:gd name="T3" fmla="*/ 0 h 29"/>
                  <a:gd name="T4" fmla="*/ 872 w 29"/>
                  <a:gd name="T5" fmla="*/ 3 h 29"/>
                  <a:gd name="T6" fmla="*/ 6 w 29"/>
                  <a:gd name="T7" fmla="*/ 5 h 29"/>
                  <a:gd name="T8" fmla="*/ 0 w 29"/>
                  <a:gd name="T9" fmla="*/ 174 h 29"/>
                  <a:gd name="T10" fmla="*/ 3 w 29"/>
                  <a:gd name="T11" fmla="*/ 180 h 29"/>
                  <a:gd name="T12" fmla="*/ 3 w 29"/>
                  <a:gd name="T13" fmla="*/ 220 h 29"/>
                  <a:gd name="T14" fmla="*/ 6 w 29"/>
                  <a:gd name="T15" fmla="*/ 220 h 29"/>
                  <a:gd name="T16" fmla="*/ 714 w 29"/>
                  <a:gd name="T17" fmla="*/ 213 h 29"/>
                  <a:gd name="T18" fmla="*/ 816 w 29"/>
                  <a:gd name="T19" fmla="*/ 252 h 29"/>
                  <a:gd name="T20" fmla="*/ 1486 w 29"/>
                  <a:gd name="T21" fmla="*/ 168 h 29"/>
                  <a:gd name="T22" fmla="*/ 2368 w 29"/>
                  <a:gd name="T23" fmla="*/ 8 h 29"/>
                  <a:gd name="T24" fmla="*/ 1940 w 29"/>
                  <a:gd name="T25" fmla="*/ 5 h 29"/>
                  <a:gd name="T26" fmla="*/ 1698 w 29"/>
                  <a:gd name="T27" fmla="*/ 0 h 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29"/>
                  <a:gd name="T44" fmla="*/ 29 w 29"/>
                  <a:gd name="T45" fmla="*/ 29 h 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29">
                    <a:moveTo>
                      <a:pt x="21" y="0"/>
                    </a:moveTo>
                    <a:lnTo>
                      <a:pt x="15" y="0"/>
                    </a:lnTo>
                    <a:lnTo>
                      <a:pt x="11" y="3"/>
                    </a:lnTo>
                    <a:lnTo>
                      <a:pt x="6" y="5"/>
                    </a:lnTo>
                    <a:lnTo>
                      <a:pt x="0" y="18"/>
                    </a:lnTo>
                    <a:lnTo>
                      <a:pt x="3" y="19"/>
                    </a:lnTo>
                    <a:lnTo>
                      <a:pt x="3" y="25"/>
                    </a:lnTo>
                    <a:lnTo>
                      <a:pt x="6" y="25"/>
                    </a:lnTo>
                    <a:lnTo>
                      <a:pt x="8" y="24"/>
                    </a:lnTo>
                    <a:lnTo>
                      <a:pt x="10" y="29"/>
                    </a:lnTo>
                    <a:lnTo>
                      <a:pt x="19" y="17"/>
                    </a:lnTo>
                    <a:lnTo>
                      <a:pt x="29" y="8"/>
                    </a:lnTo>
                    <a:lnTo>
                      <a:pt x="24" y="5"/>
                    </a:lnTo>
                    <a:lnTo>
                      <a:pt x="21" y="0"/>
                    </a:lnTo>
                    <a:close/>
                  </a:path>
                </a:pathLst>
              </a:custGeom>
              <a:solidFill>
                <a:srgbClr val="DA979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3" name="Freeform 190"/>
              <p:cNvSpPr>
                <a:spLocks/>
              </p:cNvSpPr>
              <p:nvPr/>
            </p:nvSpPr>
            <p:spPr bwMode="auto">
              <a:xfrm>
                <a:off x="267" y="1728"/>
                <a:ext cx="31" cy="30"/>
              </a:xfrm>
              <a:custGeom>
                <a:avLst/>
                <a:gdLst>
                  <a:gd name="T0" fmla="*/ 1698 w 29"/>
                  <a:gd name="T1" fmla="*/ 0 h 29"/>
                  <a:gd name="T2" fmla="*/ 1138 w 29"/>
                  <a:gd name="T3" fmla="*/ 0 h 29"/>
                  <a:gd name="T4" fmla="*/ 872 w 29"/>
                  <a:gd name="T5" fmla="*/ 3 h 29"/>
                  <a:gd name="T6" fmla="*/ 6 w 29"/>
                  <a:gd name="T7" fmla="*/ 5 h 29"/>
                  <a:gd name="T8" fmla="*/ 0 w 29"/>
                  <a:gd name="T9" fmla="*/ 174 h 29"/>
                  <a:gd name="T10" fmla="*/ 3 w 29"/>
                  <a:gd name="T11" fmla="*/ 180 h 29"/>
                  <a:gd name="T12" fmla="*/ 3 w 29"/>
                  <a:gd name="T13" fmla="*/ 220 h 29"/>
                  <a:gd name="T14" fmla="*/ 6 w 29"/>
                  <a:gd name="T15" fmla="*/ 220 h 29"/>
                  <a:gd name="T16" fmla="*/ 714 w 29"/>
                  <a:gd name="T17" fmla="*/ 213 h 29"/>
                  <a:gd name="T18" fmla="*/ 816 w 29"/>
                  <a:gd name="T19" fmla="*/ 252 h 29"/>
                  <a:gd name="T20" fmla="*/ 1486 w 29"/>
                  <a:gd name="T21" fmla="*/ 168 h 29"/>
                  <a:gd name="T22" fmla="*/ 2368 w 29"/>
                  <a:gd name="T23" fmla="*/ 8 h 29"/>
                  <a:gd name="T24" fmla="*/ 1940 w 29"/>
                  <a:gd name="T25" fmla="*/ 5 h 29"/>
                  <a:gd name="T26" fmla="*/ 1698 w 29"/>
                  <a:gd name="T27" fmla="*/ 0 h 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29"/>
                  <a:gd name="T44" fmla="*/ 29 w 29"/>
                  <a:gd name="T45" fmla="*/ 29 h 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29">
                    <a:moveTo>
                      <a:pt x="21" y="0"/>
                    </a:moveTo>
                    <a:lnTo>
                      <a:pt x="15" y="0"/>
                    </a:lnTo>
                    <a:lnTo>
                      <a:pt x="11" y="3"/>
                    </a:lnTo>
                    <a:lnTo>
                      <a:pt x="6" y="5"/>
                    </a:lnTo>
                    <a:lnTo>
                      <a:pt x="0" y="18"/>
                    </a:lnTo>
                    <a:lnTo>
                      <a:pt x="3" y="19"/>
                    </a:lnTo>
                    <a:lnTo>
                      <a:pt x="3" y="25"/>
                    </a:lnTo>
                    <a:lnTo>
                      <a:pt x="6" y="25"/>
                    </a:lnTo>
                    <a:lnTo>
                      <a:pt x="8" y="24"/>
                    </a:lnTo>
                    <a:lnTo>
                      <a:pt x="10" y="29"/>
                    </a:lnTo>
                    <a:lnTo>
                      <a:pt x="19" y="17"/>
                    </a:lnTo>
                    <a:lnTo>
                      <a:pt x="29" y="8"/>
                    </a:lnTo>
                    <a:lnTo>
                      <a:pt x="24" y="5"/>
                    </a:lnTo>
                    <a:lnTo>
                      <a:pt x="21" y="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4" name="Freeform 191"/>
              <p:cNvSpPr>
                <a:spLocks/>
              </p:cNvSpPr>
              <p:nvPr/>
            </p:nvSpPr>
            <p:spPr bwMode="auto">
              <a:xfrm>
                <a:off x="307" y="1841"/>
                <a:ext cx="31" cy="31"/>
              </a:xfrm>
              <a:custGeom>
                <a:avLst/>
                <a:gdLst>
                  <a:gd name="T0" fmla="*/ 0 w 29"/>
                  <a:gd name="T1" fmla="*/ 2368 h 29"/>
                  <a:gd name="T2" fmla="*/ 2368 w 29"/>
                  <a:gd name="T3" fmla="*/ 5 h 29"/>
                  <a:gd name="T4" fmla="*/ 5 w 29"/>
                  <a:gd name="T5" fmla="*/ 0 h 29"/>
                  <a:gd name="T6" fmla="*/ 0 w 29"/>
                  <a:gd name="T7" fmla="*/ 2368 h 29"/>
                  <a:gd name="T8" fmla="*/ 0 60000 65536"/>
                  <a:gd name="T9" fmla="*/ 0 60000 65536"/>
                  <a:gd name="T10" fmla="*/ 0 60000 65536"/>
                  <a:gd name="T11" fmla="*/ 0 60000 65536"/>
                  <a:gd name="T12" fmla="*/ 0 w 29"/>
                  <a:gd name="T13" fmla="*/ 0 h 29"/>
                  <a:gd name="T14" fmla="*/ 29 w 29"/>
                  <a:gd name="T15" fmla="*/ 29 h 29"/>
                </a:gdLst>
                <a:ahLst/>
                <a:cxnLst>
                  <a:cxn ang="T8">
                    <a:pos x="T0" y="T1"/>
                  </a:cxn>
                  <a:cxn ang="T9">
                    <a:pos x="T2" y="T3"/>
                  </a:cxn>
                  <a:cxn ang="T10">
                    <a:pos x="T4" y="T5"/>
                  </a:cxn>
                  <a:cxn ang="T11">
                    <a:pos x="T6" y="T7"/>
                  </a:cxn>
                </a:cxnLst>
                <a:rect l="T12" t="T13" r="T14" b="T15"/>
                <a:pathLst>
                  <a:path w="29" h="29">
                    <a:moveTo>
                      <a:pt x="0" y="29"/>
                    </a:moveTo>
                    <a:lnTo>
                      <a:pt x="29" y="5"/>
                    </a:lnTo>
                    <a:lnTo>
                      <a:pt x="5" y="0"/>
                    </a:lnTo>
                    <a:lnTo>
                      <a:pt x="0"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5" name="Freeform 192"/>
              <p:cNvSpPr>
                <a:spLocks/>
              </p:cNvSpPr>
              <p:nvPr/>
            </p:nvSpPr>
            <p:spPr bwMode="auto">
              <a:xfrm>
                <a:off x="307" y="1841"/>
                <a:ext cx="31" cy="31"/>
              </a:xfrm>
              <a:custGeom>
                <a:avLst/>
                <a:gdLst>
                  <a:gd name="T0" fmla="*/ 0 w 29"/>
                  <a:gd name="T1" fmla="*/ 2368 h 29"/>
                  <a:gd name="T2" fmla="*/ 2368 w 29"/>
                  <a:gd name="T3" fmla="*/ 5 h 29"/>
                  <a:gd name="T4" fmla="*/ 5 w 29"/>
                  <a:gd name="T5" fmla="*/ 0 h 29"/>
                  <a:gd name="T6" fmla="*/ 0 w 29"/>
                  <a:gd name="T7" fmla="*/ 2368 h 29"/>
                  <a:gd name="T8" fmla="*/ 0 60000 65536"/>
                  <a:gd name="T9" fmla="*/ 0 60000 65536"/>
                  <a:gd name="T10" fmla="*/ 0 60000 65536"/>
                  <a:gd name="T11" fmla="*/ 0 60000 65536"/>
                  <a:gd name="T12" fmla="*/ 0 w 29"/>
                  <a:gd name="T13" fmla="*/ 0 h 29"/>
                  <a:gd name="T14" fmla="*/ 29 w 29"/>
                  <a:gd name="T15" fmla="*/ 29 h 29"/>
                </a:gdLst>
                <a:ahLst/>
                <a:cxnLst>
                  <a:cxn ang="T8">
                    <a:pos x="T0" y="T1"/>
                  </a:cxn>
                  <a:cxn ang="T9">
                    <a:pos x="T2" y="T3"/>
                  </a:cxn>
                  <a:cxn ang="T10">
                    <a:pos x="T4" y="T5"/>
                  </a:cxn>
                  <a:cxn ang="T11">
                    <a:pos x="T6" y="T7"/>
                  </a:cxn>
                </a:cxnLst>
                <a:rect l="T12" t="T13" r="T14" b="T15"/>
                <a:pathLst>
                  <a:path w="29" h="29">
                    <a:moveTo>
                      <a:pt x="0" y="29"/>
                    </a:moveTo>
                    <a:lnTo>
                      <a:pt x="29" y="5"/>
                    </a:lnTo>
                    <a:lnTo>
                      <a:pt x="5" y="0"/>
                    </a:lnTo>
                    <a:lnTo>
                      <a:pt x="0" y="29"/>
                    </a:lnTo>
                    <a:close/>
                  </a:path>
                </a:pathLst>
              </a:custGeom>
              <a:solidFill>
                <a:srgbClr val="DA9797"/>
              </a:solidFill>
              <a:ln w="7938">
                <a:solidFill>
                  <a:srgbClr val="1C1329"/>
                </a:solidFill>
                <a:miter lim="800000"/>
                <a:headEnd/>
                <a:tailEnd/>
              </a:ln>
            </p:spPr>
            <p:txBody>
              <a:bodyPr/>
              <a:lstStyle/>
              <a:p>
                <a:endParaRPr lang="en-US"/>
              </a:p>
            </p:txBody>
          </p:sp>
          <p:sp>
            <p:nvSpPr>
              <p:cNvPr id="406" name="Freeform 197"/>
              <p:cNvSpPr>
                <a:spLocks/>
              </p:cNvSpPr>
              <p:nvPr/>
            </p:nvSpPr>
            <p:spPr bwMode="auto">
              <a:xfrm>
                <a:off x="3099" y="3043"/>
                <a:ext cx="22" cy="29"/>
              </a:xfrm>
              <a:custGeom>
                <a:avLst/>
                <a:gdLst>
                  <a:gd name="T0" fmla="*/ 0 w 21"/>
                  <a:gd name="T1" fmla="*/ 9 h 28"/>
                  <a:gd name="T2" fmla="*/ 2 w 21"/>
                  <a:gd name="T3" fmla="*/ 9 h 28"/>
                  <a:gd name="T4" fmla="*/ 4 w 21"/>
                  <a:gd name="T5" fmla="*/ 11 h 28"/>
                  <a:gd name="T6" fmla="*/ 9 w 21"/>
                  <a:gd name="T7" fmla="*/ 12 h 28"/>
                  <a:gd name="T8" fmla="*/ 10 w 21"/>
                  <a:gd name="T9" fmla="*/ 12 h 28"/>
                  <a:gd name="T10" fmla="*/ 10 w 21"/>
                  <a:gd name="T11" fmla="*/ 13 h 28"/>
                  <a:gd name="T12" fmla="*/ 10 w 21"/>
                  <a:gd name="T13" fmla="*/ 164 h 28"/>
                  <a:gd name="T14" fmla="*/ 267 w 21"/>
                  <a:gd name="T15" fmla="*/ 164 h 28"/>
                  <a:gd name="T16" fmla="*/ 280 w 21"/>
                  <a:gd name="T17" fmla="*/ 170 h 28"/>
                  <a:gd name="T18" fmla="*/ 280 w 21"/>
                  <a:gd name="T19" fmla="*/ 176 h 28"/>
                  <a:gd name="T20" fmla="*/ 293 w 21"/>
                  <a:gd name="T21" fmla="*/ 176 h 28"/>
                  <a:gd name="T22" fmla="*/ 293 w 21"/>
                  <a:gd name="T23" fmla="*/ 182 h 28"/>
                  <a:gd name="T24" fmla="*/ 293 w 21"/>
                  <a:gd name="T25" fmla="*/ 182 h 28"/>
                  <a:gd name="T26" fmla="*/ 293 w 21"/>
                  <a:gd name="T27" fmla="*/ 182 h 28"/>
                  <a:gd name="T28" fmla="*/ 293 w 21"/>
                  <a:gd name="T29" fmla="*/ 189 h 28"/>
                  <a:gd name="T30" fmla="*/ 293 w 21"/>
                  <a:gd name="T31" fmla="*/ 196 h 28"/>
                  <a:gd name="T32" fmla="*/ 293 w 21"/>
                  <a:gd name="T33" fmla="*/ 203 h 28"/>
                  <a:gd name="T34" fmla="*/ 293 w 21"/>
                  <a:gd name="T35" fmla="*/ 203 h 28"/>
                  <a:gd name="T36" fmla="*/ 293 w 21"/>
                  <a:gd name="T37" fmla="*/ 210 h 28"/>
                  <a:gd name="T38" fmla="*/ 293 w 21"/>
                  <a:gd name="T39" fmla="*/ 218 h 28"/>
                  <a:gd name="T40" fmla="*/ 280 w 21"/>
                  <a:gd name="T41" fmla="*/ 218 h 28"/>
                  <a:gd name="T42" fmla="*/ 280 w 21"/>
                  <a:gd name="T43" fmla="*/ 218 h 28"/>
                  <a:gd name="T44" fmla="*/ 322 w 21"/>
                  <a:gd name="T45" fmla="*/ 234 h 28"/>
                  <a:gd name="T46" fmla="*/ 322 w 21"/>
                  <a:gd name="T47" fmla="*/ 242 h 28"/>
                  <a:gd name="T48" fmla="*/ 322 w 21"/>
                  <a:gd name="T49" fmla="*/ 251 h 28"/>
                  <a:gd name="T50" fmla="*/ 322 w 21"/>
                  <a:gd name="T51" fmla="*/ 260 h 28"/>
                  <a:gd name="T52" fmla="*/ 337 w 21"/>
                  <a:gd name="T53" fmla="*/ 260 h 28"/>
                  <a:gd name="T54" fmla="*/ 353 w 21"/>
                  <a:gd name="T55" fmla="*/ 269 h 28"/>
                  <a:gd name="T56" fmla="*/ 370 w 21"/>
                  <a:gd name="T57" fmla="*/ 269 h 28"/>
                  <a:gd name="T58" fmla="*/ 425 w 21"/>
                  <a:gd name="T59" fmla="*/ 269 h 28"/>
                  <a:gd name="T60" fmla="*/ 406 w 21"/>
                  <a:gd name="T61" fmla="*/ 251 h 28"/>
                  <a:gd name="T62" fmla="*/ 370 w 21"/>
                  <a:gd name="T63" fmla="*/ 218 h 28"/>
                  <a:gd name="T64" fmla="*/ 388 w 21"/>
                  <a:gd name="T65" fmla="*/ 218 h 28"/>
                  <a:gd name="T66" fmla="*/ 388 w 21"/>
                  <a:gd name="T67" fmla="*/ 203 h 28"/>
                  <a:gd name="T68" fmla="*/ 388 w 21"/>
                  <a:gd name="T69" fmla="*/ 196 h 28"/>
                  <a:gd name="T70" fmla="*/ 388 w 21"/>
                  <a:gd name="T71" fmla="*/ 176 h 28"/>
                  <a:gd name="T72" fmla="*/ 406 w 21"/>
                  <a:gd name="T73" fmla="*/ 13 h 28"/>
                  <a:gd name="T74" fmla="*/ 388 w 21"/>
                  <a:gd name="T75" fmla="*/ 12 h 28"/>
                  <a:gd name="T76" fmla="*/ 322 w 21"/>
                  <a:gd name="T77" fmla="*/ 12 h 28"/>
                  <a:gd name="T78" fmla="*/ 322 w 21"/>
                  <a:gd name="T79" fmla="*/ 11 h 28"/>
                  <a:gd name="T80" fmla="*/ 293 w 21"/>
                  <a:gd name="T81" fmla="*/ 8 h 28"/>
                  <a:gd name="T82" fmla="*/ 267 w 21"/>
                  <a:gd name="T83" fmla="*/ 5 h 28"/>
                  <a:gd name="T84" fmla="*/ 267 w 21"/>
                  <a:gd name="T85" fmla="*/ 0 h 28"/>
                  <a:gd name="T86" fmla="*/ 8 w 21"/>
                  <a:gd name="T87" fmla="*/ 0 h 28"/>
                  <a:gd name="T88" fmla="*/ 8 w 21"/>
                  <a:gd name="T89" fmla="*/ 4 h 28"/>
                  <a:gd name="T90" fmla="*/ 6 w 21"/>
                  <a:gd name="T91" fmla="*/ 5 h 28"/>
                  <a:gd name="T92" fmla="*/ 6 w 21"/>
                  <a:gd name="T93" fmla="*/ 6 h 28"/>
                  <a:gd name="T94" fmla="*/ 4 w 21"/>
                  <a:gd name="T95" fmla="*/ 6 h 28"/>
                  <a:gd name="T96" fmla="*/ 4 w 21"/>
                  <a:gd name="T97" fmla="*/ 5 h 28"/>
                  <a:gd name="T98" fmla="*/ 0 w 21"/>
                  <a:gd name="T99" fmla="*/ 6 h 28"/>
                  <a:gd name="T100" fmla="*/ 0 w 21"/>
                  <a:gd name="T101" fmla="*/ 9 h 2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1"/>
                  <a:gd name="T154" fmla="*/ 0 h 28"/>
                  <a:gd name="T155" fmla="*/ 21 w 21"/>
                  <a:gd name="T156" fmla="*/ 28 h 2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1" h="28">
                    <a:moveTo>
                      <a:pt x="0" y="9"/>
                    </a:moveTo>
                    <a:lnTo>
                      <a:pt x="2" y="9"/>
                    </a:lnTo>
                    <a:lnTo>
                      <a:pt x="4" y="11"/>
                    </a:lnTo>
                    <a:lnTo>
                      <a:pt x="9" y="12"/>
                    </a:lnTo>
                    <a:lnTo>
                      <a:pt x="10" y="12"/>
                    </a:lnTo>
                    <a:lnTo>
                      <a:pt x="10" y="13"/>
                    </a:lnTo>
                    <a:lnTo>
                      <a:pt x="10" y="14"/>
                    </a:lnTo>
                    <a:lnTo>
                      <a:pt x="11" y="14"/>
                    </a:lnTo>
                    <a:lnTo>
                      <a:pt x="12" y="15"/>
                    </a:lnTo>
                    <a:lnTo>
                      <a:pt x="12" y="16"/>
                    </a:lnTo>
                    <a:lnTo>
                      <a:pt x="13" y="16"/>
                    </a:lnTo>
                    <a:lnTo>
                      <a:pt x="13" y="17"/>
                    </a:lnTo>
                    <a:lnTo>
                      <a:pt x="13" y="18"/>
                    </a:lnTo>
                    <a:lnTo>
                      <a:pt x="13" y="19"/>
                    </a:lnTo>
                    <a:lnTo>
                      <a:pt x="13" y="20"/>
                    </a:lnTo>
                    <a:lnTo>
                      <a:pt x="13" y="21"/>
                    </a:lnTo>
                    <a:lnTo>
                      <a:pt x="13" y="22"/>
                    </a:lnTo>
                    <a:lnTo>
                      <a:pt x="12" y="22"/>
                    </a:lnTo>
                    <a:lnTo>
                      <a:pt x="15" y="24"/>
                    </a:lnTo>
                    <a:lnTo>
                      <a:pt x="15" y="25"/>
                    </a:lnTo>
                    <a:lnTo>
                      <a:pt x="15" y="26"/>
                    </a:lnTo>
                    <a:lnTo>
                      <a:pt x="15" y="27"/>
                    </a:lnTo>
                    <a:lnTo>
                      <a:pt x="16" y="27"/>
                    </a:lnTo>
                    <a:lnTo>
                      <a:pt x="17" y="28"/>
                    </a:lnTo>
                    <a:lnTo>
                      <a:pt x="18" y="28"/>
                    </a:lnTo>
                    <a:lnTo>
                      <a:pt x="21" y="28"/>
                    </a:lnTo>
                    <a:lnTo>
                      <a:pt x="20" y="26"/>
                    </a:lnTo>
                    <a:lnTo>
                      <a:pt x="18" y="22"/>
                    </a:lnTo>
                    <a:lnTo>
                      <a:pt x="19" y="22"/>
                    </a:lnTo>
                    <a:lnTo>
                      <a:pt x="19" y="20"/>
                    </a:lnTo>
                    <a:lnTo>
                      <a:pt x="19" y="19"/>
                    </a:lnTo>
                    <a:lnTo>
                      <a:pt x="19" y="16"/>
                    </a:lnTo>
                    <a:lnTo>
                      <a:pt x="20" y="13"/>
                    </a:lnTo>
                    <a:lnTo>
                      <a:pt x="19" y="12"/>
                    </a:lnTo>
                    <a:lnTo>
                      <a:pt x="15" y="12"/>
                    </a:lnTo>
                    <a:lnTo>
                      <a:pt x="15" y="11"/>
                    </a:lnTo>
                    <a:lnTo>
                      <a:pt x="13" y="8"/>
                    </a:lnTo>
                    <a:lnTo>
                      <a:pt x="11" y="5"/>
                    </a:lnTo>
                    <a:lnTo>
                      <a:pt x="11" y="0"/>
                    </a:lnTo>
                    <a:lnTo>
                      <a:pt x="8" y="0"/>
                    </a:lnTo>
                    <a:lnTo>
                      <a:pt x="8" y="4"/>
                    </a:lnTo>
                    <a:lnTo>
                      <a:pt x="6" y="5"/>
                    </a:lnTo>
                    <a:lnTo>
                      <a:pt x="6" y="6"/>
                    </a:lnTo>
                    <a:lnTo>
                      <a:pt x="4" y="6"/>
                    </a:lnTo>
                    <a:lnTo>
                      <a:pt x="4" y="5"/>
                    </a:lnTo>
                    <a:lnTo>
                      <a:pt x="0" y="6"/>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7" name="Freeform 198"/>
              <p:cNvSpPr>
                <a:spLocks/>
              </p:cNvSpPr>
              <p:nvPr/>
            </p:nvSpPr>
            <p:spPr bwMode="auto">
              <a:xfrm>
                <a:off x="3099" y="3043"/>
                <a:ext cx="22" cy="29"/>
              </a:xfrm>
              <a:custGeom>
                <a:avLst/>
                <a:gdLst>
                  <a:gd name="T0" fmla="*/ 0 w 21"/>
                  <a:gd name="T1" fmla="*/ 9 h 28"/>
                  <a:gd name="T2" fmla="*/ 2 w 21"/>
                  <a:gd name="T3" fmla="*/ 9 h 28"/>
                  <a:gd name="T4" fmla="*/ 4 w 21"/>
                  <a:gd name="T5" fmla="*/ 11 h 28"/>
                  <a:gd name="T6" fmla="*/ 9 w 21"/>
                  <a:gd name="T7" fmla="*/ 12 h 28"/>
                  <a:gd name="T8" fmla="*/ 10 w 21"/>
                  <a:gd name="T9" fmla="*/ 12 h 28"/>
                  <a:gd name="T10" fmla="*/ 10 w 21"/>
                  <a:gd name="T11" fmla="*/ 13 h 28"/>
                  <a:gd name="T12" fmla="*/ 10 w 21"/>
                  <a:gd name="T13" fmla="*/ 164 h 28"/>
                  <a:gd name="T14" fmla="*/ 267 w 21"/>
                  <a:gd name="T15" fmla="*/ 164 h 28"/>
                  <a:gd name="T16" fmla="*/ 280 w 21"/>
                  <a:gd name="T17" fmla="*/ 170 h 28"/>
                  <a:gd name="T18" fmla="*/ 280 w 21"/>
                  <a:gd name="T19" fmla="*/ 176 h 28"/>
                  <a:gd name="T20" fmla="*/ 293 w 21"/>
                  <a:gd name="T21" fmla="*/ 176 h 28"/>
                  <a:gd name="T22" fmla="*/ 293 w 21"/>
                  <a:gd name="T23" fmla="*/ 182 h 28"/>
                  <a:gd name="T24" fmla="*/ 293 w 21"/>
                  <a:gd name="T25" fmla="*/ 182 h 28"/>
                  <a:gd name="T26" fmla="*/ 293 w 21"/>
                  <a:gd name="T27" fmla="*/ 182 h 28"/>
                  <a:gd name="T28" fmla="*/ 293 w 21"/>
                  <a:gd name="T29" fmla="*/ 189 h 28"/>
                  <a:gd name="T30" fmla="*/ 293 w 21"/>
                  <a:gd name="T31" fmla="*/ 196 h 28"/>
                  <a:gd name="T32" fmla="*/ 293 w 21"/>
                  <a:gd name="T33" fmla="*/ 203 h 28"/>
                  <a:gd name="T34" fmla="*/ 293 w 21"/>
                  <a:gd name="T35" fmla="*/ 203 h 28"/>
                  <a:gd name="T36" fmla="*/ 293 w 21"/>
                  <a:gd name="T37" fmla="*/ 210 h 28"/>
                  <a:gd name="T38" fmla="*/ 293 w 21"/>
                  <a:gd name="T39" fmla="*/ 218 h 28"/>
                  <a:gd name="T40" fmla="*/ 280 w 21"/>
                  <a:gd name="T41" fmla="*/ 218 h 28"/>
                  <a:gd name="T42" fmla="*/ 280 w 21"/>
                  <a:gd name="T43" fmla="*/ 218 h 28"/>
                  <a:gd name="T44" fmla="*/ 322 w 21"/>
                  <a:gd name="T45" fmla="*/ 234 h 28"/>
                  <a:gd name="T46" fmla="*/ 322 w 21"/>
                  <a:gd name="T47" fmla="*/ 242 h 28"/>
                  <a:gd name="T48" fmla="*/ 322 w 21"/>
                  <a:gd name="T49" fmla="*/ 251 h 28"/>
                  <a:gd name="T50" fmla="*/ 322 w 21"/>
                  <a:gd name="T51" fmla="*/ 260 h 28"/>
                  <a:gd name="T52" fmla="*/ 337 w 21"/>
                  <a:gd name="T53" fmla="*/ 260 h 28"/>
                  <a:gd name="T54" fmla="*/ 353 w 21"/>
                  <a:gd name="T55" fmla="*/ 269 h 28"/>
                  <a:gd name="T56" fmla="*/ 370 w 21"/>
                  <a:gd name="T57" fmla="*/ 269 h 28"/>
                  <a:gd name="T58" fmla="*/ 425 w 21"/>
                  <a:gd name="T59" fmla="*/ 269 h 28"/>
                  <a:gd name="T60" fmla="*/ 406 w 21"/>
                  <a:gd name="T61" fmla="*/ 251 h 28"/>
                  <a:gd name="T62" fmla="*/ 370 w 21"/>
                  <a:gd name="T63" fmla="*/ 218 h 28"/>
                  <a:gd name="T64" fmla="*/ 388 w 21"/>
                  <a:gd name="T65" fmla="*/ 218 h 28"/>
                  <a:gd name="T66" fmla="*/ 388 w 21"/>
                  <a:gd name="T67" fmla="*/ 203 h 28"/>
                  <a:gd name="T68" fmla="*/ 388 w 21"/>
                  <a:gd name="T69" fmla="*/ 196 h 28"/>
                  <a:gd name="T70" fmla="*/ 388 w 21"/>
                  <a:gd name="T71" fmla="*/ 176 h 28"/>
                  <a:gd name="T72" fmla="*/ 406 w 21"/>
                  <a:gd name="T73" fmla="*/ 13 h 28"/>
                  <a:gd name="T74" fmla="*/ 388 w 21"/>
                  <a:gd name="T75" fmla="*/ 12 h 28"/>
                  <a:gd name="T76" fmla="*/ 322 w 21"/>
                  <a:gd name="T77" fmla="*/ 12 h 28"/>
                  <a:gd name="T78" fmla="*/ 322 w 21"/>
                  <a:gd name="T79" fmla="*/ 11 h 28"/>
                  <a:gd name="T80" fmla="*/ 293 w 21"/>
                  <a:gd name="T81" fmla="*/ 8 h 28"/>
                  <a:gd name="T82" fmla="*/ 267 w 21"/>
                  <a:gd name="T83" fmla="*/ 5 h 28"/>
                  <a:gd name="T84" fmla="*/ 267 w 21"/>
                  <a:gd name="T85" fmla="*/ 0 h 28"/>
                  <a:gd name="T86" fmla="*/ 8 w 21"/>
                  <a:gd name="T87" fmla="*/ 0 h 28"/>
                  <a:gd name="T88" fmla="*/ 8 w 21"/>
                  <a:gd name="T89" fmla="*/ 4 h 28"/>
                  <a:gd name="T90" fmla="*/ 6 w 21"/>
                  <a:gd name="T91" fmla="*/ 5 h 28"/>
                  <a:gd name="T92" fmla="*/ 6 w 21"/>
                  <a:gd name="T93" fmla="*/ 6 h 28"/>
                  <a:gd name="T94" fmla="*/ 4 w 21"/>
                  <a:gd name="T95" fmla="*/ 6 h 28"/>
                  <a:gd name="T96" fmla="*/ 4 w 21"/>
                  <a:gd name="T97" fmla="*/ 5 h 28"/>
                  <a:gd name="T98" fmla="*/ 0 w 21"/>
                  <a:gd name="T99" fmla="*/ 6 h 28"/>
                  <a:gd name="T100" fmla="*/ 0 w 21"/>
                  <a:gd name="T101" fmla="*/ 9 h 2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1"/>
                  <a:gd name="T154" fmla="*/ 0 h 28"/>
                  <a:gd name="T155" fmla="*/ 21 w 21"/>
                  <a:gd name="T156" fmla="*/ 28 h 2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1" h="28">
                    <a:moveTo>
                      <a:pt x="0" y="9"/>
                    </a:moveTo>
                    <a:lnTo>
                      <a:pt x="2" y="9"/>
                    </a:lnTo>
                    <a:lnTo>
                      <a:pt x="4" y="11"/>
                    </a:lnTo>
                    <a:lnTo>
                      <a:pt x="9" y="12"/>
                    </a:lnTo>
                    <a:lnTo>
                      <a:pt x="10" y="12"/>
                    </a:lnTo>
                    <a:lnTo>
                      <a:pt x="10" y="13"/>
                    </a:lnTo>
                    <a:lnTo>
                      <a:pt x="10" y="14"/>
                    </a:lnTo>
                    <a:lnTo>
                      <a:pt x="11" y="14"/>
                    </a:lnTo>
                    <a:lnTo>
                      <a:pt x="12" y="15"/>
                    </a:lnTo>
                    <a:lnTo>
                      <a:pt x="12" y="16"/>
                    </a:lnTo>
                    <a:lnTo>
                      <a:pt x="13" y="16"/>
                    </a:lnTo>
                    <a:lnTo>
                      <a:pt x="13" y="17"/>
                    </a:lnTo>
                    <a:lnTo>
                      <a:pt x="13" y="18"/>
                    </a:lnTo>
                    <a:lnTo>
                      <a:pt x="13" y="19"/>
                    </a:lnTo>
                    <a:lnTo>
                      <a:pt x="13" y="20"/>
                    </a:lnTo>
                    <a:lnTo>
                      <a:pt x="13" y="21"/>
                    </a:lnTo>
                    <a:lnTo>
                      <a:pt x="13" y="22"/>
                    </a:lnTo>
                    <a:lnTo>
                      <a:pt x="12" y="22"/>
                    </a:lnTo>
                    <a:lnTo>
                      <a:pt x="15" y="24"/>
                    </a:lnTo>
                    <a:lnTo>
                      <a:pt x="15" y="25"/>
                    </a:lnTo>
                    <a:lnTo>
                      <a:pt x="15" y="26"/>
                    </a:lnTo>
                    <a:lnTo>
                      <a:pt x="15" y="27"/>
                    </a:lnTo>
                    <a:lnTo>
                      <a:pt x="16" y="27"/>
                    </a:lnTo>
                    <a:lnTo>
                      <a:pt x="17" y="28"/>
                    </a:lnTo>
                    <a:lnTo>
                      <a:pt x="18" y="28"/>
                    </a:lnTo>
                    <a:lnTo>
                      <a:pt x="21" y="28"/>
                    </a:lnTo>
                    <a:lnTo>
                      <a:pt x="20" y="26"/>
                    </a:lnTo>
                    <a:lnTo>
                      <a:pt x="18" y="22"/>
                    </a:lnTo>
                    <a:lnTo>
                      <a:pt x="19" y="22"/>
                    </a:lnTo>
                    <a:lnTo>
                      <a:pt x="19" y="20"/>
                    </a:lnTo>
                    <a:lnTo>
                      <a:pt x="19" y="19"/>
                    </a:lnTo>
                    <a:lnTo>
                      <a:pt x="19" y="16"/>
                    </a:lnTo>
                    <a:lnTo>
                      <a:pt x="20" y="13"/>
                    </a:lnTo>
                    <a:lnTo>
                      <a:pt x="19" y="12"/>
                    </a:lnTo>
                    <a:lnTo>
                      <a:pt x="15" y="12"/>
                    </a:lnTo>
                    <a:lnTo>
                      <a:pt x="15" y="11"/>
                    </a:lnTo>
                    <a:lnTo>
                      <a:pt x="13" y="8"/>
                    </a:lnTo>
                    <a:lnTo>
                      <a:pt x="11" y="5"/>
                    </a:lnTo>
                    <a:lnTo>
                      <a:pt x="11" y="0"/>
                    </a:lnTo>
                    <a:lnTo>
                      <a:pt x="8" y="0"/>
                    </a:lnTo>
                    <a:lnTo>
                      <a:pt x="8" y="4"/>
                    </a:lnTo>
                    <a:lnTo>
                      <a:pt x="6" y="5"/>
                    </a:lnTo>
                    <a:lnTo>
                      <a:pt x="6" y="6"/>
                    </a:lnTo>
                    <a:lnTo>
                      <a:pt x="4" y="6"/>
                    </a:lnTo>
                    <a:lnTo>
                      <a:pt x="4" y="5"/>
                    </a:lnTo>
                    <a:lnTo>
                      <a:pt x="0" y="6"/>
                    </a:lnTo>
                    <a:lnTo>
                      <a:pt x="0" y="9"/>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8" name="Freeform 199"/>
              <p:cNvSpPr>
                <a:spLocks/>
              </p:cNvSpPr>
              <p:nvPr/>
            </p:nvSpPr>
            <p:spPr bwMode="auto">
              <a:xfrm>
                <a:off x="3139" y="3010"/>
                <a:ext cx="22" cy="22"/>
              </a:xfrm>
              <a:custGeom>
                <a:avLst/>
                <a:gdLst>
                  <a:gd name="T0" fmla="*/ 2 w 21"/>
                  <a:gd name="T1" fmla="*/ 1 h 21"/>
                  <a:gd name="T2" fmla="*/ 0 w 21"/>
                  <a:gd name="T3" fmla="*/ 9 h 21"/>
                  <a:gd name="T4" fmla="*/ 2 w 21"/>
                  <a:gd name="T5" fmla="*/ 267 h 21"/>
                  <a:gd name="T6" fmla="*/ 4 w 21"/>
                  <a:gd name="T7" fmla="*/ 280 h 21"/>
                  <a:gd name="T8" fmla="*/ 8 w 21"/>
                  <a:gd name="T9" fmla="*/ 388 h 21"/>
                  <a:gd name="T10" fmla="*/ 9 w 21"/>
                  <a:gd name="T11" fmla="*/ 388 h 21"/>
                  <a:gd name="T12" fmla="*/ 267 w 21"/>
                  <a:gd name="T13" fmla="*/ 425 h 21"/>
                  <a:gd name="T14" fmla="*/ 307 w 21"/>
                  <a:gd name="T15" fmla="*/ 425 h 21"/>
                  <a:gd name="T16" fmla="*/ 322 w 21"/>
                  <a:gd name="T17" fmla="*/ 293 h 21"/>
                  <a:gd name="T18" fmla="*/ 337 w 21"/>
                  <a:gd name="T19" fmla="*/ 322 h 21"/>
                  <a:gd name="T20" fmla="*/ 425 w 21"/>
                  <a:gd name="T21" fmla="*/ 322 h 21"/>
                  <a:gd name="T22" fmla="*/ 388 w 21"/>
                  <a:gd name="T23" fmla="*/ 7 h 21"/>
                  <a:gd name="T24" fmla="*/ 307 w 21"/>
                  <a:gd name="T25" fmla="*/ 7 h 21"/>
                  <a:gd name="T26" fmla="*/ 10 w 21"/>
                  <a:gd name="T27" fmla="*/ 6 h 21"/>
                  <a:gd name="T28" fmla="*/ 5 w 21"/>
                  <a:gd name="T29" fmla="*/ 1 h 21"/>
                  <a:gd name="T30" fmla="*/ 5 w 21"/>
                  <a:gd name="T31" fmla="*/ 0 h 21"/>
                  <a:gd name="T32" fmla="*/ 2 w 21"/>
                  <a:gd name="T33" fmla="*/ 1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21"/>
                  <a:gd name="T53" fmla="*/ 21 w 21"/>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21">
                    <a:moveTo>
                      <a:pt x="2" y="1"/>
                    </a:moveTo>
                    <a:lnTo>
                      <a:pt x="0" y="9"/>
                    </a:lnTo>
                    <a:lnTo>
                      <a:pt x="2" y="11"/>
                    </a:lnTo>
                    <a:lnTo>
                      <a:pt x="4" y="12"/>
                    </a:lnTo>
                    <a:lnTo>
                      <a:pt x="8" y="19"/>
                    </a:lnTo>
                    <a:lnTo>
                      <a:pt x="9" y="19"/>
                    </a:lnTo>
                    <a:lnTo>
                      <a:pt x="11" y="21"/>
                    </a:lnTo>
                    <a:lnTo>
                      <a:pt x="14" y="21"/>
                    </a:lnTo>
                    <a:lnTo>
                      <a:pt x="15" y="13"/>
                    </a:lnTo>
                    <a:lnTo>
                      <a:pt x="16" y="15"/>
                    </a:lnTo>
                    <a:lnTo>
                      <a:pt x="21" y="15"/>
                    </a:lnTo>
                    <a:lnTo>
                      <a:pt x="19" y="7"/>
                    </a:lnTo>
                    <a:lnTo>
                      <a:pt x="14" y="7"/>
                    </a:lnTo>
                    <a:lnTo>
                      <a:pt x="10" y="6"/>
                    </a:lnTo>
                    <a:lnTo>
                      <a:pt x="5" y="1"/>
                    </a:lnTo>
                    <a:lnTo>
                      <a:pt x="5" y="0"/>
                    </a:lnTo>
                    <a:lnTo>
                      <a:pt x="2"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9" name="Freeform 200"/>
              <p:cNvSpPr>
                <a:spLocks/>
              </p:cNvSpPr>
              <p:nvPr/>
            </p:nvSpPr>
            <p:spPr bwMode="auto">
              <a:xfrm>
                <a:off x="3139" y="3010"/>
                <a:ext cx="22" cy="22"/>
              </a:xfrm>
              <a:custGeom>
                <a:avLst/>
                <a:gdLst>
                  <a:gd name="T0" fmla="*/ 2 w 21"/>
                  <a:gd name="T1" fmla="*/ 1 h 21"/>
                  <a:gd name="T2" fmla="*/ 0 w 21"/>
                  <a:gd name="T3" fmla="*/ 9 h 21"/>
                  <a:gd name="T4" fmla="*/ 2 w 21"/>
                  <a:gd name="T5" fmla="*/ 267 h 21"/>
                  <a:gd name="T6" fmla="*/ 4 w 21"/>
                  <a:gd name="T7" fmla="*/ 280 h 21"/>
                  <a:gd name="T8" fmla="*/ 8 w 21"/>
                  <a:gd name="T9" fmla="*/ 388 h 21"/>
                  <a:gd name="T10" fmla="*/ 9 w 21"/>
                  <a:gd name="T11" fmla="*/ 388 h 21"/>
                  <a:gd name="T12" fmla="*/ 267 w 21"/>
                  <a:gd name="T13" fmla="*/ 425 h 21"/>
                  <a:gd name="T14" fmla="*/ 307 w 21"/>
                  <a:gd name="T15" fmla="*/ 425 h 21"/>
                  <a:gd name="T16" fmla="*/ 322 w 21"/>
                  <a:gd name="T17" fmla="*/ 293 h 21"/>
                  <a:gd name="T18" fmla="*/ 337 w 21"/>
                  <a:gd name="T19" fmla="*/ 322 h 21"/>
                  <a:gd name="T20" fmla="*/ 425 w 21"/>
                  <a:gd name="T21" fmla="*/ 322 h 21"/>
                  <a:gd name="T22" fmla="*/ 388 w 21"/>
                  <a:gd name="T23" fmla="*/ 7 h 21"/>
                  <a:gd name="T24" fmla="*/ 307 w 21"/>
                  <a:gd name="T25" fmla="*/ 7 h 21"/>
                  <a:gd name="T26" fmla="*/ 10 w 21"/>
                  <a:gd name="T27" fmla="*/ 6 h 21"/>
                  <a:gd name="T28" fmla="*/ 5 w 21"/>
                  <a:gd name="T29" fmla="*/ 1 h 21"/>
                  <a:gd name="T30" fmla="*/ 5 w 21"/>
                  <a:gd name="T31" fmla="*/ 0 h 21"/>
                  <a:gd name="T32" fmla="*/ 2 w 21"/>
                  <a:gd name="T33" fmla="*/ 1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21"/>
                  <a:gd name="T53" fmla="*/ 21 w 21"/>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21">
                    <a:moveTo>
                      <a:pt x="2" y="1"/>
                    </a:moveTo>
                    <a:lnTo>
                      <a:pt x="0" y="9"/>
                    </a:lnTo>
                    <a:lnTo>
                      <a:pt x="2" y="11"/>
                    </a:lnTo>
                    <a:lnTo>
                      <a:pt x="4" y="12"/>
                    </a:lnTo>
                    <a:lnTo>
                      <a:pt x="8" y="19"/>
                    </a:lnTo>
                    <a:lnTo>
                      <a:pt x="9" y="19"/>
                    </a:lnTo>
                    <a:lnTo>
                      <a:pt x="11" y="21"/>
                    </a:lnTo>
                    <a:lnTo>
                      <a:pt x="14" y="21"/>
                    </a:lnTo>
                    <a:lnTo>
                      <a:pt x="15" y="13"/>
                    </a:lnTo>
                    <a:lnTo>
                      <a:pt x="16" y="15"/>
                    </a:lnTo>
                    <a:lnTo>
                      <a:pt x="21" y="15"/>
                    </a:lnTo>
                    <a:lnTo>
                      <a:pt x="19" y="7"/>
                    </a:lnTo>
                    <a:lnTo>
                      <a:pt x="14" y="7"/>
                    </a:lnTo>
                    <a:lnTo>
                      <a:pt x="10" y="6"/>
                    </a:lnTo>
                    <a:lnTo>
                      <a:pt x="5" y="1"/>
                    </a:lnTo>
                    <a:lnTo>
                      <a:pt x="5" y="0"/>
                    </a:lnTo>
                    <a:lnTo>
                      <a:pt x="2" y="1"/>
                    </a:lnTo>
                    <a:close/>
                  </a:path>
                </a:pathLst>
              </a:custGeom>
              <a:solidFill>
                <a:srgbClr val="DA9797"/>
              </a:solidFill>
              <a:ln w="7938">
                <a:solidFill>
                  <a:srgbClr val="1C1329"/>
                </a:solidFill>
                <a:miter lim="800000"/>
                <a:headEnd/>
                <a:tailEnd/>
              </a:ln>
            </p:spPr>
            <p:txBody>
              <a:bodyPr/>
              <a:lstStyle/>
              <a:p>
                <a:endParaRPr lang="en-US"/>
              </a:p>
            </p:txBody>
          </p:sp>
        </p:grpSp>
        <p:grpSp>
          <p:nvGrpSpPr>
            <p:cNvPr id="211" name="Group 4"/>
            <p:cNvGrpSpPr>
              <a:grpSpLocks/>
            </p:cNvGrpSpPr>
            <p:nvPr/>
          </p:nvGrpSpPr>
          <p:grpSpPr bwMode="auto">
            <a:xfrm>
              <a:off x="1534158" y="4618142"/>
              <a:ext cx="2680659" cy="1313029"/>
              <a:chOff x="6186799" y="3571230"/>
              <a:chExt cx="2680659" cy="1313029"/>
            </a:xfrm>
          </p:grpSpPr>
          <p:sp>
            <p:nvSpPr>
              <p:cNvPr id="212" name="Rectangle 211"/>
              <p:cNvSpPr/>
              <p:nvPr/>
            </p:nvSpPr>
            <p:spPr>
              <a:xfrm>
                <a:off x="6186799" y="3591438"/>
                <a:ext cx="376397" cy="255416"/>
              </a:xfrm>
              <a:prstGeom prst="rect">
                <a:avLst/>
              </a:prstGeom>
              <a:solidFill>
                <a:srgbClr val="9537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13" name="Rectangle 212"/>
              <p:cNvSpPr/>
              <p:nvPr/>
            </p:nvSpPr>
            <p:spPr>
              <a:xfrm>
                <a:off x="6186799" y="3908155"/>
                <a:ext cx="376397" cy="255416"/>
              </a:xfrm>
              <a:prstGeom prst="rect">
                <a:avLst/>
              </a:prstGeom>
              <a:solidFill>
                <a:srgbClr val="DA979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15" name="Rectangle 214"/>
              <p:cNvSpPr/>
              <p:nvPr/>
            </p:nvSpPr>
            <p:spPr>
              <a:xfrm>
                <a:off x="6186799" y="4576215"/>
                <a:ext cx="376397" cy="255416"/>
              </a:xfrm>
              <a:prstGeom prst="rect">
                <a:avLst/>
              </a:prstGeom>
              <a:solidFill>
                <a:srgbClr val="17375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16" name="Rectangle 215"/>
              <p:cNvSpPr/>
              <p:nvPr/>
            </p:nvSpPr>
            <p:spPr>
              <a:xfrm>
                <a:off x="6186799" y="4248707"/>
                <a:ext cx="376397" cy="255416"/>
              </a:xfrm>
              <a:prstGeom prst="rect">
                <a:avLst/>
              </a:prstGeom>
              <a:solidFill>
                <a:srgbClr val="9BBB5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17" name="TextBox 10"/>
              <p:cNvSpPr txBox="1">
                <a:spLocks noChangeArrowheads="1"/>
              </p:cNvSpPr>
              <p:nvPr/>
            </p:nvSpPr>
            <p:spPr bwMode="auto">
              <a:xfrm>
                <a:off x="6583679" y="3571230"/>
                <a:ext cx="15984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a:t>&lt;200</a:t>
                </a:r>
              </a:p>
            </p:txBody>
          </p:sp>
          <p:sp>
            <p:nvSpPr>
              <p:cNvPr id="218" name="TextBox 11"/>
              <p:cNvSpPr txBox="1">
                <a:spLocks noChangeArrowheads="1"/>
              </p:cNvSpPr>
              <p:nvPr/>
            </p:nvSpPr>
            <p:spPr bwMode="auto">
              <a:xfrm>
                <a:off x="6563359" y="3905732"/>
                <a:ext cx="15984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a:t>&lt;350</a:t>
                </a:r>
              </a:p>
            </p:txBody>
          </p:sp>
          <p:sp>
            <p:nvSpPr>
              <p:cNvPr id="219" name="TextBox 12"/>
              <p:cNvSpPr txBox="1">
                <a:spLocks noChangeArrowheads="1"/>
              </p:cNvSpPr>
              <p:nvPr/>
            </p:nvSpPr>
            <p:spPr bwMode="auto">
              <a:xfrm>
                <a:off x="6583679" y="4244349"/>
                <a:ext cx="15984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dirty="0"/>
                  <a:t>&lt;500</a:t>
                </a:r>
              </a:p>
            </p:txBody>
          </p:sp>
          <p:sp>
            <p:nvSpPr>
              <p:cNvPr id="221" name="TextBox 14"/>
              <p:cNvSpPr txBox="1">
                <a:spLocks noChangeArrowheads="1"/>
              </p:cNvSpPr>
              <p:nvPr/>
            </p:nvSpPr>
            <p:spPr bwMode="auto">
              <a:xfrm>
                <a:off x="6573519" y="4576482"/>
                <a:ext cx="229393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a:t>Irrespective of CD4 count</a:t>
                </a:r>
              </a:p>
            </p:txBody>
          </p:sp>
        </p:grpSp>
      </p:grpSp>
    </p:spTree>
    <p:extLst>
      <p:ext uri="{BB962C8B-B14F-4D97-AF65-F5344CB8AC3E}">
        <p14:creationId xmlns:p14="http://schemas.microsoft.com/office/powerpoint/2010/main" val="1133291760"/>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4"/>
          <p:cNvSpPr txBox="1">
            <a:spLocks noChangeArrowheads="1"/>
          </p:cNvSpPr>
          <p:nvPr/>
        </p:nvSpPr>
        <p:spPr bwMode="auto">
          <a:xfrm>
            <a:off x="0" y="141810"/>
            <a:ext cx="9143999" cy="646331"/>
          </a:xfrm>
          <a:prstGeom prst="rect">
            <a:avLst/>
          </a:prstGeom>
          <a:noFill/>
          <a:ln w="9525">
            <a:noFill/>
            <a:miter lim="800000"/>
            <a:headEnd/>
            <a:tailEnd/>
          </a:ln>
        </p:spPr>
        <p:txBody>
          <a:bodyPr wrap="square">
            <a:spAutoFit/>
          </a:bodyPr>
          <a:lstStyle/>
          <a:p>
            <a:pPr algn="ctr">
              <a:spcBef>
                <a:spcPct val="50000"/>
              </a:spcBef>
            </a:pPr>
            <a:r>
              <a:rPr lang="en-US" sz="3600" dirty="0" smtClean="0">
                <a:solidFill>
                  <a:srgbClr val="FFFF00"/>
                </a:solidFill>
                <a:ea typeface="ヒラギノ角ゴ Pro W3"/>
                <a:cs typeface="ヒラギノ角ゴ Pro W3"/>
              </a:rPr>
              <a:t>GDP per capita and ART coverage</a:t>
            </a:r>
          </a:p>
        </p:txBody>
      </p:sp>
      <p:pic>
        <p:nvPicPr>
          <p:cNvPr id="7" name="Picture 6"/>
          <p:cNvPicPr>
            <a:picLocks noChangeAspect="1"/>
          </p:cNvPicPr>
          <p:nvPr/>
        </p:nvPicPr>
        <p:blipFill>
          <a:blip r:embed="rId3"/>
          <a:stretch>
            <a:fillRect/>
          </a:stretch>
        </p:blipFill>
        <p:spPr>
          <a:xfrm>
            <a:off x="7747000" y="6324600"/>
            <a:ext cx="1397000" cy="533400"/>
          </a:xfrm>
          <a:prstGeom prst="rect">
            <a:avLst/>
          </a:prstGeom>
          <a:ln>
            <a:noFill/>
          </a:ln>
        </p:spPr>
      </p:pic>
      <p:graphicFrame>
        <p:nvGraphicFramePr>
          <p:cNvPr id="6" name="Chart 5"/>
          <p:cNvGraphicFramePr>
            <a:graphicFrameLocks/>
          </p:cNvGraphicFramePr>
          <p:nvPr>
            <p:extLst>
              <p:ext uri="{D42A27DB-BD31-4B8C-83A1-F6EECF244321}">
                <p14:modId xmlns:p14="http://schemas.microsoft.com/office/powerpoint/2010/main" val="2457578908"/>
              </p:ext>
            </p:extLst>
          </p:nvPr>
        </p:nvGraphicFramePr>
        <p:xfrm>
          <a:off x="304801" y="1117599"/>
          <a:ext cx="8500532" cy="4995333"/>
        </p:xfrm>
        <a:graphic>
          <a:graphicData uri="http://schemas.openxmlformats.org/drawingml/2006/chart">
            <c:chart xmlns:c="http://schemas.openxmlformats.org/drawingml/2006/chart" xmlns:r="http://schemas.openxmlformats.org/officeDocument/2006/relationships" r:id="rId4"/>
          </a:graphicData>
        </a:graphic>
      </p:graphicFrame>
      <p:sp>
        <p:nvSpPr>
          <p:cNvPr id="9" name="Oval 8"/>
          <p:cNvSpPr/>
          <p:nvPr/>
        </p:nvSpPr>
        <p:spPr>
          <a:xfrm>
            <a:off x="1371599" y="1625598"/>
            <a:ext cx="1068387" cy="3810002"/>
          </a:xfrm>
          <a:prstGeom prst="ellipse">
            <a:avLst/>
          </a:prstGeom>
          <a:noFill/>
          <a:ln w="28575" cmpd="sng">
            <a:solidFill>
              <a:srgbClr val="953735"/>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Tree>
    <p:extLst>
      <p:ext uri="{BB962C8B-B14F-4D97-AF65-F5344CB8AC3E}">
        <p14:creationId xmlns:p14="http://schemas.microsoft.com/office/powerpoint/2010/main" val="3428799539"/>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546100" y="1"/>
            <a:ext cx="8229600" cy="84666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a:lstStyle>
          <a:p>
            <a:r>
              <a:rPr lang="en-US" sz="3600" dirty="0" smtClean="0">
                <a:solidFill>
                  <a:srgbClr val="FFFF00"/>
                </a:solidFill>
                <a:latin typeface="Arial" charset="0"/>
              </a:rPr>
              <a:t>National policy on task shifting</a:t>
            </a:r>
          </a:p>
        </p:txBody>
      </p:sp>
      <p:sp>
        <p:nvSpPr>
          <p:cNvPr id="2" name="TextBox 1"/>
          <p:cNvSpPr txBox="1"/>
          <p:nvPr/>
        </p:nvSpPr>
        <p:spPr>
          <a:xfrm>
            <a:off x="84668" y="6223009"/>
            <a:ext cx="7467599" cy="523220"/>
          </a:xfrm>
          <a:prstGeom prst="rect">
            <a:avLst/>
          </a:prstGeom>
          <a:noFill/>
        </p:spPr>
        <p:txBody>
          <a:bodyPr wrap="square" rtlCol="0">
            <a:spAutoFit/>
          </a:bodyPr>
          <a:lstStyle/>
          <a:p>
            <a:r>
              <a:rPr lang="en-US" sz="1400" dirty="0" smtClean="0">
                <a:solidFill>
                  <a:schemeClr val="bg1"/>
                </a:solidFill>
              </a:rPr>
              <a:t>Source: MSF UNAIDS. </a:t>
            </a:r>
            <a:r>
              <a:rPr lang="en-US" sz="1400" dirty="0">
                <a:solidFill>
                  <a:schemeClr val="bg1"/>
                </a:solidFill>
              </a:rPr>
              <a:t>Speed up </a:t>
            </a:r>
            <a:r>
              <a:rPr lang="en-US" sz="1400" dirty="0" smtClean="0">
                <a:solidFill>
                  <a:schemeClr val="bg1"/>
                </a:solidFill>
              </a:rPr>
              <a:t>scale</a:t>
            </a:r>
            <a:r>
              <a:rPr lang="en-US" sz="1400" dirty="0">
                <a:solidFill>
                  <a:schemeClr val="bg1"/>
                </a:solidFill>
              </a:rPr>
              <a:t>-up: Strategies, tools and policies to get the best HIV treatment to more people, sooner</a:t>
            </a:r>
            <a:r>
              <a:rPr lang="en-US" sz="1400" dirty="0" smtClean="0">
                <a:solidFill>
                  <a:schemeClr val="bg1"/>
                </a:solidFill>
              </a:rPr>
              <a:t> </a:t>
            </a:r>
            <a:endParaRPr lang="en-US" sz="1400" dirty="0">
              <a:solidFill>
                <a:schemeClr val="bg1"/>
              </a:solidFill>
            </a:endParaRPr>
          </a:p>
        </p:txBody>
      </p:sp>
      <p:sp>
        <p:nvSpPr>
          <p:cNvPr id="10" name="Rectangle 9"/>
          <p:cNvSpPr/>
          <p:nvPr/>
        </p:nvSpPr>
        <p:spPr>
          <a:xfrm>
            <a:off x="177800" y="901701"/>
            <a:ext cx="8750300" cy="5226793"/>
          </a:xfrm>
          <a:prstGeom prst="rect">
            <a:avLst/>
          </a:prstGeom>
          <a:solidFill>
            <a:schemeClr val="bg1"/>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p:cNvSpPr/>
          <p:nvPr/>
        </p:nvSpPr>
        <p:spPr>
          <a:xfrm>
            <a:off x="4840821" y="5796547"/>
            <a:ext cx="372533" cy="270934"/>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Rectangle 4"/>
          <p:cNvSpPr/>
          <p:nvPr/>
        </p:nvSpPr>
        <p:spPr>
          <a:xfrm>
            <a:off x="632876" y="5787996"/>
            <a:ext cx="372533" cy="270934"/>
          </a:xfrm>
          <a:prstGeom prst="rect">
            <a:avLst/>
          </a:prstGeom>
          <a:solidFill>
            <a:schemeClr val="accent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1005409" y="5337963"/>
            <a:ext cx="3098808" cy="461665"/>
          </a:xfrm>
          <a:prstGeom prst="rect">
            <a:avLst/>
          </a:prstGeom>
          <a:noFill/>
        </p:spPr>
        <p:txBody>
          <a:bodyPr wrap="square" rtlCol="0">
            <a:spAutoFit/>
          </a:bodyPr>
          <a:lstStyle/>
          <a:p>
            <a:r>
              <a:rPr lang="en-US" sz="1200" dirty="0" smtClean="0"/>
              <a:t>Nurses can initiate ART and lay workers can provide ART adherence counselling</a:t>
            </a:r>
            <a:endParaRPr lang="en-US" sz="1200" dirty="0"/>
          </a:p>
        </p:txBody>
      </p:sp>
      <p:sp>
        <p:nvSpPr>
          <p:cNvPr id="8" name="Rectangle 7"/>
          <p:cNvSpPr/>
          <p:nvPr/>
        </p:nvSpPr>
        <p:spPr>
          <a:xfrm>
            <a:off x="5239038" y="5800696"/>
            <a:ext cx="2522783" cy="276999"/>
          </a:xfrm>
          <a:prstGeom prst="rect">
            <a:avLst/>
          </a:prstGeom>
        </p:spPr>
        <p:txBody>
          <a:bodyPr wrap="square">
            <a:spAutoFit/>
          </a:bodyPr>
          <a:lstStyle/>
          <a:p>
            <a:r>
              <a:rPr lang="en-US" sz="1200" dirty="0" smtClean="0"/>
              <a:t>Nurses </a:t>
            </a:r>
            <a:r>
              <a:rPr lang="en-US" sz="1200" dirty="0"/>
              <a:t>can initiate ART </a:t>
            </a:r>
          </a:p>
        </p:txBody>
      </p:sp>
      <p:sp>
        <p:nvSpPr>
          <p:cNvPr id="9" name="Rectangle 8"/>
          <p:cNvSpPr/>
          <p:nvPr/>
        </p:nvSpPr>
        <p:spPr>
          <a:xfrm>
            <a:off x="1022342" y="5793963"/>
            <a:ext cx="3752863" cy="276999"/>
          </a:xfrm>
          <a:prstGeom prst="rect">
            <a:avLst/>
          </a:prstGeom>
        </p:spPr>
        <p:txBody>
          <a:bodyPr wrap="square">
            <a:spAutoFit/>
          </a:bodyPr>
          <a:lstStyle/>
          <a:p>
            <a:r>
              <a:rPr lang="en-US" sz="1200" dirty="0" smtClean="0"/>
              <a:t>Lay </a:t>
            </a:r>
            <a:r>
              <a:rPr lang="en-US" sz="1200" dirty="0"/>
              <a:t>workers can provide ART adherence counselling</a:t>
            </a:r>
          </a:p>
        </p:txBody>
      </p:sp>
      <p:sp>
        <p:nvSpPr>
          <p:cNvPr id="16" name="Rectangle 15"/>
          <p:cNvSpPr/>
          <p:nvPr/>
        </p:nvSpPr>
        <p:spPr>
          <a:xfrm>
            <a:off x="4840821" y="5429890"/>
            <a:ext cx="372533" cy="270934"/>
          </a:xfrm>
          <a:prstGeom prst="rect">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p:cNvSpPr txBox="1"/>
          <p:nvPr/>
        </p:nvSpPr>
        <p:spPr>
          <a:xfrm>
            <a:off x="5239038" y="5357691"/>
            <a:ext cx="3538772" cy="461665"/>
          </a:xfrm>
          <a:prstGeom prst="rect">
            <a:avLst/>
          </a:prstGeom>
          <a:noFill/>
        </p:spPr>
        <p:txBody>
          <a:bodyPr wrap="square" rtlCol="0">
            <a:spAutoFit/>
          </a:bodyPr>
          <a:lstStyle/>
          <a:p>
            <a:r>
              <a:rPr lang="en-US" sz="1200" dirty="0" smtClean="0"/>
              <a:t>Neither nurses can initiate ART nor lay workers can provide ART adherence counselling</a:t>
            </a:r>
            <a:endParaRPr lang="en-US" sz="1200" dirty="0"/>
          </a:p>
        </p:txBody>
      </p:sp>
      <p:sp>
        <p:nvSpPr>
          <p:cNvPr id="13" name="Rectangle 12"/>
          <p:cNvSpPr/>
          <p:nvPr/>
        </p:nvSpPr>
        <p:spPr>
          <a:xfrm>
            <a:off x="631817" y="5407665"/>
            <a:ext cx="372533" cy="27093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6" name="Object 5"/>
          <p:cNvGraphicFramePr>
            <a:graphicFrameLocks noChangeAspect="1"/>
          </p:cNvGraphicFramePr>
          <p:nvPr>
            <p:extLst>
              <p:ext uri="{D42A27DB-BD31-4B8C-83A1-F6EECF244321}">
                <p14:modId xmlns:p14="http://schemas.microsoft.com/office/powerpoint/2010/main" val="777480363"/>
              </p:ext>
            </p:extLst>
          </p:nvPr>
        </p:nvGraphicFramePr>
        <p:xfrm>
          <a:off x="-31479" y="938090"/>
          <a:ext cx="8882147" cy="4638909"/>
        </p:xfrm>
        <a:graphic>
          <a:graphicData uri="http://schemas.openxmlformats.org/presentationml/2006/ole">
            <mc:AlternateContent xmlns:mc="http://schemas.openxmlformats.org/markup-compatibility/2006">
              <mc:Choice xmlns:v="urn:schemas-microsoft-com:vml" Requires="v">
                <p:oleObj spid="_x0000_s7975" name="Document" r:id="rId4" imgW="8267700" imgH="4318000" progId="Word.Document.12">
                  <p:embed/>
                </p:oleObj>
              </mc:Choice>
              <mc:Fallback>
                <p:oleObj name="Document" r:id="rId4" imgW="8267700" imgH="4318000" progId="Word.Document.12">
                  <p:embed/>
                  <p:pic>
                    <p:nvPicPr>
                      <p:cNvPr id="0" name=""/>
                      <p:cNvPicPr/>
                      <p:nvPr/>
                    </p:nvPicPr>
                    <p:blipFill>
                      <a:blip r:embed="rId5"/>
                      <a:stretch>
                        <a:fillRect/>
                      </a:stretch>
                    </p:blipFill>
                    <p:spPr>
                      <a:xfrm>
                        <a:off x="-31479" y="938090"/>
                        <a:ext cx="8882147" cy="4638909"/>
                      </a:xfrm>
                      <a:prstGeom prst="rect">
                        <a:avLst/>
                      </a:prstGeom>
                    </p:spPr>
                  </p:pic>
                </p:oleObj>
              </mc:Fallback>
            </mc:AlternateContent>
          </a:graphicData>
        </a:graphic>
      </p:graphicFrame>
      <p:pic>
        <p:nvPicPr>
          <p:cNvPr id="14" name="Picture 13"/>
          <p:cNvPicPr>
            <a:picLocks noChangeAspect="1"/>
          </p:cNvPicPr>
          <p:nvPr/>
        </p:nvPicPr>
        <p:blipFill>
          <a:blip r:embed="rId6"/>
          <a:stretch>
            <a:fillRect/>
          </a:stretch>
        </p:blipFill>
        <p:spPr>
          <a:xfrm>
            <a:off x="7747000" y="6324600"/>
            <a:ext cx="1397000" cy="533400"/>
          </a:xfrm>
          <a:prstGeom prst="rect">
            <a:avLst/>
          </a:prstGeom>
          <a:ln>
            <a:noFill/>
          </a:ln>
        </p:spPr>
      </p:pic>
    </p:spTree>
    <p:extLst>
      <p:ext uri="{BB962C8B-B14F-4D97-AF65-F5344CB8AC3E}">
        <p14:creationId xmlns:p14="http://schemas.microsoft.com/office/powerpoint/2010/main" val="1645044554"/>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txBox="1">
            <a:spLocks noChangeArrowheads="1"/>
          </p:cNvSpPr>
          <p:nvPr/>
        </p:nvSpPr>
        <p:spPr bwMode="auto">
          <a:xfrm>
            <a:off x="0" y="50801"/>
            <a:ext cx="9155384" cy="69426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a:lstStyle>
          <a:p>
            <a:r>
              <a:rPr lang="en-US" sz="3600" dirty="0" smtClean="0">
                <a:solidFill>
                  <a:srgbClr val="FFFF00"/>
                </a:solidFill>
                <a:latin typeface="Arial" charset="0"/>
              </a:rPr>
              <a:t>National policy on ARV drug dispensing</a:t>
            </a:r>
          </a:p>
        </p:txBody>
      </p:sp>
      <p:grpSp>
        <p:nvGrpSpPr>
          <p:cNvPr id="4" name="Group 3"/>
          <p:cNvGrpSpPr/>
          <p:nvPr/>
        </p:nvGrpSpPr>
        <p:grpSpPr>
          <a:xfrm>
            <a:off x="135466" y="812800"/>
            <a:ext cx="8873065" cy="5356031"/>
            <a:chOff x="135466" y="812800"/>
            <a:chExt cx="8873065" cy="5356031"/>
          </a:xfrm>
        </p:grpSpPr>
        <p:sp>
          <p:nvSpPr>
            <p:cNvPr id="3" name="Rectangle 2"/>
            <p:cNvSpPr/>
            <p:nvPr/>
          </p:nvSpPr>
          <p:spPr>
            <a:xfrm>
              <a:off x="135466" y="4978403"/>
              <a:ext cx="8873065" cy="119042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73370030"/>
                </p:ext>
              </p:extLst>
            </p:nvPr>
          </p:nvGraphicFramePr>
          <p:xfrm>
            <a:off x="135466" y="812800"/>
            <a:ext cx="8873065" cy="4634166"/>
          </p:xfrm>
          <a:graphic>
            <a:graphicData uri="http://schemas.openxmlformats.org/presentationml/2006/ole">
              <mc:AlternateContent xmlns:mc="http://schemas.openxmlformats.org/markup-compatibility/2006">
                <mc:Choice xmlns:v="urn:schemas-microsoft-com:vml" Requires="v">
                  <p:oleObj spid="_x0000_s10017" name="Document" r:id="rId4" imgW="8267700" imgH="4318000" progId="Word.Document.12">
                    <p:embed/>
                  </p:oleObj>
                </mc:Choice>
                <mc:Fallback>
                  <p:oleObj name="Document" r:id="rId4" imgW="8267700" imgH="4318000" progId="Word.Document.12">
                    <p:embed/>
                    <p:pic>
                      <p:nvPicPr>
                        <p:cNvPr id="0" name=""/>
                        <p:cNvPicPr/>
                        <p:nvPr/>
                      </p:nvPicPr>
                      <p:blipFill>
                        <a:blip r:embed="rId5"/>
                        <a:stretch>
                          <a:fillRect/>
                        </a:stretch>
                      </p:blipFill>
                      <p:spPr>
                        <a:xfrm>
                          <a:off x="135466" y="812800"/>
                          <a:ext cx="8873065" cy="4634166"/>
                        </a:xfrm>
                        <a:prstGeom prst="rect">
                          <a:avLst/>
                        </a:prstGeom>
                      </p:spPr>
                    </p:pic>
                  </p:oleObj>
                </mc:Fallback>
              </mc:AlternateContent>
            </a:graphicData>
          </a:graphic>
        </p:graphicFrame>
        <p:sp>
          <p:nvSpPr>
            <p:cNvPr id="6" name="TextBox 5"/>
            <p:cNvSpPr txBox="1"/>
            <p:nvPr/>
          </p:nvSpPr>
          <p:spPr>
            <a:xfrm>
              <a:off x="969436" y="5313233"/>
              <a:ext cx="3820586" cy="461665"/>
            </a:xfrm>
            <a:prstGeom prst="rect">
              <a:avLst/>
            </a:prstGeom>
            <a:noFill/>
          </p:spPr>
          <p:txBody>
            <a:bodyPr wrap="square" rtlCol="0">
              <a:spAutoFit/>
            </a:bodyPr>
            <a:lstStyle/>
            <a:p>
              <a:r>
                <a:rPr lang="en-US" sz="1200" dirty="0">
                  <a:solidFill>
                    <a:srgbClr val="000000"/>
                  </a:solidFill>
                  <a:latin typeface="Arial"/>
                  <a:ea typeface="Geneva"/>
                  <a:cs typeface="Arial"/>
                </a:rPr>
                <a:t>2-3 month routine drug refills for people in stable </a:t>
              </a:r>
              <a:r>
                <a:rPr lang="en-US" sz="1200" dirty="0" smtClean="0">
                  <a:solidFill>
                    <a:srgbClr val="000000"/>
                  </a:solidFill>
                  <a:latin typeface="Arial"/>
                  <a:ea typeface="Geneva"/>
                  <a:cs typeface="Arial"/>
                </a:rPr>
                <a:t>condition</a:t>
              </a:r>
              <a:r>
                <a:rPr lang="en-US" sz="1200" dirty="0" smtClean="0">
                  <a:latin typeface="Arial"/>
                  <a:cs typeface="Arial"/>
                </a:rPr>
                <a:t> and </a:t>
              </a:r>
              <a:r>
                <a:rPr lang="en-US" sz="1200" dirty="0">
                  <a:solidFill>
                    <a:srgbClr val="000000"/>
                  </a:solidFill>
                  <a:latin typeface="Arial"/>
                  <a:ea typeface="Geneva"/>
                  <a:cs typeface="Arial"/>
                </a:rPr>
                <a:t>ARV dispensing at community level</a:t>
              </a:r>
              <a:endParaRPr lang="en-US" sz="1200" dirty="0">
                <a:latin typeface="Arial"/>
                <a:cs typeface="Arial"/>
              </a:endParaRPr>
            </a:p>
          </p:txBody>
        </p:sp>
        <p:sp>
          <p:nvSpPr>
            <p:cNvPr id="7" name="Rectangle 6"/>
            <p:cNvSpPr/>
            <p:nvPr/>
          </p:nvSpPr>
          <p:spPr>
            <a:xfrm>
              <a:off x="969436" y="5773464"/>
              <a:ext cx="3487983" cy="276999"/>
            </a:xfrm>
            <a:prstGeom prst="rect">
              <a:avLst/>
            </a:prstGeom>
          </p:spPr>
          <p:txBody>
            <a:bodyPr wrap="square">
              <a:spAutoFit/>
            </a:bodyPr>
            <a:lstStyle/>
            <a:p>
              <a:r>
                <a:rPr lang="en-US" sz="1200" dirty="0">
                  <a:solidFill>
                    <a:srgbClr val="000000"/>
                  </a:solidFill>
                  <a:latin typeface="Arial"/>
                  <a:ea typeface="Geneva"/>
                  <a:cs typeface="Arial"/>
                </a:rPr>
                <a:t>ARV dispensing at community level</a:t>
              </a:r>
              <a:endParaRPr lang="en-US" sz="1200" dirty="0">
                <a:latin typeface="Arial"/>
                <a:cs typeface="Arial"/>
              </a:endParaRPr>
            </a:p>
          </p:txBody>
        </p:sp>
        <p:sp>
          <p:nvSpPr>
            <p:cNvPr id="8" name="Rectangle 7"/>
            <p:cNvSpPr/>
            <p:nvPr/>
          </p:nvSpPr>
          <p:spPr>
            <a:xfrm>
              <a:off x="5247220" y="5656367"/>
              <a:ext cx="3016246" cy="461665"/>
            </a:xfrm>
            <a:prstGeom prst="rect">
              <a:avLst/>
            </a:prstGeom>
          </p:spPr>
          <p:txBody>
            <a:bodyPr wrap="square">
              <a:spAutoFit/>
            </a:bodyPr>
            <a:lstStyle/>
            <a:p>
              <a:r>
                <a:rPr lang="en-US" sz="1200" dirty="0">
                  <a:solidFill>
                    <a:srgbClr val="000000"/>
                  </a:solidFill>
                  <a:latin typeface="Arial"/>
                  <a:ea typeface="Geneva"/>
                  <a:cs typeface="Arial"/>
                </a:rPr>
                <a:t>2-3 month </a:t>
              </a:r>
              <a:r>
                <a:rPr lang="en-US" sz="1200" dirty="0" smtClean="0">
                  <a:solidFill>
                    <a:srgbClr val="000000"/>
                  </a:solidFill>
                  <a:latin typeface="Arial"/>
                  <a:ea typeface="Geneva"/>
                  <a:cs typeface="Arial"/>
                </a:rPr>
                <a:t>routine </a:t>
              </a:r>
              <a:r>
                <a:rPr lang="en-US" sz="1200" dirty="0">
                  <a:solidFill>
                    <a:srgbClr val="000000"/>
                  </a:solidFill>
                  <a:latin typeface="Arial"/>
                  <a:ea typeface="Geneva"/>
                  <a:cs typeface="Arial"/>
                </a:rPr>
                <a:t>drug refills for people in stable condition</a:t>
              </a:r>
              <a:endParaRPr lang="en-US" sz="1200" dirty="0">
                <a:latin typeface="Arial"/>
                <a:cs typeface="Arial"/>
              </a:endParaRPr>
            </a:p>
          </p:txBody>
        </p:sp>
        <p:sp>
          <p:nvSpPr>
            <p:cNvPr id="11" name="Rectangle 10"/>
            <p:cNvSpPr/>
            <p:nvPr/>
          </p:nvSpPr>
          <p:spPr>
            <a:xfrm>
              <a:off x="582077" y="5374858"/>
              <a:ext cx="372533" cy="270934"/>
            </a:xfrm>
            <a:prstGeom prst="rect">
              <a:avLst/>
            </a:prstGeom>
            <a:solidFill>
              <a:srgbClr val="9BBB5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p:nvSpPr>
          <p:spPr>
            <a:xfrm>
              <a:off x="4857754" y="5754215"/>
              <a:ext cx="372533" cy="270934"/>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p:nvSpPr>
          <p:spPr>
            <a:xfrm>
              <a:off x="582077" y="5762597"/>
              <a:ext cx="372533" cy="270934"/>
            </a:xfrm>
            <a:prstGeom prst="rect">
              <a:avLst/>
            </a:prstGeom>
            <a:solidFill>
              <a:schemeClr val="accent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p:nvSpPr>
          <p:spPr>
            <a:xfrm>
              <a:off x="4857754" y="5357925"/>
              <a:ext cx="372533" cy="270934"/>
            </a:xfrm>
            <a:prstGeom prst="rect">
              <a:avLst/>
            </a:prstGeom>
            <a:solidFill>
              <a:srgbClr val="7F7F7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p:nvSpPr>
          <p:spPr>
            <a:xfrm>
              <a:off x="5247220" y="5351860"/>
              <a:ext cx="3487983" cy="276999"/>
            </a:xfrm>
            <a:prstGeom prst="rect">
              <a:avLst/>
            </a:prstGeom>
          </p:spPr>
          <p:txBody>
            <a:bodyPr wrap="square">
              <a:spAutoFit/>
            </a:bodyPr>
            <a:lstStyle/>
            <a:p>
              <a:r>
                <a:rPr lang="en-US" sz="1200" dirty="0">
                  <a:solidFill>
                    <a:srgbClr val="000000"/>
                  </a:solidFill>
                  <a:latin typeface="Arial"/>
                  <a:ea typeface="Geneva"/>
                  <a:cs typeface="Arial"/>
                </a:rPr>
                <a:t>ARV dispensing </a:t>
              </a:r>
              <a:r>
                <a:rPr lang="en-US" sz="1200" dirty="0" smtClean="0">
                  <a:solidFill>
                    <a:srgbClr val="000000"/>
                  </a:solidFill>
                  <a:latin typeface="Arial"/>
                  <a:ea typeface="Geneva"/>
                  <a:cs typeface="Arial"/>
                </a:rPr>
                <a:t>is not recommended</a:t>
              </a:r>
              <a:endParaRPr lang="en-US" sz="1200" dirty="0">
                <a:latin typeface="Arial"/>
                <a:cs typeface="Arial"/>
              </a:endParaRPr>
            </a:p>
          </p:txBody>
        </p:sp>
      </p:grpSp>
      <p:sp>
        <p:nvSpPr>
          <p:cNvPr id="14" name="TextBox 13"/>
          <p:cNvSpPr txBox="1"/>
          <p:nvPr/>
        </p:nvSpPr>
        <p:spPr>
          <a:xfrm>
            <a:off x="101601" y="6256867"/>
            <a:ext cx="6654799" cy="523220"/>
          </a:xfrm>
          <a:prstGeom prst="rect">
            <a:avLst/>
          </a:prstGeom>
          <a:noFill/>
        </p:spPr>
        <p:txBody>
          <a:bodyPr wrap="square" rtlCol="0">
            <a:spAutoFit/>
          </a:bodyPr>
          <a:lstStyle/>
          <a:p>
            <a:r>
              <a:rPr lang="en-US" sz="1400" dirty="0" smtClean="0">
                <a:solidFill>
                  <a:schemeClr val="bg1"/>
                </a:solidFill>
              </a:rPr>
              <a:t>Source: MSF UNAIDS. </a:t>
            </a:r>
            <a:r>
              <a:rPr lang="en-US" sz="1400" dirty="0">
                <a:solidFill>
                  <a:schemeClr val="bg1"/>
                </a:solidFill>
              </a:rPr>
              <a:t>Speed up </a:t>
            </a:r>
            <a:r>
              <a:rPr lang="en-US" sz="1400" dirty="0" smtClean="0">
                <a:solidFill>
                  <a:schemeClr val="bg1"/>
                </a:solidFill>
              </a:rPr>
              <a:t>scale</a:t>
            </a:r>
            <a:r>
              <a:rPr lang="en-US" sz="1400" dirty="0">
                <a:solidFill>
                  <a:schemeClr val="bg1"/>
                </a:solidFill>
              </a:rPr>
              <a:t>-up: Strategies, tools and policies to get the best HIV treatment to more people, sooner</a:t>
            </a:r>
            <a:r>
              <a:rPr lang="en-US" sz="1400" dirty="0" smtClean="0">
                <a:solidFill>
                  <a:schemeClr val="bg1"/>
                </a:solidFill>
              </a:rPr>
              <a:t> </a:t>
            </a:r>
            <a:endParaRPr lang="en-US" sz="1400" dirty="0">
              <a:solidFill>
                <a:schemeClr val="bg1"/>
              </a:solidFill>
            </a:endParaRPr>
          </a:p>
        </p:txBody>
      </p:sp>
      <p:pic>
        <p:nvPicPr>
          <p:cNvPr id="15" name="Picture 14"/>
          <p:cNvPicPr>
            <a:picLocks noChangeAspect="1"/>
          </p:cNvPicPr>
          <p:nvPr/>
        </p:nvPicPr>
        <p:blipFill>
          <a:blip r:embed="rId6"/>
          <a:stretch>
            <a:fillRect/>
          </a:stretch>
        </p:blipFill>
        <p:spPr>
          <a:xfrm>
            <a:off x="7747000" y="6324600"/>
            <a:ext cx="1397000" cy="533400"/>
          </a:xfrm>
          <a:prstGeom prst="rect">
            <a:avLst/>
          </a:prstGeom>
          <a:ln>
            <a:noFill/>
          </a:ln>
        </p:spPr>
      </p:pic>
    </p:spTree>
    <p:extLst>
      <p:ext uri="{BB962C8B-B14F-4D97-AF65-F5344CB8AC3E}">
        <p14:creationId xmlns:p14="http://schemas.microsoft.com/office/powerpoint/2010/main" val="2482889150"/>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24938155"/>
              </p:ext>
            </p:extLst>
          </p:nvPr>
        </p:nvGraphicFramePr>
        <p:xfrm>
          <a:off x="254000" y="922866"/>
          <a:ext cx="8686800" cy="5151120"/>
        </p:xfrm>
        <a:graphic>
          <a:graphicData uri="http://schemas.openxmlformats.org/drawingml/2006/table">
            <a:tbl>
              <a:tblPr firstRow="1" bandRow="1">
                <a:tableStyleId>{5940675A-B579-460E-94D1-54222C63F5DA}</a:tableStyleId>
              </a:tblPr>
              <a:tblGrid>
                <a:gridCol w="2946400"/>
                <a:gridCol w="1134533"/>
                <a:gridCol w="1405467"/>
                <a:gridCol w="1778000"/>
                <a:gridCol w="1422400"/>
              </a:tblGrid>
              <a:tr h="370840">
                <a:tc>
                  <a:txBody>
                    <a:bodyPr/>
                    <a:lstStyle/>
                    <a:p>
                      <a:pPr algn="ctr">
                        <a:spcAft>
                          <a:spcPts val="0"/>
                        </a:spcAft>
                      </a:pPr>
                      <a:r>
                        <a:rPr lang="en-US" sz="1800" dirty="0">
                          <a:solidFill>
                            <a:srgbClr val="FFFFFF"/>
                          </a:solidFill>
                          <a:effectLst/>
                        </a:rPr>
                        <a:t>Countries</a:t>
                      </a:r>
                      <a:endParaRPr lang="en-US" sz="1800" b="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solidFill>
                      <a:schemeClr val="accent2"/>
                    </a:solidFill>
                  </a:tcPr>
                </a:tc>
                <a:tc>
                  <a:txBody>
                    <a:bodyPr/>
                    <a:lstStyle/>
                    <a:p>
                      <a:pPr algn="ctr">
                        <a:spcAft>
                          <a:spcPts val="0"/>
                        </a:spcAft>
                      </a:pPr>
                      <a:r>
                        <a:rPr lang="en-US" sz="1600" dirty="0">
                          <a:solidFill>
                            <a:srgbClr val="FFFFFF"/>
                          </a:solidFill>
                          <a:effectLst/>
                        </a:rPr>
                        <a:t>Nurses can initiate ART</a:t>
                      </a:r>
                      <a:endParaRPr lang="en-US" sz="1600" b="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solidFill>
                      <a:schemeClr val="accent2"/>
                    </a:solidFill>
                  </a:tcPr>
                </a:tc>
                <a:tc>
                  <a:txBody>
                    <a:bodyPr/>
                    <a:lstStyle/>
                    <a:p>
                      <a:pPr algn="ctr">
                        <a:spcAft>
                          <a:spcPts val="0"/>
                        </a:spcAft>
                      </a:pPr>
                      <a:r>
                        <a:rPr lang="en-US" sz="1600" dirty="0">
                          <a:solidFill>
                            <a:srgbClr val="FFFFFF"/>
                          </a:solidFill>
                          <a:effectLst/>
                        </a:rPr>
                        <a:t>Lay workers can provide </a:t>
                      </a:r>
                      <a:r>
                        <a:rPr lang="en-US" sz="1600" dirty="0" smtClean="0">
                          <a:solidFill>
                            <a:srgbClr val="FFFFFF"/>
                          </a:solidFill>
                          <a:effectLst/>
                        </a:rPr>
                        <a:t>adherence </a:t>
                      </a:r>
                      <a:r>
                        <a:rPr lang="en-US" sz="1600" dirty="0">
                          <a:solidFill>
                            <a:srgbClr val="FFFFFF"/>
                          </a:solidFill>
                          <a:effectLst/>
                        </a:rPr>
                        <a:t>counseling</a:t>
                      </a:r>
                      <a:endParaRPr lang="en-US" sz="1600" b="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solidFill>
                      <a:schemeClr val="accent2"/>
                    </a:solidFill>
                  </a:tcPr>
                </a:tc>
                <a:tc>
                  <a:txBody>
                    <a:bodyPr/>
                    <a:lstStyle/>
                    <a:p>
                      <a:pPr algn="ctr">
                        <a:spcAft>
                          <a:spcPts val="0"/>
                        </a:spcAft>
                      </a:pPr>
                      <a:r>
                        <a:rPr lang="en-US" sz="1600" dirty="0">
                          <a:solidFill>
                            <a:srgbClr val="FFFFFF"/>
                          </a:solidFill>
                          <a:effectLst/>
                        </a:rPr>
                        <a:t>2-3 month </a:t>
                      </a:r>
                      <a:r>
                        <a:rPr lang="en-US" sz="1600" dirty="0" smtClean="0">
                          <a:solidFill>
                            <a:srgbClr val="FFFFFF"/>
                          </a:solidFill>
                          <a:effectLst/>
                        </a:rPr>
                        <a:t>routine ARV refills </a:t>
                      </a:r>
                      <a:r>
                        <a:rPr lang="en-US" sz="1600" dirty="0">
                          <a:solidFill>
                            <a:srgbClr val="FFFFFF"/>
                          </a:solidFill>
                          <a:effectLst/>
                        </a:rPr>
                        <a:t>for people in stable condition</a:t>
                      </a:r>
                      <a:endParaRPr lang="en-US" sz="1600" b="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solidFill>
                      <a:schemeClr val="accent2"/>
                    </a:solidFill>
                  </a:tcPr>
                </a:tc>
                <a:tc>
                  <a:txBody>
                    <a:bodyPr/>
                    <a:lstStyle/>
                    <a:p>
                      <a:pPr algn="ctr">
                        <a:spcAft>
                          <a:spcPts val="0"/>
                        </a:spcAft>
                      </a:pPr>
                      <a:r>
                        <a:rPr lang="en-US" sz="1600" dirty="0">
                          <a:solidFill>
                            <a:srgbClr val="FFFFFF"/>
                          </a:solidFill>
                          <a:effectLst/>
                        </a:rPr>
                        <a:t>ARV dispensing at community level</a:t>
                      </a:r>
                      <a:endParaRPr lang="en-US" sz="1600" b="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solidFill>
                      <a:schemeClr val="accent2"/>
                    </a:solidFill>
                  </a:tcPr>
                </a:tc>
              </a:tr>
              <a:tr h="370840">
                <a:tc>
                  <a:txBody>
                    <a:bodyPr/>
                    <a:lstStyle/>
                    <a:p>
                      <a:pPr>
                        <a:spcAft>
                          <a:spcPts val="0"/>
                        </a:spcAft>
                      </a:pPr>
                      <a:r>
                        <a:rPr lang="en-US" sz="1600" dirty="0">
                          <a:solidFill>
                            <a:srgbClr val="FFFFFF"/>
                          </a:solidFill>
                          <a:effectLst/>
                        </a:rPr>
                        <a:t>Zambia</a:t>
                      </a:r>
                      <a:endParaRPr lang="en-US" sz="160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b="0" dirty="0">
                          <a:solidFill>
                            <a:srgbClr val="FFFF00"/>
                          </a:solidFill>
                          <a:effectLst/>
                        </a:rPr>
                        <a:t>YES</a:t>
                      </a:r>
                      <a:endParaRPr lang="en-US" sz="1600" b="0" dirty="0">
                        <a:solidFill>
                          <a:srgbClr val="FFFF00"/>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b="0" dirty="0">
                          <a:solidFill>
                            <a:srgbClr val="FFFF00"/>
                          </a:solidFill>
                          <a:effectLst/>
                        </a:rPr>
                        <a:t>YES</a:t>
                      </a:r>
                      <a:endParaRPr lang="en-US" sz="1600" b="0" dirty="0">
                        <a:solidFill>
                          <a:srgbClr val="FFFF00"/>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b="0" dirty="0">
                          <a:solidFill>
                            <a:srgbClr val="FFFF00"/>
                          </a:solidFill>
                          <a:effectLst/>
                        </a:rPr>
                        <a:t>YES</a:t>
                      </a:r>
                      <a:endParaRPr lang="en-US" sz="1600" b="0" dirty="0">
                        <a:solidFill>
                          <a:srgbClr val="FFFF00"/>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b="0" dirty="0">
                          <a:solidFill>
                            <a:srgbClr val="FFFF00"/>
                          </a:solidFill>
                          <a:effectLst/>
                        </a:rPr>
                        <a:t>YES</a:t>
                      </a:r>
                      <a:endParaRPr lang="en-US" sz="1600" b="0" dirty="0">
                        <a:solidFill>
                          <a:srgbClr val="FFFF00"/>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r>
              <a:tr h="370840">
                <a:tc>
                  <a:txBody>
                    <a:bodyPr/>
                    <a:lstStyle/>
                    <a:p>
                      <a:pPr>
                        <a:spcAft>
                          <a:spcPts val="0"/>
                        </a:spcAft>
                      </a:pPr>
                      <a:r>
                        <a:rPr lang="en-US" sz="1600" dirty="0">
                          <a:solidFill>
                            <a:srgbClr val="FFFFFF"/>
                          </a:solidFill>
                          <a:effectLst/>
                        </a:rPr>
                        <a:t>Kenya, Malawi, South Africa, Swaziland</a:t>
                      </a:r>
                      <a:endParaRPr lang="en-US" sz="160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00"/>
                          </a:solidFill>
                          <a:effectLst/>
                        </a:rPr>
                        <a:t>YES</a:t>
                      </a:r>
                      <a:endParaRPr lang="en-US" sz="1600" dirty="0">
                        <a:solidFill>
                          <a:srgbClr val="FFFF00"/>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00"/>
                          </a:solidFill>
                          <a:effectLst/>
                        </a:rPr>
                        <a:t>YES</a:t>
                      </a:r>
                      <a:endParaRPr lang="en-US" sz="1600" dirty="0">
                        <a:solidFill>
                          <a:srgbClr val="FFFF00"/>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00"/>
                          </a:solidFill>
                          <a:effectLst/>
                        </a:rPr>
                        <a:t>YES</a:t>
                      </a:r>
                      <a:endParaRPr lang="en-US" sz="1600" dirty="0">
                        <a:solidFill>
                          <a:srgbClr val="FFFF00"/>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a:solidFill>
                            <a:srgbClr val="FFFFFF"/>
                          </a:solidFill>
                          <a:effectLst/>
                        </a:rPr>
                        <a:t>x</a:t>
                      </a:r>
                      <a:endParaRPr lang="en-US" sz="160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r>
              <a:tr h="370840">
                <a:tc>
                  <a:txBody>
                    <a:bodyPr/>
                    <a:lstStyle/>
                    <a:p>
                      <a:pPr>
                        <a:spcAft>
                          <a:spcPts val="0"/>
                        </a:spcAft>
                      </a:pPr>
                      <a:r>
                        <a:rPr lang="en-US" sz="1600" dirty="0">
                          <a:solidFill>
                            <a:srgbClr val="FFFFFF"/>
                          </a:solidFill>
                          <a:effectLst/>
                        </a:rPr>
                        <a:t>Botswana, Central African Republic, Lesotho, Uganda, Zimbabwe</a:t>
                      </a:r>
                      <a:endParaRPr lang="en-US" sz="160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00"/>
                          </a:solidFill>
                          <a:effectLst/>
                        </a:rPr>
                        <a:t>YES</a:t>
                      </a:r>
                      <a:endParaRPr lang="en-US" sz="1600" dirty="0">
                        <a:solidFill>
                          <a:srgbClr val="FFFF00"/>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00"/>
                          </a:solidFill>
                          <a:effectLst/>
                        </a:rPr>
                        <a:t>YES</a:t>
                      </a:r>
                      <a:endParaRPr lang="en-US" sz="1600" dirty="0">
                        <a:solidFill>
                          <a:srgbClr val="FFFF00"/>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FF"/>
                          </a:solidFill>
                          <a:effectLst/>
                        </a:rPr>
                        <a:t>x</a:t>
                      </a:r>
                      <a:endParaRPr lang="en-US" sz="160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a:solidFill>
                            <a:srgbClr val="FFFFFF"/>
                          </a:solidFill>
                          <a:effectLst/>
                        </a:rPr>
                        <a:t>x</a:t>
                      </a:r>
                      <a:endParaRPr lang="en-US" sz="160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r>
              <a:tr h="370840">
                <a:tc>
                  <a:txBody>
                    <a:bodyPr/>
                    <a:lstStyle/>
                    <a:p>
                      <a:pPr>
                        <a:spcAft>
                          <a:spcPts val="0"/>
                        </a:spcAft>
                      </a:pPr>
                      <a:r>
                        <a:rPr lang="en-US" sz="1600">
                          <a:solidFill>
                            <a:srgbClr val="FFFFFF"/>
                          </a:solidFill>
                          <a:effectLst/>
                        </a:rPr>
                        <a:t>Ethiopia</a:t>
                      </a:r>
                      <a:endParaRPr lang="en-US" sz="160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00"/>
                          </a:solidFill>
                          <a:effectLst/>
                        </a:rPr>
                        <a:t>YES</a:t>
                      </a:r>
                      <a:endParaRPr lang="en-US" sz="1600" dirty="0">
                        <a:solidFill>
                          <a:srgbClr val="FFFF00"/>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a:solidFill>
                            <a:srgbClr val="FFFFFF"/>
                          </a:solidFill>
                          <a:effectLst/>
                        </a:rPr>
                        <a:t>x</a:t>
                      </a:r>
                      <a:endParaRPr lang="en-US" sz="160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00"/>
                          </a:solidFill>
                          <a:effectLst/>
                        </a:rPr>
                        <a:t>YES</a:t>
                      </a:r>
                      <a:endParaRPr lang="en-US" sz="1600" dirty="0">
                        <a:solidFill>
                          <a:srgbClr val="FFFF00"/>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a:solidFill>
                            <a:srgbClr val="FFFFFF"/>
                          </a:solidFill>
                          <a:effectLst/>
                        </a:rPr>
                        <a:t>x</a:t>
                      </a:r>
                      <a:endParaRPr lang="en-US" sz="160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r>
              <a:tr h="370840">
                <a:tc>
                  <a:txBody>
                    <a:bodyPr/>
                    <a:lstStyle/>
                    <a:p>
                      <a:pPr>
                        <a:spcAft>
                          <a:spcPts val="0"/>
                        </a:spcAft>
                      </a:pPr>
                      <a:r>
                        <a:rPr lang="en-US" sz="1600" dirty="0">
                          <a:solidFill>
                            <a:srgbClr val="FFFFFF"/>
                          </a:solidFill>
                          <a:effectLst/>
                        </a:rPr>
                        <a:t>Mozambique</a:t>
                      </a:r>
                      <a:endParaRPr lang="en-US" sz="160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00"/>
                          </a:solidFill>
                          <a:effectLst/>
                        </a:rPr>
                        <a:t>YES</a:t>
                      </a:r>
                      <a:endParaRPr lang="en-US" sz="1600" dirty="0">
                        <a:solidFill>
                          <a:srgbClr val="FFFF00"/>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a:solidFill>
                            <a:srgbClr val="FFFFFF"/>
                          </a:solidFill>
                          <a:effectLst/>
                        </a:rPr>
                        <a:t>x</a:t>
                      </a:r>
                      <a:endParaRPr lang="en-US" sz="160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FF"/>
                          </a:solidFill>
                          <a:effectLst/>
                        </a:rPr>
                        <a:t>x</a:t>
                      </a:r>
                      <a:endParaRPr lang="en-US" sz="160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00"/>
                          </a:solidFill>
                          <a:effectLst/>
                        </a:rPr>
                        <a:t>YES</a:t>
                      </a:r>
                      <a:endParaRPr lang="en-US" sz="1600" dirty="0">
                        <a:solidFill>
                          <a:srgbClr val="FFFF00"/>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r>
              <a:tr h="370840">
                <a:tc>
                  <a:txBody>
                    <a:bodyPr/>
                    <a:lstStyle/>
                    <a:p>
                      <a:pPr>
                        <a:spcAft>
                          <a:spcPts val="0"/>
                        </a:spcAft>
                      </a:pPr>
                      <a:r>
                        <a:rPr lang="en-US" sz="1600" dirty="0">
                          <a:solidFill>
                            <a:srgbClr val="FFFFFF"/>
                          </a:solidFill>
                          <a:effectLst/>
                        </a:rPr>
                        <a:t>India, Tanzania</a:t>
                      </a:r>
                      <a:endParaRPr lang="en-US" sz="160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a:solidFill>
                            <a:srgbClr val="FFFFFF"/>
                          </a:solidFill>
                          <a:effectLst/>
                        </a:rPr>
                        <a:t>x</a:t>
                      </a:r>
                      <a:endParaRPr lang="en-US" sz="160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00"/>
                          </a:solidFill>
                          <a:effectLst/>
                        </a:rPr>
                        <a:t>YES</a:t>
                      </a:r>
                      <a:endParaRPr lang="en-US" sz="1600" dirty="0">
                        <a:solidFill>
                          <a:srgbClr val="FFFF00"/>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00"/>
                          </a:solidFill>
                          <a:effectLst/>
                        </a:rPr>
                        <a:t>YES</a:t>
                      </a:r>
                      <a:endParaRPr lang="en-US" sz="1600" dirty="0">
                        <a:solidFill>
                          <a:srgbClr val="FFFF00"/>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FF"/>
                          </a:solidFill>
                          <a:effectLst/>
                        </a:rPr>
                        <a:t>x</a:t>
                      </a:r>
                      <a:endParaRPr lang="en-US" sz="160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r>
              <a:tr h="370840">
                <a:tc>
                  <a:txBody>
                    <a:bodyPr/>
                    <a:lstStyle/>
                    <a:p>
                      <a:pPr>
                        <a:spcAft>
                          <a:spcPts val="0"/>
                        </a:spcAft>
                      </a:pPr>
                      <a:r>
                        <a:rPr lang="en-US" sz="1600">
                          <a:solidFill>
                            <a:srgbClr val="FFFFFF"/>
                          </a:solidFill>
                          <a:effectLst/>
                        </a:rPr>
                        <a:t>Guinea</a:t>
                      </a:r>
                      <a:endParaRPr lang="en-US" sz="160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00"/>
                          </a:solidFill>
                          <a:effectLst/>
                        </a:rPr>
                        <a:t>YES</a:t>
                      </a:r>
                      <a:endParaRPr lang="en-US" sz="1600" dirty="0">
                        <a:solidFill>
                          <a:srgbClr val="FFFF00"/>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a:solidFill>
                            <a:srgbClr val="FFFFFF"/>
                          </a:solidFill>
                          <a:effectLst/>
                        </a:rPr>
                        <a:t>x</a:t>
                      </a:r>
                      <a:endParaRPr lang="en-US" sz="160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FF"/>
                          </a:solidFill>
                          <a:effectLst/>
                        </a:rPr>
                        <a:t>x</a:t>
                      </a:r>
                      <a:endParaRPr lang="en-US" sz="160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FF"/>
                          </a:solidFill>
                          <a:effectLst/>
                        </a:rPr>
                        <a:t>x</a:t>
                      </a:r>
                      <a:endParaRPr lang="en-US" sz="160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r>
              <a:tr h="370840">
                <a:tc>
                  <a:txBody>
                    <a:bodyPr/>
                    <a:lstStyle/>
                    <a:p>
                      <a:pPr>
                        <a:spcAft>
                          <a:spcPts val="0"/>
                        </a:spcAft>
                      </a:pPr>
                      <a:r>
                        <a:rPr lang="en-US" sz="1600" dirty="0">
                          <a:solidFill>
                            <a:srgbClr val="FFFFFF"/>
                          </a:solidFill>
                          <a:effectLst/>
                        </a:rPr>
                        <a:t>Brazil, Cameroon, China, Democratic Republic of Congo, Namibia, Nigeria, Ukraine</a:t>
                      </a:r>
                      <a:endParaRPr lang="en-US" sz="160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a:solidFill>
                            <a:srgbClr val="FFFFFF"/>
                          </a:solidFill>
                          <a:effectLst/>
                        </a:rPr>
                        <a:t>x</a:t>
                      </a:r>
                      <a:endParaRPr lang="en-US" sz="160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00"/>
                          </a:solidFill>
                          <a:effectLst/>
                        </a:rPr>
                        <a:t>YES</a:t>
                      </a:r>
                      <a:endParaRPr lang="en-US" sz="1600" dirty="0">
                        <a:solidFill>
                          <a:srgbClr val="FFFF00"/>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FF"/>
                          </a:solidFill>
                          <a:effectLst/>
                        </a:rPr>
                        <a:t>x</a:t>
                      </a:r>
                      <a:endParaRPr lang="en-US" sz="160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FF"/>
                          </a:solidFill>
                          <a:effectLst/>
                        </a:rPr>
                        <a:t>x</a:t>
                      </a:r>
                      <a:endParaRPr lang="en-US" sz="160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r>
              <a:tr h="370840">
                <a:tc>
                  <a:txBody>
                    <a:bodyPr/>
                    <a:lstStyle/>
                    <a:p>
                      <a:pPr>
                        <a:spcAft>
                          <a:spcPts val="0"/>
                        </a:spcAft>
                      </a:pPr>
                      <a:r>
                        <a:rPr lang="en-US" sz="1600" dirty="0">
                          <a:solidFill>
                            <a:srgbClr val="FFFFFF"/>
                          </a:solidFill>
                          <a:effectLst/>
                        </a:rPr>
                        <a:t>Myanmar</a:t>
                      </a:r>
                      <a:endParaRPr lang="en-US" sz="160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a:solidFill>
                            <a:srgbClr val="FFFFFF"/>
                          </a:solidFill>
                          <a:effectLst/>
                        </a:rPr>
                        <a:t>x</a:t>
                      </a:r>
                      <a:endParaRPr lang="en-US" sz="160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a:solidFill>
                            <a:srgbClr val="FFFFFF"/>
                          </a:solidFill>
                          <a:effectLst/>
                        </a:rPr>
                        <a:t>x</a:t>
                      </a:r>
                      <a:endParaRPr lang="en-US" sz="160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a:solidFill>
                            <a:srgbClr val="FFFFFF"/>
                          </a:solidFill>
                          <a:effectLst/>
                        </a:rPr>
                        <a:t>x</a:t>
                      </a:r>
                      <a:endParaRPr lang="en-US" sz="160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spcAft>
                          <a:spcPts val="0"/>
                        </a:spcAft>
                      </a:pPr>
                      <a:r>
                        <a:rPr lang="en-US" sz="1600" dirty="0">
                          <a:solidFill>
                            <a:srgbClr val="FFFFFF"/>
                          </a:solidFill>
                          <a:effectLst/>
                        </a:rPr>
                        <a:t>x</a:t>
                      </a:r>
                      <a:endParaRPr lang="en-US" sz="1600" dirty="0">
                        <a:solidFill>
                          <a:srgbClr val="FFFFFF"/>
                        </a:solidFill>
                        <a:effectLst/>
                        <a:latin typeface="Cambria"/>
                        <a:ea typeface="ＭＳ 明朝"/>
                        <a:cs typeface="Times New Roman"/>
                      </a:endParaRPr>
                    </a:p>
                  </a:txBody>
                  <a:tcPr marL="68580" marR="68580" marT="0" marB="0"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r>
            </a:tbl>
          </a:graphicData>
        </a:graphic>
      </p:graphicFrame>
      <p:sp>
        <p:nvSpPr>
          <p:cNvPr id="3" name="Rectangle 2"/>
          <p:cNvSpPr/>
          <p:nvPr/>
        </p:nvSpPr>
        <p:spPr>
          <a:xfrm>
            <a:off x="0" y="90730"/>
            <a:ext cx="9144000" cy="646331"/>
          </a:xfrm>
          <a:prstGeom prst="rect">
            <a:avLst/>
          </a:prstGeom>
        </p:spPr>
        <p:txBody>
          <a:bodyPr wrap="square">
            <a:spAutoFit/>
          </a:bodyPr>
          <a:lstStyle/>
          <a:p>
            <a:pPr algn="ctr"/>
            <a:r>
              <a:rPr lang="en-US" sz="3600" dirty="0" smtClean="0">
                <a:solidFill>
                  <a:srgbClr val="FFFF00"/>
                </a:solidFill>
              </a:rPr>
              <a:t>Task shifting and ARV drug dispensing</a:t>
            </a:r>
            <a:endParaRPr lang="en-US" sz="3600" dirty="0">
              <a:solidFill>
                <a:srgbClr val="FFFF00"/>
              </a:solidFill>
            </a:endParaRPr>
          </a:p>
        </p:txBody>
      </p:sp>
      <p:sp>
        <p:nvSpPr>
          <p:cNvPr id="5" name="TextBox 4"/>
          <p:cNvSpPr txBox="1"/>
          <p:nvPr/>
        </p:nvSpPr>
        <p:spPr>
          <a:xfrm>
            <a:off x="237065" y="6146811"/>
            <a:ext cx="6688668" cy="523220"/>
          </a:xfrm>
          <a:prstGeom prst="rect">
            <a:avLst/>
          </a:prstGeom>
          <a:noFill/>
        </p:spPr>
        <p:txBody>
          <a:bodyPr wrap="square" rtlCol="0">
            <a:spAutoFit/>
          </a:bodyPr>
          <a:lstStyle/>
          <a:p>
            <a:r>
              <a:rPr lang="en-US" sz="1400" dirty="0" smtClean="0">
                <a:solidFill>
                  <a:schemeClr val="bg1"/>
                </a:solidFill>
              </a:rPr>
              <a:t>Source: MSF UNAIDS. </a:t>
            </a:r>
            <a:r>
              <a:rPr lang="en-US" sz="1400" dirty="0">
                <a:solidFill>
                  <a:schemeClr val="bg1"/>
                </a:solidFill>
              </a:rPr>
              <a:t>Speed up </a:t>
            </a:r>
            <a:r>
              <a:rPr lang="en-US" sz="1400" dirty="0" smtClean="0">
                <a:solidFill>
                  <a:schemeClr val="bg1"/>
                </a:solidFill>
              </a:rPr>
              <a:t>scale</a:t>
            </a:r>
            <a:r>
              <a:rPr lang="en-US" sz="1400" dirty="0">
                <a:solidFill>
                  <a:schemeClr val="bg1"/>
                </a:solidFill>
              </a:rPr>
              <a:t>-up: Strategies, tools and policies to get the best HIV treatment to more people, sooner</a:t>
            </a:r>
            <a:r>
              <a:rPr lang="en-US" sz="1400" dirty="0" smtClean="0">
                <a:solidFill>
                  <a:schemeClr val="bg1"/>
                </a:solidFill>
              </a:rPr>
              <a:t> </a:t>
            </a:r>
            <a:endParaRPr lang="en-US" sz="1400" dirty="0">
              <a:solidFill>
                <a:schemeClr val="bg1"/>
              </a:solidFill>
            </a:endParaRPr>
          </a:p>
        </p:txBody>
      </p:sp>
      <p:pic>
        <p:nvPicPr>
          <p:cNvPr id="6" name="Picture 5"/>
          <p:cNvPicPr>
            <a:picLocks noChangeAspect="1"/>
          </p:cNvPicPr>
          <p:nvPr/>
        </p:nvPicPr>
        <p:blipFill>
          <a:blip r:embed="rId2"/>
          <a:stretch>
            <a:fillRect/>
          </a:stretch>
        </p:blipFill>
        <p:spPr>
          <a:xfrm>
            <a:off x="7747000" y="6324600"/>
            <a:ext cx="1397000" cy="533400"/>
          </a:xfrm>
          <a:prstGeom prst="rect">
            <a:avLst/>
          </a:prstGeom>
          <a:ln>
            <a:noFill/>
          </a:ln>
        </p:spPr>
      </p:pic>
    </p:spTree>
    <p:extLst>
      <p:ext uri="{BB962C8B-B14F-4D97-AF65-F5344CB8AC3E}">
        <p14:creationId xmlns:p14="http://schemas.microsoft.com/office/powerpoint/2010/main" val="4078314167"/>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bwMode="auto">
          <a:xfrm>
            <a:off x="533400" y="220129"/>
            <a:ext cx="8229600" cy="1290111"/>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a:lstStyle>
          <a:p>
            <a:r>
              <a:rPr lang="en-US" sz="3600" dirty="0" smtClean="0">
                <a:solidFill>
                  <a:srgbClr val="FFFF00"/>
                </a:solidFill>
                <a:latin typeface="Arial" charset="0"/>
              </a:rPr>
              <a:t>ART eligibility criteria for children below age of 15</a:t>
            </a:r>
          </a:p>
        </p:txBody>
      </p:sp>
      <p:sp>
        <p:nvSpPr>
          <p:cNvPr id="3" name="Rectangle 5"/>
          <p:cNvSpPr>
            <a:spLocks noChangeArrowheads="1"/>
          </p:cNvSpPr>
          <p:nvPr/>
        </p:nvSpPr>
        <p:spPr bwMode="auto">
          <a:xfrm>
            <a:off x="321727" y="2171702"/>
            <a:ext cx="8619067" cy="2474524"/>
          </a:xfrm>
          <a:prstGeom prst="rect">
            <a:avLst/>
          </a:prstGeom>
          <a:noFill/>
          <a:ln w="9525">
            <a:noFill/>
            <a:miter lim="800000"/>
            <a:headEnd/>
            <a:tailEnd/>
          </a:ln>
        </p:spPr>
        <p:txBody>
          <a:bodyPr wrap="square">
            <a:spAutoFit/>
          </a:bodyPr>
          <a:lstStyle/>
          <a:p>
            <a:pPr marL="457200" indent="-457200">
              <a:lnSpc>
                <a:spcPct val="130000"/>
              </a:lnSpc>
              <a:buSzPct val="150000"/>
              <a:buFont typeface="Arial" pitchFamily="34" charset="0"/>
              <a:buChar char="•"/>
              <a:defRPr/>
            </a:pPr>
            <a:r>
              <a:rPr lang="en-US" sz="2400" dirty="0">
                <a:solidFill>
                  <a:schemeClr val="bg1"/>
                </a:solidFill>
                <a:latin typeface="Arial" panose="020B0604020202020204" pitchFamily="34" charset="0"/>
                <a:ea typeface="ＭＳ Ｐゴシック" panose="020B0600070205080204" pitchFamily="34" charset="-128"/>
                <a:cs typeface="Arial" pitchFamily="34" charset="0"/>
              </a:rPr>
              <a:t>Of the </a:t>
            </a:r>
            <a:r>
              <a:rPr lang="en-US" sz="2400" dirty="0" smtClean="0">
                <a:solidFill>
                  <a:schemeClr val="bg1"/>
                </a:solidFill>
                <a:latin typeface="Arial" panose="020B0604020202020204" pitchFamily="34" charset="0"/>
                <a:ea typeface="ＭＳ Ｐゴシック" panose="020B0600070205080204" pitchFamily="34" charset="-128"/>
                <a:cs typeface="Arial" pitchFamily="34" charset="0"/>
              </a:rPr>
              <a:t>123 </a:t>
            </a:r>
            <a:r>
              <a:rPr lang="en-US" sz="2400" dirty="0">
                <a:solidFill>
                  <a:schemeClr val="bg1"/>
                </a:solidFill>
                <a:latin typeface="Arial" panose="020B0604020202020204" pitchFamily="34" charset="0"/>
                <a:ea typeface="ＭＳ Ｐゴシック" panose="020B0600070205080204" pitchFamily="34" charset="-128"/>
                <a:cs typeface="Arial" pitchFamily="34" charset="0"/>
              </a:rPr>
              <a:t>countries with guidelines, </a:t>
            </a:r>
            <a:r>
              <a:rPr lang="en-US" sz="2400" dirty="0" smtClean="0">
                <a:solidFill>
                  <a:schemeClr val="bg1"/>
                </a:solidFill>
                <a:latin typeface="Arial" panose="020B0604020202020204" pitchFamily="34" charset="0"/>
                <a:ea typeface="ＭＳ Ｐゴシック" panose="020B0600070205080204" pitchFamily="34" charset="-128"/>
                <a:cs typeface="Arial" pitchFamily="34" charset="0"/>
              </a:rPr>
              <a:t>88 </a:t>
            </a:r>
            <a:r>
              <a:rPr lang="en-US" sz="2400" dirty="0">
                <a:solidFill>
                  <a:schemeClr val="bg1"/>
                </a:solidFill>
                <a:latin typeface="Arial" panose="020B0604020202020204" pitchFamily="34" charset="0"/>
                <a:ea typeface="ＭＳ Ｐゴシック" panose="020B0600070205080204" pitchFamily="34" charset="-128"/>
                <a:cs typeface="Arial" pitchFamily="34" charset="0"/>
              </a:rPr>
              <a:t>countries (91% burden) have recommendations on </a:t>
            </a:r>
            <a:r>
              <a:rPr lang="en-US" sz="2400" dirty="0" err="1">
                <a:solidFill>
                  <a:schemeClr val="bg1"/>
                </a:solidFill>
                <a:latin typeface="Arial" panose="020B0604020202020204" pitchFamily="34" charset="0"/>
                <a:ea typeface="ＭＳ Ｐゴシック" panose="020B0600070205080204" pitchFamily="34" charset="-128"/>
                <a:cs typeface="Arial" pitchFamily="34" charset="0"/>
              </a:rPr>
              <a:t>paediatric</a:t>
            </a:r>
            <a:r>
              <a:rPr lang="en-US" sz="2400" dirty="0">
                <a:solidFill>
                  <a:schemeClr val="bg1"/>
                </a:solidFill>
                <a:latin typeface="Arial" panose="020B0604020202020204" pitchFamily="34" charset="0"/>
                <a:ea typeface="ＭＳ Ｐゴシック" panose="020B0600070205080204" pitchFamily="34" charset="-128"/>
                <a:cs typeface="Arial" pitchFamily="34" charset="0"/>
              </a:rPr>
              <a:t> ART</a:t>
            </a:r>
          </a:p>
          <a:p>
            <a:pPr marL="457200" indent="-457200">
              <a:lnSpc>
                <a:spcPct val="130000"/>
              </a:lnSpc>
              <a:buSzPct val="150000"/>
              <a:buFont typeface="Arial" pitchFamily="34" charset="0"/>
              <a:buChar char="•"/>
              <a:defRPr/>
            </a:pPr>
            <a:r>
              <a:rPr lang="en-US" sz="2400" dirty="0">
                <a:solidFill>
                  <a:schemeClr val="bg1"/>
                </a:solidFill>
                <a:latin typeface="Arial" panose="020B0604020202020204" pitchFamily="34" charset="0"/>
                <a:ea typeface="ＭＳ Ｐゴシック" panose="020B0600070205080204" pitchFamily="34" charset="-128"/>
                <a:cs typeface="Arial" pitchFamily="34" charset="0"/>
              </a:rPr>
              <a:t>ART initiation criteria for children &lt;15 vary considerably</a:t>
            </a:r>
          </a:p>
          <a:p>
            <a:pPr marL="457200" indent="-457200">
              <a:lnSpc>
                <a:spcPct val="130000"/>
              </a:lnSpc>
              <a:buSzPct val="150000"/>
              <a:buFont typeface="Arial" pitchFamily="34" charset="0"/>
              <a:buChar char="•"/>
              <a:defRPr/>
            </a:pPr>
            <a:r>
              <a:rPr lang="en-US" sz="2400" dirty="0">
                <a:solidFill>
                  <a:schemeClr val="bg1"/>
                </a:solidFill>
                <a:latin typeface="Arial" panose="020B0604020202020204" pitchFamily="34" charset="0"/>
                <a:ea typeface="ＭＳ Ｐゴシック" panose="020B0600070205080204" pitchFamily="34" charset="-128"/>
                <a:cs typeface="Arial" pitchFamily="34" charset="0"/>
              </a:rPr>
              <a:t>Of the </a:t>
            </a:r>
            <a:r>
              <a:rPr lang="en-US" sz="2400" dirty="0" smtClean="0">
                <a:solidFill>
                  <a:schemeClr val="bg1"/>
                </a:solidFill>
                <a:latin typeface="Arial" panose="020B0604020202020204" pitchFamily="34" charset="0"/>
                <a:ea typeface="ＭＳ Ｐゴシック" panose="020B0600070205080204" pitchFamily="34" charset="-128"/>
                <a:cs typeface="Arial" pitchFamily="34" charset="0"/>
              </a:rPr>
              <a:t>88 </a:t>
            </a:r>
            <a:r>
              <a:rPr lang="en-US" sz="2400" dirty="0">
                <a:solidFill>
                  <a:schemeClr val="bg1"/>
                </a:solidFill>
                <a:latin typeface="Arial" panose="020B0604020202020204" pitchFamily="34" charset="0"/>
                <a:ea typeface="ＭＳ Ｐゴシック" panose="020B0600070205080204" pitchFamily="34" charset="-128"/>
                <a:cs typeface="Arial" pitchFamily="34" charset="0"/>
              </a:rPr>
              <a:t>countries, </a:t>
            </a:r>
            <a:r>
              <a:rPr lang="en-US" sz="2400" dirty="0" smtClean="0">
                <a:solidFill>
                  <a:schemeClr val="bg1"/>
                </a:solidFill>
                <a:latin typeface="Arial" panose="020B0604020202020204" pitchFamily="34" charset="0"/>
                <a:ea typeface="ＭＳ Ｐゴシック" panose="020B0600070205080204" pitchFamily="34" charset="-128"/>
                <a:cs typeface="Arial" pitchFamily="34" charset="0"/>
              </a:rPr>
              <a:t>23 (60% </a:t>
            </a:r>
            <a:r>
              <a:rPr lang="en-US" sz="2400" dirty="0">
                <a:solidFill>
                  <a:schemeClr val="bg1"/>
                </a:solidFill>
                <a:latin typeface="Arial" panose="020B0604020202020204" pitchFamily="34" charset="0"/>
                <a:ea typeface="ＭＳ Ｐゴシック" panose="020B0600070205080204" pitchFamily="34" charset="-128"/>
                <a:cs typeface="Arial" pitchFamily="34" charset="0"/>
              </a:rPr>
              <a:t>global </a:t>
            </a:r>
            <a:r>
              <a:rPr lang="en-US" sz="2400" dirty="0" err="1">
                <a:solidFill>
                  <a:schemeClr val="bg1"/>
                </a:solidFill>
                <a:latin typeface="Arial" panose="020B0604020202020204" pitchFamily="34" charset="0"/>
                <a:ea typeface="ＭＳ Ｐゴシック" panose="020B0600070205080204" pitchFamily="34" charset="-128"/>
                <a:cs typeface="Arial" pitchFamily="34" charset="0"/>
              </a:rPr>
              <a:t>paediatric</a:t>
            </a:r>
            <a:r>
              <a:rPr lang="en-US" sz="2400" dirty="0">
                <a:solidFill>
                  <a:schemeClr val="bg1"/>
                </a:solidFill>
                <a:latin typeface="Arial" panose="020B0604020202020204" pitchFamily="34" charset="0"/>
                <a:ea typeface="ＭＳ Ｐゴシック" panose="020B0600070205080204" pitchFamily="34" charset="-128"/>
                <a:cs typeface="Arial" pitchFamily="34" charset="0"/>
              </a:rPr>
              <a:t> burden) are consistent with WHO 2015 </a:t>
            </a:r>
            <a:r>
              <a:rPr lang="en-US" sz="2400" dirty="0" smtClean="0">
                <a:solidFill>
                  <a:schemeClr val="bg1"/>
                </a:solidFill>
                <a:latin typeface="Arial" panose="020B0604020202020204" pitchFamily="34" charset="0"/>
                <a:ea typeface="ＭＳ Ｐゴシック" panose="020B0600070205080204" pitchFamily="34" charset="-128"/>
                <a:cs typeface="Arial" pitchFamily="34" charset="0"/>
              </a:rPr>
              <a:t>guidelines</a:t>
            </a:r>
            <a:endParaRPr lang="en-US" sz="2400" dirty="0">
              <a:solidFill>
                <a:schemeClr val="bg1"/>
              </a:solidFill>
              <a:latin typeface="Arial" panose="020B0604020202020204" pitchFamily="34" charset="0"/>
              <a:ea typeface="ＭＳ Ｐゴシック" panose="020B0600070205080204" pitchFamily="34" charset="-128"/>
              <a:cs typeface="Arial" pitchFamily="34" charset="0"/>
            </a:endParaRPr>
          </a:p>
        </p:txBody>
      </p:sp>
      <p:sp>
        <p:nvSpPr>
          <p:cNvPr id="4" name="Text Box 5"/>
          <p:cNvSpPr txBox="1">
            <a:spLocks noChangeArrowheads="1"/>
          </p:cNvSpPr>
          <p:nvPr/>
        </p:nvSpPr>
        <p:spPr bwMode="auto">
          <a:xfrm>
            <a:off x="1557867" y="1628824"/>
            <a:ext cx="6180666" cy="369332"/>
          </a:xfrm>
          <a:prstGeom prst="rect">
            <a:avLst/>
          </a:prstGeom>
          <a:noFill/>
          <a:ln w="9525">
            <a:solidFill>
              <a:schemeClr val="bg1"/>
            </a:solid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Bef>
                <a:spcPct val="50000"/>
              </a:spcBef>
            </a:pPr>
            <a:r>
              <a:rPr lang="en-US" dirty="0" smtClean="0">
                <a:solidFill>
                  <a:schemeClr val="bg1"/>
                </a:solidFill>
                <a:ea typeface="ヒラギノ角ゴ Pro W3"/>
                <a:cs typeface="ヒラギノ角ゴ Pro W3"/>
              </a:rPr>
              <a:t>2015 </a:t>
            </a:r>
            <a:r>
              <a:rPr lang="en-US" dirty="0">
                <a:solidFill>
                  <a:schemeClr val="bg1"/>
                </a:solidFill>
                <a:ea typeface="ヒラギノ角ゴ Pro W3"/>
                <a:cs typeface="ヒラギノ角ゴ Pro W3"/>
              </a:rPr>
              <a:t>WHO Recommendation : </a:t>
            </a:r>
            <a:r>
              <a:rPr lang="en-US" dirty="0" smtClean="0">
                <a:solidFill>
                  <a:schemeClr val="bg1"/>
                </a:solidFill>
                <a:ea typeface="ヒラギノ角ゴ Pro W3"/>
                <a:cs typeface="ヒラギノ角ゴ Pro W3"/>
              </a:rPr>
              <a:t>Irrespective of CD4 count</a:t>
            </a:r>
            <a:endParaRPr lang="en-US" dirty="0">
              <a:solidFill>
                <a:schemeClr val="bg1"/>
              </a:solidFill>
              <a:ea typeface="ヒラギノ角ゴ Pro W3"/>
              <a:cs typeface="ヒラギノ角ゴ Pro W3"/>
            </a:endParaRPr>
          </a:p>
        </p:txBody>
      </p:sp>
      <p:pic>
        <p:nvPicPr>
          <p:cNvPr id="5" name="Picture 4"/>
          <p:cNvPicPr>
            <a:picLocks noChangeAspect="1"/>
          </p:cNvPicPr>
          <p:nvPr/>
        </p:nvPicPr>
        <p:blipFill>
          <a:blip r:embed="rId2"/>
          <a:stretch>
            <a:fillRect/>
          </a:stretch>
        </p:blipFill>
        <p:spPr>
          <a:xfrm>
            <a:off x="7747000" y="6324600"/>
            <a:ext cx="1397000" cy="533400"/>
          </a:xfrm>
          <a:prstGeom prst="rect">
            <a:avLst/>
          </a:prstGeom>
          <a:ln>
            <a:noFill/>
          </a:ln>
        </p:spPr>
      </p:pic>
    </p:spTree>
    <p:extLst>
      <p:ext uri="{BB962C8B-B14F-4D97-AF65-F5344CB8AC3E}">
        <p14:creationId xmlns:p14="http://schemas.microsoft.com/office/powerpoint/2010/main" val="95390499"/>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0" y="23333"/>
            <a:ext cx="9144000" cy="1143000"/>
          </a:xfrm>
          <a:prstGeom prst="rect">
            <a:avLst/>
          </a:prstGeom>
        </p:spPr>
        <p:txBody>
          <a:bodyPr/>
          <a:lst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a:lstStyle>
          <a:p>
            <a:r>
              <a:rPr lang="en-GB" altLang="en-US" sz="3600" dirty="0" smtClean="0">
                <a:solidFill>
                  <a:srgbClr val="FFFF00"/>
                </a:solidFill>
                <a:latin typeface="Arial" pitchFamily="34" charset="0"/>
                <a:cs typeface="Arial" pitchFamily="34" charset="0"/>
              </a:rPr>
              <a:t>ART eligibility criteria for children &lt;15 years</a:t>
            </a:r>
          </a:p>
        </p:txBody>
      </p:sp>
      <p:graphicFrame>
        <p:nvGraphicFramePr>
          <p:cNvPr id="4" name="Table 3"/>
          <p:cNvGraphicFramePr>
            <a:graphicFrameLocks noGrp="1"/>
          </p:cNvGraphicFramePr>
          <p:nvPr>
            <p:extLst>
              <p:ext uri="{D42A27DB-BD31-4B8C-83A1-F6EECF244321}">
                <p14:modId xmlns:p14="http://schemas.microsoft.com/office/powerpoint/2010/main" val="2167214849"/>
              </p:ext>
            </p:extLst>
          </p:nvPr>
        </p:nvGraphicFramePr>
        <p:xfrm>
          <a:off x="272727" y="1241221"/>
          <a:ext cx="8634208" cy="5162115"/>
        </p:xfrm>
        <a:graphic>
          <a:graphicData uri="http://schemas.openxmlformats.org/drawingml/2006/table">
            <a:tbl>
              <a:tblPr/>
              <a:tblGrid>
                <a:gridCol w="1742340"/>
                <a:gridCol w="948266"/>
                <a:gridCol w="1286934"/>
                <a:gridCol w="4656668"/>
              </a:tblGrid>
              <a:tr h="568111">
                <a:tc>
                  <a:txBody>
                    <a:bodyPr/>
                    <a:lstStyle/>
                    <a:p>
                      <a:pPr algn="ctr" fontAlgn="b"/>
                      <a:r>
                        <a:rPr lang="en-US" sz="1600" b="1" i="0" u="none" strike="noStrike" dirty="0" smtClean="0">
                          <a:solidFill>
                            <a:srgbClr val="FFFFFF"/>
                          </a:solidFill>
                          <a:effectLst/>
                          <a:latin typeface="Arial"/>
                          <a:cs typeface="Arial"/>
                        </a:rPr>
                        <a:t>ART INITIATION CRITERIA</a:t>
                      </a:r>
                      <a:endParaRPr lang="en-US" sz="1600" b="1" i="0" u="none" strike="noStrike" dirty="0">
                        <a:solidFill>
                          <a:srgbClr val="FFFFFF"/>
                        </a:solidFill>
                        <a:effectLst/>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accent2">
                        <a:lumMod val="75000"/>
                      </a:schemeClr>
                    </a:solidFill>
                  </a:tcPr>
                </a:tc>
                <a:tc>
                  <a:txBody>
                    <a:bodyPr/>
                    <a:lstStyle/>
                    <a:p>
                      <a:pPr algn="ctr" fontAlgn="b"/>
                      <a:r>
                        <a:rPr lang="en-US" sz="1600" b="1" i="0" u="none" strike="noStrike" dirty="0" smtClean="0">
                          <a:solidFill>
                            <a:srgbClr val="FFFFFF"/>
                          </a:solidFill>
                          <a:effectLst/>
                          <a:latin typeface="Arial"/>
                          <a:cs typeface="Arial"/>
                        </a:rPr>
                        <a:t>NUMBER</a:t>
                      </a:r>
                      <a:endParaRPr lang="en-US" sz="1600" b="1" i="0" u="none" strike="noStrike" dirty="0">
                        <a:solidFill>
                          <a:srgbClr val="FFFFFF"/>
                        </a:solidFill>
                        <a:effectLst/>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accent2">
                        <a:lumMod val="75000"/>
                      </a:schemeClr>
                    </a:solidFill>
                  </a:tcPr>
                </a:tc>
                <a:tc>
                  <a:txBody>
                    <a:bodyPr/>
                    <a:lstStyle/>
                    <a:p>
                      <a:pPr algn="ctr" fontAlgn="b"/>
                      <a:r>
                        <a:rPr lang="en-US" sz="1600" b="1" i="0" u="none" strike="noStrike" dirty="0" smtClean="0">
                          <a:solidFill>
                            <a:srgbClr val="FFFFFF"/>
                          </a:solidFill>
                          <a:effectLst/>
                          <a:latin typeface="Arial"/>
                          <a:cs typeface="Arial"/>
                        </a:rPr>
                        <a:t>CHILDREN WITH HIV</a:t>
                      </a:r>
                      <a:endParaRPr lang="en-US" sz="1600" b="1" i="0" u="none" strike="noStrike" dirty="0">
                        <a:solidFill>
                          <a:srgbClr val="FFFFFF"/>
                        </a:solidFill>
                        <a:effectLst/>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accent2">
                        <a:lumMod val="75000"/>
                      </a:schemeClr>
                    </a:solidFill>
                  </a:tcPr>
                </a:tc>
                <a:tc>
                  <a:txBody>
                    <a:bodyPr/>
                    <a:lstStyle/>
                    <a:p>
                      <a:pPr algn="ctr" fontAlgn="b"/>
                      <a:r>
                        <a:rPr lang="en-US" sz="1600" b="1" i="0" u="none" strike="noStrike" dirty="0" smtClean="0">
                          <a:solidFill>
                            <a:srgbClr val="FFFFFF"/>
                          </a:solidFill>
                          <a:effectLst/>
                          <a:latin typeface="Arial"/>
                          <a:cs typeface="Arial"/>
                        </a:rPr>
                        <a:t>COUNTRIES</a:t>
                      </a:r>
                      <a:endParaRPr lang="en-US" sz="1600" b="1" i="0" u="none" strike="noStrike" dirty="0">
                        <a:solidFill>
                          <a:srgbClr val="FFFFFF"/>
                        </a:solidFill>
                        <a:effectLst/>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accent2">
                        <a:lumMod val="75000"/>
                      </a:schemeClr>
                    </a:solidFill>
                  </a:tcPr>
                </a:tc>
              </a:tr>
              <a:tr h="578266">
                <a:tc>
                  <a:txBody>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Irrespective of CD4 count for children &lt;15</a:t>
                      </a:r>
                    </a:p>
                  </a:txBody>
                  <a:tcPr marL="12700" marR="12700" marT="12694" marB="0" anchor="ctr" horzOverflow="overflow">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23</a:t>
                      </a:r>
                      <a:endParaRPr kumimoji="0" lang="en-US" sz="1500" b="0" i="0" u="none" strike="noStrike" cap="none" normalizeH="0" baseline="0" dirty="0">
                        <a:ln>
                          <a:noFill/>
                        </a:ln>
                        <a:solidFill>
                          <a:srgbClr val="FFFFFF"/>
                        </a:solidFill>
                        <a:effectLst/>
                        <a:latin typeface="Arial" charset="0"/>
                        <a:ea typeface="ＭＳ Ｐゴシック" charset="0"/>
                        <a:cs typeface="Arial" charset="0"/>
                      </a:endParaRPr>
                    </a:p>
                  </a:txBody>
                  <a:tcPr marL="12700" marR="12700" marT="12694" marB="0" anchor="ctr" horzOverflow="overflow">
                    <a:lnL w="12700" cap="flat" cmpd="sng" algn="ctr">
                      <a:solidFill>
                        <a:srgbClr val="FFFFFF"/>
                      </a:solidFill>
                      <a:prstDash val="solid"/>
                      <a:round/>
                      <a:headEnd type="none" w="med" len="med"/>
                      <a:tailEnd type="none" w="med" len="med"/>
                    </a:lnL>
                    <a:lnR w="12700" cap="flat" cmpd="sng" algn="ctr">
                      <a:solidFill>
                        <a:prstClr val="white"/>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1,085,500 </a:t>
                      </a:r>
                    </a:p>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60%)</a:t>
                      </a:r>
                      <a:endParaRPr kumimoji="0" lang="en-US" sz="1500" b="0" i="0" u="none" strike="noStrike" cap="none" normalizeH="0" baseline="0" dirty="0">
                        <a:ln>
                          <a:noFill/>
                        </a:ln>
                        <a:solidFill>
                          <a:srgbClr val="FFFFFF"/>
                        </a:solidFill>
                        <a:effectLst/>
                        <a:latin typeface="Arial" charset="0"/>
                        <a:ea typeface="ＭＳ Ｐゴシック" charset="0"/>
                        <a:cs typeface="Arial" charset="0"/>
                      </a:endParaRPr>
                    </a:p>
                  </a:txBody>
                  <a:tcPr marL="12700" marR="12700" marT="12694" marB="0" anchor="ctr" horzOverflow="overflow">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solidFill>
                            <a:srgbClr val="FFFFFF"/>
                          </a:solidFill>
                          <a:latin typeface="Arial"/>
                          <a:cs typeface="Arial"/>
                        </a:rPr>
                        <a:t> Botswana,</a:t>
                      </a:r>
                      <a:r>
                        <a:rPr lang="en-US" sz="1400" baseline="0" dirty="0" smtClean="0">
                          <a:solidFill>
                            <a:srgbClr val="FFFFFF"/>
                          </a:solidFill>
                          <a:latin typeface="Arial"/>
                          <a:cs typeface="Arial"/>
                        </a:rPr>
                        <a:t> </a:t>
                      </a:r>
                      <a:r>
                        <a:rPr lang="en-US" sz="1400" dirty="0" smtClean="0">
                          <a:solidFill>
                            <a:srgbClr val="FFFFFF"/>
                          </a:solidFill>
                          <a:latin typeface="Arial"/>
                          <a:cs typeface="Arial"/>
                        </a:rPr>
                        <a:t>Burundi,</a:t>
                      </a:r>
                      <a:r>
                        <a:rPr lang="en-US" sz="1400" baseline="0" dirty="0" smtClean="0">
                          <a:solidFill>
                            <a:srgbClr val="FFFFFF"/>
                          </a:solidFill>
                          <a:latin typeface="Arial"/>
                          <a:cs typeface="Arial"/>
                        </a:rPr>
                        <a:t> Cambodia, China, </a:t>
                      </a:r>
                      <a:r>
                        <a:rPr lang="en-US" sz="1400" dirty="0" smtClean="0">
                          <a:solidFill>
                            <a:srgbClr val="FFFFFF"/>
                          </a:solidFill>
                          <a:latin typeface="Arial"/>
                          <a:cs typeface="Arial"/>
                        </a:rPr>
                        <a:t>Ethiopia, </a:t>
                      </a:r>
                      <a:r>
                        <a:rPr lang="en-US" sz="1400" baseline="0" dirty="0" smtClean="0">
                          <a:solidFill>
                            <a:srgbClr val="FFFFFF"/>
                          </a:solidFill>
                          <a:latin typeface="Arial"/>
                          <a:cs typeface="Arial"/>
                        </a:rPr>
                        <a:t>Georgia, </a:t>
                      </a:r>
                      <a:r>
                        <a:rPr lang="en-US" sz="1400" dirty="0" smtClean="0">
                          <a:solidFill>
                            <a:srgbClr val="FFFFFF"/>
                          </a:solidFill>
                          <a:latin typeface="Arial"/>
                          <a:cs typeface="Arial"/>
                        </a:rPr>
                        <a:t>Haiti,</a:t>
                      </a:r>
                      <a:r>
                        <a:rPr lang="en-US" sz="1400" baseline="0" dirty="0" smtClean="0">
                          <a:solidFill>
                            <a:srgbClr val="FFFFFF"/>
                          </a:solidFill>
                          <a:latin typeface="Arial"/>
                          <a:cs typeface="Arial"/>
                        </a:rPr>
                        <a:t> </a:t>
                      </a:r>
                      <a:r>
                        <a:rPr lang="en-US" sz="1400" dirty="0" smtClean="0">
                          <a:solidFill>
                            <a:srgbClr val="FFFFFF"/>
                          </a:solidFill>
                          <a:latin typeface="Arial"/>
                          <a:cs typeface="Arial"/>
                        </a:rPr>
                        <a:t>India, Kenya, Lao PDR, </a:t>
                      </a:r>
                      <a:r>
                        <a:rPr lang="en-US" sz="1400" baseline="0" dirty="0" smtClean="0">
                          <a:solidFill>
                            <a:srgbClr val="FFFFFF"/>
                          </a:solidFill>
                          <a:latin typeface="Arial"/>
                          <a:cs typeface="Arial"/>
                        </a:rPr>
                        <a:t>Lesotho, Malawi, Mozambique, Namibia, </a:t>
                      </a:r>
                      <a:r>
                        <a:rPr lang="en-US" sz="1400" dirty="0" smtClean="0">
                          <a:solidFill>
                            <a:srgbClr val="FFFFFF"/>
                          </a:solidFill>
                          <a:latin typeface="Arial"/>
                          <a:cs typeface="Arial"/>
                        </a:rPr>
                        <a:t>Papua New Guinea, </a:t>
                      </a:r>
                      <a:r>
                        <a:rPr lang="en-US" sz="1400" baseline="0" dirty="0" smtClean="0">
                          <a:solidFill>
                            <a:srgbClr val="FFFFFF"/>
                          </a:solidFill>
                          <a:latin typeface="Arial"/>
                          <a:cs typeface="Arial"/>
                        </a:rPr>
                        <a:t>Rwanda, </a:t>
                      </a:r>
                      <a:r>
                        <a:rPr lang="en-US" sz="1400" dirty="0" smtClean="0">
                          <a:solidFill>
                            <a:srgbClr val="FFFFFF"/>
                          </a:solidFill>
                          <a:latin typeface="Arial"/>
                          <a:cs typeface="Arial"/>
                        </a:rPr>
                        <a:t>South Africa, Sri Lanka, </a:t>
                      </a:r>
                      <a:r>
                        <a:rPr lang="en-US" sz="1400" baseline="0" dirty="0" smtClean="0">
                          <a:solidFill>
                            <a:srgbClr val="FFFFFF"/>
                          </a:solidFill>
                          <a:latin typeface="Arial"/>
                          <a:cs typeface="Arial"/>
                        </a:rPr>
                        <a:t>Tanzania, Uganda, </a:t>
                      </a:r>
                      <a:r>
                        <a:rPr lang="en-US" sz="1400" dirty="0" smtClean="0">
                          <a:solidFill>
                            <a:srgbClr val="FFFFFF"/>
                          </a:solidFill>
                          <a:latin typeface="Arial"/>
                          <a:cs typeface="Arial"/>
                        </a:rPr>
                        <a:t>United States, </a:t>
                      </a:r>
                      <a:r>
                        <a:rPr lang="en-US" sz="1400" baseline="0" dirty="0" smtClean="0">
                          <a:solidFill>
                            <a:srgbClr val="FFFFFF"/>
                          </a:solidFill>
                          <a:latin typeface="Arial"/>
                          <a:cs typeface="Arial"/>
                        </a:rPr>
                        <a:t>Zambia, Zimbabwe</a:t>
                      </a:r>
                      <a:endParaRPr lang="en-US" sz="1400" dirty="0" smtClean="0">
                        <a:solidFill>
                          <a:srgbClr val="FFFFFF"/>
                        </a:solidFill>
                        <a:latin typeface="Arial"/>
                        <a:cs typeface="Arial"/>
                      </a:endParaRPr>
                    </a:p>
                  </a:txBody>
                  <a:tcPr marL="12700" marR="12700" marT="12697" marB="0" anchor="ctr">
                    <a:lnL w="12700" cap="flat" cmpd="sng" algn="ctr">
                      <a:solidFill>
                        <a:prstClr val="white"/>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r>
              <a:tr h="1161623">
                <a:tc>
                  <a:txBody>
                    <a:bodyPr/>
                    <a:lstStyle/>
                    <a:p>
                      <a:pPr marL="0" marR="0" lvl="0" indent="0" algn="l" defTabSz="6858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ea typeface="ＭＳ Ｐゴシック" charset="0"/>
                          <a:cs typeface="Arial" charset="0"/>
                        </a:rPr>
                        <a:t>Irrespective of CD4 count for children &lt;5</a:t>
                      </a:r>
                    </a:p>
                  </a:txBody>
                  <a:tcPr marL="12700" marR="12700" marT="12694" marB="0" anchor="ctr" horzOverflow="overflow">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25</a:t>
                      </a:r>
                      <a:endParaRPr kumimoji="0" lang="en-US" sz="1500" b="0" i="0" u="none" strike="noStrike" cap="none" normalizeH="0" baseline="0" dirty="0">
                        <a:ln>
                          <a:noFill/>
                        </a:ln>
                        <a:solidFill>
                          <a:srgbClr val="FFFFFF"/>
                        </a:solidFill>
                        <a:effectLst/>
                        <a:latin typeface="Arial" charset="0"/>
                        <a:ea typeface="ＭＳ Ｐゴシック" charset="0"/>
                        <a:cs typeface="Arial" charset="0"/>
                      </a:endParaRPr>
                    </a:p>
                  </a:txBody>
                  <a:tcPr marL="12700" marR="12700" marT="12694"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448,300 </a:t>
                      </a:r>
                    </a:p>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25%</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a:t>
                      </a:r>
                    </a:p>
                  </a:txBody>
                  <a:tcPr marL="12700" marR="12700" marT="12694"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solidFill>
                            <a:srgbClr val="FFFFFF"/>
                          </a:solidFill>
                          <a:latin typeface="Arial"/>
                          <a:cs typeface="Arial"/>
                        </a:rPr>
                        <a:t>Angola, Bangladesh, </a:t>
                      </a:r>
                      <a:r>
                        <a:rPr lang="en-US" sz="1400" baseline="0" dirty="0" smtClean="0">
                          <a:solidFill>
                            <a:srgbClr val="FFFFFF"/>
                          </a:solidFill>
                          <a:latin typeface="Arial"/>
                          <a:cs typeface="Arial"/>
                        </a:rPr>
                        <a:t>Bhutan, Cameroon, Colombia, Democratic Republic of Congo, </a:t>
                      </a:r>
                      <a:r>
                        <a:rPr lang="en-US" sz="1400" dirty="0" smtClean="0">
                          <a:solidFill>
                            <a:srgbClr val="FFFFFF"/>
                          </a:solidFill>
                          <a:latin typeface="Arial"/>
                          <a:cs typeface="Arial"/>
                        </a:rPr>
                        <a:t>El Salvador, Fiji, Gabon, Honduras, Indonesia, Liberia, Maldives,</a:t>
                      </a:r>
                      <a:r>
                        <a:rPr lang="en-US" sz="1400" baseline="0" dirty="0" smtClean="0">
                          <a:solidFill>
                            <a:srgbClr val="FFFFFF"/>
                          </a:solidFill>
                          <a:latin typeface="Arial"/>
                          <a:cs typeface="Arial"/>
                        </a:rPr>
                        <a:t> Mali, </a:t>
                      </a:r>
                      <a:r>
                        <a:rPr lang="en-US" sz="1400" dirty="0" smtClean="0">
                          <a:solidFill>
                            <a:srgbClr val="FFFFFF"/>
                          </a:solidFill>
                          <a:latin typeface="Arial"/>
                          <a:cs typeface="Arial"/>
                        </a:rPr>
                        <a:t>Mauritania,</a:t>
                      </a:r>
                      <a:r>
                        <a:rPr lang="en-US" sz="1400" baseline="0" dirty="0" smtClean="0">
                          <a:solidFill>
                            <a:srgbClr val="FFFFFF"/>
                          </a:solidFill>
                          <a:latin typeface="Arial"/>
                          <a:cs typeface="Arial"/>
                        </a:rPr>
                        <a:t> Myanmar,</a:t>
                      </a:r>
                      <a:r>
                        <a:rPr lang="en-US" sz="1400" dirty="0" smtClean="0">
                          <a:solidFill>
                            <a:srgbClr val="FFFFFF"/>
                          </a:solidFill>
                          <a:latin typeface="Arial"/>
                          <a:cs typeface="Arial"/>
                        </a:rPr>
                        <a:t> Nepal, Nigeria, Oman, Pakistan, Philippines,</a:t>
                      </a:r>
                      <a:r>
                        <a:rPr lang="en-US" sz="1400" baseline="0" dirty="0" smtClean="0">
                          <a:solidFill>
                            <a:srgbClr val="FFFFFF"/>
                          </a:solidFill>
                          <a:latin typeface="Arial"/>
                          <a:cs typeface="Arial"/>
                        </a:rPr>
                        <a:t> </a:t>
                      </a:r>
                      <a:r>
                        <a:rPr lang="en-US" sz="1400" dirty="0" smtClean="0">
                          <a:solidFill>
                            <a:srgbClr val="FFFFFF"/>
                          </a:solidFill>
                          <a:latin typeface="Arial"/>
                          <a:cs typeface="Arial"/>
                        </a:rPr>
                        <a:t>South Sudan, Sudan,</a:t>
                      </a:r>
                      <a:r>
                        <a:rPr lang="en-US" sz="1400" baseline="0" dirty="0" smtClean="0">
                          <a:solidFill>
                            <a:srgbClr val="FFFFFF"/>
                          </a:solidFill>
                          <a:latin typeface="Arial"/>
                          <a:cs typeface="Arial"/>
                        </a:rPr>
                        <a:t> Swaziland,</a:t>
                      </a:r>
                      <a:r>
                        <a:rPr lang="en-US" sz="1400" dirty="0" smtClean="0">
                          <a:solidFill>
                            <a:srgbClr val="FFFFFF"/>
                          </a:solidFill>
                          <a:latin typeface="Arial"/>
                          <a:cs typeface="Arial"/>
                        </a:rPr>
                        <a:t> Viet Nam</a:t>
                      </a:r>
                    </a:p>
                  </a:txBody>
                  <a:tcPr marL="12700" marR="12700" marT="12697" marB="0" anchor="ctr">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r>
              <a:tr h="927948">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ea typeface="ＭＳ Ｐゴシック" charset="0"/>
                          <a:cs typeface="Arial" charset="0"/>
                        </a:rPr>
                        <a:t>Irrespective of CD4 count for children &lt;2</a:t>
                      </a:r>
                    </a:p>
                  </a:txBody>
                  <a:tcPr marL="12700" marR="12700" marT="12694" marB="0" anchor="ctr" horzOverflow="overflow">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16</a:t>
                      </a:r>
                      <a:endParaRPr kumimoji="0" lang="en-US" sz="1500" b="0" i="0" u="none" strike="noStrike" cap="none" normalizeH="0" baseline="0" dirty="0">
                        <a:ln>
                          <a:noFill/>
                        </a:ln>
                        <a:solidFill>
                          <a:srgbClr val="FFFFFF"/>
                        </a:solidFill>
                        <a:effectLst/>
                        <a:latin typeface="Arial" charset="0"/>
                        <a:ea typeface="ＭＳ Ｐゴシック" charset="0"/>
                        <a:cs typeface="Arial" charset="0"/>
                      </a:endParaRPr>
                    </a:p>
                  </a:txBody>
                  <a:tcPr marL="12700" marR="12700" marT="12694"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58,300 </a:t>
                      </a:r>
                    </a:p>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3.2%</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a:t>
                      </a:r>
                    </a:p>
                  </a:txBody>
                  <a:tcPr marL="12700" marR="12700" marT="12694"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aseline="0" dirty="0" smtClean="0">
                          <a:solidFill>
                            <a:srgbClr val="FFFFFF"/>
                          </a:solidFill>
                          <a:latin typeface="Arial"/>
                          <a:cs typeface="Arial"/>
                        </a:rPr>
                        <a:t>Afghanistan, </a:t>
                      </a:r>
                      <a:r>
                        <a:rPr lang="en-US" sz="1400" dirty="0" smtClean="0">
                          <a:solidFill>
                            <a:srgbClr val="FFFFFF"/>
                          </a:solidFill>
                          <a:latin typeface="Arial"/>
                          <a:cs typeface="Arial"/>
                        </a:rPr>
                        <a:t>Algeria, Argentina, Benin, </a:t>
                      </a:r>
                      <a:r>
                        <a:rPr lang="en-US" sz="1400" baseline="0" dirty="0" smtClean="0">
                          <a:solidFill>
                            <a:srgbClr val="FFFFFF"/>
                          </a:solidFill>
                          <a:latin typeface="Arial"/>
                          <a:cs typeface="Arial"/>
                        </a:rPr>
                        <a:t>Cote d’Ivoire, </a:t>
                      </a:r>
                      <a:r>
                        <a:rPr lang="en-US" sz="1400" dirty="0" smtClean="0">
                          <a:solidFill>
                            <a:srgbClr val="FFFFFF"/>
                          </a:solidFill>
                          <a:latin typeface="Arial"/>
                          <a:cs typeface="Arial"/>
                        </a:rPr>
                        <a:t>Ghana, Guyana, Kazakhstan, Marshall Islands, Morocco, Panama, Samoa, Timor-Leste, Tuvalu, Vanuatu,</a:t>
                      </a:r>
                      <a:r>
                        <a:rPr lang="en-US" sz="1400" baseline="0" dirty="0" smtClean="0">
                          <a:solidFill>
                            <a:srgbClr val="FFFFFF"/>
                          </a:solidFill>
                          <a:latin typeface="Arial"/>
                          <a:cs typeface="Arial"/>
                        </a:rPr>
                        <a:t> </a:t>
                      </a:r>
                      <a:r>
                        <a:rPr lang="en-US" sz="1400" dirty="0" smtClean="0">
                          <a:solidFill>
                            <a:srgbClr val="FFFFFF"/>
                          </a:solidFill>
                          <a:latin typeface="Arial"/>
                          <a:cs typeface="Arial"/>
                        </a:rPr>
                        <a:t>Venezuela</a:t>
                      </a:r>
                    </a:p>
                  </a:txBody>
                  <a:tcPr marL="12700" marR="12700" marT="12697" marB="0" anchor="ctr">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r>
              <a:tr h="863600">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ea typeface="ＭＳ Ｐゴシック" charset="0"/>
                          <a:cs typeface="Arial" charset="0"/>
                        </a:rPr>
                        <a:t>Irrespective of CD4 count for children &lt;1</a:t>
                      </a:r>
                    </a:p>
                  </a:txBody>
                  <a:tcPr marL="12700" marR="12700" marT="12694" marB="0" anchor="ctr" horzOverflow="overflow">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17</a:t>
                      </a:r>
                      <a:endParaRPr kumimoji="0" lang="en-US" sz="1500" b="0" i="0" u="none" strike="noStrike" cap="none" normalizeH="0" baseline="0" dirty="0">
                        <a:ln>
                          <a:noFill/>
                        </a:ln>
                        <a:solidFill>
                          <a:srgbClr val="FFFFFF"/>
                        </a:solidFill>
                        <a:effectLst/>
                        <a:latin typeface="Arial" charset="0"/>
                        <a:ea typeface="ＭＳ Ｐゴシック" charset="0"/>
                        <a:cs typeface="Arial" charset="0"/>
                      </a:endParaRPr>
                    </a:p>
                  </a:txBody>
                  <a:tcPr marL="12700" marR="12700" marT="12694"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31,000</a:t>
                      </a:r>
                      <a:endParaRPr kumimoji="0" lang="en-US" sz="1500" b="0" i="0" u="none" strike="noStrike" cap="none" normalizeH="0" baseline="0" dirty="0">
                        <a:ln>
                          <a:noFill/>
                        </a:ln>
                        <a:solidFill>
                          <a:srgbClr val="FFFFFF"/>
                        </a:solidFill>
                        <a:effectLst/>
                        <a:latin typeface="Arial" charset="0"/>
                        <a:ea typeface="ＭＳ Ｐゴシック" charset="0"/>
                        <a:cs typeface="Arial" charset="0"/>
                      </a:endParaRPr>
                    </a:p>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2%</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a:t>
                      </a:r>
                    </a:p>
                  </a:txBody>
                  <a:tcPr marL="12700" marR="12700" marT="12694"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solidFill>
                            <a:srgbClr val="FFFFFF"/>
                          </a:solidFill>
                          <a:latin typeface="Arial"/>
                          <a:cs typeface="Arial"/>
                        </a:rPr>
                        <a:t>Brazil, Burkina Faso, Chile,</a:t>
                      </a:r>
                      <a:r>
                        <a:rPr lang="en-US" sz="1400" baseline="0" dirty="0" smtClean="0">
                          <a:solidFill>
                            <a:srgbClr val="FFFFFF"/>
                          </a:solidFill>
                          <a:latin typeface="Arial"/>
                          <a:cs typeface="Arial"/>
                        </a:rPr>
                        <a:t> </a:t>
                      </a:r>
                      <a:r>
                        <a:rPr lang="en-US" sz="1400" dirty="0" smtClean="0">
                          <a:solidFill>
                            <a:srgbClr val="FFFFFF"/>
                          </a:solidFill>
                          <a:latin typeface="Arial"/>
                          <a:cs typeface="Arial"/>
                        </a:rPr>
                        <a:t>Costa Rica, Dominican Republic, Finland, Guatemala, Hong Kong, Madagascar, Mexico, Paraguay, Romania, Russia, Sweden, Thailand, Tunisia, Uruguay</a:t>
                      </a:r>
                    </a:p>
                  </a:txBody>
                  <a:tcPr marL="12700" marR="12700" marT="12697" marB="0" anchor="ctr">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r>
              <a:tr h="558800">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FFFFFF"/>
                          </a:solidFill>
                          <a:effectLst/>
                          <a:latin typeface="Arial" charset="0"/>
                          <a:ea typeface="ＭＳ Ｐゴシック" charset="0"/>
                          <a:cs typeface="Arial" charset="0"/>
                        </a:rPr>
                        <a:t>Conditional</a:t>
                      </a:r>
                    </a:p>
                    <a:p>
                      <a:pPr marL="0" marR="0" lvl="0" indent="0" algn="l" defTabSz="4572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clinical </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prerequisites)</a:t>
                      </a:r>
                    </a:p>
                  </a:txBody>
                  <a:tcPr marL="12700" marR="12700" marT="12694" marB="0" anchor="ctr" horzOverflow="overflow">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7</a:t>
                      </a:r>
                      <a:endParaRPr kumimoji="0" lang="en-US" sz="1500" b="0" i="0" u="none" strike="noStrike" cap="none" normalizeH="0" baseline="0" dirty="0">
                        <a:ln>
                          <a:noFill/>
                        </a:ln>
                        <a:solidFill>
                          <a:srgbClr val="FFFFFF"/>
                        </a:solidFill>
                        <a:effectLst/>
                        <a:latin typeface="Arial" charset="0"/>
                        <a:ea typeface="ＭＳ Ｐゴシック" charset="0"/>
                        <a:cs typeface="Arial" charset="0"/>
                      </a:endParaRPr>
                    </a:p>
                  </a:txBody>
                  <a:tcPr marL="12700" marR="12700" marT="12694"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20,800 </a:t>
                      </a:r>
                      <a:endParaRPr kumimoji="0" lang="en-US" sz="1500" b="0" i="0" u="none" strike="noStrike" cap="none" normalizeH="0" baseline="0" dirty="0">
                        <a:ln>
                          <a:noFill/>
                        </a:ln>
                        <a:solidFill>
                          <a:srgbClr val="FFFFFF"/>
                        </a:solidFill>
                        <a:effectLst/>
                        <a:latin typeface="Arial" charset="0"/>
                        <a:ea typeface="ＭＳ Ｐゴシック" charset="0"/>
                        <a:cs typeface="Arial" charset="0"/>
                      </a:endParaRPr>
                    </a:p>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1.2%</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a:t>
                      </a:r>
                    </a:p>
                  </a:txBody>
                  <a:tcPr marL="12700" marR="12700" marT="12694"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r>
                        <a:rPr lang="en-US" sz="1400" dirty="0" smtClean="0">
                          <a:solidFill>
                            <a:srgbClr val="FFFFFF"/>
                          </a:solidFill>
                          <a:latin typeface="Arial"/>
                          <a:cs typeface="Arial"/>
                        </a:rPr>
                        <a:t>Cape Verde, Comoros, Djibouti, Guinea, Peru, Sierra Leone, Ukraine</a:t>
                      </a:r>
                      <a:endParaRPr lang="en-US" sz="1400" dirty="0">
                        <a:solidFill>
                          <a:srgbClr val="FFFFFF"/>
                        </a:solidFill>
                        <a:latin typeface="Arial"/>
                        <a:cs typeface="Arial"/>
                      </a:endParaRPr>
                    </a:p>
                  </a:txBody>
                  <a:tcPr marL="12700" marR="12700" marT="12697" marB="0" anchor="ctr">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r>
            </a:tbl>
          </a:graphicData>
        </a:graphic>
      </p:graphicFrame>
      <p:sp>
        <p:nvSpPr>
          <p:cNvPr id="6" name="TextBox 5"/>
          <p:cNvSpPr txBox="1"/>
          <p:nvPr/>
        </p:nvSpPr>
        <p:spPr>
          <a:xfrm>
            <a:off x="2065867" y="687456"/>
            <a:ext cx="5384800" cy="338554"/>
          </a:xfrm>
          <a:prstGeom prst="rect">
            <a:avLst/>
          </a:prstGeom>
          <a:noFill/>
          <a:ln>
            <a:solidFill>
              <a:schemeClr val="bg1"/>
            </a:solidFill>
          </a:ln>
        </p:spPr>
        <p:txBody>
          <a:bodyPr wrap="square" rtlCol="0">
            <a:spAutoFit/>
          </a:bodyPr>
          <a:lstStyle/>
          <a:p>
            <a:pPr algn="ctr"/>
            <a:r>
              <a:rPr lang="en-GB" sz="1600" dirty="0" smtClean="0">
                <a:solidFill>
                  <a:schemeClr val="bg1"/>
                </a:solidFill>
                <a:latin typeface="Arial" panose="020B0604020202020204" pitchFamily="34" charset="0"/>
                <a:cs typeface="Arial" panose="020B0604020202020204" pitchFamily="34" charset="0"/>
              </a:rPr>
              <a:t>WHO 2015 Guidelines: ART irrespective of CD4 count</a:t>
            </a:r>
            <a:endParaRPr lang="en-GB" sz="1600" dirty="0">
              <a:solidFill>
                <a:schemeClr val="bg1"/>
              </a:solidFill>
              <a:latin typeface="Arial" panose="020B0604020202020204" pitchFamily="34" charset="0"/>
              <a:cs typeface="Arial" panose="020B0604020202020204" pitchFamily="34" charset="0"/>
            </a:endParaRPr>
          </a:p>
        </p:txBody>
      </p:sp>
      <p:sp>
        <p:nvSpPr>
          <p:cNvPr id="8" name="Rectangle 7"/>
          <p:cNvSpPr/>
          <p:nvPr/>
        </p:nvSpPr>
        <p:spPr>
          <a:xfrm>
            <a:off x="211665" y="6432314"/>
            <a:ext cx="2165979" cy="307777"/>
          </a:xfrm>
          <a:prstGeom prst="rect">
            <a:avLst/>
          </a:prstGeom>
        </p:spPr>
        <p:txBody>
          <a:bodyPr wrap="none">
            <a:spAutoFit/>
          </a:bodyPr>
          <a:lstStyle/>
          <a:p>
            <a:pPr algn="ctr">
              <a:spcBef>
                <a:spcPct val="50000"/>
              </a:spcBef>
            </a:pPr>
            <a:r>
              <a:rPr lang="en-US" sz="1400" b="1" dirty="0" smtClean="0">
                <a:solidFill>
                  <a:srgbClr val="FFFF00"/>
                </a:solidFill>
                <a:ea typeface="ヒラギノ角ゴ Pro W3"/>
                <a:cs typeface="ヒラギノ角ゴ Pro W3"/>
              </a:rPr>
              <a:t>Source</a:t>
            </a:r>
            <a:r>
              <a:rPr lang="en-US" sz="1400" dirty="0" smtClean="0">
                <a:solidFill>
                  <a:srgbClr val="FFFF00"/>
                </a:solidFill>
                <a:ea typeface="ヒラギノ角ゴ Pro W3"/>
                <a:cs typeface="ヒラギノ角ゴ Pro W3"/>
              </a:rPr>
              <a:t>: published policy</a:t>
            </a:r>
            <a:endParaRPr lang="en-US" sz="1400" dirty="0">
              <a:solidFill>
                <a:srgbClr val="FFFF00"/>
              </a:solidFill>
              <a:ea typeface="ヒラギノ角ゴ Pro W3"/>
              <a:cs typeface="ヒラギノ角ゴ Pro W3"/>
            </a:endParaRPr>
          </a:p>
        </p:txBody>
      </p:sp>
      <p:sp>
        <p:nvSpPr>
          <p:cNvPr id="9" name="Rectangle 8"/>
          <p:cNvSpPr/>
          <p:nvPr/>
        </p:nvSpPr>
        <p:spPr>
          <a:xfrm>
            <a:off x="261340" y="2921615"/>
            <a:ext cx="8662528" cy="3510700"/>
          </a:xfrm>
          <a:prstGeom prst="rect">
            <a:avLst/>
          </a:prstGeom>
          <a:noFill/>
          <a:ln w="7620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stretch>
            <a:fillRect/>
          </a:stretch>
        </p:blipFill>
        <p:spPr>
          <a:xfrm>
            <a:off x="7975600" y="6411884"/>
            <a:ext cx="1168400" cy="446116"/>
          </a:xfrm>
          <a:prstGeom prst="rect">
            <a:avLst/>
          </a:prstGeom>
          <a:ln>
            <a:noFill/>
          </a:ln>
        </p:spPr>
      </p:pic>
    </p:spTree>
    <p:extLst>
      <p:ext uri="{BB962C8B-B14F-4D97-AF65-F5344CB8AC3E}">
        <p14:creationId xmlns:p14="http://schemas.microsoft.com/office/powerpoint/2010/main" val="3602600957"/>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0" y="23333"/>
            <a:ext cx="9144000" cy="748788"/>
          </a:xfrm>
          <a:prstGeom prst="rect">
            <a:avLst/>
          </a:prstGeom>
        </p:spPr>
        <p:txBody>
          <a:bodyPr/>
          <a:lst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a:lstStyle>
          <a:p>
            <a:r>
              <a:rPr lang="en-GB" altLang="en-US" sz="3600" dirty="0" smtClean="0">
                <a:solidFill>
                  <a:srgbClr val="FFFF00"/>
                </a:solidFill>
                <a:latin typeface="Arial" pitchFamily="34" charset="0"/>
                <a:cs typeface="Arial" pitchFamily="34" charset="0"/>
              </a:rPr>
              <a:t>ART eligibility criteria for children &lt;15 years</a:t>
            </a:r>
          </a:p>
        </p:txBody>
      </p:sp>
      <p:sp>
        <p:nvSpPr>
          <p:cNvPr id="13" name="TextBox 12"/>
          <p:cNvSpPr txBox="1"/>
          <p:nvPr/>
        </p:nvSpPr>
        <p:spPr>
          <a:xfrm>
            <a:off x="1693333" y="772121"/>
            <a:ext cx="6062134" cy="369332"/>
          </a:xfrm>
          <a:prstGeom prst="rect">
            <a:avLst/>
          </a:prstGeom>
          <a:noFill/>
          <a:ln>
            <a:solidFill>
              <a:schemeClr val="bg1"/>
            </a:solidFill>
          </a:ln>
        </p:spPr>
        <p:txBody>
          <a:bodyPr wrap="square" rtlCol="0">
            <a:spAutoFit/>
          </a:bodyPr>
          <a:lstStyle/>
          <a:p>
            <a:pPr algn="ctr"/>
            <a:r>
              <a:rPr lang="en-GB" dirty="0" smtClean="0">
                <a:solidFill>
                  <a:schemeClr val="bg1"/>
                </a:solidFill>
                <a:latin typeface="Arial" panose="020B0604020202020204" pitchFamily="34" charset="0"/>
                <a:cs typeface="Arial" panose="020B0604020202020204" pitchFamily="34" charset="0"/>
              </a:rPr>
              <a:t>WHO 2015 Guidelines: ART irrespective of CD4 count</a:t>
            </a:r>
            <a:endParaRPr lang="en-GB" dirty="0">
              <a:solidFill>
                <a:schemeClr val="bg1"/>
              </a:solidFill>
              <a:latin typeface="Arial" panose="020B0604020202020204" pitchFamily="34" charset="0"/>
              <a:cs typeface="Arial" panose="020B0604020202020204" pitchFamily="34" charset="0"/>
            </a:endParaRPr>
          </a:p>
        </p:txBody>
      </p:sp>
      <p:sp>
        <p:nvSpPr>
          <p:cNvPr id="23" name="Rectangle 22"/>
          <p:cNvSpPr/>
          <p:nvPr/>
        </p:nvSpPr>
        <p:spPr>
          <a:xfrm>
            <a:off x="143543" y="6397846"/>
            <a:ext cx="2185214" cy="307777"/>
          </a:xfrm>
          <a:prstGeom prst="rect">
            <a:avLst/>
          </a:prstGeom>
        </p:spPr>
        <p:txBody>
          <a:bodyPr wrap="none">
            <a:spAutoFit/>
          </a:bodyPr>
          <a:lstStyle/>
          <a:p>
            <a:pPr algn="ctr">
              <a:spcBef>
                <a:spcPct val="50000"/>
              </a:spcBef>
            </a:pPr>
            <a:r>
              <a:rPr lang="en-US" sz="1400" b="1" dirty="0" smtClean="0">
                <a:solidFill>
                  <a:srgbClr val="FFFF00"/>
                </a:solidFill>
                <a:ea typeface="ヒラギノ角ゴ Pro W3"/>
                <a:cs typeface="ヒラギノ角ゴ Pro W3"/>
              </a:rPr>
              <a:t>Source</a:t>
            </a:r>
            <a:r>
              <a:rPr lang="en-US" sz="1400" dirty="0" smtClean="0">
                <a:solidFill>
                  <a:srgbClr val="FFFF00"/>
                </a:solidFill>
                <a:ea typeface="ヒラギノ角ゴ Pro W3"/>
                <a:cs typeface="ヒラギノ角ゴ Pro W3"/>
              </a:rPr>
              <a:t>: published policy</a:t>
            </a:r>
            <a:endParaRPr lang="en-US" sz="1400" dirty="0">
              <a:solidFill>
                <a:srgbClr val="FFFF00"/>
              </a:solidFill>
              <a:ea typeface="ヒラギノ角ゴ Pro W3"/>
              <a:cs typeface="ヒラギノ角ゴ Pro W3"/>
            </a:endParaRPr>
          </a:p>
        </p:txBody>
      </p:sp>
      <p:pic>
        <p:nvPicPr>
          <p:cNvPr id="24" name="Picture 23"/>
          <p:cNvPicPr>
            <a:picLocks noChangeAspect="1"/>
          </p:cNvPicPr>
          <p:nvPr/>
        </p:nvPicPr>
        <p:blipFill>
          <a:blip r:embed="rId3"/>
          <a:stretch>
            <a:fillRect/>
          </a:stretch>
        </p:blipFill>
        <p:spPr>
          <a:xfrm>
            <a:off x="7938834" y="6397846"/>
            <a:ext cx="1205165" cy="460154"/>
          </a:xfrm>
          <a:prstGeom prst="rect">
            <a:avLst/>
          </a:prstGeom>
          <a:ln>
            <a:noFill/>
          </a:ln>
        </p:spPr>
      </p:pic>
      <p:sp>
        <p:nvSpPr>
          <p:cNvPr id="25" name="Rectangle 24"/>
          <p:cNvSpPr/>
          <p:nvPr/>
        </p:nvSpPr>
        <p:spPr>
          <a:xfrm>
            <a:off x="57150" y="1378932"/>
            <a:ext cx="9015413" cy="5018914"/>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26" name="Object 21"/>
          <p:cNvGraphicFramePr>
            <a:graphicFrameLocks noChangeAspect="1"/>
          </p:cNvGraphicFramePr>
          <p:nvPr>
            <p:extLst>
              <p:ext uri="{D42A27DB-BD31-4B8C-83A1-F6EECF244321}">
                <p14:modId xmlns:p14="http://schemas.microsoft.com/office/powerpoint/2010/main" val="329334587"/>
              </p:ext>
            </p:extLst>
          </p:nvPr>
        </p:nvGraphicFramePr>
        <p:xfrm>
          <a:off x="15875" y="1436688"/>
          <a:ext cx="9059863" cy="4810125"/>
        </p:xfrm>
        <a:graphic>
          <a:graphicData uri="http://schemas.openxmlformats.org/presentationml/2006/ole">
            <mc:AlternateContent xmlns:mc="http://schemas.openxmlformats.org/markup-compatibility/2006">
              <mc:Choice xmlns:v="urn:schemas-microsoft-com:vml" Requires="v">
                <p:oleObj spid="_x0000_s12348" name="Document" r:id="rId5" imgW="8267700" imgH="4318000" progId="Word.Document.12">
                  <p:embed/>
                </p:oleObj>
              </mc:Choice>
              <mc:Fallback>
                <p:oleObj name="Document" r:id="rId5" imgW="8267700" imgH="4318000" progId="Word.Document.12">
                  <p:embed/>
                  <p:pic>
                    <p:nvPicPr>
                      <p:cNvPr id="0" name=""/>
                      <p:cNvPicPr>
                        <a:picLocks noChangeAspect="1" noChangeArrowheads="1"/>
                      </p:cNvPicPr>
                      <p:nvPr/>
                    </p:nvPicPr>
                    <p:blipFill>
                      <a:blip r:embed="rId6"/>
                      <a:srcRect/>
                      <a:stretch>
                        <a:fillRect/>
                      </a:stretch>
                    </p:blipFill>
                    <p:spPr bwMode="auto">
                      <a:xfrm>
                        <a:off x="15875" y="1436688"/>
                        <a:ext cx="9059863" cy="481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 name="TextBox 20"/>
          <p:cNvSpPr txBox="1">
            <a:spLocks noChangeArrowheads="1"/>
          </p:cNvSpPr>
          <p:nvPr/>
        </p:nvSpPr>
        <p:spPr bwMode="auto">
          <a:xfrm>
            <a:off x="490538" y="5060415"/>
            <a:ext cx="186531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200"/>
              <a:t>ART for all children &lt;1</a:t>
            </a:r>
          </a:p>
        </p:txBody>
      </p:sp>
      <p:sp>
        <p:nvSpPr>
          <p:cNvPr id="28" name="Rectangle 27"/>
          <p:cNvSpPr/>
          <p:nvPr/>
        </p:nvSpPr>
        <p:spPr>
          <a:xfrm>
            <a:off x="98425" y="5065177"/>
            <a:ext cx="420688" cy="260350"/>
          </a:xfrm>
          <a:prstGeom prst="rect">
            <a:avLst/>
          </a:prstGeom>
          <a:solidFill>
            <a:srgbClr val="AC010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29" name="Rectangle 28"/>
          <p:cNvSpPr/>
          <p:nvPr/>
        </p:nvSpPr>
        <p:spPr>
          <a:xfrm>
            <a:off x="98425" y="5379502"/>
            <a:ext cx="420688" cy="260350"/>
          </a:xfrm>
          <a:prstGeom prst="rect">
            <a:avLst/>
          </a:prstGeom>
          <a:solidFill>
            <a:schemeClr val="accent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30" name="Rectangle 29"/>
          <p:cNvSpPr/>
          <p:nvPr/>
        </p:nvSpPr>
        <p:spPr>
          <a:xfrm>
            <a:off x="107950" y="5708115"/>
            <a:ext cx="420688" cy="260350"/>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31" name="Rectangle 30"/>
          <p:cNvSpPr/>
          <p:nvPr/>
        </p:nvSpPr>
        <p:spPr>
          <a:xfrm>
            <a:off x="98425" y="4750852"/>
            <a:ext cx="420688" cy="260350"/>
          </a:xfrm>
          <a:prstGeom prst="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32" name="TextBox 25"/>
          <p:cNvSpPr txBox="1">
            <a:spLocks noChangeArrowheads="1"/>
          </p:cNvSpPr>
          <p:nvPr/>
        </p:nvSpPr>
        <p:spPr bwMode="auto">
          <a:xfrm>
            <a:off x="506413" y="4744502"/>
            <a:ext cx="160337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200" dirty="0"/>
              <a:t>Clinical prerequisites</a:t>
            </a:r>
          </a:p>
        </p:txBody>
      </p:sp>
      <p:sp>
        <p:nvSpPr>
          <p:cNvPr id="33" name="TextBox 26"/>
          <p:cNvSpPr txBox="1">
            <a:spLocks noChangeArrowheads="1"/>
          </p:cNvSpPr>
          <p:nvPr/>
        </p:nvSpPr>
        <p:spPr bwMode="auto">
          <a:xfrm>
            <a:off x="504825" y="5374740"/>
            <a:ext cx="186531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200"/>
              <a:t>ART for all children &lt;2</a:t>
            </a:r>
          </a:p>
        </p:txBody>
      </p:sp>
      <p:sp>
        <p:nvSpPr>
          <p:cNvPr id="34" name="TextBox 27"/>
          <p:cNvSpPr txBox="1">
            <a:spLocks noChangeArrowheads="1"/>
          </p:cNvSpPr>
          <p:nvPr/>
        </p:nvSpPr>
        <p:spPr bwMode="auto">
          <a:xfrm>
            <a:off x="490538" y="5698590"/>
            <a:ext cx="186531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200"/>
              <a:t>ART for all children &lt;5</a:t>
            </a:r>
          </a:p>
        </p:txBody>
      </p:sp>
      <p:sp>
        <p:nvSpPr>
          <p:cNvPr id="37" name="Rectangle 36"/>
          <p:cNvSpPr/>
          <p:nvPr/>
        </p:nvSpPr>
        <p:spPr>
          <a:xfrm>
            <a:off x="107950" y="6040438"/>
            <a:ext cx="420688" cy="260350"/>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200">
              <a:solidFill>
                <a:schemeClr val="tx1"/>
              </a:solidFill>
            </a:endParaRPr>
          </a:p>
        </p:txBody>
      </p:sp>
      <p:sp>
        <p:nvSpPr>
          <p:cNvPr id="38" name="TextBox 31"/>
          <p:cNvSpPr txBox="1">
            <a:spLocks noChangeArrowheads="1"/>
          </p:cNvSpPr>
          <p:nvPr/>
        </p:nvSpPr>
        <p:spPr bwMode="auto">
          <a:xfrm>
            <a:off x="493713" y="6040438"/>
            <a:ext cx="18653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200"/>
              <a:t>ART for all children &lt;15</a:t>
            </a:r>
          </a:p>
        </p:txBody>
      </p:sp>
    </p:spTree>
    <p:extLst>
      <p:ext uri="{BB962C8B-B14F-4D97-AF65-F5344CB8AC3E}">
        <p14:creationId xmlns:p14="http://schemas.microsoft.com/office/powerpoint/2010/main" val="2623472225"/>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Diagram 35"/>
          <p:cNvGraphicFramePr/>
          <p:nvPr>
            <p:extLst>
              <p:ext uri="{D42A27DB-BD31-4B8C-83A1-F6EECF244321}">
                <p14:modId xmlns:p14="http://schemas.microsoft.com/office/powerpoint/2010/main" val="520184819"/>
              </p:ext>
            </p:extLst>
          </p:nvPr>
        </p:nvGraphicFramePr>
        <p:xfrm>
          <a:off x="82998" y="1959008"/>
          <a:ext cx="1066498" cy="3628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7" name="Diagram 36"/>
          <p:cNvGraphicFramePr/>
          <p:nvPr>
            <p:extLst>
              <p:ext uri="{D42A27DB-BD31-4B8C-83A1-F6EECF244321}">
                <p14:modId xmlns:p14="http://schemas.microsoft.com/office/powerpoint/2010/main" val="3898807304"/>
              </p:ext>
            </p:extLst>
          </p:nvPr>
        </p:nvGraphicFramePr>
        <p:xfrm>
          <a:off x="1149496" y="1961730"/>
          <a:ext cx="938001" cy="36013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60" name="Diagram 59"/>
          <p:cNvGraphicFramePr/>
          <p:nvPr>
            <p:extLst>
              <p:ext uri="{D42A27DB-BD31-4B8C-83A1-F6EECF244321}">
                <p14:modId xmlns:p14="http://schemas.microsoft.com/office/powerpoint/2010/main" val="3333098113"/>
              </p:ext>
            </p:extLst>
          </p:nvPr>
        </p:nvGraphicFramePr>
        <p:xfrm>
          <a:off x="2106534" y="1951556"/>
          <a:ext cx="948570" cy="36285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61" name="Diagram 60"/>
          <p:cNvGraphicFramePr/>
          <p:nvPr>
            <p:extLst>
              <p:ext uri="{D42A27DB-BD31-4B8C-83A1-F6EECF244321}">
                <p14:modId xmlns:p14="http://schemas.microsoft.com/office/powerpoint/2010/main" val="1349380633"/>
              </p:ext>
            </p:extLst>
          </p:nvPr>
        </p:nvGraphicFramePr>
        <p:xfrm>
          <a:off x="3055104" y="1961429"/>
          <a:ext cx="995136" cy="359229"/>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63" name="Diagram 62"/>
          <p:cNvGraphicFramePr/>
          <p:nvPr>
            <p:extLst>
              <p:ext uri="{D42A27DB-BD31-4B8C-83A1-F6EECF244321}">
                <p14:modId xmlns:p14="http://schemas.microsoft.com/office/powerpoint/2010/main" val="909379629"/>
              </p:ext>
            </p:extLst>
          </p:nvPr>
        </p:nvGraphicFramePr>
        <p:xfrm>
          <a:off x="4047132" y="1949744"/>
          <a:ext cx="1052105" cy="362858"/>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aphicFrame>
        <p:nvGraphicFramePr>
          <p:cNvPr id="64" name="Diagram 63"/>
          <p:cNvGraphicFramePr/>
          <p:nvPr>
            <p:extLst>
              <p:ext uri="{D42A27DB-BD31-4B8C-83A1-F6EECF244321}">
                <p14:modId xmlns:p14="http://schemas.microsoft.com/office/powerpoint/2010/main" val="1824108411"/>
              </p:ext>
            </p:extLst>
          </p:nvPr>
        </p:nvGraphicFramePr>
        <p:xfrm>
          <a:off x="5106762" y="1948836"/>
          <a:ext cx="1281525" cy="362858"/>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graphicFrame>
        <p:nvGraphicFramePr>
          <p:cNvPr id="65" name="Diagram 64"/>
          <p:cNvGraphicFramePr/>
          <p:nvPr>
            <p:extLst>
              <p:ext uri="{D42A27DB-BD31-4B8C-83A1-F6EECF244321}">
                <p14:modId xmlns:p14="http://schemas.microsoft.com/office/powerpoint/2010/main" val="776762768"/>
              </p:ext>
            </p:extLst>
          </p:nvPr>
        </p:nvGraphicFramePr>
        <p:xfrm>
          <a:off x="6421326" y="1953372"/>
          <a:ext cx="926950" cy="359229"/>
        </p:xfrm>
        <a:graphic>
          <a:graphicData uri="http://schemas.openxmlformats.org/drawingml/2006/diagram">
            <dgm:relIds xmlns:dgm="http://schemas.openxmlformats.org/drawingml/2006/diagram" xmlns:r="http://schemas.openxmlformats.org/officeDocument/2006/relationships" r:dm="rId32" r:lo="rId33" r:qs="rId34" r:cs="rId35"/>
          </a:graphicData>
        </a:graphic>
      </p:graphicFrame>
      <p:sp>
        <p:nvSpPr>
          <p:cNvPr id="66" name="TextBox 12"/>
          <p:cNvSpPr txBox="1">
            <a:spLocks noChangeArrowheads="1"/>
          </p:cNvSpPr>
          <p:nvPr/>
        </p:nvSpPr>
        <p:spPr bwMode="auto">
          <a:xfrm>
            <a:off x="2136284" y="3868064"/>
            <a:ext cx="944563" cy="1044000"/>
          </a:xfrm>
          <a:prstGeom prst="rect">
            <a:avLst/>
          </a:prstGeom>
          <a:noFill/>
          <a:ln w="381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ctr"/>
            <a:r>
              <a:rPr lang="en-US" sz="1100" b="1" dirty="0">
                <a:solidFill>
                  <a:srgbClr val="FFFFFF"/>
                </a:solidFill>
              </a:rPr>
              <a:t>&lt;1 year</a:t>
            </a:r>
          </a:p>
          <a:p>
            <a:pPr algn="ctr"/>
            <a:r>
              <a:rPr lang="en-US" sz="1100" dirty="0">
                <a:solidFill>
                  <a:srgbClr val="FFFFFF"/>
                </a:solidFill>
              </a:rPr>
              <a:t>Paraguay</a:t>
            </a:r>
          </a:p>
        </p:txBody>
      </p:sp>
      <p:graphicFrame>
        <p:nvGraphicFramePr>
          <p:cNvPr id="67" name="Diagram 66"/>
          <p:cNvGraphicFramePr/>
          <p:nvPr>
            <p:extLst>
              <p:ext uri="{D42A27DB-BD31-4B8C-83A1-F6EECF244321}">
                <p14:modId xmlns:p14="http://schemas.microsoft.com/office/powerpoint/2010/main" val="1949033856"/>
              </p:ext>
            </p:extLst>
          </p:nvPr>
        </p:nvGraphicFramePr>
        <p:xfrm>
          <a:off x="7375042" y="1959418"/>
          <a:ext cx="863359" cy="360137"/>
        </p:xfrm>
        <a:graphic>
          <a:graphicData uri="http://schemas.openxmlformats.org/drawingml/2006/diagram">
            <dgm:relIds xmlns:dgm="http://schemas.openxmlformats.org/drawingml/2006/diagram" xmlns:r="http://schemas.openxmlformats.org/officeDocument/2006/relationships" r:dm="rId37" r:lo="rId38" r:qs="rId39" r:cs="rId40"/>
          </a:graphicData>
        </a:graphic>
      </p:graphicFrame>
      <p:sp>
        <p:nvSpPr>
          <p:cNvPr id="68" name="TextBox 67"/>
          <p:cNvSpPr txBox="1"/>
          <p:nvPr/>
        </p:nvSpPr>
        <p:spPr>
          <a:xfrm>
            <a:off x="56659" y="1105863"/>
            <a:ext cx="1101725" cy="584200"/>
          </a:xfrm>
          <a:prstGeom prst="rect">
            <a:avLst/>
          </a:prstGeom>
          <a:noFill/>
          <a:ln w="38100" cmpd="sng">
            <a:solidFill>
              <a:schemeClr val="tx2">
                <a:lumMod val="60000"/>
                <a:lumOff val="40000"/>
              </a:schemeClr>
            </a:solidFill>
          </a:ln>
        </p:spPr>
        <p:txBody>
          <a:bodyPr>
            <a:spAutoFit/>
          </a:bodyPr>
          <a:lstStyle/>
          <a:p>
            <a:pPr algn="ctr">
              <a:defRPr/>
            </a:pPr>
            <a:r>
              <a:rPr lang="en-US" sz="1100" b="1" dirty="0">
                <a:solidFill>
                  <a:srgbClr val="FFFFFF"/>
                </a:solidFill>
              </a:rPr>
              <a:t>&lt;1 year</a:t>
            </a:r>
          </a:p>
          <a:p>
            <a:pPr algn="ctr">
              <a:defRPr/>
            </a:pPr>
            <a:r>
              <a:rPr lang="en-US" sz="1050" dirty="0">
                <a:solidFill>
                  <a:srgbClr val="FFFFFF"/>
                </a:solidFill>
              </a:rPr>
              <a:t>Brazil, Burkina Faso, Sweden</a:t>
            </a:r>
          </a:p>
        </p:txBody>
      </p:sp>
      <p:sp>
        <p:nvSpPr>
          <p:cNvPr id="69" name="TextBox 68"/>
          <p:cNvSpPr txBox="1"/>
          <p:nvPr/>
        </p:nvSpPr>
        <p:spPr>
          <a:xfrm>
            <a:off x="47134" y="653426"/>
            <a:ext cx="1116013" cy="430212"/>
          </a:xfrm>
          <a:prstGeom prst="rect">
            <a:avLst/>
          </a:prstGeom>
          <a:noFill/>
          <a:ln w="38100" cmpd="sng">
            <a:solidFill>
              <a:schemeClr val="tx2">
                <a:lumMod val="60000"/>
                <a:lumOff val="40000"/>
              </a:schemeClr>
            </a:solidFill>
          </a:ln>
        </p:spPr>
        <p:txBody>
          <a:bodyPr>
            <a:spAutoFit/>
          </a:bodyPr>
          <a:lstStyle/>
          <a:p>
            <a:pPr algn="ctr">
              <a:defRPr/>
            </a:pPr>
            <a:r>
              <a:rPr lang="en-US" sz="1100" b="1" dirty="0">
                <a:solidFill>
                  <a:srgbClr val="FFFFFF"/>
                </a:solidFill>
              </a:rPr>
              <a:t>&lt;2 years</a:t>
            </a:r>
          </a:p>
          <a:p>
            <a:pPr algn="ctr">
              <a:defRPr/>
            </a:pPr>
            <a:r>
              <a:rPr lang="en-US" sz="1100" dirty="0">
                <a:solidFill>
                  <a:srgbClr val="FFFFFF"/>
                </a:solidFill>
              </a:rPr>
              <a:t>Guyana</a:t>
            </a:r>
          </a:p>
        </p:txBody>
      </p:sp>
      <p:sp>
        <p:nvSpPr>
          <p:cNvPr id="70" name="TextBox 69"/>
          <p:cNvSpPr txBox="1"/>
          <p:nvPr/>
        </p:nvSpPr>
        <p:spPr>
          <a:xfrm>
            <a:off x="61422" y="2472658"/>
            <a:ext cx="1116012" cy="1259997"/>
          </a:xfrm>
          <a:prstGeom prst="rect">
            <a:avLst/>
          </a:prstGeom>
          <a:noFill/>
          <a:ln w="38100" cmpd="sng">
            <a:solidFill>
              <a:schemeClr val="accent3">
                <a:lumMod val="60000"/>
                <a:lumOff val="40000"/>
              </a:schemeClr>
            </a:solidFill>
          </a:ln>
        </p:spPr>
        <p:txBody>
          <a:bodyPr>
            <a:spAutoFit/>
          </a:bodyPr>
          <a:lstStyle/>
          <a:p>
            <a:pPr algn="ctr">
              <a:defRPr/>
            </a:pPr>
            <a:r>
              <a:rPr lang="en-US" sz="1100" b="1" dirty="0" smtClean="0">
                <a:solidFill>
                  <a:srgbClr val="FFFFFF"/>
                </a:solidFill>
              </a:rPr>
              <a:t>Pre-requisites</a:t>
            </a:r>
          </a:p>
          <a:p>
            <a:pPr algn="ctr">
              <a:defRPr/>
            </a:pPr>
            <a:r>
              <a:rPr lang="en-US" sz="950" dirty="0" smtClean="0">
                <a:solidFill>
                  <a:srgbClr val="FFFFFF"/>
                </a:solidFill>
              </a:rPr>
              <a:t>Cape Verde, Comoros, Djibouti, Peru, Ukraine,</a:t>
            </a:r>
          </a:p>
          <a:p>
            <a:pPr algn="ctr">
              <a:defRPr/>
            </a:pPr>
            <a:r>
              <a:rPr lang="en-US" sz="950" dirty="0" smtClean="0">
                <a:solidFill>
                  <a:srgbClr val="FFFFFF"/>
                </a:solidFill>
              </a:rPr>
              <a:t>Sierra Leone</a:t>
            </a:r>
            <a:endParaRPr lang="en-US" sz="950" dirty="0">
              <a:solidFill>
                <a:srgbClr val="FFFFFF"/>
              </a:solidFill>
            </a:endParaRPr>
          </a:p>
        </p:txBody>
      </p:sp>
      <p:sp>
        <p:nvSpPr>
          <p:cNvPr id="72" name="TextBox 18"/>
          <p:cNvSpPr txBox="1">
            <a:spLocks noChangeArrowheads="1"/>
          </p:cNvSpPr>
          <p:nvPr/>
        </p:nvSpPr>
        <p:spPr bwMode="auto">
          <a:xfrm>
            <a:off x="1191722" y="2472655"/>
            <a:ext cx="914400" cy="1259994"/>
          </a:xfrm>
          <a:prstGeom prst="rect">
            <a:avLst/>
          </a:prstGeom>
          <a:noFill/>
          <a:ln w="38100">
            <a:solidFill>
              <a:schemeClr val="accent3">
                <a:lumMod val="60000"/>
                <a:lumOff val="40000"/>
              </a:schemeClr>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ctr"/>
            <a:r>
              <a:rPr lang="en-US" sz="1100" b="1" dirty="0">
                <a:solidFill>
                  <a:srgbClr val="FFFFFF"/>
                </a:solidFill>
              </a:rPr>
              <a:t>&lt;2 years</a:t>
            </a:r>
          </a:p>
          <a:p>
            <a:pPr algn="ctr"/>
            <a:r>
              <a:rPr lang="en-US" sz="1100" dirty="0">
                <a:solidFill>
                  <a:srgbClr val="FFFFFF"/>
                </a:solidFill>
              </a:rPr>
              <a:t>Algeria, Ghana, </a:t>
            </a:r>
            <a:r>
              <a:rPr lang="en-US" sz="1100" dirty="0" smtClean="0">
                <a:solidFill>
                  <a:srgbClr val="FFFFFF"/>
                </a:solidFill>
              </a:rPr>
              <a:t>Morocco </a:t>
            </a:r>
            <a:endParaRPr lang="en-US" sz="1100" dirty="0">
              <a:solidFill>
                <a:srgbClr val="FFFFFF"/>
              </a:solidFill>
            </a:endParaRPr>
          </a:p>
        </p:txBody>
      </p:sp>
      <p:sp>
        <p:nvSpPr>
          <p:cNvPr id="73" name="TextBox 19"/>
          <p:cNvSpPr txBox="1">
            <a:spLocks noChangeArrowheads="1"/>
          </p:cNvSpPr>
          <p:nvPr/>
        </p:nvSpPr>
        <p:spPr bwMode="auto">
          <a:xfrm>
            <a:off x="2114059" y="2472662"/>
            <a:ext cx="936625" cy="1262715"/>
          </a:xfrm>
          <a:prstGeom prst="rect">
            <a:avLst/>
          </a:prstGeom>
          <a:noFill/>
          <a:ln w="38100">
            <a:solidFill>
              <a:schemeClr val="accent3">
                <a:lumMod val="60000"/>
                <a:lumOff val="40000"/>
              </a:schemeClr>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ctr"/>
            <a:r>
              <a:rPr lang="en-US" sz="1100" b="1" dirty="0">
                <a:solidFill>
                  <a:srgbClr val="FFFFFF"/>
                </a:solidFill>
              </a:rPr>
              <a:t>&lt;2 years</a:t>
            </a:r>
          </a:p>
          <a:p>
            <a:pPr algn="ctr"/>
            <a:r>
              <a:rPr lang="en-US" sz="1100" dirty="0" smtClean="0">
                <a:solidFill>
                  <a:srgbClr val="FFFFFF"/>
                </a:solidFill>
              </a:rPr>
              <a:t>Afghanistan Kazakhstan </a:t>
            </a:r>
            <a:r>
              <a:rPr lang="en-US" sz="1100" dirty="0">
                <a:solidFill>
                  <a:srgbClr val="FFFFFF"/>
                </a:solidFill>
              </a:rPr>
              <a:t>Panama, Timor-</a:t>
            </a:r>
            <a:r>
              <a:rPr lang="en-US" sz="1100" dirty="0" smtClean="0">
                <a:solidFill>
                  <a:srgbClr val="FFFFFF"/>
                </a:solidFill>
              </a:rPr>
              <a:t>Leste </a:t>
            </a:r>
            <a:endParaRPr lang="en-US" sz="1100" dirty="0">
              <a:solidFill>
                <a:srgbClr val="FFFFFF"/>
              </a:solidFill>
            </a:endParaRPr>
          </a:p>
        </p:txBody>
      </p:sp>
      <p:sp>
        <p:nvSpPr>
          <p:cNvPr id="76" name="TextBox 22"/>
          <p:cNvSpPr txBox="1">
            <a:spLocks noChangeArrowheads="1"/>
          </p:cNvSpPr>
          <p:nvPr/>
        </p:nvSpPr>
        <p:spPr bwMode="auto">
          <a:xfrm>
            <a:off x="3058622" y="2472665"/>
            <a:ext cx="973137" cy="1259999"/>
          </a:xfrm>
          <a:prstGeom prst="rect">
            <a:avLst/>
          </a:prstGeom>
          <a:noFill/>
          <a:ln w="38100">
            <a:solidFill>
              <a:schemeClr val="accent3">
                <a:lumMod val="60000"/>
                <a:lumOff val="40000"/>
              </a:schemeClr>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ctr"/>
            <a:r>
              <a:rPr lang="en-US" sz="1100" b="1" dirty="0">
                <a:solidFill>
                  <a:srgbClr val="FFFFFF"/>
                </a:solidFill>
              </a:rPr>
              <a:t>&lt;2 years</a:t>
            </a:r>
          </a:p>
          <a:p>
            <a:pPr algn="ctr"/>
            <a:r>
              <a:rPr lang="en-US" sz="1100" dirty="0">
                <a:solidFill>
                  <a:srgbClr val="FFFFFF"/>
                </a:solidFill>
              </a:rPr>
              <a:t>Argentina, </a:t>
            </a:r>
            <a:r>
              <a:rPr lang="en-US" sz="1100" dirty="0" smtClean="0">
                <a:solidFill>
                  <a:srgbClr val="FFFFFF"/>
                </a:solidFill>
              </a:rPr>
              <a:t>Benin</a:t>
            </a:r>
            <a:endParaRPr lang="en-US" sz="1100" dirty="0">
              <a:solidFill>
                <a:srgbClr val="FFFFFF"/>
              </a:solidFill>
            </a:endParaRPr>
          </a:p>
          <a:p>
            <a:pPr algn="ctr"/>
            <a:endParaRPr lang="en-US" sz="1100" dirty="0">
              <a:solidFill>
                <a:srgbClr val="FFFFFF"/>
              </a:solidFill>
            </a:endParaRPr>
          </a:p>
          <a:p>
            <a:pPr algn="ctr"/>
            <a:endParaRPr lang="en-US" sz="1100" dirty="0">
              <a:solidFill>
                <a:srgbClr val="FFFFFF"/>
              </a:solidFill>
            </a:endParaRPr>
          </a:p>
          <a:p>
            <a:pPr algn="ctr"/>
            <a:endParaRPr lang="en-US" sz="1100" dirty="0">
              <a:solidFill>
                <a:srgbClr val="FFFFFF"/>
              </a:solidFill>
            </a:endParaRPr>
          </a:p>
        </p:txBody>
      </p:sp>
      <p:sp>
        <p:nvSpPr>
          <p:cNvPr id="77" name="TextBox 76"/>
          <p:cNvSpPr txBox="1"/>
          <p:nvPr/>
        </p:nvSpPr>
        <p:spPr>
          <a:xfrm>
            <a:off x="4014297" y="78751"/>
            <a:ext cx="1100137" cy="553998"/>
          </a:xfrm>
          <a:prstGeom prst="rect">
            <a:avLst/>
          </a:prstGeom>
          <a:noFill/>
          <a:ln w="38100" cmpd="sng">
            <a:solidFill>
              <a:schemeClr val="tx2">
                <a:lumMod val="60000"/>
                <a:lumOff val="40000"/>
              </a:schemeClr>
            </a:solidFill>
          </a:ln>
        </p:spPr>
        <p:txBody>
          <a:bodyPr>
            <a:spAutoFit/>
          </a:bodyPr>
          <a:lstStyle/>
          <a:p>
            <a:pPr algn="ctr">
              <a:defRPr/>
            </a:pPr>
            <a:r>
              <a:rPr lang="en-US" sz="1100" b="1" dirty="0">
                <a:solidFill>
                  <a:srgbClr val="FFFFFF"/>
                </a:solidFill>
              </a:rPr>
              <a:t>&lt;15 years</a:t>
            </a:r>
          </a:p>
          <a:p>
            <a:pPr algn="ctr">
              <a:defRPr/>
            </a:pPr>
            <a:r>
              <a:rPr lang="en-US" sz="900" dirty="0" smtClean="0">
                <a:solidFill>
                  <a:srgbClr val="FFFFFF"/>
                </a:solidFill>
              </a:rPr>
              <a:t>Namibia, Uganda</a:t>
            </a:r>
            <a:r>
              <a:rPr lang="en-US" sz="900" dirty="0">
                <a:solidFill>
                  <a:srgbClr val="FFFFFF"/>
                </a:solidFill>
              </a:rPr>
              <a:t>, </a:t>
            </a:r>
            <a:r>
              <a:rPr lang="en-US" sz="900" dirty="0" smtClean="0">
                <a:solidFill>
                  <a:srgbClr val="FFFFFF"/>
                </a:solidFill>
              </a:rPr>
              <a:t>Zambia</a:t>
            </a:r>
            <a:r>
              <a:rPr lang="en-US" sz="1000" dirty="0" smtClean="0">
                <a:solidFill>
                  <a:srgbClr val="FFFFFF"/>
                </a:solidFill>
              </a:rPr>
              <a:t> </a:t>
            </a:r>
            <a:endParaRPr lang="en-US" sz="1100" dirty="0">
              <a:solidFill>
                <a:srgbClr val="FFFFFF"/>
              </a:solidFill>
            </a:endParaRPr>
          </a:p>
        </p:txBody>
      </p:sp>
      <p:sp>
        <p:nvSpPr>
          <p:cNvPr id="78" name="TextBox 77"/>
          <p:cNvSpPr txBox="1"/>
          <p:nvPr/>
        </p:nvSpPr>
        <p:spPr>
          <a:xfrm>
            <a:off x="4038109" y="2472666"/>
            <a:ext cx="1079500" cy="1259998"/>
          </a:xfrm>
          <a:prstGeom prst="rect">
            <a:avLst/>
          </a:prstGeom>
          <a:noFill/>
          <a:ln w="38100" cmpd="sng">
            <a:solidFill>
              <a:schemeClr val="accent3">
                <a:lumMod val="60000"/>
                <a:lumOff val="40000"/>
              </a:schemeClr>
            </a:solidFill>
          </a:ln>
        </p:spPr>
        <p:txBody>
          <a:bodyPr>
            <a:spAutoFit/>
          </a:bodyPr>
          <a:lstStyle/>
          <a:p>
            <a:pPr algn="ctr">
              <a:defRPr/>
            </a:pPr>
            <a:r>
              <a:rPr lang="en-US" sz="1100" b="1" dirty="0">
                <a:solidFill>
                  <a:srgbClr val="FFFFFF"/>
                </a:solidFill>
              </a:rPr>
              <a:t>&lt;5 years</a:t>
            </a:r>
          </a:p>
          <a:p>
            <a:pPr algn="ctr">
              <a:defRPr/>
            </a:pPr>
            <a:r>
              <a:rPr lang="en-US" sz="1000" dirty="0">
                <a:solidFill>
                  <a:srgbClr val="FFFFFF"/>
                </a:solidFill>
              </a:rPr>
              <a:t>Colombia, Democratic Republic of Congo, Fiji, Honduras,</a:t>
            </a:r>
            <a:r>
              <a:rPr lang="en-US" sz="1000" b="1" dirty="0">
                <a:solidFill>
                  <a:srgbClr val="FFFFFF"/>
                </a:solidFill>
              </a:rPr>
              <a:t> </a:t>
            </a:r>
            <a:r>
              <a:rPr lang="en-US" sz="1000" dirty="0">
                <a:solidFill>
                  <a:srgbClr val="FFFFFF"/>
                </a:solidFill>
              </a:rPr>
              <a:t>Mali, </a:t>
            </a:r>
            <a:r>
              <a:rPr lang="en-US" sz="1000" dirty="0" smtClean="0">
                <a:solidFill>
                  <a:srgbClr val="FFFFFF"/>
                </a:solidFill>
              </a:rPr>
              <a:t>Oman</a:t>
            </a:r>
            <a:endParaRPr lang="en-US" sz="950" dirty="0">
              <a:solidFill>
                <a:srgbClr val="FFFFFF"/>
              </a:solidFill>
            </a:endParaRPr>
          </a:p>
        </p:txBody>
      </p:sp>
      <p:sp>
        <p:nvSpPr>
          <p:cNvPr id="80" name="TextBox 79"/>
          <p:cNvSpPr txBox="1"/>
          <p:nvPr/>
        </p:nvSpPr>
        <p:spPr>
          <a:xfrm>
            <a:off x="5120784" y="90922"/>
            <a:ext cx="1263650" cy="539999"/>
          </a:xfrm>
          <a:prstGeom prst="rect">
            <a:avLst/>
          </a:prstGeom>
          <a:noFill/>
          <a:ln w="38100" cmpd="sng">
            <a:solidFill>
              <a:schemeClr val="tx2">
                <a:lumMod val="60000"/>
                <a:lumOff val="40000"/>
              </a:schemeClr>
            </a:solidFill>
          </a:ln>
        </p:spPr>
        <p:txBody>
          <a:bodyPr>
            <a:spAutoFit/>
          </a:bodyPr>
          <a:lstStyle/>
          <a:p>
            <a:pPr algn="ctr">
              <a:defRPr/>
            </a:pPr>
            <a:r>
              <a:rPr lang="en-US" sz="1100" b="1" dirty="0">
                <a:solidFill>
                  <a:srgbClr val="FFFFFF"/>
                </a:solidFill>
              </a:rPr>
              <a:t>&lt;15 years</a:t>
            </a:r>
          </a:p>
          <a:p>
            <a:pPr algn="ctr">
              <a:defRPr/>
            </a:pPr>
            <a:r>
              <a:rPr lang="en-US" sz="1000" dirty="0">
                <a:solidFill>
                  <a:srgbClr val="FFFFFF"/>
                </a:solidFill>
              </a:rPr>
              <a:t>Tanzania</a:t>
            </a:r>
            <a:endParaRPr lang="en-US" sz="1100" dirty="0">
              <a:solidFill>
                <a:srgbClr val="FFFFFF"/>
              </a:solidFill>
            </a:endParaRPr>
          </a:p>
        </p:txBody>
      </p:sp>
      <p:sp>
        <p:nvSpPr>
          <p:cNvPr id="81" name="TextBox 27"/>
          <p:cNvSpPr txBox="1">
            <a:spLocks noChangeArrowheads="1"/>
          </p:cNvSpPr>
          <p:nvPr/>
        </p:nvSpPr>
        <p:spPr bwMode="auto">
          <a:xfrm>
            <a:off x="5116022" y="2475837"/>
            <a:ext cx="1271587" cy="1259998"/>
          </a:xfrm>
          <a:prstGeom prst="rect">
            <a:avLst/>
          </a:prstGeom>
          <a:noFill/>
          <a:ln w="38100">
            <a:solidFill>
              <a:schemeClr val="accent3">
                <a:lumMod val="60000"/>
                <a:lumOff val="40000"/>
              </a:schemeClr>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ctr"/>
            <a:r>
              <a:rPr lang="en-US" sz="1100" b="1" dirty="0">
                <a:solidFill>
                  <a:srgbClr val="FFFFFF"/>
                </a:solidFill>
              </a:rPr>
              <a:t>&lt;5 years</a:t>
            </a:r>
          </a:p>
          <a:p>
            <a:pPr algn="ctr"/>
            <a:r>
              <a:rPr lang="en-US" sz="900" dirty="0">
                <a:solidFill>
                  <a:srgbClr val="FFFFFF"/>
                </a:solidFill>
              </a:rPr>
              <a:t>Angola, Bangladesh, Bhutan, </a:t>
            </a:r>
            <a:r>
              <a:rPr lang="en-US" sz="900" dirty="0" smtClean="0">
                <a:solidFill>
                  <a:srgbClr val="FFFFFF"/>
                </a:solidFill>
              </a:rPr>
              <a:t>Cameroon</a:t>
            </a:r>
            <a:r>
              <a:rPr lang="en-US" sz="900" dirty="0">
                <a:solidFill>
                  <a:srgbClr val="FFFFFF"/>
                </a:solidFill>
              </a:rPr>
              <a:t>, El Salvador, Gabon, Indonesia, Liberia, Nigeria</a:t>
            </a:r>
            <a:r>
              <a:rPr lang="en-US" sz="900" dirty="0" smtClean="0">
                <a:solidFill>
                  <a:srgbClr val="FFFFFF"/>
                </a:solidFill>
              </a:rPr>
              <a:t>, Mauritania</a:t>
            </a:r>
            <a:r>
              <a:rPr lang="en-US" sz="900" dirty="0">
                <a:solidFill>
                  <a:srgbClr val="FFFFFF"/>
                </a:solidFill>
              </a:rPr>
              <a:t>, </a:t>
            </a:r>
            <a:r>
              <a:rPr lang="en-US" sz="900" dirty="0" smtClean="0">
                <a:solidFill>
                  <a:srgbClr val="FFFFFF"/>
                </a:solidFill>
              </a:rPr>
              <a:t>Myanmar</a:t>
            </a:r>
            <a:r>
              <a:rPr lang="en-US" sz="900" dirty="0">
                <a:solidFill>
                  <a:srgbClr val="FFFFFF"/>
                </a:solidFill>
              </a:rPr>
              <a:t>, Nepal, South Sudan, Sudan </a:t>
            </a:r>
          </a:p>
        </p:txBody>
      </p:sp>
      <p:sp>
        <p:nvSpPr>
          <p:cNvPr id="82" name="TextBox 28"/>
          <p:cNvSpPr txBox="1">
            <a:spLocks noChangeArrowheads="1"/>
          </p:cNvSpPr>
          <p:nvPr/>
        </p:nvSpPr>
        <p:spPr bwMode="auto">
          <a:xfrm>
            <a:off x="4042872" y="3861714"/>
            <a:ext cx="1079500" cy="1031051"/>
          </a:xfrm>
          <a:prstGeom prst="rect">
            <a:avLst/>
          </a:prstGeom>
          <a:noFill/>
          <a:ln w="381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ctr"/>
            <a:r>
              <a:rPr lang="en-US" sz="1100" b="1" dirty="0">
                <a:solidFill>
                  <a:srgbClr val="FFFFFF"/>
                </a:solidFill>
              </a:rPr>
              <a:t>&lt;2 years</a:t>
            </a:r>
          </a:p>
          <a:p>
            <a:pPr algn="ctr"/>
            <a:r>
              <a:rPr lang="en-US" sz="1000" dirty="0">
                <a:solidFill>
                  <a:srgbClr val="FFFFFF"/>
                </a:solidFill>
              </a:rPr>
              <a:t>Cote d’Ivoire,</a:t>
            </a:r>
            <a:r>
              <a:rPr lang="en-US" sz="1000" b="1" dirty="0">
                <a:solidFill>
                  <a:srgbClr val="FFFFFF"/>
                </a:solidFill>
              </a:rPr>
              <a:t> </a:t>
            </a:r>
            <a:r>
              <a:rPr lang="en-US" sz="1000" dirty="0" smtClean="0">
                <a:solidFill>
                  <a:srgbClr val="FFFFFF"/>
                </a:solidFill>
              </a:rPr>
              <a:t>Marshall Islands</a:t>
            </a:r>
            <a:r>
              <a:rPr lang="en-US" sz="1000" dirty="0">
                <a:solidFill>
                  <a:srgbClr val="FFFFFF"/>
                </a:solidFill>
              </a:rPr>
              <a:t>, Samoa, Tuvalu, Vanuatu </a:t>
            </a:r>
          </a:p>
        </p:txBody>
      </p:sp>
      <p:sp>
        <p:nvSpPr>
          <p:cNvPr id="83" name="TextBox 29"/>
          <p:cNvSpPr txBox="1">
            <a:spLocks noChangeArrowheads="1"/>
          </p:cNvSpPr>
          <p:nvPr/>
        </p:nvSpPr>
        <p:spPr bwMode="auto">
          <a:xfrm>
            <a:off x="5122372" y="3861715"/>
            <a:ext cx="1262062" cy="1044000"/>
          </a:xfrm>
          <a:prstGeom prst="rect">
            <a:avLst/>
          </a:prstGeom>
          <a:noFill/>
          <a:ln w="381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ctr"/>
            <a:r>
              <a:rPr lang="en-US" sz="1100" b="1">
                <a:solidFill>
                  <a:srgbClr val="FFFFFF"/>
                </a:solidFill>
              </a:rPr>
              <a:t>&lt;2 years</a:t>
            </a:r>
          </a:p>
          <a:p>
            <a:pPr algn="ctr"/>
            <a:r>
              <a:rPr lang="en-US" sz="1000">
                <a:solidFill>
                  <a:srgbClr val="FFFFFF"/>
                </a:solidFill>
              </a:rPr>
              <a:t>Venezuela</a:t>
            </a:r>
          </a:p>
        </p:txBody>
      </p:sp>
      <p:sp>
        <p:nvSpPr>
          <p:cNvPr id="84" name="TextBox 30"/>
          <p:cNvSpPr txBox="1">
            <a:spLocks noChangeArrowheads="1"/>
          </p:cNvSpPr>
          <p:nvPr/>
        </p:nvSpPr>
        <p:spPr bwMode="auto">
          <a:xfrm>
            <a:off x="6395547" y="2475839"/>
            <a:ext cx="971550" cy="1259998"/>
          </a:xfrm>
          <a:prstGeom prst="rect">
            <a:avLst/>
          </a:prstGeom>
          <a:noFill/>
          <a:ln w="38100">
            <a:solidFill>
              <a:schemeClr val="accent3">
                <a:lumMod val="60000"/>
                <a:lumOff val="40000"/>
              </a:schemeClr>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ctr"/>
            <a:r>
              <a:rPr lang="en-US" sz="1100" b="1" dirty="0">
                <a:solidFill>
                  <a:srgbClr val="FFFFFF"/>
                </a:solidFill>
              </a:rPr>
              <a:t>&lt;5 years</a:t>
            </a:r>
          </a:p>
          <a:p>
            <a:pPr algn="ctr"/>
            <a:r>
              <a:rPr lang="en-US" sz="1100" dirty="0" smtClean="0">
                <a:solidFill>
                  <a:srgbClr val="FFFFFF"/>
                </a:solidFill>
              </a:rPr>
              <a:t>Maldives</a:t>
            </a:r>
            <a:r>
              <a:rPr lang="en-US" sz="1100" dirty="0">
                <a:solidFill>
                  <a:srgbClr val="FFFFFF"/>
                </a:solidFill>
              </a:rPr>
              <a:t>, Pakistan</a:t>
            </a:r>
            <a:r>
              <a:rPr lang="en-US" sz="1100" dirty="0" smtClean="0">
                <a:solidFill>
                  <a:srgbClr val="FFFFFF"/>
                </a:solidFill>
              </a:rPr>
              <a:t>,</a:t>
            </a:r>
          </a:p>
          <a:p>
            <a:pPr algn="ctr"/>
            <a:r>
              <a:rPr lang="en-US" sz="1100" dirty="0">
                <a:solidFill>
                  <a:srgbClr val="FFFFFF"/>
                </a:solidFill>
              </a:rPr>
              <a:t>Philippines</a:t>
            </a:r>
            <a:r>
              <a:rPr lang="en-US" sz="1100" dirty="0" smtClean="0">
                <a:solidFill>
                  <a:srgbClr val="FFFFFF"/>
                </a:solidFill>
              </a:rPr>
              <a:t>, </a:t>
            </a:r>
            <a:r>
              <a:rPr lang="en-US" sz="1100" dirty="0">
                <a:solidFill>
                  <a:srgbClr val="FFFFFF"/>
                </a:solidFill>
              </a:rPr>
              <a:t>Swaziland, </a:t>
            </a:r>
          </a:p>
          <a:p>
            <a:pPr algn="ctr"/>
            <a:r>
              <a:rPr lang="en-US" sz="1100" dirty="0">
                <a:solidFill>
                  <a:srgbClr val="FFFFFF"/>
                </a:solidFill>
              </a:rPr>
              <a:t>Viet Nam </a:t>
            </a:r>
          </a:p>
          <a:p>
            <a:pPr algn="ctr"/>
            <a:endParaRPr lang="en-US" sz="1100" dirty="0">
              <a:solidFill>
                <a:srgbClr val="FFFFFF"/>
              </a:solidFill>
            </a:endParaRPr>
          </a:p>
          <a:p>
            <a:pPr algn="ctr"/>
            <a:endParaRPr lang="en-US" sz="1100" dirty="0">
              <a:solidFill>
                <a:srgbClr val="FFFFFF"/>
              </a:solidFill>
            </a:endParaRPr>
          </a:p>
          <a:p>
            <a:pPr algn="ctr"/>
            <a:endParaRPr lang="en-US" sz="1100" dirty="0">
              <a:solidFill>
                <a:srgbClr val="FFFFFF"/>
              </a:solidFill>
            </a:endParaRPr>
          </a:p>
        </p:txBody>
      </p:sp>
      <p:sp>
        <p:nvSpPr>
          <p:cNvPr id="85" name="TextBox 31"/>
          <p:cNvSpPr txBox="1">
            <a:spLocks noChangeArrowheads="1"/>
          </p:cNvSpPr>
          <p:nvPr/>
        </p:nvSpPr>
        <p:spPr bwMode="auto">
          <a:xfrm>
            <a:off x="7368684" y="2472664"/>
            <a:ext cx="847725" cy="2939266"/>
          </a:xfrm>
          <a:prstGeom prst="rect">
            <a:avLst/>
          </a:prstGeom>
          <a:noFill/>
          <a:ln w="38100">
            <a:solidFill>
              <a:schemeClr val="accent3">
                <a:lumMod val="60000"/>
                <a:lumOff val="40000"/>
              </a:schemeClr>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ctr"/>
            <a:r>
              <a:rPr lang="en-US" sz="1100" b="1" dirty="0">
                <a:solidFill>
                  <a:srgbClr val="FFFFFF"/>
                </a:solidFill>
              </a:rPr>
              <a:t>&lt;15 years</a:t>
            </a:r>
          </a:p>
          <a:p>
            <a:pPr algn="ctr"/>
            <a:r>
              <a:rPr lang="en-US" sz="1100" dirty="0">
                <a:solidFill>
                  <a:srgbClr val="FFFFFF"/>
                </a:solidFill>
              </a:rPr>
              <a:t>Botswana, </a:t>
            </a:r>
            <a:endParaRPr lang="en-US" sz="1100" dirty="0" smtClean="0">
              <a:solidFill>
                <a:srgbClr val="FFFFFF"/>
              </a:solidFill>
            </a:endParaRPr>
          </a:p>
          <a:p>
            <a:pPr algn="ctr"/>
            <a:r>
              <a:rPr lang="en-US" sz="1100" dirty="0" smtClean="0">
                <a:solidFill>
                  <a:srgbClr val="FFFFFF"/>
                </a:solidFill>
              </a:rPr>
              <a:t>Burundi</a:t>
            </a:r>
            <a:endParaRPr lang="en-US" sz="1100" dirty="0">
              <a:solidFill>
                <a:srgbClr val="FFFFFF"/>
              </a:solidFill>
            </a:endParaRPr>
          </a:p>
          <a:p>
            <a:pPr algn="ctr"/>
            <a:r>
              <a:rPr lang="en-US" sz="1100" dirty="0" smtClean="0">
                <a:solidFill>
                  <a:srgbClr val="FFFFFF"/>
                </a:solidFill>
              </a:rPr>
              <a:t>Cambodia</a:t>
            </a:r>
          </a:p>
          <a:p>
            <a:pPr algn="ctr"/>
            <a:r>
              <a:rPr lang="en-US" sz="1100" dirty="0" smtClean="0">
                <a:solidFill>
                  <a:srgbClr val="FFFFFF"/>
                </a:solidFill>
              </a:rPr>
              <a:t>China</a:t>
            </a:r>
          </a:p>
          <a:p>
            <a:pPr algn="ctr"/>
            <a:r>
              <a:rPr lang="en-US" sz="1100" dirty="0" smtClean="0">
                <a:solidFill>
                  <a:srgbClr val="FFFFFF"/>
                </a:solidFill>
              </a:rPr>
              <a:t>Ethiopia</a:t>
            </a:r>
          </a:p>
          <a:p>
            <a:pPr algn="ctr"/>
            <a:r>
              <a:rPr lang="en-US" sz="1100" dirty="0" smtClean="0">
                <a:solidFill>
                  <a:srgbClr val="FFFFFF"/>
                </a:solidFill>
              </a:rPr>
              <a:t>Haiti</a:t>
            </a:r>
          </a:p>
          <a:p>
            <a:pPr algn="ctr"/>
            <a:r>
              <a:rPr lang="en-US" sz="1100" dirty="0" smtClean="0">
                <a:solidFill>
                  <a:srgbClr val="FFFFFF"/>
                </a:solidFill>
              </a:rPr>
              <a:t>Kenya </a:t>
            </a:r>
          </a:p>
          <a:p>
            <a:pPr algn="ctr"/>
            <a:r>
              <a:rPr lang="en-US" sz="1100" dirty="0" smtClean="0">
                <a:solidFill>
                  <a:srgbClr val="FFFFFF"/>
                </a:solidFill>
              </a:rPr>
              <a:t>Lao PDR Lesotho</a:t>
            </a:r>
            <a:r>
              <a:rPr lang="en-US" sz="1100" dirty="0">
                <a:solidFill>
                  <a:srgbClr val="FFFFFF"/>
                </a:solidFill>
              </a:rPr>
              <a:t>, </a:t>
            </a:r>
            <a:r>
              <a:rPr lang="en-US" sz="1100" dirty="0" smtClean="0">
                <a:solidFill>
                  <a:srgbClr val="FFFFFF"/>
                </a:solidFill>
              </a:rPr>
              <a:t>Malawi, South Africa</a:t>
            </a:r>
          </a:p>
          <a:p>
            <a:pPr algn="ctr"/>
            <a:r>
              <a:rPr lang="en-US" sz="1100" dirty="0">
                <a:solidFill>
                  <a:srgbClr val="FFFFFF"/>
                </a:solidFill>
              </a:rPr>
              <a:t>Sri Lanka, </a:t>
            </a:r>
            <a:endParaRPr lang="en-US" sz="1100" dirty="0" smtClean="0">
              <a:solidFill>
                <a:srgbClr val="FFFFFF"/>
              </a:solidFill>
            </a:endParaRPr>
          </a:p>
          <a:p>
            <a:pPr algn="ctr"/>
            <a:r>
              <a:rPr lang="en-US" sz="900" dirty="0" smtClean="0">
                <a:solidFill>
                  <a:srgbClr val="FFFFFF"/>
                </a:solidFill>
              </a:rPr>
              <a:t>Mozambique </a:t>
            </a:r>
            <a:r>
              <a:rPr lang="en-US" sz="1100" dirty="0" smtClean="0">
                <a:solidFill>
                  <a:srgbClr val="FFFFFF"/>
                </a:solidFill>
              </a:rPr>
              <a:t>Rwanda</a:t>
            </a:r>
          </a:p>
          <a:p>
            <a:pPr algn="ctr"/>
            <a:r>
              <a:rPr lang="en-US" sz="1100" dirty="0">
                <a:solidFill>
                  <a:srgbClr val="FFFFFF"/>
                </a:solidFill>
              </a:rPr>
              <a:t>Zimbabwe </a:t>
            </a:r>
          </a:p>
        </p:txBody>
      </p:sp>
      <p:sp>
        <p:nvSpPr>
          <p:cNvPr id="86" name="TextBox 32"/>
          <p:cNvSpPr txBox="1">
            <a:spLocks noChangeArrowheads="1"/>
          </p:cNvSpPr>
          <p:nvPr/>
        </p:nvSpPr>
        <p:spPr bwMode="auto">
          <a:xfrm>
            <a:off x="2123584" y="5049165"/>
            <a:ext cx="944563" cy="1476000"/>
          </a:xfrm>
          <a:prstGeom prst="rect">
            <a:avLst/>
          </a:prstGeom>
          <a:noFill/>
          <a:ln w="381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ctr"/>
            <a:r>
              <a:rPr lang="en-US" sz="1100" b="1">
                <a:solidFill>
                  <a:srgbClr val="FFFFFF"/>
                </a:solidFill>
              </a:rPr>
              <a:t>Pre-requisites</a:t>
            </a:r>
          </a:p>
          <a:p>
            <a:pPr algn="ctr"/>
            <a:r>
              <a:rPr lang="en-US" sz="1100">
                <a:solidFill>
                  <a:srgbClr val="FFFFFF"/>
                </a:solidFill>
              </a:rPr>
              <a:t>Guinea</a:t>
            </a:r>
          </a:p>
        </p:txBody>
      </p:sp>
      <p:sp>
        <p:nvSpPr>
          <p:cNvPr id="87" name="TextBox 33"/>
          <p:cNvSpPr txBox="1">
            <a:spLocks noChangeArrowheads="1"/>
          </p:cNvSpPr>
          <p:nvPr/>
        </p:nvSpPr>
        <p:spPr bwMode="auto">
          <a:xfrm>
            <a:off x="3074497" y="3868064"/>
            <a:ext cx="971550" cy="1044000"/>
          </a:xfrm>
          <a:prstGeom prst="rect">
            <a:avLst/>
          </a:prstGeom>
          <a:noFill/>
          <a:ln w="381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ctr"/>
            <a:r>
              <a:rPr lang="en-US" sz="1100" b="1" dirty="0">
                <a:solidFill>
                  <a:srgbClr val="FFFFFF"/>
                </a:solidFill>
              </a:rPr>
              <a:t>&lt;1 year</a:t>
            </a:r>
          </a:p>
          <a:p>
            <a:pPr algn="ctr"/>
            <a:r>
              <a:rPr lang="en-US" sz="1100" dirty="0" smtClean="0">
                <a:solidFill>
                  <a:srgbClr val="FFFFFF"/>
                </a:solidFill>
              </a:rPr>
              <a:t>Guatemala</a:t>
            </a:r>
            <a:endParaRPr lang="en-US" sz="1100" dirty="0">
              <a:solidFill>
                <a:srgbClr val="FFFFFF"/>
              </a:solidFill>
            </a:endParaRPr>
          </a:p>
        </p:txBody>
      </p:sp>
      <p:sp>
        <p:nvSpPr>
          <p:cNvPr id="88" name="TextBox 34"/>
          <p:cNvSpPr txBox="1">
            <a:spLocks noChangeArrowheads="1"/>
          </p:cNvSpPr>
          <p:nvPr/>
        </p:nvSpPr>
        <p:spPr bwMode="auto">
          <a:xfrm>
            <a:off x="4046047" y="5058690"/>
            <a:ext cx="1079500" cy="1447800"/>
          </a:xfrm>
          <a:prstGeom prst="rect">
            <a:avLst/>
          </a:prstGeom>
          <a:noFill/>
          <a:ln w="381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ctr"/>
            <a:r>
              <a:rPr lang="en-US" sz="1100" b="1" dirty="0">
                <a:solidFill>
                  <a:srgbClr val="FFFFFF"/>
                </a:solidFill>
              </a:rPr>
              <a:t>&lt;1 year</a:t>
            </a:r>
          </a:p>
          <a:p>
            <a:pPr algn="ctr"/>
            <a:r>
              <a:rPr lang="en-US" sz="1100" dirty="0">
                <a:solidFill>
                  <a:srgbClr val="FFFFFF"/>
                </a:solidFill>
              </a:rPr>
              <a:t>Chile</a:t>
            </a:r>
            <a:r>
              <a:rPr lang="en-US" sz="1100" dirty="0" smtClean="0">
                <a:solidFill>
                  <a:srgbClr val="FFFFFF"/>
                </a:solidFill>
              </a:rPr>
              <a:t>, Russia </a:t>
            </a:r>
            <a:r>
              <a:rPr lang="en-US" sz="1100" dirty="0">
                <a:solidFill>
                  <a:srgbClr val="FFFFFF"/>
                </a:solidFill>
              </a:rPr>
              <a:t>Dominican Republic, Hong Kong, Madagascar, Romania, Tunisia </a:t>
            </a:r>
          </a:p>
        </p:txBody>
      </p:sp>
      <p:sp>
        <p:nvSpPr>
          <p:cNvPr id="89" name="TextBox 35"/>
          <p:cNvSpPr txBox="1">
            <a:spLocks noChangeArrowheads="1"/>
          </p:cNvSpPr>
          <p:nvPr/>
        </p:nvSpPr>
        <p:spPr bwMode="auto">
          <a:xfrm>
            <a:off x="5122372" y="5059746"/>
            <a:ext cx="1262062" cy="1440000"/>
          </a:xfrm>
          <a:prstGeom prst="rect">
            <a:avLst/>
          </a:prstGeom>
          <a:noFill/>
          <a:ln w="381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ctr"/>
            <a:r>
              <a:rPr lang="en-US" sz="1100" b="1" dirty="0">
                <a:solidFill>
                  <a:srgbClr val="FFFFFF"/>
                </a:solidFill>
              </a:rPr>
              <a:t>&lt;1 year</a:t>
            </a:r>
          </a:p>
          <a:p>
            <a:pPr algn="ctr"/>
            <a:r>
              <a:rPr lang="en-US" sz="1100" dirty="0">
                <a:solidFill>
                  <a:srgbClr val="FFFFFF"/>
                </a:solidFill>
              </a:rPr>
              <a:t>Costa Rica, Finland, Mexico, </a:t>
            </a:r>
            <a:r>
              <a:rPr lang="en-US" sz="1100" dirty="0" smtClean="0">
                <a:solidFill>
                  <a:srgbClr val="FFFFFF"/>
                </a:solidFill>
              </a:rPr>
              <a:t>Thailand, Uruguay </a:t>
            </a:r>
            <a:endParaRPr lang="en-US" sz="1100" dirty="0">
              <a:solidFill>
                <a:srgbClr val="FFFFFF"/>
              </a:solidFill>
            </a:endParaRPr>
          </a:p>
        </p:txBody>
      </p:sp>
      <p:pic>
        <p:nvPicPr>
          <p:cNvPr id="35" name="Picture 34"/>
          <p:cNvPicPr>
            <a:picLocks noChangeAspect="1"/>
          </p:cNvPicPr>
          <p:nvPr/>
        </p:nvPicPr>
        <p:blipFill>
          <a:blip r:embed="rId42"/>
          <a:stretch>
            <a:fillRect/>
          </a:stretch>
        </p:blipFill>
        <p:spPr>
          <a:xfrm>
            <a:off x="7938834" y="6397846"/>
            <a:ext cx="1205165" cy="460154"/>
          </a:xfrm>
          <a:prstGeom prst="rect">
            <a:avLst/>
          </a:prstGeom>
          <a:ln>
            <a:noFill/>
          </a:ln>
        </p:spPr>
      </p:pic>
      <p:sp>
        <p:nvSpPr>
          <p:cNvPr id="34" name="TextBox 36"/>
          <p:cNvSpPr txBox="1">
            <a:spLocks noChangeArrowheads="1"/>
          </p:cNvSpPr>
          <p:nvPr/>
        </p:nvSpPr>
        <p:spPr bwMode="auto">
          <a:xfrm>
            <a:off x="1769924" y="1237968"/>
            <a:ext cx="6419850" cy="646113"/>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Calibri" charset="0"/>
                <a:ea typeface="ヒラギノ角ゴ Pro W3" charset="0"/>
              </a:defRPr>
            </a:lvl1pPr>
            <a:lvl2pPr>
              <a:defRPr sz="2800">
                <a:solidFill>
                  <a:schemeClr val="tx1"/>
                </a:solidFill>
                <a:latin typeface="Calibri" charset="0"/>
                <a:ea typeface="ヒラギノ角ゴ Pro W3" charset="0"/>
              </a:defRPr>
            </a:lvl2pPr>
            <a:lvl3pPr>
              <a:defRPr sz="2400">
                <a:solidFill>
                  <a:schemeClr val="tx1"/>
                </a:solidFill>
                <a:latin typeface="Calibri" charset="0"/>
                <a:ea typeface="ヒラギノ角ゴ Pro W3" charset="0"/>
              </a:defRPr>
            </a:lvl3pPr>
            <a:lvl4pPr>
              <a:defRPr sz="2000">
                <a:solidFill>
                  <a:schemeClr val="tx1"/>
                </a:solidFill>
                <a:latin typeface="Calibri" charset="0"/>
                <a:ea typeface="ヒラギノ角ゴ Pro W3" charset="0"/>
              </a:defRPr>
            </a:lvl4pPr>
            <a:lvl5pPr>
              <a:defRPr sz="2000">
                <a:solidFill>
                  <a:schemeClr val="tx1"/>
                </a:solidFill>
                <a:latin typeface="Calibri" charset="0"/>
                <a:ea typeface="ヒラギノ角ゴ Pro W3" charset="0"/>
              </a:defRPr>
            </a:lvl5pPr>
            <a:lvl6pPr eaLnBrk="0" fontAlgn="base" hangingPunct="0">
              <a:spcAft>
                <a:spcPct val="0"/>
              </a:spcAft>
              <a:buFont typeface="Arial" charset="0"/>
              <a:buChar char="»"/>
              <a:defRPr sz="2000">
                <a:solidFill>
                  <a:schemeClr val="tx1"/>
                </a:solidFill>
                <a:latin typeface="Calibri" charset="0"/>
                <a:ea typeface="ヒラギノ角ゴ Pro W3" charset="0"/>
              </a:defRPr>
            </a:lvl6pPr>
            <a:lvl7pPr eaLnBrk="0" fontAlgn="base" hangingPunct="0">
              <a:spcAft>
                <a:spcPct val="0"/>
              </a:spcAft>
              <a:buFont typeface="Arial" charset="0"/>
              <a:buChar char="»"/>
              <a:defRPr sz="2000">
                <a:solidFill>
                  <a:schemeClr val="tx1"/>
                </a:solidFill>
                <a:latin typeface="Calibri" charset="0"/>
                <a:ea typeface="ヒラギノ角ゴ Pro W3" charset="0"/>
              </a:defRPr>
            </a:lvl7pPr>
            <a:lvl8pPr eaLnBrk="0" fontAlgn="base" hangingPunct="0">
              <a:spcAft>
                <a:spcPct val="0"/>
              </a:spcAft>
              <a:buFont typeface="Arial" charset="0"/>
              <a:buChar char="»"/>
              <a:defRPr sz="2000">
                <a:solidFill>
                  <a:schemeClr val="tx1"/>
                </a:solidFill>
                <a:latin typeface="Calibri" charset="0"/>
                <a:ea typeface="ヒラギノ角ゴ Pro W3" charset="0"/>
              </a:defRPr>
            </a:lvl8pPr>
            <a:lvl9pPr eaLnBrk="0" fontAlgn="base" hangingPunct="0">
              <a:spcAft>
                <a:spcPct val="0"/>
              </a:spcAft>
              <a:buFont typeface="Arial" charset="0"/>
              <a:buChar char="»"/>
              <a:defRPr sz="2000">
                <a:solidFill>
                  <a:schemeClr val="tx1"/>
                </a:solidFill>
                <a:latin typeface="Calibri" charset="0"/>
                <a:ea typeface="ヒラギノ角ゴ Pro W3" charset="0"/>
              </a:defRPr>
            </a:lvl9pPr>
          </a:lstStyle>
          <a:p>
            <a:pPr algn="ctr"/>
            <a:r>
              <a:rPr lang="en-US" sz="1800" dirty="0">
                <a:latin typeface="Arial" charset="0"/>
              </a:rPr>
              <a:t>WHO </a:t>
            </a:r>
            <a:r>
              <a:rPr lang="en-US" sz="1800" dirty="0" err="1" smtClean="0">
                <a:latin typeface="Arial" charset="0"/>
              </a:rPr>
              <a:t>paediatric</a:t>
            </a:r>
            <a:r>
              <a:rPr lang="en-US" sz="1800" dirty="0" smtClean="0">
                <a:latin typeface="Arial" charset="0"/>
              </a:rPr>
              <a:t> recommendations </a:t>
            </a:r>
            <a:r>
              <a:rPr lang="en-US" sz="1800" dirty="0">
                <a:latin typeface="Arial" charset="0"/>
              </a:rPr>
              <a:t>and published national guidelines (</a:t>
            </a:r>
            <a:r>
              <a:rPr lang="en-US" sz="1800" dirty="0" smtClean="0">
                <a:latin typeface="Arial" charset="0"/>
              </a:rPr>
              <a:t>2004-</a:t>
            </a:r>
            <a:r>
              <a:rPr lang="en-US" sz="1800" dirty="0">
                <a:latin typeface="Arial" charset="0"/>
              </a:rPr>
              <a:t>2016)</a:t>
            </a:r>
          </a:p>
        </p:txBody>
      </p:sp>
      <p:sp>
        <p:nvSpPr>
          <p:cNvPr id="38" name="TextBox 37"/>
          <p:cNvSpPr txBox="1"/>
          <p:nvPr/>
        </p:nvSpPr>
        <p:spPr>
          <a:xfrm>
            <a:off x="6397996" y="78131"/>
            <a:ext cx="1015526" cy="539999"/>
          </a:xfrm>
          <a:prstGeom prst="rect">
            <a:avLst/>
          </a:prstGeom>
          <a:noFill/>
          <a:ln w="38100" cmpd="sng">
            <a:solidFill>
              <a:schemeClr val="tx2">
                <a:lumMod val="60000"/>
                <a:lumOff val="40000"/>
              </a:schemeClr>
            </a:solidFill>
          </a:ln>
        </p:spPr>
        <p:txBody>
          <a:bodyPr wrap="square">
            <a:spAutoFit/>
          </a:bodyPr>
          <a:lstStyle/>
          <a:p>
            <a:pPr algn="ctr">
              <a:defRPr/>
            </a:pPr>
            <a:r>
              <a:rPr lang="en-US" sz="1100" b="1" dirty="0">
                <a:solidFill>
                  <a:srgbClr val="FFFFFF"/>
                </a:solidFill>
              </a:rPr>
              <a:t>&lt;15 years</a:t>
            </a:r>
          </a:p>
          <a:p>
            <a:pPr algn="ctr">
              <a:defRPr/>
            </a:pPr>
            <a:r>
              <a:rPr lang="en-US" sz="1000" dirty="0" smtClean="0">
                <a:solidFill>
                  <a:srgbClr val="FFFFFF"/>
                </a:solidFill>
              </a:rPr>
              <a:t>Georgia, US</a:t>
            </a:r>
            <a:endParaRPr lang="en-US" sz="1100" dirty="0">
              <a:solidFill>
                <a:srgbClr val="FFFFFF"/>
              </a:solidFill>
            </a:endParaRPr>
          </a:p>
        </p:txBody>
      </p:sp>
      <p:graphicFrame>
        <p:nvGraphicFramePr>
          <p:cNvPr id="39" name="Diagram 38"/>
          <p:cNvGraphicFramePr/>
          <p:nvPr>
            <p:extLst>
              <p:ext uri="{D42A27DB-BD31-4B8C-83A1-F6EECF244321}">
                <p14:modId xmlns:p14="http://schemas.microsoft.com/office/powerpoint/2010/main" val="2571434846"/>
              </p:ext>
            </p:extLst>
          </p:nvPr>
        </p:nvGraphicFramePr>
        <p:xfrm>
          <a:off x="8255561" y="1959421"/>
          <a:ext cx="863359" cy="360137"/>
        </p:xfrm>
        <a:graphic>
          <a:graphicData uri="http://schemas.openxmlformats.org/drawingml/2006/diagram">
            <dgm:relIds xmlns:dgm="http://schemas.openxmlformats.org/drawingml/2006/diagram" xmlns:r="http://schemas.openxmlformats.org/officeDocument/2006/relationships" r:dm="rId43" r:lo="rId44" r:qs="rId45" r:cs="rId46"/>
          </a:graphicData>
        </a:graphic>
      </p:graphicFrame>
      <p:sp>
        <p:nvSpPr>
          <p:cNvPr id="40" name="TextBox 30"/>
          <p:cNvSpPr txBox="1">
            <a:spLocks noChangeArrowheads="1"/>
          </p:cNvSpPr>
          <p:nvPr/>
        </p:nvSpPr>
        <p:spPr bwMode="auto">
          <a:xfrm>
            <a:off x="8221695" y="2466020"/>
            <a:ext cx="863359" cy="1260000"/>
          </a:xfrm>
          <a:prstGeom prst="rect">
            <a:avLst/>
          </a:prstGeom>
          <a:noFill/>
          <a:ln w="38100">
            <a:solidFill>
              <a:schemeClr val="accent3">
                <a:lumMod val="60000"/>
                <a:lumOff val="40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ctr"/>
            <a:r>
              <a:rPr lang="en-US" sz="1100" b="1" dirty="0">
                <a:solidFill>
                  <a:srgbClr val="FFFFFF"/>
                </a:solidFill>
              </a:rPr>
              <a:t>&lt;5 years</a:t>
            </a:r>
          </a:p>
          <a:p>
            <a:pPr algn="ctr"/>
            <a:r>
              <a:rPr lang="en-US" sz="1100" dirty="0" smtClean="0">
                <a:solidFill>
                  <a:srgbClr val="FFFFFF"/>
                </a:solidFill>
              </a:rPr>
              <a:t>India,</a:t>
            </a:r>
          </a:p>
          <a:p>
            <a:pPr algn="ctr"/>
            <a:r>
              <a:rPr lang="en-US" sz="1100" dirty="0" smtClean="0">
                <a:solidFill>
                  <a:srgbClr val="FFFFFF"/>
                </a:solidFill>
              </a:rPr>
              <a:t>Papua New Guinea</a:t>
            </a:r>
            <a:endParaRPr lang="en-US" sz="1100" dirty="0">
              <a:solidFill>
                <a:srgbClr val="FFFFFF"/>
              </a:solidFill>
            </a:endParaRPr>
          </a:p>
          <a:p>
            <a:pPr algn="ctr"/>
            <a:endParaRPr lang="en-US" sz="1100" dirty="0">
              <a:solidFill>
                <a:srgbClr val="FFFFFF"/>
              </a:solidFill>
            </a:endParaRPr>
          </a:p>
          <a:p>
            <a:pPr algn="ctr"/>
            <a:endParaRPr lang="en-US" sz="1100" dirty="0">
              <a:solidFill>
                <a:srgbClr val="FFFFFF"/>
              </a:solidFill>
            </a:endParaRPr>
          </a:p>
          <a:p>
            <a:pPr algn="ctr"/>
            <a:endParaRPr lang="en-US" sz="1100" dirty="0">
              <a:solidFill>
                <a:srgbClr val="FFFFFF"/>
              </a:solidFill>
            </a:endParaRPr>
          </a:p>
        </p:txBody>
      </p:sp>
    </p:spTree>
    <p:extLst>
      <p:ext uri="{BB962C8B-B14F-4D97-AF65-F5344CB8AC3E}">
        <p14:creationId xmlns:p14="http://schemas.microsoft.com/office/powerpoint/2010/main" val="2717769408"/>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4"/>
          <p:cNvSpPr txBox="1">
            <a:spLocks noChangeArrowheads="1"/>
          </p:cNvSpPr>
          <p:nvPr/>
        </p:nvSpPr>
        <p:spPr bwMode="auto">
          <a:xfrm>
            <a:off x="-311774" y="104202"/>
            <a:ext cx="9721841" cy="646331"/>
          </a:xfrm>
          <a:prstGeom prst="rect">
            <a:avLst/>
          </a:prstGeom>
          <a:noFill/>
          <a:ln w="9525">
            <a:no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Bef>
                <a:spcPct val="50000"/>
              </a:spcBef>
            </a:pPr>
            <a:r>
              <a:rPr lang="en-US" sz="3600" dirty="0">
                <a:solidFill>
                  <a:srgbClr val="FFFF00"/>
                </a:solidFill>
                <a:latin typeface="Arial"/>
                <a:ea typeface="ヒラギノ角ゴ Pro W3"/>
                <a:cs typeface="Arial"/>
              </a:rPr>
              <a:t>ART initiation for </a:t>
            </a:r>
            <a:r>
              <a:rPr lang="en-US" sz="3600" dirty="0" smtClean="0">
                <a:solidFill>
                  <a:srgbClr val="FFFF00"/>
                </a:solidFill>
                <a:latin typeface="Arial"/>
                <a:ea typeface="ヒラギノ角ゴ Pro W3"/>
                <a:cs typeface="Arial"/>
              </a:rPr>
              <a:t>people with HIV and TB</a:t>
            </a:r>
            <a:endParaRPr lang="en-US" sz="3600" dirty="0">
              <a:solidFill>
                <a:srgbClr val="FFFF00"/>
              </a:solidFill>
              <a:ea typeface="ヒラギノ角ゴ Pro W3"/>
              <a:cs typeface="ヒラギノ角ゴ Pro W3"/>
            </a:endParaRPr>
          </a:p>
        </p:txBody>
      </p:sp>
      <p:graphicFrame>
        <p:nvGraphicFramePr>
          <p:cNvPr id="6" name="Table 5"/>
          <p:cNvGraphicFramePr>
            <a:graphicFrameLocks noGrp="1"/>
          </p:cNvGraphicFramePr>
          <p:nvPr>
            <p:extLst>
              <p:ext uri="{D42A27DB-BD31-4B8C-83A1-F6EECF244321}">
                <p14:modId xmlns:p14="http://schemas.microsoft.com/office/powerpoint/2010/main" val="1557100968"/>
              </p:ext>
            </p:extLst>
          </p:nvPr>
        </p:nvGraphicFramePr>
        <p:xfrm>
          <a:off x="190502" y="861493"/>
          <a:ext cx="8801100" cy="5529540"/>
        </p:xfrm>
        <a:graphic>
          <a:graphicData uri="http://schemas.openxmlformats.org/drawingml/2006/table">
            <a:tbl>
              <a:tblPr/>
              <a:tblGrid>
                <a:gridCol w="1485900"/>
                <a:gridCol w="1134533"/>
                <a:gridCol w="6180667"/>
              </a:tblGrid>
              <a:tr h="376031">
                <a:tc>
                  <a:txBody>
                    <a:bodyPr/>
                    <a:lstStyle/>
                    <a:p>
                      <a:pPr algn="ctr" fontAlgn="b"/>
                      <a:r>
                        <a:rPr lang="en-US" sz="1400" b="1" i="0" u="none" strike="noStrike" dirty="0" smtClean="0">
                          <a:solidFill>
                            <a:srgbClr val="FFFFFF"/>
                          </a:solidFill>
                          <a:effectLst/>
                          <a:latin typeface="Arial"/>
                          <a:cs typeface="Arial"/>
                        </a:rPr>
                        <a:t>ART INITIATION CRITERIA</a:t>
                      </a:r>
                      <a:endParaRPr lang="en-US" sz="140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504D"/>
                    </a:solidFill>
                  </a:tcPr>
                </a:tc>
                <a:tc>
                  <a:txBody>
                    <a:bodyPr/>
                    <a:lstStyle/>
                    <a:p>
                      <a:pPr algn="ctr" fontAlgn="b"/>
                      <a:r>
                        <a:rPr lang="en-US" sz="1400" b="1" i="0" u="none" strike="noStrike" baseline="0" dirty="0" smtClean="0">
                          <a:solidFill>
                            <a:srgbClr val="FFFFFF"/>
                          </a:solidFill>
                          <a:effectLst/>
                          <a:latin typeface="Arial"/>
                          <a:cs typeface="Arial"/>
                        </a:rPr>
                        <a:t>COUNTRIES</a:t>
                      </a:r>
                      <a:endParaRPr lang="en-US" sz="140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504D"/>
                    </a:solidFill>
                  </a:tcPr>
                </a:tc>
                <a:tc>
                  <a:txBody>
                    <a:bodyPr/>
                    <a:lstStyle/>
                    <a:p>
                      <a:pPr algn="ctr" fontAlgn="b"/>
                      <a:r>
                        <a:rPr lang="en-US" sz="1400" b="1" i="0" u="none" strike="noStrike" dirty="0" smtClean="0">
                          <a:solidFill>
                            <a:srgbClr val="FFFFFF"/>
                          </a:solidFill>
                          <a:effectLst/>
                          <a:latin typeface="Arial"/>
                          <a:cs typeface="Arial"/>
                        </a:rPr>
                        <a:t>COUNTRIES</a:t>
                      </a:r>
                      <a:endParaRPr lang="en-US" sz="140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0504D"/>
                    </a:solidFill>
                  </a:tcPr>
                </a:tc>
              </a:tr>
              <a:tr h="2680990">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FFFFFF"/>
                          </a:solidFill>
                          <a:effectLst/>
                          <a:latin typeface="Arial" charset="0"/>
                          <a:ea typeface="ＭＳ Ｐゴシック" charset="0"/>
                          <a:cs typeface="Arial" charset="0"/>
                        </a:rPr>
                        <a:t>Irrespective of CD4 count</a:t>
                      </a:r>
                    </a:p>
                  </a:txBody>
                  <a:tcPr marL="12700" marR="12700" marT="1269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FFFFFF"/>
                          </a:solidFill>
                          <a:effectLst/>
                          <a:latin typeface="Arial" charset="0"/>
                          <a:ea typeface="ＭＳ Ｐゴシック" charset="0"/>
                          <a:cs typeface="Arial" charset="0"/>
                        </a:rPr>
                        <a:t>107</a:t>
                      </a:r>
                      <a:endParaRPr kumimoji="0" lang="en-US" sz="1800" b="0" i="0" u="none" strike="noStrike" cap="none" normalizeH="0" baseline="0" dirty="0">
                        <a:ln>
                          <a:noFill/>
                        </a:ln>
                        <a:solidFill>
                          <a:srgbClr val="FFFFFF"/>
                        </a:solidFill>
                        <a:effectLst/>
                        <a:latin typeface="Arial" charset="0"/>
                        <a:ea typeface="ＭＳ Ｐゴシック" charset="0"/>
                        <a:cs typeface="Arial" charset="0"/>
                      </a:endParaRPr>
                    </a:p>
                  </a:txBody>
                  <a:tcPr marL="12700" marR="12700" marT="1269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Afghanistan, Algeria, Angola, Argentina</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Australia</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Austria, Bangladesh</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Belize, Benin,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Bhutan, Bolivia</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Botswana, Brazil, Britain, Burundi, Cambodia, Cameroon,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Canada, Chile</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China,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Colombia, Costa </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Rica,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Croatia, Democratic </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Republic of Congo,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Denmark, Dominican </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Republic, Ecuador, El Salvador, Ethiopia, France,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Fiji, Finland, Gabon</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Georgia, Germany, Ghana, Greece, Guatemala, Guyana, Haiti</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Honduras, Hong Kong, India, Indonesia, Italy, Jamaica,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Japan, Kenya</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Korea,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Lao PDR, Latvia, Lesotho</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Liberia, Madagascar</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Malawi,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Malaysia, Maldives</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Mali,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Marshall Islands, Mauritania</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Mexico,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Moldova, Montenegro, Morocco</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Mozambique, Myanmar, Namibia, Nepal, Netherlands, Nigeria,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Norway, Oman</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Pakistan, Panama</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Papua New Guinea,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Paraguay, Peru</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Philippines, Poland, Portugal, Romania, Russia, Rwanda</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Samoa, South </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Africa, Spain, Sri Lanka, South Sudan, Sudan, Swaziland,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Sweden, Switzerland</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Tanzania,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Timor-Leste, Thailand</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Tunisia,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Turkey, Tuvalu, Uganda</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United States, Ukraine, Uruguay,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Vanuatu, Venezuela</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Viet Nam, Zambia, Zimbabwe</a:t>
                      </a:r>
                    </a:p>
                  </a:txBody>
                  <a:tcPr marL="12700" marR="12700" marT="1269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558787">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FFFFFF"/>
                          </a:solidFill>
                          <a:effectLst/>
                          <a:latin typeface="Arial" charset="0"/>
                          <a:ea typeface="ＭＳ Ｐゴシック" charset="0"/>
                          <a:cs typeface="Arial" charset="0"/>
                        </a:rPr>
                        <a:t>≤350</a:t>
                      </a:r>
                    </a:p>
                  </a:txBody>
                  <a:tcPr marL="12700" marR="12700" marT="1269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FFFFFF"/>
                          </a:solidFill>
                          <a:effectLst/>
                          <a:latin typeface="Arial" charset="0"/>
                          <a:ea typeface="ＭＳ Ｐゴシック" charset="0"/>
                          <a:cs typeface="Arial" charset="0"/>
                        </a:rPr>
                        <a:t>9</a:t>
                      </a:r>
                      <a:endParaRPr kumimoji="0" lang="en-US" sz="1800" b="0" i="0" u="none" strike="noStrike" cap="none" normalizeH="0" baseline="0" dirty="0">
                        <a:ln>
                          <a:noFill/>
                        </a:ln>
                        <a:solidFill>
                          <a:srgbClr val="FFFFFF"/>
                        </a:solidFill>
                        <a:effectLst/>
                        <a:latin typeface="Arial" charset="0"/>
                        <a:ea typeface="ＭＳ Ｐゴシック" charset="0"/>
                        <a:cs typeface="Arial" charset="0"/>
                      </a:endParaRPr>
                    </a:p>
                  </a:txBody>
                  <a:tcPr marL="12700" marR="12700" marT="1269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Burkina </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Faso,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Cote </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d</a:t>
                      </a:r>
                      <a:r>
                        <a:rPr kumimoji="0" lang="ja-JP" altLang="en-US" sz="1500" b="0" i="0" u="none" strike="noStrike" cap="none" normalizeH="0" baseline="0" dirty="0">
                          <a:ln>
                            <a:noFill/>
                          </a:ln>
                          <a:solidFill>
                            <a:srgbClr val="FFFFFF"/>
                          </a:solidFill>
                          <a:effectLst/>
                          <a:latin typeface="Arial" charset="0"/>
                          <a:ea typeface="ＭＳ Ｐゴシック" charset="0"/>
                          <a:cs typeface="Arial" charset="0"/>
                        </a:rPr>
                        <a:t>’</a:t>
                      </a:r>
                      <a:r>
                        <a:rPr kumimoji="0" lang="en-US" sz="1500" b="0" i="0" u="none" strike="noStrike" cap="none" normalizeH="0" baseline="0" dirty="0" err="1">
                          <a:ln>
                            <a:noFill/>
                          </a:ln>
                          <a:solidFill>
                            <a:srgbClr val="FFFFFF"/>
                          </a:solidFill>
                          <a:effectLst/>
                          <a:latin typeface="Arial" charset="0"/>
                          <a:ea typeface="ＭＳ Ｐゴシック" charset="0"/>
                          <a:cs typeface="Arial" charset="0"/>
                        </a:rPr>
                        <a:t>Ivoire</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Cuba, Djibouti,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Guinea</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Kazakhstan</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Nicaragua</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Niger,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Sierra Leone</a:t>
                      </a:r>
                      <a:endParaRPr kumimoji="0" lang="en-US" sz="1500" b="0" i="0" u="none" strike="noStrike" cap="none" normalizeH="0" baseline="0" dirty="0">
                        <a:ln>
                          <a:noFill/>
                        </a:ln>
                        <a:solidFill>
                          <a:srgbClr val="FFFFFF"/>
                        </a:solidFill>
                        <a:effectLst/>
                        <a:latin typeface="Arial" charset="0"/>
                        <a:ea typeface="ＭＳ Ｐゴシック" charset="0"/>
                        <a:cs typeface="Arial" charset="0"/>
                      </a:endParaRPr>
                    </a:p>
                  </a:txBody>
                  <a:tcPr marL="12700" marR="12700" marT="1269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270933">
                <a:tc>
                  <a:txBody>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300</a:t>
                      </a:r>
                    </a:p>
                  </a:txBody>
                  <a:tcPr marL="12700" marR="12700" marT="1269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FFFFFF"/>
                          </a:solidFill>
                          <a:effectLst/>
                          <a:latin typeface="Arial" charset="0"/>
                          <a:ea typeface="ＭＳ Ｐゴシック" charset="0"/>
                          <a:cs typeface="Arial" charset="0"/>
                        </a:rPr>
                        <a:t>1</a:t>
                      </a:r>
                      <a:endParaRPr kumimoji="0" lang="en-US" sz="1800" b="0" i="0" u="none" strike="noStrike" cap="none" normalizeH="0" baseline="0" dirty="0">
                        <a:ln>
                          <a:noFill/>
                        </a:ln>
                        <a:solidFill>
                          <a:srgbClr val="FFFFFF"/>
                        </a:solidFill>
                        <a:effectLst/>
                        <a:latin typeface="Arial" charset="0"/>
                        <a:ea typeface="ＭＳ Ｐゴシック" charset="0"/>
                        <a:cs typeface="Arial" charset="0"/>
                      </a:endParaRPr>
                    </a:p>
                  </a:txBody>
                  <a:tcPr marL="12700" marR="12700" marT="1269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 Macedonia</a:t>
                      </a:r>
                      <a:endParaRPr kumimoji="0" lang="en-US" sz="1500" b="0" i="0" u="none" strike="noStrike" cap="none" normalizeH="0" baseline="0" dirty="0">
                        <a:ln>
                          <a:noFill/>
                        </a:ln>
                        <a:solidFill>
                          <a:srgbClr val="FFFFFF"/>
                        </a:solidFill>
                        <a:effectLst/>
                        <a:latin typeface="Arial" charset="0"/>
                        <a:ea typeface="ＭＳ Ｐゴシック" charset="0"/>
                        <a:cs typeface="Arial" charset="0"/>
                      </a:endParaRPr>
                    </a:p>
                  </a:txBody>
                  <a:tcPr marL="12700" marR="12700" marT="1269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270933">
                <a:tc>
                  <a:txBody>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250</a:t>
                      </a:r>
                    </a:p>
                  </a:txBody>
                  <a:tcPr marL="12700" marR="12700" marT="1269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FFFFFF"/>
                          </a:solidFill>
                          <a:effectLst/>
                          <a:latin typeface="Arial" charset="0"/>
                          <a:ea typeface="ＭＳ Ｐゴシック" charset="0"/>
                          <a:cs typeface="Arial" charset="0"/>
                        </a:rPr>
                        <a:t>1</a:t>
                      </a:r>
                      <a:endParaRPr kumimoji="0" lang="en-US" sz="1800" b="0" i="0" u="none" strike="noStrike" cap="none" normalizeH="0" baseline="0" dirty="0">
                        <a:ln>
                          <a:noFill/>
                        </a:ln>
                        <a:solidFill>
                          <a:srgbClr val="FFFFFF"/>
                        </a:solidFill>
                        <a:effectLst/>
                        <a:latin typeface="Arial" charset="0"/>
                        <a:ea typeface="ＭＳ Ｐゴシック" charset="0"/>
                        <a:cs typeface="Arial" charset="0"/>
                      </a:endParaRPr>
                    </a:p>
                  </a:txBody>
                  <a:tcPr marL="12700" marR="12700" marT="1269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 Hungary</a:t>
                      </a:r>
                      <a:endParaRPr kumimoji="0" lang="en-US" sz="1500" b="0" i="0" u="none" strike="noStrike" cap="none" normalizeH="0" baseline="0" dirty="0">
                        <a:ln>
                          <a:noFill/>
                        </a:ln>
                        <a:solidFill>
                          <a:srgbClr val="FFFFFF"/>
                        </a:solidFill>
                        <a:effectLst/>
                        <a:latin typeface="Arial" charset="0"/>
                        <a:ea typeface="ＭＳ Ｐゴシック" charset="0"/>
                        <a:cs typeface="Arial" charset="0"/>
                      </a:endParaRPr>
                    </a:p>
                  </a:txBody>
                  <a:tcPr marL="12700" marR="12700" marT="1269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187972">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FFFFFF"/>
                          </a:solidFill>
                          <a:effectLst/>
                          <a:latin typeface="Arial" charset="0"/>
                          <a:ea typeface="ＭＳ Ｐゴシック" charset="0"/>
                          <a:cs typeface="Arial" charset="0"/>
                        </a:rPr>
                        <a:t>≤200</a:t>
                      </a:r>
                    </a:p>
                  </a:txBody>
                  <a:tcPr marL="12700" marR="12700" marT="1269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FFFFFF"/>
                          </a:solidFill>
                          <a:effectLst/>
                          <a:latin typeface="Arial" charset="0"/>
                          <a:ea typeface="ＭＳ Ｐゴシック" charset="0"/>
                          <a:cs typeface="Arial" charset="0"/>
                        </a:rPr>
                        <a:t>5</a:t>
                      </a:r>
                      <a:endParaRPr kumimoji="0" lang="en-US" sz="1800" b="0" i="0" u="none" strike="noStrike" cap="none" normalizeH="0" baseline="0" dirty="0">
                        <a:ln>
                          <a:noFill/>
                        </a:ln>
                        <a:solidFill>
                          <a:srgbClr val="FFFFFF"/>
                        </a:solidFill>
                        <a:effectLst/>
                        <a:latin typeface="Arial" charset="0"/>
                        <a:ea typeface="ＭＳ Ｐゴシック" charset="0"/>
                        <a:cs typeface="Arial" charset="0"/>
                      </a:endParaRPr>
                    </a:p>
                  </a:txBody>
                  <a:tcPr marL="12700" marR="12700" marT="1269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Belarus, Cape </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Verde, Comoros,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Estonia, Senegal</a:t>
                      </a:r>
                      <a:endParaRPr kumimoji="0" lang="en-US" sz="1500" b="0" i="0" u="none" strike="noStrike" cap="none" normalizeH="0" baseline="0" dirty="0">
                        <a:ln>
                          <a:noFill/>
                        </a:ln>
                        <a:solidFill>
                          <a:srgbClr val="FFFFFF"/>
                        </a:solidFill>
                        <a:effectLst/>
                        <a:latin typeface="Arial" charset="0"/>
                        <a:ea typeface="ＭＳ Ｐゴシック" charset="0"/>
                        <a:cs typeface="Arial" charset="0"/>
                      </a:endParaRPr>
                    </a:p>
                  </a:txBody>
                  <a:tcPr marL="12700" marR="12700" marT="1269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bl>
          </a:graphicData>
        </a:graphic>
      </p:graphicFrame>
      <p:sp>
        <p:nvSpPr>
          <p:cNvPr id="7" name="Rectangle 6"/>
          <p:cNvSpPr/>
          <p:nvPr/>
        </p:nvSpPr>
        <p:spPr>
          <a:xfrm>
            <a:off x="190502" y="4995318"/>
            <a:ext cx="8801100" cy="1387244"/>
          </a:xfrm>
          <a:prstGeom prst="rect">
            <a:avLst/>
          </a:prstGeom>
          <a:noFill/>
          <a:ln w="7620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143543" y="6483113"/>
            <a:ext cx="2185214" cy="307777"/>
          </a:xfrm>
          <a:prstGeom prst="rect">
            <a:avLst/>
          </a:prstGeom>
        </p:spPr>
        <p:txBody>
          <a:bodyPr wrap="none">
            <a:spAutoFit/>
          </a:bodyPr>
          <a:lstStyle/>
          <a:p>
            <a:pPr algn="ctr">
              <a:spcBef>
                <a:spcPct val="50000"/>
              </a:spcBef>
            </a:pPr>
            <a:r>
              <a:rPr lang="en-US" sz="1400" b="1" dirty="0" smtClean="0">
                <a:solidFill>
                  <a:srgbClr val="FFFF00"/>
                </a:solidFill>
                <a:ea typeface="ヒラギノ角ゴ Pro W3"/>
                <a:cs typeface="ヒラギノ角ゴ Pro W3"/>
              </a:rPr>
              <a:t>Source</a:t>
            </a:r>
            <a:r>
              <a:rPr lang="en-US" sz="1400" dirty="0" smtClean="0">
                <a:solidFill>
                  <a:srgbClr val="FFFF00"/>
                </a:solidFill>
                <a:ea typeface="ヒラギノ角ゴ Pro W3"/>
                <a:cs typeface="ヒラギノ角ゴ Pro W3"/>
              </a:rPr>
              <a:t>: published policy</a:t>
            </a:r>
            <a:endParaRPr lang="en-US" sz="1400" dirty="0">
              <a:solidFill>
                <a:srgbClr val="FFFF00"/>
              </a:solidFill>
              <a:ea typeface="ヒラギノ角ゴ Pro W3"/>
              <a:cs typeface="ヒラギノ角ゴ Pro W3"/>
            </a:endParaRPr>
          </a:p>
        </p:txBody>
      </p:sp>
      <p:pic>
        <p:nvPicPr>
          <p:cNvPr id="9" name="Picture 8"/>
          <p:cNvPicPr>
            <a:picLocks noChangeAspect="1"/>
          </p:cNvPicPr>
          <p:nvPr/>
        </p:nvPicPr>
        <p:blipFill>
          <a:blip r:embed="rId2"/>
          <a:stretch>
            <a:fillRect/>
          </a:stretch>
        </p:blipFill>
        <p:spPr>
          <a:xfrm>
            <a:off x="7747000" y="6324600"/>
            <a:ext cx="1397000" cy="533400"/>
          </a:xfrm>
          <a:prstGeom prst="rect">
            <a:avLst/>
          </a:prstGeom>
        </p:spPr>
      </p:pic>
    </p:spTree>
    <p:extLst>
      <p:ext uri="{BB962C8B-B14F-4D97-AF65-F5344CB8AC3E}">
        <p14:creationId xmlns:p14="http://schemas.microsoft.com/office/powerpoint/2010/main" val="1364744658"/>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1431925" y="159568"/>
            <a:ext cx="6477000" cy="1200329"/>
          </a:xfrm>
          <a:prstGeom prst="rect">
            <a:avLst/>
          </a:prstGeom>
          <a:noFill/>
          <a:ln w="9525">
            <a:noFill/>
            <a:miter lim="800000"/>
            <a:headEnd/>
            <a:tailEnd/>
          </a:ln>
        </p:spPr>
        <p:txBody>
          <a:bodyPr>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3600" dirty="0">
                <a:solidFill>
                  <a:srgbClr val="FFFF00"/>
                </a:solidFill>
                <a:ea typeface="ヒラギノ角ゴ Pro W3"/>
                <a:cs typeface="ヒラギノ角ゴ Pro W3"/>
              </a:rPr>
              <a:t>Objectives and</a:t>
            </a:r>
            <a:r>
              <a:rPr lang="en-US" sz="3600" dirty="0" smtClean="0">
                <a:solidFill>
                  <a:srgbClr val="FFFF00"/>
                </a:solidFill>
                <a:ea typeface="ヒラギノ角ゴ Pro W3"/>
                <a:cs typeface="ヒラギノ角ゴ Pro W3"/>
              </a:rPr>
              <a:t> methodology: “wiki strategy”</a:t>
            </a:r>
            <a:endParaRPr lang="en-US" sz="3600" dirty="0">
              <a:solidFill>
                <a:srgbClr val="FFFF00"/>
              </a:solidFill>
              <a:ea typeface="ヒラギノ角ゴ Pro W3"/>
              <a:cs typeface="ヒラギノ角ゴ Pro W3"/>
            </a:endParaRPr>
          </a:p>
        </p:txBody>
      </p:sp>
      <p:sp>
        <p:nvSpPr>
          <p:cNvPr id="5" name="Text Box 5"/>
          <p:cNvSpPr txBox="1">
            <a:spLocks noChangeArrowheads="1"/>
          </p:cNvSpPr>
          <p:nvPr/>
        </p:nvSpPr>
        <p:spPr bwMode="auto">
          <a:xfrm>
            <a:off x="82341" y="1264105"/>
            <a:ext cx="9029752" cy="923330"/>
          </a:xfrm>
          <a:prstGeom prst="rect">
            <a:avLst/>
          </a:prstGeom>
          <a:noFill/>
          <a:ln w="9525">
            <a:noFill/>
            <a:miter lim="800000"/>
            <a:headEnd/>
            <a:tailEnd/>
          </a:ln>
        </p:spPr>
        <p:txBody>
          <a:bodyPr wrap="square">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spcBef>
                <a:spcPct val="50000"/>
              </a:spcBef>
            </a:pPr>
            <a:r>
              <a:rPr lang="en-US" sz="2400" dirty="0" smtClean="0">
                <a:solidFill>
                  <a:srgbClr val="FFFF00"/>
                </a:solidFill>
                <a:ea typeface="ヒラギノ角ゴ Pro W3"/>
                <a:cs typeface="ヒラギノ角ゴ Pro W3"/>
              </a:rPr>
              <a:t>Objective:</a:t>
            </a:r>
            <a:endParaRPr lang="en-US" sz="2400" dirty="0">
              <a:solidFill>
                <a:srgbClr val="FFFF00"/>
              </a:solidFill>
              <a:ea typeface="ヒラギノ角ゴ Pro W3"/>
              <a:cs typeface="ヒラギノ角ゴ Pro W3"/>
            </a:endParaRPr>
          </a:p>
          <a:p>
            <a:pPr>
              <a:spcBef>
                <a:spcPct val="50000"/>
              </a:spcBef>
            </a:pPr>
            <a:r>
              <a:rPr lang="en-US" sz="2000" dirty="0">
                <a:solidFill>
                  <a:schemeClr val="bg1"/>
                </a:solidFill>
                <a:ea typeface="ヒラギノ角ゴ Pro W3"/>
                <a:cs typeface="ヒラギノ角ゴ Pro W3"/>
              </a:rPr>
              <a:t>Compare national </a:t>
            </a:r>
            <a:r>
              <a:rPr lang="en-US" sz="2000" dirty="0" smtClean="0">
                <a:solidFill>
                  <a:schemeClr val="bg1"/>
                </a:solidFill>
                <a:ea typeface="ヒラギノ角ゴ Pro W3"/>
                <a:cs typeface="ヒラギノ角ゴ Pro W3"/>
              </a:rPr>
              <a:t>ART guidelines for 172 countries </a:t>
            </a:r>
            <a:r>
              <a:rPr lang="en-US" sz="2000" dirty="0">
                <a:solidFill>
                  <a:schemeClr val="bg1"/>
                </a:solidFill>
                <a:ea typeface="ヒラギノ角ゴ Pro W3"/>
                <a:cs typeface="ヒラギノ角ゴ Pro W3"/>
              </a:rPr>
              <a:t>with</a:t>
            </a:r>
            <a:r>
              <a:rPr lang="en-US" sz="2000" dirty="0" smtClean="0">
                <a:solidFill>
                  <a:schemeClr val="bg1"/>
                </a:solidFill>
                <a:ea typeface="ヒラギノ角ゴ Pro W3"/>
                <a:cs typeface="ヒラギノ角ゴ Pro W3"/>
              </a:rPr>
              <a:t> WHO 2015 guidelines</a:t>
            </a:r>
            <a:endParaRPr lang="en-US" sz="2000" dirty="0">
              <a:solidFill>
                <a:srgbClr val="FFFF99"/>
              </a:solidFill>
              <a:ea typeface="ヒラギノ角ゴ Pro W3"/>
              <a:cs typeface="ヒラギノ角ゴ Pro W3"/>
            </a:endParaRPr>
          </a:p>
        </p:txBody>
      </p:sp>
      <p:graphicFrame>
        <p:nvGraphicFramePr>
          <p:cNvPr id="6" name="Diagram 5"/>
          <p:cNvGraphicFramePr/>
          <p:nvPr>
            <p:extLst>
              <p:ext uri="{D42A27DB-BD31-4B8C-83A1-F6EECF244321}">
                <p14:modId xmlns:p14="http://schemas.microsoft.com/office/powerpoint/2010/main" val="3215879628"/>
              </p:ext>
            </p:extLst>
          </p:nvPr>
        </p:nvGraphicFramePr>
        <p:xfrm>
          <a:off x="821036" y="2262317"/>
          <a:ext cx="7570489" cy="39647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Down Arrow 6"/>
          <p:cNvSpPr/>
          <p:nvPr/>
        </p:nvSpPr>
        <p:spPr>
          <a:xfrm>
            <a:off x="4333568" y="5167938"/>
            <a:ext cx="534688" cy="317519"/>
          </a:xfrm>
          <a:prstGeom prst="downArrow">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p>
        </p:txBody>
      </p:sp>
      <p:sp>
        <p:nvSpPr>
          <p:cNvPr id="8" name="Rounded Rectangle 7"/>
          <p:cNvSpPr/>
          <p:nvPr/>
        </p:nvSpPr>
        <p:spPr>
          <a:xfrm>
            <a:off x="1731222" y="5502390"/>
            <a:ext cx="5714478" cy="651750"/>
          </a:xfrm>
          <a:prstGeom prst="round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smtClean="0">
                <a:solidFill>
                  <a:srgbClr val="000061"/>
                </a:solidFill>
              </a:rPr>
              <a:t>Recommendation on ART initiation criteria and monitoring for different target population abstracted</a:t>
            </a:r>
            <a:endParaRPr lang="en-US" dirty="0">
              <a:solidFill>
                <a:srgbClr val="000061"/>
              </a:solidFill>
            </a:endParaRPr>
          </a:p>
        </p:txBody>
      </p:sp>
      <p:sp>
        <p:nvSpPr>
          <p:cNvPr id="9" name="TextBox 17"/>
          <p:cNvSpPr txBox="1"/>
          <p:nvPr/>
        </p:nvSpPr>
        <p:spPr>
          <a:xfrm>
            <a:off x="111125" y="6332889"/>
            <a:ext cx="7119408" cy="523220"/>
          </a:xfrm>
          <a:prstGeom prst="rect">
            <a:avLst/>
          </a:prstGeom>
          <a:noFill/>
        </p:spPr>
        <p:txBody>
          <a:bodyPr wrap="square" rtlCol="0">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400" dirty="0" smtClean="0">
                <a:solidFill>
                  <a:srgbClr val="FFFF00"/>
                </a:solidFill>
              </a:rPr>
              <a:t>Search end date: June 2017</a:t>
            </a:r>
          </a:p>
          <a:p>
            <a:r>
              <a:rPr lang="en-US" sz="1400" dirty="0" smtClean="0">
                <a:solidFill>
                  <a:srgbClr val="FFFF00"/>
                </a:solidFill>
              </a:rPr>
              <a:t>* 22 countries with old version of guidelines</a:t>
            </a:r>
            <a:endParaRPr lang="en-US" sz="1400" dirty="0">
              <a:solidFill>
                <a:srgbClr val="FFFF00"/>
              </a:solidFill>
            </a:endParaRPr>
          </a:p>
        </p:txBody>
      </p:sp>
      <p:pic>
        <p:nvPicPr>
          <p:cNvPr id="2" name="Picture 1"/>
          <p:cNvPicPr>
            <a:picLocks noChangeAspect="1"/>
          </p:cNvPicPr>
          <p:nvPr/>
        </p:nvPicPr>
        <p:blipFill>
          <a:blip r:embed="rId7"/>
          <a:stretch>
            <a:fillRect/>
          </a:stretch>
        </p:blipFill>
        <p:spPr>
          <a:xfrm>
            <a:off x="7747000" y="6324600"/>
            <a:ext cx="1397000" cy="533400"/>
          </a:xfrm>
          <a:prstGeom prst="rect">
            <a:avLst/>
          </a:prstGeom>
        </p:spPr>
      </p:pic>
    </p:spTree>
    <p:extLst>
      <p:ext uri="{BB962C8B-B14F-4D97-AF65-F5344CB8AC3E}">
        <p14:creationId xmlns:p14="http://schemas.microsoft.com/office/powerpoint/2010/main" val="735614645"/>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4"/>
          <p:cNvSpPr txBox="1">
            <a:spLocks noChangeArrowheads="1"/>
          </p:cNvSpPr>
          <p:nvPr/>
        </p:nvSpPr>
        <p:spPr bwMode="auto">
          <a:xfrm>
            <a:off x="0" y="-2642"/>
            <a:ext cx="9144000" cy="646331"/>
          </a:xfrm>
          <a:prstGeom prst="rect">
            <a:avLst/>
          </a:prstGeom>
          <a:noFill/>
          <a:ln w="9525">
            <a:noFill/>
            <a:miter lim="800000"/>
            <a:headEnd/>
            <a:tailEnd/>
          </a:ln>
        </p:spPr>
        <p:txBody>
          <a:bodyPr wrap="square">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spcBef>
                <a:spcPct val="50000"/>
              </a:spcBef>
            </a:pPr>
            <a:r>
              <a:rPr lang="en-US" sz="3600" dirty="0">
                <a:solidFill>
                  <a:srgbClr val="FFFF00"/>
                </a:solidFill>
                <a:ea typeface="ヒラギノ角ゴ Pro W3"/>
                <a:cs typeface="ヒラギノ角ゴ Pro W3"/>
              </a:rPr>
              <a:t>ART i</a:t>
            </a:r>
            <a:r>
              <a:rPr lang="en-US" sz="3600" dirty="0" smtClean="0">
                <a:solidFill>
                  <a:srgbClr val="FFFF00"/>
                </a:solidFill>
                <a:ea typeface="ヒラギノ角ゴ Pro W3"/>
                <a:cs typeface="ヒラギノ角ゴ Pro W3"/>
              </a:rPr>
              <a:t>nitiation </a:t>
            </a:r>
            <a:r>
              <a:rPr lang="en-US" sz="3600" dirty="0">
                <a:solidFill>
                  <a:srgbClr val="FFFF00"/>
                </a:solidFill>
                <a:ea typeface="ヒラギノ角ゴ Pro W3"/>
                <a:cs typeface="ヒラギノ角ゴ Pro W3"/>
              </a:rPr>
              <a:t>for </a:t>
            </a:r>
            <a:r>
              <a:rPr lang="en-US" sz="3600" dirty="0" smtClean="0">
                <a:solidFill>
                  <a:srgbClr val="FFFF00"/>
                </a:solidFill>
                <a:ea typeface="ヒラギノ角ゴ Pro W3"/>
                <a:cs typeface="ヒラギノ角ゴ Pro W3"/>
              </a:rPr>
              <a:t>pregnant women</a:t>
            </a:r>
            <a:endParaRPr lang="en-US" sz="3600" dirty="0">
              <a:solidFill>
                <a:srgbClr val="FFFF00"/>
              </a:solidFill>
              <a:ea typeface="ヒラギノ角ゴ Pro W3"/>
              <a:cs typeface="ヒラギノ角ゴ Pro W3"/>
            </a:endParaRPr>
          </a:p>
        </p:txBody>
      </p:sp>
      <p:graphicFrame>
        <p:nvGraphicFramePr>
          <p:cNvPr id="8" name="Table 7"/>
          <p:cNvGraphicFramePr>
            <a:graphicFrameLocks noGrp="1"/>
          </p:cNvGraphicFramePr>
          <p:nvPr>
            <p:extLst>
              <p:ext uri="{D42A27DB-BD31-4B8C-83A1-F6EECF244321}">
                <p14:modId xmlns:p14="http://schemas.microsoft.com/office/powerpoint/2010/main" val="3081897409"/>
              </p:ext>
            </p:extLst>
          </p:nvPr>
        </p:nvGraphicFramePr>
        <p:xfrm>
          <a:off x="126610" y="696761"/>
          <a:ext cx="8898857" cy="5599838"/>
        </p:xfrm>
        <a:graphic>
          <a:graphicData uri="http://schemas.openxmlformats.org/drawingml/2006/table">
            <a:tbl>
              <a:tblPr/>
              <a:tblGrid>
                <a:gridCol w="1992840"/>
                <a:gridCol w="1267217"/>
                <a:gridCol w="5638800"/>
              </a:tblGrid>
              <a:tr h="464368">
                <a:tc>
                  <a:txBody>
                    <a:bodyPr/>
                    <a:lstStyle/>
                    <a:p>
                      <a:pPr algn="ctr" fontAlgn="b"/>
                      <a:r>
                        <a:rPr lang="en-US" sz="1600" b="1" i="0" u="none" strike="noStrike" dirty="0" smtClean="0">
                          <a:solidFill>
                            <a:srgbClr val="FFFFFF"/>
                          </a:solidFill>
                          <a:effectLst/>
                          <a:latin typeface="Arial"/>
                          <a:cs typeface="Arial"/>
                        </a:rPr>
                        <a:t>ART INITIATION CRITERIA</a:t>
                      </a:r>
                      <a:endParaRPr lang="en-US" sz="160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US" sz="1600" b="1" i="0" u="none" strike="noStrike" dirty="0" smtClean="0">
                          <a:solidFill>
                            <a:srgbClr val="FFFFFF"/>
                          </a:solidFill>
                          <a:effectLst/>
                          <a:latin typeface="Arial"/>
                          <a:cs typeface="Arial"/>
                        </a:rPr>
                        <a:t>NO.</a:t>
                      </a:r>
                      <a:r>
                        <a:rPr lang="en-US" sz="1600" b="1" i="0" u="none" strike="noStrike" baseline="0" dirty="0" smtClean="0">
                          <a:solidFill>
                            <a:srgbClr val="FFFFFF"/>
                          </a:solidFill>
                          <a:effectLst/>
                          <a:latin typeface="Arial"/>
                          <a:cs typeface="Arial"/>
                        </a:rPr>
                        <a:t> OF COUNTRIES</a:t>
                      </a:r>
                      <a:endParaRPr lang="en-US" sz="160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US" sz="1600" b="1" i="0" u="none" strike="noStrike" dirty="0" smtClean="0">
                          <a:solidFill>
                            <a:srgbClr val="FFFFFF"/>
                          </a:solidFill>
                          <a:effectLst/>
                          <a:latin typeface="Arial"/>
                          <a:cs typeface="Arial"/>
                        </a:rPr>
                        <a:t>COUNTRIES</a:t>
                      </a:r>
                      <a:endParaRPr lang="en-US" sz="160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r>
              <a:tr h="2460472">
                <a:tc>
                  <a:txBody>
                    <a:bodyPr/>
                    <a:lstStyle/>
                    <a:p>
                      <a:pPr algn="ctr"/>
                      <a:r>
                        <a:rPr lang="en-US" sz="1400" dirty="0" smtClean="0">
                          <a:solidFill>
                            <a:srgbClr val="FFFFFF"/>
                          </a:solidFill>
                          <a:latin typeface="Arial"/>
                          <a:cs typeface="Arial"/>
                        </a:rPr>
                        <a:t>Option B+</a:t>
                      </a:r>
                      <a:endParaRPr lang="en-US" sz="1400" dirty="0">
                        <a:solidFill>
                          <a:srgbClr val="FFFFFF"/>
                        </a:solidFill>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FFFFFF"/>
                          </a:solidFill>
                          <a:effectLst/>
                          <a:latin typeface="Calibri" charset="0"/>
                          <a:ea typeface="ＭＳ Ｐゴシック" charset="0"/>
                          <a:cs typeface="ＭＳ Ｐゴシック" charset="0"/>
                        </a:rPr>
                        <a:t>94</a:t>
                      </a:r>
                      <a:endParaRPr kumimoji="0" lang="en-US" sz="1800" b="0" i="0" u="none" strike="noStrike" cap="none" normalizeH="0" baseline="0" dirty="0">
                        <a:ln>
                          <a:noFill/>
                        </a:ln>
                        <a:solidFill>
                          <a:srgbClr val="FFFFFF"/>
                        </a:solidFill>
                        <a:effectLst/>
                        <a:latin typeface="Calibri" charset="0"/>
                        <a:ea typeface="ＭＳ Ｐゴシック" charset="0"/>
                        <a:cs typeface="ＭＳ Ｐゴシック" charset="0"/>
                      </a:endParaRPr>
                    </a:p>
                  </a:txBody>
                  <a:tcPr marL="12696" marR="12696" marT="1268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solidFill>
                            <a:srgbClr val="FFFFFF"/>
                          </a:solidFill>
                          <a:latin typeface="Arial"/>
                          <a:cs typeface="Arial"/>
                        </a:rPr>
                        <a:t>Algeria, Angola, Argentina, Australia, Austria, Bangladesh, Benin,</a:t>
                      </a:r>
                      <a:r>
                        <a:rPr lang="en-US" sz="1400" baseline="0" dirty="0" smtClean="0">
                          <a:solidFill>
                            <a:srgbClr val="FFFFFF"/>
                          </a:solidFill>
                          <a:latin typeface="Arial"/>
                          <a:cs typeface="Arial"/>
                        </a:rPr>
                        <a:t> </a:t>
                      </a:r>
                      <a:r>
                        <a:rPr lang="en-US" sz="1400" dirty="0" smtClean="0">
                          <a:solidFill>
                            <a:srgbClr val="FFFFFF"/>
                          </a:solidFill>
                          <a:latin typeface="Arial"/>
                          <a:cs typeface="Arial"/>
                        </a:rPr>
                        <a:t>Bhutan, Bolivia, Botswana, Brazil, Burundi, Cambodia, Cameroon, Chile, China, Costa Rica, Croatia, Democratic Republic of Congo</a:t>
                      </a:r>
                      <a:r>
                        <a:rPr lang="en-US" sz="1400" baseline="0" dirty="0" smtClean="0">
                          <a:solidFill>
                            <a:srgbClr val="FFFFFF"/>
                          </a:solidFill>
                          <a:latin typeface="Arial"/>
                          <a:cs typeface="Arial"/>
                        </a:rPr>
                        <a:t>, Denmark, Dominican Republic, </a:t>
                      </a:r>
                      <a:r>
                        <a:rPr lang="en-US" sz="1400" dirty="0" smtClean="0">
                          <a:solidFill>
                            <a:srgbClr val="FFFFFF"/>
                          </a:solidFill>
                          <a:latin typeface="Arial"/>
                          <a:cs typeface="Arial"/>
                        </a:rPr>
                        <a:t>Ecuador, El Salvador, Ethiopia, France, Fiji, Finland, Gabon, Germany, Georgia,</a:t>
                      </a:r>
                      <a:r>
                        <a:rPr lang="en-US" sz="1400" baseline="0" dirty="0" smtClean="0">
                          <a:solidFill>
                            <a:srgbClr val="FFFFFF"/>
                          </a:solidFill>
                          <a:latin typeface="Arial"/>
                          <a:cs typeface="Arial"/>
                        </a:rPr>
                        <a:t> </a:t>
                      </a:r>
                      <a:r>
                        <a:rPr lang="en-US" sz="1400" dirty="0" smtClean="0">
                          <a:solidFill>
                            <a:srgbClr val="FFFFFF"/>
                          </a:solidFill>
                          <a:latin typeface="Arial"/>
                          <a:cs typeface="Arial"/>
                        </a:rPr>
                        <a:t>Greece, Ghana, </a:t>
                      </a:r>
                      <a:r>
                        <a:rPr lang="en-US" sz="1400" baseline="0" dirty="0" smtClean="0">
                          <a:solidFill>
                            <a:srgbClr val="FFFFFF"/>
                          </a:solidFill>
                          <a:latin typeface="Arial"/>
                          <a:cs typeface="Arial"/>
                        </a:rPr>
                        <a:t>Guatemala, </a:t>
                      </a:r>
                      <a:r>
                        <a:rPr lang="en-US" sz="1400" dirty="0" smtClean="0">
                          <a:solidFill>
                            <a:srgbClr val="FFFFFF"/>
                          </a:solidFill>
                          <a:latin typeface="Arial"/>
                          <a:cs typeface="Arial"/>
                        </a:rPr>
                        <a:t>Haiti, Honduras, India, Indonesia, Italy, Jamaica, Japan, Kenya, Korea, Lao PDR, Lesotho, Liberia, Madagascar, Malawi, Malaysia, Maldives, Mali, Mauritania, Mexico, Moldova, Montenegro, Morocco, Mozambique, Myanmar, Namibia, Nepal, Netherlands, Nicaragua, Nigeria, Norway, Pakistan, Papua</a:t>
                      </a:r>
                      <a:r>
                        <a:rPr lang="en-US" sz="1400" baseline="0" dirty="0" smtClean="0">
                          <a:solidFill>
                            <a:srgbClr val="FFFFFF"/>
                          </a:solidFill>
                          <a:latin typeface="Arial"/>
                          <a:cs typeface="Arial"/>
                        </a:rPr>
                        <a:t> New Guinea, </a:t>
                      </a:r>
                      <a:r>
                        <a:rPr lang="en-US" sz="1400" dirty="0" smtClean="0">
                          <a:solidFill>
                            <a:srgbClr val="FFFFFF"/>
                          </a:solidFill>
                          <a:latin typeface="Arial"/>
                          <a:cs typeface="Arial"/>
                        </a:rPr>
                        <a:t>Paraguay, Peru, Philippines, Poland, Portugal, Romania,</a:t>
                      </a:r>
                      <a:r>
                        <a:rPr lang="en-US" sz="1400" baseline="0" dirty="0" smtClean="0">
                          <a:solidFill>
                            <a:srgbClr val="FFFFFF"/>
                          </a:solidFill>
                          <a:latin typeface="Arial"/>
                          <a:cs typeface="Arial"/>
                        </a:rPr>
                        <a:t> Russia, </a:t>
                      </a:r>
                      <a:r>
                        <a:rPr lang="en-US" sz="1400" b="0" baseline="0" dirty="0" smtClean="0">
                          <a:solidFill>
                            <a:srgbClr val="FFFFFF"/>
                          </a:solidFill>
                          <a:latin typeface="Arial"/>
                          <a:cs typeface="Arial"/>
                        </a:rPr>
                        <a:t>Rwanda, </a:t>
                      </a:r>
                      <a:r>
                        <a:rPr lang="en-US" sz="1400" baseline="0" dirty="0" smtClean="0">
                          <a:solidFill>
                            <a:srgbClr val="FFFFFF"/>
                          </a:solidFill>
                          <a:latin typeface="Arial"/>
                          <a:cs typeface="Arial"/>
                        </a:rPr>
                        <a:t>Spain, Sri Lanka, South Africa, South Sudan, Sudan, Swaziland, Sweden, Switzerland, Uganda, UK, </a:t>
                      </a:r>
                      <a:r>
                        <a:rPr lang="en-US" sz="1400" dirty="0" smtClean="0">
                          <a:solidFill>
                            <a:srgbClr val="FFFFFF"/>
                          </a:solidFill>
                          <a:latin typeface="Arial"/>
                          <a:cs typeface="Arial"/>
                        </a:rPr>
                        <a:t>US, Uruguay, Venezuela,</a:t>
                      </a:r>
                      <a:r>
                        <a:rPr lang="en-US" sz="1400" b="0" baseline="0" dirty="0" smtClean="0">
                          <a:solidFill>
                            <a:srgbClr val="FFFFFF"/>
                          </a:solidFill>
                          <a:latin typeface="Arial"/>
                          <a:cs typeface="Arial"/>
                        </a:rPr>
                        <a:t> </a:t>
                      </a:r>
                      <a:r>
                        <a:rPr lang="en-US" sz="1400" baseline="0" dirty="0" smtClean="0">
                          <a:solidFill>
                            <a:srgbClr val="FFFFFF"/>
                          </a:solidFill>
                          <a:latin typeface="Arial"/>
                          <a:cs typeface="Arial"/>
                        </a:rPr>
                        <a:t>Tanzania, Thailand, </a:t>
                      </a:r>
                      <a:r>
                        <a:rPr lang="en-US" sz="1400" b="0" baseline="0" dirty="0" smtClean="0">
                          <a:solidFill>
                            <a:srgbClr val="FFFFFF"/>
                          </a:solidFill>
                          <a:latin typeface="Arial"/>
                          <a:cs typeface="Arial"/>
                        </a:rPr>
                        <a:t>Tunisia, Turkey, </a:t>
                      </a:r>
                      <a:r>
                        <a:rPr lang="en-US" sz="1400" baseline="0" dirty="0" smtClean="0">
                          <a:solidFill>
                            <a:srgbClr val="FFFFFF"/>
                          </a:solidFill>
                          <a:latin typeface="Arial"/>
                          <a:cs typeface="Arial"/>
                        </a:rPr>
                        <a:t>Ukraine, </a:t>
                      </a:r>
                      <a:r>
                        <a:rPr lang="en-US" sz="1400" dirty="0" smtClean="0">
                          <a:solidFill>
                            <a:srgbClr val="FFFFFF"/>
                          </a:solidFill>
                          <a:latin typeface="Arial"/>
                          <a:cs typeface="Arial"/>
                        </a:rPr>
                        <a:t>Viet Nam,</a:t>
                      </a:r>
                      <a:r>
                        <a:rPr lang="en-US" sz="1400" baseline="0" dirty="0" smtClean="0">
                          <a:solidFill>
                            <a:srgbClr val="FFFFFF"/>
                          </a:solidFill>
                          <a:latin typeface="Arial"/>
                          <a:cs typeface="Arial"/>
                        </a:rPr>
                        <a:t> </a:t>
                      </a:r>
                      <a:r>
                        <a:rPr lang="en-US" sz="1400" b="0" baseline="0" dirty="0" smtClean="0">
                          <a:solidFill>
                            <a:srgbClr val="FFFFFF"/>
                          </a:solidFill>
                          <a:latin typeface="Arial"/>
                          <a:cs typeface="Arial"/>
                        </a:rPr>
                        <a:t>Zambia</a:t>
                      </a:r>
                      <a:r>
                        <a:rPr lang="en-US" sz="1400" dirty="0" smtClean="0">
                          <a:solidFill>
                            <a:srgbClr val="FFFFFF"/>
                          </a:solidFill>
                          <a:latin typeface="Arial"/>
                          <a:cs typeface="Arial"/>
                        </a:rPr>
                        <a:t>,</a:t>
                      </a:r>
                      <a:r>
                        <a:rPr lang="en-US" sz="1400" baseline="0" dirty="0" smtClean="0">
                          <a:solidFill>
                            <a:srgbClr val="FFFFFF"/>
                          </a:solidFill>
                          <a:latin typeface="Arial"/>
                          <a:cs typeface="Arial"/>
                        </a:rPr>
                        <a:t> Zimbabwe</a:t>
                      </a:r>
                      <a:endParaRPr lang="en-US" sz="1400" dirty="0" smtClean="0">
                        <a:solidFill>
                          <a:srgbClr val="FFFFFF"/>
                        </a:solidFill>
                        <a:latin typeface="Arial"/>
                        <a:cs typeface="Arial"/>
                      </a:endParaRPr>
                    </a:p>
                  </a:txBody>
                  <a:tcPr marL="12696" marR="12696" marT="1268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27718">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smtClean="0">
                          <a:solidFill>
                            <a:srgbClr val="FFFFFF"/>
                          </a:solidFill>
                          <a:latin typeface="Arial"/>
                          <a:cs typeface="Arial"/>
                        </a:rPr>
                        <a:t>≤500 </a:t>
                      </a: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FFFFFF"/>
                          </a:solidFill>
                          <a:effectLst/>
                          <a:latin typeface="Calibri" charset="0"/>
                          <a:ea typeface="ＭＳ Ｐゴシック" charset="0"/>
                          <a:cs typeface="ＭＳ Ｐゴシック" charset="0"/>
                        </a:rPr>
                        <a:t>3</a:t>
                      </a:r>
                      <a:endParaRPr kumimoji="0" lang="en-US" sz="1800" b="0" i="0" u="none" strike="noStrike" cap="none" normalizeH="0" baseline="0" dirty="0">
                        <a:ln>
                          <a:noFill/>
                        </a:ln>
                        <a:solidFill>
                          <a:srgbClr val="FFFFFF"/>
                        </a:solidFill>
                        <a:effectLst/>
                        <a:latin typeface="Calibri" charset="0"/>
                        <a:ea typeface="ＭＳ Ｐゴシック" charset="0"/>
                        <a:cs typeface="ＭＳ Ｐゴシック" charset="0"/>
                      </a:endParaRPr>
                    </a:p>
                  </a:txBody>
                  <a:tcPr marL="12696" marR="12696" marT="1268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solidFill>
                            <a:srgbClr val="FFFFFF"/>
                          </a:solidFill>
                          <a:latin typeface="Arial"/>
                          <a:cs typeface="Arial"/>
                        </a:rPr>
                        <a:t>Colombia, </a:t>
                      </a:r>
                      <a:r>
                        <a:rPr lang="en-US" sz="1400" b="0" baseline="0" dirty="0" smtClean="0">
                          <a:solidFill>
                            <a:srgbClr val="FFFFFF"/>
                          </a:solidFill>
                          <a:latin typeface="Arial"/>
                          <a:cs typeface="Arial"/>
                        </a:rPr>
                        <a:t>Hong Kong (China), </a:t>
                      </a:r>
                      <a:r>
                        <a:rPr lang="en-US" sz="1400" dirty="0" smtClean="0">
                          <a:solidFill>
                            <a:srgbClr val="FFFFFF"/>
                          </a:solidFill>
                          <a:latin typeface="Arial"/>
                          <a:cs typeface="Arial"/>
                        </a:rPr>
                        <a:t>Oman</a:t>
                      </a:r>
                    </a:p>
                  </a:txBody>
                  <a:tcPr marL="12696" marR="12696" marT="1268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894083">
                <a:tc>
                  <a:txBody>
                    <a:bodyPr/>
                    <a:lstStyle/>
                    <a:p>
                      <a:pPr algn="ctr"/>
                      <a:r>
                        <a:rPr lang="en-US" sz="1400" dirty="0" smtClean="0">
                          <a:solidFill>
                            <a:srgbClr val="FFFFFF"/>
                          </a:solidFill>
                          <a:latin typeface="Arial"/>
                          <a:cs typeface="Arial"/>
                        </a:rPr>
                        <a:t>≤350</a:t>
                      </a:r>
                      <a:endParaRPr lang="en-US" sz="1400" dirty="0">
                        <a:solidFill>
                          <a:srgbClr val="FFFFFF"/>
                        </a:solidFill>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FFFFFF"/>
                          </a:solidFill>
                          <a:effectLst/>
                          <a:latin typeface="Calibri" charset="0"/>
                          <a:ea typeface="ＭＳ Ｐゴシック" charset="0"/>
                          <a:cs typeface="ＭＳ Ｐゴシック" charset="0"/>
                        </a:rPr>
                        <a:t>18</a:t>
                      </a:r>
                      <a:endParaRPr kumimoji="0" lang="en-US" sz="1800" b="0" i="0" u="none" strike="noStrike" cap="none" normalizeH="0" baseline="0" dirty="0">
                        <a:ln>
                          <a:noFill/>
                        </a:ln>
                        <a:solidFill>
                          <a:srgbClr val="FFFFFF"/>
                        </a:solidFill>
                        <a:effectLst/>
                        <a:latin typeface="Calibri" charset="0"/>
                        <a:ea typeface="ＭＳ Ｐゴシック" charset="0"/>
                        <a:cs typeface="ＭＳ Ｐゴシック" charset="0"/>
                      </a:endParaRPr>
                    </a:p>
                  </a:txBody>
                  <a:tcPr marL="12696" marR="12696" marT="1268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solidFill>
                            <a:srgbClr val="FFFFFF"/>
                          </a:solidFill>
                          <a:latin typeface="Arial"/>
                          <a:cs typeface="Arial"/>
                        </a:rPr>
                        <a:t>Afghanistan, Belize, Burkina Faso, Canada, Cote d’Ivoire, Djibouti, Guinea, Guyana, </a:t>
                      </a:r>
                      <a:r>
                        <a:rPr lang="en-US" sz="1400" baseline="0" dirty="0" smtClean="0">
                          <a:solidFill>
                            <a:srgbClr val="FFFFFF"/>
                          </a:solidFill>
                          <a:latin typeface="Arial"/>
                          <a:cs typeface="Arial"/>
                        </a:rPr>
                        <a:t>Kazakhstan, Latvia, </a:t>
                      </a:r>
                      <a:r>
                        <a:rPr lang="en-US" sz="1400" dirty="0" smtClean="0">
                          <a:solidFill>
                            <a:srgbClr val="FFFFFF"/>
                          </a:solidFill>
                          <a:latin typeface="Arial"/>
                          <a:cs typeface="Arial"/>
                        </a:rPr>
                        <a:t>Marshall Islands, Niger, Panama, Samoa, Sierra Leone,</a:t>
                      </a:r>
                      <a:r>
                        <a:rPr lang="en-US" sz="1400" baseline="0" dirty="0" smtClean="0">
                          <a:solidFill>
                            <a:srgbClr val="FFFFFF"/>
                          </a:solidFill>
                          <a:latin typeface="Arial"/>
                          <a:cs typeface="Arial"/>
                        </a:rPr>
                        <a:t> Timor-Leste, Tuvalu, Vanuatu</a:t>
                      </a:r>
                      <a:endParaRPr lang="en-US" sz="1400" dirty="0">
                        <a:solidFill>
                          <a:srgbClr val="FFFFFF"/>
                        </a:solidFill>
                        <a:latin typeface="Arial"/>
                        <a:cs typeface="Arial"/>
                      </a:endParaRPr>
                    </a:p>
                  </a:txBody>
                  <a:tcPr marL="12696" marR="12696" marT="1268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287866">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smtClean="0">
                          <a:solidFill>
                            <a:srgbClr val="FFFFFF"/>
                          </a:solidFill>
                          <a:latin typeface="Arial"/>
                          <a:cs typeface="Arial"/>
                        </a:rPr>
                        <a:t>≤300</a:t>
                      </a: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FFFFFF"/>
                          </a:solidFill>
                          <a:effectLst/>
                          <a:latin typeface="Calibri" charset="0"/>
                          <a:ea typeface="ＭＳ Ｐゴシック" charset="0"/>
                          <a:cs typeface="ＭＳ Ｐゴシック" charset="0"/>
                        </a:rPr>
                        <a:t>1</a:t>
                      </a:r>
                      <a:endParaRPr kumimoji="0" lang="en-US" sz="1800" b="0" i="0" u="none" strike="noStrike" cap="none" normalizeH="0" baseline="0" dirty="0">
                        <a:ln>
                          <a:noFill/>
                        </a:ln>
                        <a:solidFill>
                          <a:srgbClr val="FFFFFF"/>
                        </a:solidFill>
                        <a:effectLst/>
                        <a:latin typeface="Calibri" charset="0"/>
                        <a:ea typeface="ＭＳ Ｐゴシック" charset="0"/>
                        <a:cs typeface="ＭＳ Ｐゴシック" charset="0"/>
                      </a:endParaRPr>
                    </a:p>
                  </a:txBody>
                  <a:tcPr marL="12696" marR="12696" marT="1268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solidFill>
                            <a:srgbClr val="FFFFFF"/>
                          </a:solidFill>
                          <a:latin typeface="Arial"/>
                          <a:cs typeface="Arial"/>
                        </a:rPr>
                        <a:t> Macedonia</a:t>
                      </a:r>
                      <a:endParaRPr lang="en-US" sz="1400" dirty="0">
                        <a:solidFill>
                          <a:srgbClr val="FFFFFF"/>
                        </a:solidFill>
                        <a:latin typeface="Arial"/>
                        <a:cs typeface="Arial"/>
                      </a:endParaRPr>
                    </a:p>
                  </a:txBody>
                  <a:tcPr marL="12696" marR="12696" marT="1268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287866">
                <a:tc>
                  <a:txBody>
                    <a:bodyPr/>
                    <a:lstStyle/>
                    <a:p>
                      <a:pPr algn="ctr"/>
                      <a:r>
                        <a:rPr lang="en-US" sz="1400" dirty="0" smtClean="0">
                          <a:solidFill>
                            <a:srgbClr val="FFFFFF"/>
                          </a:solidFill>
                          <a:latin typeface="Arial"/>
                          <a:cs typeface="Arial"/>
                        </a:rPr>
                        <a:t>≤200 (consider for ≤350)</a:t>
                      </a:r>
                      <a:endParaRPr lang="en-US" sz="1400" dirty="0">
                        <a:solidFill>
                          <a:srgbClr val="FFFFFF"/>
                        </a:solidFill>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FFFFFF"/>
                          </a:solidFill>
                          <a:effectLst/>
                          <a:latin typeface="Calibri" charset="0"/>
                          <a:ea typeface="ＭＳ Ｐゴシック" charset="0"/>
                          <a:cs typeface="ＭＳ Ｐゴシック" charset="0"/>
                        </a:rPr>
                        <a:t>4</a:t>
                      </a:r>
                      <a:endParaRPr kumimoji="0" lang="en-US" sz="1800" b="0" i="0" u="none" strike="noStrike" cap="none" normalizeH="0" baseline="0" dirty="0">
                        <a:ln>
                          <a:noFill/>
                        </a:ln>
                        <a:solidFill>
                          <a:srgbClr val="FFFFFF"/>
                        </a:solidFill>
                        <a:effectLst/>
                        <a:latin typeface="Calibri" charset="0"/>
                        <a:ea typeface="ＭＳ Ｐゴシック" charset="0"/>
                        <a:cs typeface="ＭＳ Ｐゴシック" charset="0"/>
                      </a:endParaRPr>
                    </a:p>
                  </a:txBody>
                  <a:tcPr marL="12696" marR="12696" marT="1268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r>
                        <a:rPr lang="en-US" sz="1400" dirty="0" smtClean="0">
                          <a:solidFill>
                            <a:srgbClr val="FFFFFF"/>
                          </a:solidFill>
                          <a:latin typeface="Arial"/>
                          <a:cs typeface="Arial"/>
                        </a:rPr>
                        <a:t>Belarus, Cape Verde, Estonia, Hungary</a:t>
                      </a:r>
                      <a:endParaRPr lang="en-US" sz="1400" dirty="0">
                        <a:solidFill>
                          <a:srgbClr val="FFFFFF"/>
                        </a:solidFill>
                        <a:latin typeface="Arial"/>
                        <a:cs typeface="Arial"/>
                      </a:endParaRPr>
                    </a:p>
                  </a:txBody>
                  <a:tcPr marL="12696" marR="12696" marT="1268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02199">
                <a:tc>
                  <a:txBody>
                    <a:bodyPr/>
                    <a:lstStyle/>
                    <a:p>
                      <a:pPr algn="ctr"/>
                      <a:r>
                        <a:rPr lang="en-US" sz="1400" dirty="0" smtClean="0">
                          <a:solidFill>
                            <a:srgbClr val="FFFFFF"/>
                          </a:solidFill>
                          <a:latin typeface="Arial"/>
                          <a:cs typeface="Arial"/>
                        </a:rPr>
                        <a:t>≤200</a:t>
                      </a:r>
                      <a:endParaRPr lang="en-US" sz="1400" dirty="0">
                        <a:solidFill>
                          <a:srgbClr val="FFFFFF"/>
                        </a:solidFill>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FFFFFF"/>
                          </a:solidFill>
                          <a:effectLst/>
                          <a:latin typeface="Calibri" charset="0"/>
                          <a:ea typeface="ＭＳ Ｐゴシック" charset="0"/>
                          <a:cs typeface="ＭＳ Ｐゴシック" charset="0"/>
                        </a:rPr>
                        <a:t>3</a:t>
                      </a:r>
                      <a:endParaRPr kumimoji="0" lang="en-US" sz="1800" b="0" i="0" u="none" strike="noStrike" cap="none" normalizeH="0" baseline="0" dirty="0">
                        <a:ln>
                          <a:noFill/>
                        </a:ln>
                        <a:solidFill>
                          <a:srgbClr val="FFFFFF"/>
                        </a:solidFill>
                        <a:effectLst/>
                        <a:latin typeface="Calibri" charset="0"/>
                        <a:ea typeface="ＭＳ Ｐゴシック" charset="0"/>
                        <a:cs typeface="ＭＳ Ｐゴシック" charset="0"/>
                      </a:endParaRPr>
                    </a:p>
                  </a:txBody>
                  <a:tcPr marL="12696" marR="12696" marT="12686"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r>
                        <a:rPr lang="en-US" sz="1400" dirty="0" smtClean="0">
                          <a:solidFill>
                            <a:srgbClr val="FFFFFF"/>
                          </a:solidFill>
                          <a:latin typeface="Arial"/>
                          <a:cs typeface="Arial"/>
                        </a:rPr>
                        <a:t>Comoros, Cuba, Senegal</a:t>
                      </a:r>
                      <a:endParaRPr lang="en-US" sz="1400" dirty="0">
                        <a:solidFill>
                          <a:srgbClr val="FFFFFF"/>
                        </a:solidFill>
                        <a:latin typeface="Arial"/>
                        <a:cs typeface="Arial"/>
                      </a:endParaRPr>
                    </a:p>
                  </a:txBody>
                  <a:tcPr marL="12696" marR="12696" marT="1268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bl>
          </a:graphicData>
        </a:graphic>
      </p:graphicFrame>
      <p:sp>
        <p:nvSpPr>
          <p:cNvPr id="6" name="Rectangle 5"/>
          <p:cNvSpPr/>
          <p:nvPr/>
        </p:nvSpPr>
        <p:spPr>
          <a:xfrm>
            <a:off x="126610" y="4221372"/>
            <a:ext cx="8898857" cy="2092915"/>
          </a:xfrm>
          <a:prstGeom prst="rect">
            <a:avLst/>
          </a:prstGeom>
          <a:noFill/>
          <a:ln w="7620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p:nvSpPr>
        <p:spPr>
          <a:xfrm>
            <a:off x="143543" y="6516979"/>
            <a:ext cx="2185214" cy="307777"/>
          </a:xfrm>
          <a:prstGeom prst="rect">
            <a:avLst/>
          </a:prstGeom>
        </p:spPr>
        <p:txBody>
          <a:bodyPr wrap="none">
            <a:spAutoFit/>
          </a:bodyPr>
          <a:lstStyle/>
          <a:p>
            <a:pPr algn="ctr">
              <a:spcBef>
                <a:spcPct val="50000"/>
              </a:spcBef>
            </a:pPr>
            <a:r>
              <a:rPr lang="en-US" sz="1400" b="1" dirty="0" smtClean="0">
                <a:solidFill>
                  <a:srgbClr val="FFFF00"/>
                </a:solidFill>
                <a:ea typeface="ヒラギノ角ゴ Pro W3"/>
                <a:cs typeface="ヒラギノ角ゴ Pro W3"/>
              </a:rPr>
              <a:t>Source</a:t>
            </a:r>
            <a:r>
              <a:rPr lang="en-US" sz="1400" dirty="0" smtClean="0">
                <a:solidFill>
                  <a:srgbClr val="FFFF00"/>
                </a:solidFill>
                <a:ea typeface="ヒラギノ角ゴ Pro W3"/>
                <a:cs typeface="ヒラギノ角ゴ Pro W3"/>
              </a:rPr>
              <a:t>: published policy</a:t>
            </a:r>
            <a:endParaRPr lang="en-US" sz="1400" dirty="0">
              <a:solidFill>
                <a:srgbClr val="FFFF00"/>
              </a:solidFill>
              <a:ea typeface="ヒラギノ角ゴ Pro W3"/>
              <a:cs typeface="ヒラギノ角ゴ Pro W3"/>
            </a:endParaRPr>
          </a:p>
        </p:txBody>
      </p:sp>
      <p:pic>
        <p:nvPicPr>
          <p:cNvPr id="7" name="Picture 6"/>
          <p:cNvPicPr>
            <a:picLocks noChangeAspect="1"/>
          </p:cNvPicPr>
          <p:nvPr/>
        </p:nvPicPr>
        <p:blipFill>
          <a:blip r:embed="rId2"/>
          <a:stretch>
            <a:fillRect/>
          </a:stretch>
        </p:blipFill>
        <p:spPr>
          <a:xfrm>
            <a:off x="7941732" y="6398952"/>
            <a:ext cx="1202267" cy="459047"/>
          </a:xfrm>
          <a:prstGeom prst="rect">
            <a:avLst/>
          </a:prstGeom>
        </p:spPr>
      </p:pic>
    </p:spTree>
    <p:extLst>
      <p:ext uri="{BB962C8B-B14F-4D97-AF65-F5344CB8AC3E}">
        <p14:creationId xmlns:p14="http://schemas.microsoft.com/office/powerpoint/2010/main" val="2971739879"/>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4"/>
          <p:cNvSpPr txBox="1">
            <a:spLocks noChangeArrowheads="1"/>
          </p:cNvSpPr>
          <p:nvPr/>
        </p:nvSpPr>
        <p:spPr bwMode="auto">
          <a:xfrm>
            <a:off x="-136835" y="82957"/>
            <a:ext cx="9420447" cy="646331"/>
          </a:xfrm>
          <a:prstGeom prst="rect">
            <a:avLst/>
          </a:prstGeom>
          <a:noFill/>
          <a:ln w="9525">
            <a:noFill/>
            <a:miter lim="800000"/>
            <a:headEnd/>
            <a:tailEnd/>
          </a:ln>
        </p:spPr>
        <p:txBody>
          <a:bodyPr wrap="square">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spcBef>
                <a:spcPct val="50000"/>
              </a:spcBef>
            </a:pPr>
            <a:r>
              <a:rPr lang="en-US" sz="3600" dirty="0">
                <a:solidFill>
                  <a:srgbClr val="FFFF00"/>
                </a:solidFill>
                <a:ea typeface="ヒラギノ角ゴ Pro W3"/>
                <a:cs typeface="ヒラギノ角ゴ Pro W3"/>
              </a:rPr>
              <a:t>ART initiation for </a:t>
            </a:r>
            <a:r>
              <a:rPr lang="en-US" sz="3600" dirty="0" err="1">
                <a:solidFill>
                  <a:srgbClr val="FFFF00"/>
                </a:solidFill>
                <a:ea typeface="ヒラギノ角ゴ Pro W3"/>
                <a:cs typeface="ヒラギノ角ゴ Pro W3"/>
              </a:rPr>
              <a:t>serodiscordant</a:t>
            </a:r>
            <a:r>
              <a:rPr lang="en-US" sz="3600" dirty="0">
                <a:solidFill>
                  <a:srgbClr val="FFFF00"/>
                </a:solidFill>
                <a:ea typeface="ヒラギノ角ゴ Pro W3"/>
                <a:cs typeface="ヒラギノ角ゴ Pro W3"/>
              </a:rPr>
              <a:t> </a:t>
            </a:r>
            <a:r>
              <a:rPr lang="en-US" sz="3600" dirty="0" smtClean="0">
                <a:solidFill>
                  <a:srgbClr val="FFFF00"/>
                </a:solidFill>
                <a:ea typeface="ヒラギノ角ゴ Pro W3"/>
                <a:cs typeface="ヒラギノ角ゴ Pro W3"/>
              </a:rPr>
              <a:t>couples</a:t>
            </a:r>
            <a:endParaRPr lang="en-US" sz="3200" dirty="0" smtClean="0">
              <a:solidFill>
                <a:srgbClr val="FFFF00"/>
              </a:solidFill>
              <a:ea typeface="ヒラギノ角ゴ Pro W3"/>
              <a:cs typeface="ヒラギノ角ゴ Pro W3"/>
            </a:endParaRPr>
          </a:p>
        </p:txBody>
      </p:sp>
      <p:graphicFrame>
        <p:nvGraphicFramePr>
          <p:cNvPr id="6" name="Table 5"/>
          <p:cNvGraphicFramePr>
            <a:graphicFrameLocks noGrp="1"/>
          </p:cNvGraphicFramePr>
          <p:nvPr>
            <p:extLst>
              <p:ext uri="{D42A27DB-BD31-4B8C-83A1-F6EECF244321}">
                <p14:modId xmlns:p14="http://schemas.microsoft.com/office/powerpoint/2010/main" val="3602710358"/>
              </p:ext>
            </p:extLst>
          </p:nvPr>
        </p:nvGraphicFramePr>
        <p:xfrm>
          <a:off x="338666" y="1499499"/>
          <a:ext cx="8483600" cy="4737043"/>
        </p:xfrm>
        <a:graphic>
          <a:graphicData uri="http://schemas.openxmlformats.org/drawingml/2006/table">
            <a:tbl>
              <a:tblPr/>
              <a:tblGrid>
                <a:gridCol w="2235457"/>
                <a:gridCol w="1320543"/>
                <a:gridCol w="4927600"/>
              </a:tblGrid>
              <a:tr h="448153">
                <a:tc>
                  <a:txBody>
                    <a:bodyPr/>
                    <a:lstStyle/>
                    <a:p>
                      <a:pPr algn="ctr" fontAlgn="b"/>
                      <a:r>
                        <a:rPr lang="en-US" sz="1600" b="1" i="0" u="none" strike="noStrike" dirty="0" smtClean="0">
                          <a:solidFill>
                            <a:srgbClr val="FFFFFF"/>
                          </a:solidFill>
                          <a:effectLst/>
                          <a:latin typeface="Arial"/>
                          <a:cs typeface="Arial"/>
                        </a:rPr>
                        <a:t>ART INITIATION CRITERIA</a:t>
                      </a:r>
                      <a:endParaRPr lang="en-US" sz="160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US" sz="1600" b="1" i="0" u="none" strike="noStrike" dirty="0" smtClean="0">
                          <a:solidFill>
                            <a:srgbClr val="FFFFFF"/>
                          </a:solidFill>
                          <a:effectLst/>
                          <a:latin typeface="Arial"/>
                          <a:cs typeface="Arial"/>
                        </a:rPr>
                        <a:t>NO.</a:t>
                      </a:r>
                      <a:r>
                        <a:rPr lang="en-US" sz="1600" b="1" i="0" u="none" strike="noStrike" baseline="0" dirty="0" smtClean="0">
                          <a:solidFill>
                            <a:srgbClr val="FFFFFF"/>
                          </a:solidFill>
                          <a:effectLst/>
                          <a:latin typeface="Arial"/>
                          <a:cs typeface="Arial"/>
                        </a:rPr>
                        <a:t> OF COUNTRIES</a:t>
                      </a:r>
                      <a:endParaRPr lang="en-US" sz="160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US" sz="1600" b="1" i="0" u="none" strike="noStrike" dirty="0" smtClean="0">
                          <a:solidFill>
                            <a:srgbClr val="FFFFFF"/>
                          </a:solidFill>
                          <a:effectLst/>
                          <a:latin typeface="Arial"/>
                          <a:cs typeface="Arial"/>
                        </a:rPr>
                        <a:t>COUNTRIES</a:t>
                      </a:r>
                      <a:endParaRPr lang="en-US" sz="160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r>
              <a:tr h="2474763">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FFFFFF"/>
                          </a:solidFill>
                          <a:effectLst/>
                          <a:latin typeface="Arial" charset="0"/>
                          <a:ea typeface="ＭＳ Ｐゴシック" charset="0"/>
                          <a:cs typeface="Arial" charset="0"/>
                        </a:rPr>
                        <a:t>Irrespective of CD4 count</a:t>
                      </a:r>
                    </a:p>
                  </a:txBody>
                  <a:tcPr marL="12699" marR="12699" marT="1269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FFFFFF"/>
                          </a:solidFill>
                          <a:effectLst/>
                          <a:latin typeface="Calibri" charset="0"/>
                          <a:ea typeface="ＭＳ Ｐゴシック" charset="0"/>
                          <a:cs typeface="ＭＳ Ｐゴシック" charset="0"/>
                        </a:rPr>
                        <a:t>86</a:t>
                      </a:r>
                      <a:endParaRPr kumimoji="0" lang="en-US" sz="1800" b="0" i="0" u="none" strike="noStrike" cap="none" normalizeH="0" baseline="0" dirty="0">
                        <a:ln>
                          <a:noFill/>
                        </a:ln>
                        <a:solidFill>
                          <a:srgbClr val="FFFFFF"/>
                        </a:solidFill>
                        <a:effectLst/>
                        <a:latin typeface="Calibri" charset="0"/>
                        <a:ea typeface="ＭＳ Ｐゴシック" charset="0"/>
                        <a:cs typeface="ＭＳ Ｐゴシック" charset="0"/>
                      </a:endParaRPr>
                    </a:p>
                  </a:txBody>
                  <a:tcPr marL="12699" marR="12699" marT="1269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50" b="0" dirty="0" smtClean="0">
                          <a:solidFill>
                            <a:srgbClr val="FFFFFF"/>
                          </a:solidFill>
                          <a:latin typeface="Arial"/>
                          <a:cs typeface="Arial"/>
                        </a:rPr>
                        <a:t>Algeria, Argentina, Australia,</a:t>
                      </a:r>
                      <a:r>
                        <a:rPr lang="en-US" sz="1450" b="0" baseline="0" dirty="0" smtClean="0">
                          <a:solidFill>
                            <a:srgbClr val="FFFFFF"/>
                          </a:solidFill>
                          <a:latin typeface="Arial"/>
                          <a:cs typeface="Arial"/>
                        </a:rPr>
                        <a:t> Austria, Bangladesh, Benin, Bhutan, </a:t>
                      </a:r>
                      <a:r>
                        <a:rPr lang="en-US" sz="1450" b="0" dirty="0" smtClean="0">
                          <a:solidFill>
                            <a:srgbClr val="FFFFFF"/>
                          </a:solidFill>
                          <a:latin typeface="Arial"/>
                          <a:cs typeface="Arial"/>
                        </a:rPr>
                        <a:t>Bolivia, Botswana, Brazil, </a:t>
                      </a:r>
                      <a:r>
                        <a:rPr kumimoji="0" lang="en-US" sz="1450" b="0" i="0" u="none" strike="noStrike" cap="none" normalizeH="0" baseline="0" dirty="0" smtClean="0">
                          <a:ln>
                            <a:noFill/>
                          </a:ln>
                          <a:solidFill>
                            <a:srgbClr val="FFFFFF"/>
                          </a:solidFill>
                          <a:effectLst/>
                          <a:latin typeface="Arial" charset="0"/>
                          <a:ea typeface="ＭＳ Ｐゴシック" charset="0"/>
                          <a:cs typeface="Arial" charset="0"/>
                        </a:rPr>
                        <a:t>Britain, </a:t>
                      </a:r>
                      <a:r>
                        <a:rPr lang="en-US" sz="1450" b="0" dirty="0" smtClean="0">
                          <a:solidFill>
                            <a:srgbClr val="FFFFFF"/>
                          </a:solidFill>
                          <a:latin typeface="Arial"/>
                          <a:cs typeface="Arial"/>
                        </a:rPr>
                        <a:t>Burundi, Cambodia, Cameroon, Canada, Chile, China, Costa Rica, Democratic Republic of Congo, Denmark, Ecuador, El Salvador, Ethiopia, France, Fiji, Gabon, Georgia, Germany, Haiti, Honduras, Hong Kong, India, Indonesia, Italy</a:t>
                      </a:r>
                      <a:r>
                        <a:rPr lang="en-US" sz="1450" b="0" baseline="0" dirty="0" smtClean="0">
                          <a:solidFill>
                            <a:srgbClr val="FFFFFF"/>
                          </a:solidFill>
                          <a:latin typeface="Arial"/>
                          <a:cs typeface="Arial"/>
                        </a:rPr>
                        <a:t>, </a:t>
                      </a:r>
                      <a:r>
                        <a:rPr lang="en-US" sz="1450" dirty="0" smtClean="0">
                          <a:solidFill>
                            <a:srgbClr val="FFFFFF"/>
                          </a:solidFill>
                          <a:latin typeface="Arial"/>
                          <a:cs typeface="Arial"/>
                        </a:rPr>
                        <a:t>Jamaica, </a:t>
                      </a:r>
                      <a:r>
                        <a:rPr lang="en-US" sz="1450" b="0" baseline="0" dirty="0" smtClean="0">
                          <a:solidFill>
                            <a:srgbClr val="FFFFFF"/>
                          </a:solidFill>
                          <a:latin typeface="Arial"/>
                          <a:cs typeface="Arial"/>
                        </a:rPr>
                        <a:t>Japan, Kenya, Korea, Lao PDR, Lesotho, Madagascar, Malawi, Malaysia, Maldives, Mali, </a:t>
                      </a:r>
                      <a:r>
                        <a:rPr lang="en-US" sz="1450" dirty="0" smtClean="0">
                          <a:solidFill>
                            <a:srgbClr val="FFFFFF"/>
                          </a:solidFill>
                          <a:latin typeface="Arial"/>
                          <a:cs typeface="Arial"/>
                        </a:rPr>
                        <a:t>Mauritania, Mexico, Moldova, Montenegro, Mozambique, Myanmar, </a:t>
                      </a:r>
                      <a:r>
                        <a:rPr lang="en-US" sz="1450" b="0" baseline="0" dirty="0" smtClean="0">
                          <a:solidFill>
                            <a:srgbClr val="FFFFFF"/>
                          </a:solidFill>
                          <a:latin typeface="Arial"/>
                          <a:cs typeface="Arial"/>
                        </a:rPr>
                        <a:t>Namibia, Nepal, Netherlands, Norway, Oman, Pakistan, Papua New Guinea, Peru, Philippines, Poland, Portugal, Russia, </a:t>
                      </a:r>
                      <a:r>
                        <a:rPr lang="en-US" sz="1450" b="0" dirty="0" smtClean="0">
                          <a:solidFill>
                            <a:srgbClr val="FFFFFF"/>
                          </a:solidFill>
                          <a:latin typeface="Arial"/>
                          <a:cs typeface="Arial"/>
                        </a:rPr>
                        <a:t>Rwanda,</a:t>
                      </a:r>
                      <a:r>
                        <a:rPr lang="en-US" sz="1450" b="0" baseline="0" dirty="0" smtClean="0">
                          <a:solidFill>
                            <a:srgbClr val="FFFFFF"/>
                          </a:solidFill>
                          <a:latin typeface="Arial"/>
                          <a:cs typeface="Arial"/>
                        </a:rPr>
                        <a:t> Spain, Sri Lanka, South Africa, South Sudan, Sudan, Swaziland, Sweden, Switzerland, United States, Uganda, Uruguay, Tanzania, Thailand,</a:t>
                      </a:r>
                      <a:r>
                        <a:rPr kumimoji="0" lang="en-US" sz="1450" b="0" i="0" u="none" strike="noStrike" cap="none" normalizeH="0" baseline="0" dirty="0" smtClean="0">
                          <a:ln>
                            <a:noFill/>
                          </a:ln>
                          <a:solidFill>
                            <a:srgbClr val="FFFFFF"/>
                          </a:solidFill>
                          <a:effectLst/>
                          <a:latin typeface="Arial" charset="0"/>
                          <a:ea typeface="ヒラギノ角ゴ Pro W3" charset="0"/>
                          <a:cs typeface="ヒラギノ角ゴ Pro W3" charset="0"/>
                        </a:rPr>
                        <a:t> </a:t>
                      </a:r>
                      <a:r>
                        <a:rPr lang="en-US" sz="1450" b="0" baseline="0" dirty="0" smtClean="0">
                          <a:solidFill>
                            <a:srgbClr val="FFFFFF"/>
                          </a:solidFill>
                          <a:latin typeface="Arial"/>
                          <a:cs typeface="Arial"/>
                        </a:rPr>
                        <a:t>Tunisia, Turkey, Ukraine, Venezuela, Viet Nam, Zambia</a:t>
                      </a:r>
                      <a:r>
                        <a:rPr kumimoji="0" lang="en-US" sz="1450" b="0" i="0" u="none" strike="noStrike" cap="none" normalizeH="0" baseline="0" dirty="0" smtClean="0">
                          <a:ln>
                            <a:noFill/>
                          </a:ln>
                          <a:solidFill>
                            <a:srgbClr val="FFFFFF"/>
                          </a:solidFill>
                          <a:effectLst/>
                          <a:latin typeface="Arial" charset="0"/>
                          <a:ea typeface="ヒラギノ角ゴ Pro W3" charset="0"/>
                          <a:cs typeface="ヒラギノ角ゴ Pro W3" charset="0"/>
                        </a:rPr>
                        <a:t>, </a:t>
                      </a:r>
                      <a:r>
                        <a:rPr lang="en-US" sz="1450" b="0" baseline="0" dirty="0" smtClean="0">
                          <a:solidFill>
                            <a:srgbClr val="FFFFFF"/>
                          </a:solidFill>
                          <a:latin typeface="Arial"/>
                          <a:cs typeface="Arial"/>
                        </a:rPr>
                        <a:t>Zimbabwe, Romania, </a:t>
                      </a:r>
                      <a:r>
                        <a:rPr kumimoji="0" lang="en-US" sz="1450" b="0" i="0" u="none" strike="noStrike" cap="none" normalizeH="0" baseline="0" dirty="0" smtClean="0">
                          <a:ln>
                            <a:noFill/>
                          </a:ln>
                          <a:solidFill>
                            <a:srgbClr val="FFFFFF"/>
                          </a:solidFill>
                          <a:effectLst/>
                          <a:latin typeface="Arial" charset="0"/>
                          <a:ea typeface="ＭＳ Ｐゴシック" charset="0"/>
                          <a:cs typeface="Arial" charset="0"/>
                        </a:rPr>
                        <a:t>Norway</a:t>
                      </a:r>
                      <a:endParaRPr kumimoji="0" lang="en-US" sz="1450" b="0" i="0" u="none" strike="noStrike" cap="none" normalizeH="0" baseline="0" dirty="0" smtClean="0">
                        <a:ln>
                          <a:noFill/>
                        </a:ln>
                        <a:solidFill>
                          <a:srgbClr val="FFFFFF"/>
                        </a:solidFill>
                        <a:effectLst/>
                        <a:latin typeface="Arial" charset="0"/>
                        <a:ea typeface="ヒラギノ角ゴ Pro W3" charset="0"/>
                        <a:cs typeface="ヒラギノ角ゴ Pro W3" charset="0"/>
                      </a:endParaRPr>
                    </a:p>
                  </a:txBody>
                  <a:tcPr marL="12699" marR="12699" marT="1269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66558">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FFFFFF"/>
                          </a:solidFill>
                          <a:effectLst/>
                          <a:latin typeface="Arial" charset="0"/>
                          <a:ea typeface="ＭＳ Ｐゴシック" charset="0"/>
                          <a:cs typeface="Arial" charset="0"/>
                        </a:rPr>
                        <a:t>&gt;350</a:t>
                      </a:r>
                    </a:p>
                  </a:txBody>
                  <a:tcPr marL="12699" marR="12699" marT="1269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FFFFFF"/>
                          </a:solidFill>
                          <a:effectLst/>
                          <a:latin typeface="Calibri" charset="0"/>
                          <a:ea typeface="ＭＳ Ｐゴシック" charset="0"/>
                          <a:cs typeface="ＭＳ Ｐゴシック" charset="0"/>
                        </a:rPr>
                        <a:t>1</a:t>
                      </a:r>
                    </a:p>
                  </a:txBody>
                  <a:tcPr marL="12699" marR="12699" marT="1269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Angola</a:t>
                      </a:r>
                      <a:endParaRPr kumimoji="0" lang="en-US" sz="1500" b="0" i="0" u="none" strike="noStrike" cap="none" normalizeH="0" baseline="0" dirty="0">
                        <a:ln>
                          <a:noFill/>
                        </a:ln>
                        <a:solidFill>
                          <a:srgbClr val="FFFFFF"/>
                        </a:solidFill>
                        <a:effectLst/>
                        <a:latin typeface="Arial" charset="0"/>
                        <a:ea typeface="ヒラギノ角ゴ Pro W3" charset="0"/>
                        <a:cs typeface="ヒラギノ角ゴ Pro W3" charset="0"/>
                      </a:endParaRPr>
                    </a:p>
                  </a:txBody>
                  <a:tcPr marL="12699" marR="12699" marT="1269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21733">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Consider </a:t>
                      </a:r>
                      <a:endParaRPr kumimoji="0" lang="en-US" sz="1500" b="0" i="0" u="none" strike="noStrike" cap="none" normalizeH="0" baseline="0" dirty="0">
                        <a:ln>
                          <a:noFill/>
                        </a:ln>
                        <a:solidFill>
                          <a:srgbClr val="FFFFFF"/>
                        </a:solidFill>
                        <a:effectLst/>
                        <a:latin typeface="Arial" charset="0"/>
                        <a:ea typeface="ＭＳ Ｐゴシック" charset="0"/>
                        <a:cs typeface="Arial" charset="0"/>
                      </a:endParaRPr>
                    </a:p>
                  </a:txBody>
                  <a:tcPr marL="12699" marR="12699" marT="1269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FFFFFF"/>
                          </a:solidFill>
                          <a:effectLst/>
                          <a:latin typeface="Calibri" charset="0"/>
                          <a:ea typeface="ＭＳ Ｐゴシック" charset="0"/>
                          <a:cs typeface="ＭＳ Ｐゴシック" charset="0"/>
                        </a:rPr>
                        <a:t>1</a:t>
                      </a:r>
                      <a:endParaRPr kumimoji="0" lang="en-US" sz="1800" b="0" i="0" u="none" strike="noStrike" cap="none" normalizeH="0" baseline="0" dirty="0">
                        <a:ln>
                          <a:noFill/>
                        </a:ln>
                        <a:solidFill>
                          <a:srgbClr val="FFFFFF"/>
                        </a:solidFill>
                        <a:effectLst/>
                        <a:latin typeface="Calibri" charset="0"/>
                        <a:ea typeface="ＭＳ Ｐゴシック" charset="0"/>
                        <a:cs typeface="ＭＳ Ｐゴシック" charset="0"/>
                      </a:endParaRPr>
                    </a:p>
                  </a:txBody>
                  <a:tcPr marL="12699" marR="12699" marT="1269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ヒラギノ角ゴ Pro W3" charset="0"/>
                          <a:cs typeface="ヒラギノ角ゴ Pro W3" charset="0"/>
                        </a:rPr>
                        <a:t> Nigeria</a:t>
                      </a:r>
                      <a:endParaRPr kumimoji="0" lang="en-US" sz="1500" b="0" i="0" u="none" strike="noStrike" cap="none" normalizeH="0" baseline="0" dirty="0">
                        <a:ln>
                          <a:noFill/>
                        </a:ln>
                        <a:solidFill>
                          <a:srgbClr val="FFFFFF"/>
                        </a:solidFill>
                        <a:effectLst/>
                        <a:latin typeface="Arial" charset="0"/>
                        <a:ea typeface="ヒラギノ角ゴ Pro W3" charset="0"/>
                        <a:cs typeface="ヒラギノ角ゴ Pro W3" charset="0"/>
                      </a:endParaRPr>
                    </a:p>
                  </a:txBody>
                  <a:tcPr marL="12699" marR="12699" marT="1269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bl>
          </a:graphicData>
        </a:graphic>
      </p:graphicFrame>
      <p:sp>
        <p:nvSpPr>
          <p:cNvPr id="7" name="Text Box 5"/>
          <p:cNvSpPr txBox="1">
            <a:spLocks noChangeArrowheads="1"/>
          </p:cNvSpPr>
          <p:nvPr/>
        </p:nvSpPr>
        <p:spPr bwMode="auto">
          <a:xfrm>
            <a:off x="1613646" y="799747"/>
            <a:ext cx="6081059" cy="369332"/>
          </a:xfrm>
          <a:prstGeom prst="rect">
            <a:avLst/>
          </a:prstGeom>
          <a:noFill/>
          <a:ln w="9525">
            <a:solidFill>
              <a:schemeClr val="bg1"/>
            </a:solid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Bef>
                <a:spcPct val="50000"/>
              </a:spcBef>
            </a:pPr>
            <a:r>
              <a:rPr lang="en-US" dirty="0" smtClean="0">
                <a:solidFill>
                  <a:schemeClr val="bg1"/>
                </a:solidFill>
                <a:ea typeface="ヒラギノ角ゴ Pro W3"/>
                <a:cs typeface="ヒラギノ角ゴ Pro W3"/>
              </a:rPr>
              <a:t>2015 </a:t>
            </a:r>
            <a:r>
              <a:rPr lang="en-US" dirty="0">
                <a:solidFill>
                  <a:schemeClr val="bg1"/>
                </a:solidFill>
                <a:ea typeface="ヒラギノ角ゴ Pro W3"/>
                <a:cs typeface="ヒラギノ角ゴ Pro W3"/>
              </a:rPr>
              <a:t>WHO Recommendation : </a:t>
            </a:r>
            <a:r>
              <a:rPr lang="en-US" dirty="0" smtClean="0">
                <a:solidFill>
                  <a:schemeClr val="bg1"/>
                </a:solidFill>
                <a:ea typeface="ヒラギノ角ゴ Pro W3"/>
                <a:cs typeface="ヒラギノ角ゴ Pro W3"/>
              </a:rPr>
              <a:t>Irrespective of CD4 count</a:t>
            </a:r>
            <a:endParaRPr lang="en-US" dirty="0">
              <a:solidFill>
                <a:schemeClr val="bg1"/>
              </a:solidFill>
              <a:ea typeface="ヒラギノ角ゴ Pro W3"/>
              <a:cs typeface="ヒラギノ角ゴ Pro W3"/>
            </a:endParaRPr>
          </a:p>
        </p:txBody>
      </p:sp>
      <p:sp>
        <p:nvSpPr>
          <p:cNvPr id="8" name="Rectangle 7"/>
          <p:cNvSpPr/>
          <p:nvPr/>
        </p:nvSpPr>
        <p:spPr>
          <a:xfrm>
            <a:off x="355599" y="5574119"/>
            <a:ext cx="8466667" cy="660721"/>
          </a:xfrm>
          <a:prstGeom prst="rect">
            <a:avLst/>
          </a:prstGeom>
          <a:noFill/>
          <a:ln w="7620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329806" y="6466180"/>
            <a:ext cx="2185214" cy="307777"/>
          </a:xfrm>
          <a:prstGeom prst="rect">
            <a:avLst/>
          </a:prstGeom>
        </p:spPr>
        <p:txBody>
          <a:bodyPr wrap="none">
            <a:spAutoFit/>
          </a:bodyPr>
          <a:lstStyle/>
          <a:p>
            <a:pPr algn="ctr">
              <a:spcBef>
                <a:spcPct val="50000"/>
              </a:spcBef>
            </a:pPr>
            <a:r>
              <a:rPr lang="en-US" sz="1400" b="1" dirty="0" smtClean="0">
                <a:solidFill>
                  <a:srgbClr val="FFFF00"/>
                </a:solidFill>
                <a:ea typeface="ヒラギノ角ゴ Pro W3"/>
                <a:cs typeface="ヒラギノ角ゴ Pro W3"/>
              </a:rPr>
              <a:t>Source</a:t>
            </a:r>
            <a:r>
              <a:rPr lang="en-US" sz="1400" dirty="0" smtClean="0">
                <a:solidFill>
                  <a:srgbClr val="FFFF00"/>
                </a:solidFill>
                <a:ea typeface="ヒラギノ角ゴ Pro W3"/>
                <a:cs typeface="ヒラギノ角ゴ Pro W3"/>
              </a:rPr>
              <a:t>: published policy</a:t>
            </a:r>
            <a:endParaRPr lang="en-US" sz="1400" dirty="0">
              <a:solidFill>
                <a:srgbClr val="FFFF00"/>
              </a:solidFill>
              <a:ea typeface="ヒラギノ角ゴ Pro W3"/>
              <a:cs typeface="ヒラギノ角ゴ Pro W3"/>
            </a:endParaRPr>
          </a:p>
        </p:txBody>
      </p:sp>
      <p:pic>
        <p:nvPicPr>
          <p:cNvPr id="10" name="Picture 9"/>
          <p:cNvPicPr>
            <a:picLocks noChangeAspect="1"/>
          </p:cNvPicPr>
          <p:nvPr/>
        </p:nvPicPr>
        <p:blipFill>
          <a:blip r:embed="rId2"/>
          <a:stretch>
            <a:fillRect/>
          </a:stretch>
        </p:blipFill>
        <p:spPr>
          <a:xfrm>
            <a:off x="7747000" y="6324600"/>
            <a:ext cx="1397000" cy="533400"/>
          </a:xfrm>
          <a:prstGeom prst="rect">
            <a:avLst/>
          </a:prstGeom>
        </p:spPr>
      </p:pic>
    </p:spTree>
    <p:extLst>
      <p:ext uri="{BB962C8B-B14F-4D97-AF65-F5344CB8AC3E}">
        <p14:creationId xmlns:p14="http://schemas.microsoft.com/office/powerpoint/2010/main" val="1376593024"/>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4"/>
          <p:cNvSpPr txBox="1">
            <a:spLocks noChangeArrowheads="1"/>
          </p:cNvSpPr>
          <p:nvPr/>
        </p:nvSpPr>
        <p:spPr bwMode="auto">
          <a:xfrm>
            <a:off x="-136835" y="32158"/>
            <a:ext cx="9420447" cy="646331"/>
          </a:xfrm>
          <a:prstGeom prst="rect">
            <a:avLst/>
          </a:prstGeom>
          <a:noFill/>
          <a:ln w="9525">
            <a:noFill/>
            <a:miter lim="800000"/>
            <a:headEnd/>
            <a:tailEnd/>
          </a:ln>
        </p:spPr>
        <p:txBody>
          <a:bodyPr wrap="square">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spcBef>
                <a:spcPct val="50000"/>
              </a:spcBef>
            </a:pPr>
            <a:r>
              <a:rPr lang="en-US" sz="3600" dirty="0">
                <a:solidFill>
                  <a:srgbClr val="FFFF00"/>
                </a:solidFill>
                <a:ea typeface="ヒラギノ角ゴ Pro W3"/>
                <a:cs typeface="ヒラギノ角ゴ Pro W3"/>
              </a:rPr>
              <a:t>ART initiation for </a:t>
            </a:r>
            <a:r>
              <a:rPr lang="en-US" sz="3600" dirty="0" smtClean="0">
                <a:solidFill>
                  <a:srgbClr val="FFFF00"/>
                </a:solidFill>
                <a:ea typeface="ヒラギノ角ゴ Pro W3"/>
                <a:cs typeface="ヒラギノ角ゴ Pro W3"/>
              </a:rPr>
              <a:t>people with Hepatitis B</a:t>
            </a:r>
            <a:endParaRPr lang="en-US" sz="3200" dirty="0" smtClean="0">
              <a:solidFill>
                <a:srgbClr val="FFFF00"/>
              </a:solidFill>
              <a:ea typeface="ヒラギノ角ゴ Pro W3"/>
              <a:cs typeface="ヒラギノ角ゴ Pro W3"/>
            </a:endParaRPr>
          </a:p>
        </p:txBody>
      </p:sp>
      <p:graphicFrame>
        <p:nvGraphicFramePr>
          <p:cNvPr id="4" name="Table 3"/>
          <p:cNvGraphicFramePr>
            <a:graphicFrameLocks noGrp="1"/>
          </p:cNvGraphicFramePr>
          <p:nvPr>
            <p:extLst>
              <p:ext uri="{D42A27DB-BD31-4B8C-83A1-F6EECF244321}">
                <p14:modId xmlns:p14="http://schemas.microsoft.com/office/powerpoint/2010/main" val="252306825"/>
              </p:ext>
            </p:extLst>
          </p:nvPr>
        </p:nvGraphicFramePr>
        <p:xfrm>
          <a:off x="203199" y="1198079"/>
          <a:ext cx="8771468" cy="5129093"/>
        </p:xfrm>
        <a:graphic>
          <a:graphicData uri="http://schemas.openxmlformats.org/drawingml/2006/table">
            <a:tbl>
              <a:tblPr/>
              <a:tblGrid>
                <a:gridCol w="1913468"/>
                <a:gridCol w="1490133"/>
                <a:gridCol w="5367867"/>
              </a:tblGrid>
              <a:tr h="448153">
                <a:tc>
                  <a:txBody>
                    <a:bodyPr/>
                    <a:lstStyle/>
                    <a:p>
                      <a:pPr algn="ctr" fontAlgn="b"/>
                      <a:r>
                        <a:rPr lang="en-US" sz="1600" b="1" i="0" u="none" strike="noStrike" dirty="0" smtClean="0">
                          <a:solidFill>
                            <a:srgbClr val="FFFFFF"/>
                          </a:solidFill>
                          <a:effectLst/>
                          <a:latin typeface="Arial"/>
                          <a:cs typeface="Arial"/>
                        </a:rPr>
                        <a:t>ART INITIATION CRITERIA</a:t>
                      </a:r>
                      <a:endParaRPr lang="en-US" sz="160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US" sz="1600" b="1" i="0" u="none" strike="noStrike" dirty="0" smtClean="0">
                          <a:solidFill>
                            <a:srgbClr val="FFFFFF"/>
                          </a:solidFill>
                          <a:effectLst/>
                          <a:latin typeface="Arial"/>
                          <a:cs typeface="Arial"/>
                        </a:rPr>
                        <a:t>NO.</a:t>
                      </a:r>
                      <a:r>
                        <a:rPr lang="en-US" sz="1600" b="1" i="0" u="none" strike="noStrike" baseline="0" dirty="0" smtClean="0">
                          <a:solidFill>
                            <a:srgbClr val="FFFFFF"/>
                          </a:solidFill>
                          <a:effectLst/>
                          <a:latin typeface="Arial"/>
                          <a:cs typeface="Arial"/>
                        </a:rPr>
                        <a:t> OF COUNTRIES</a:t>
                      </a:r>
                      <a:endParaRPr lang="en-US" sz="160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US" sz="1600" b="1" i="0" u="none" strike="noStrike" dirty="0" smtClean="0">
                          <a:solidFill>
                            <a:srgbClr val="FFFFFF"/>
                          </a:solidFill>
                          <a:effectLst/>
                          <a:latin typeface="Arial"/>
                          <a:cs typeface="Arial"/>
                        </a:rPr>
                        <a:t>COUNTRIES</a:t>
                      </a:r>
                      <a:endParaRPr lang="en-US" sz="160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r>
              <a:tr h="1594238">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FFFFFF"/>
                          </a:solidFill>
                          <a:effectLst/>
                          <a:latin typeface="Arial" charset="0"/>
                          <a:ea typeface="ＭＳ Ｐゴシック" charset="0"/>
                          <a:cs typeface="Arial" charset="0"/>
                        </a:rPr>
                        <a:t>Irrespective of CD4 count</a:t>
                      </a:r>
                    </a:p>
                  </a:txBody>
                  <a:tcPr marL="12699" marR="12699" marT="12688"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FFFFFF"/>
                          </a:solidFill>
                          <a:effectLst/>
                          <a:latin typeface="Calibri" charset="0"/>
                          <a:ea typeface="ＭＳ Ｐゴシック" charset="0"/>
                          <a:cs typeface="ＭＳ Ｐゴシック" charset="0"/>
                        </a:rPr>
                        <a:t>101</a:t>
                      </a:r>
                      <a:endParaRPr kumimoji="0" lang="en-US" sz="1800" b="0" i="0" u="none" strike="noStrike" cap="none" normalizeH="0" baseline="0" dirty="0">
                        <a:ln>
                          <a:noFill/>
                        </a:ln>
                        <a:solidFill>
                          <a:srgbClr val="FFFFFF"/>
                        </a:solidFill>
                        <a:effectLst/>
                        <a:latin typeface="Calibri" charset="0"/>
                        <a:ea typeface="ＭＳ Ｐゴシック" charset="0"/>
                        <a:cs typeface="ＭＳ Ｐゴシック" charset="0"/>
                      </a:endParaRPr>
                    </a:p>
                  </a:txBody>
                  <a:tcPr marL="12699" marR="12699" marT="12688"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Afghanistan, Algeria</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Angola, Argentina, Australia, Austria, Bangladesh, Belize,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Bhutan, Brazil</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Britain, Botswana, Burundi</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Cambodia, Cameroon</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Chile, China</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Costa Rica,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Croatia, Cuba</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Democratic Republic of Congo,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Denmark, Dominican </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Republic, Ecuador, El Salvador, France,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Fiji, Finland, Gabon</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Georgia, Germany</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Greece, Guatemala</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Haiti, Honduras, Hong Kong, India, Indonesia, Italy, Jamaica,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Japan, Kenya</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Lao PDR, Latvia, Lesotho, Liberia, </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Madagascar, Malawi</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 Malaysia, </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Maldives, Mali,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Marshall Islands, Mauritania</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Mexico,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Moldova, Montenegro, Morocco</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Myanmar, Mozambique</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Namibia</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Nepal, Netherlands, Nicaragua, Nigeria,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Norway, Pakistan, Papua </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New Guinea, Paraguay, Peru,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Philippines, Poland, Portugal, Romania, Russia, Rwanda</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Samoa, South </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Korea, Spain, Sri Lanka, South Africa, South Sudan, Sudan, Swaziland,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Sweden, Switzerland</a:t>
                      </a:r>
                      <a:r>
                        <a:rPr kumimoji="0" lang="en-US" sz="1400" b="0" i="0" u="none" strike="noStrike" cap="none" normalizeH="0" baseline="0" dirty="0" smtClean="0">
                          <a:ln>
                            <a:noFill/>
                          </a:ln>
                          <a:solidFill>
                            <a:srgbClr val="FFFFFF"/>
                          </a:solidFill>
                          <a:effectLst/>
                          <a:latin typeface="Arial" charset="0"/>
                          <a:ea typeface="ヒラギノ角ゴ Pro W3" charset="0"/>
                          <a:cs typeface="ヒラギノ角ゴ Pro W3" charset="0"/>
                        </a:rPr>
                        <a:t>,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Tanzania</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Timor-Leste, Thailand</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Tunisia,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Turkey, Tuvalu, Uganda</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Ukraine, United </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States,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Uruguay</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Vanuatu, Venezuela</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Viet Nam</a:t>
                      </a:r>
                      <a:r>
                        <a:rPr kumimoji="0" lang="en-US" sz="1400" b="0" i="0" u="none" strike="noStrike" cap="none" normalizeH="0" baseline="0" dirty="0" smtClean="0">
                          <a:ln>
                            <a:noFill/>
                          </a:ln>
                          <a:solidFill>
                            <a:srgbClr val="FFFFFF"/>
                          </a:solidFill>
                          <a:effectLst/>
                          <a:latin typeface="Arial" charset="0"/>
                          <a:ea typeface="ヒラギノ角ゴ Pro W3" charset="0"/>
                          <a:cs typeface="ヒラギノ角ゴ Pro W3" charset="0"/>
                        </a:rPr>
                        <a:t>. </a:t>
                      </a:r>
                      <a:r>
                        <a:rPr kumimoji="0" lang="en-US" sz="1400" b="0" i="0" u="none" strike="noStrike" cap="none" normalizeH="0" baseline="0" dirty="0" smtClean="0">
                          <a:ln>
                            <a:noFill/>
                          </a:ln>
                          <a:solidFill>
                            <a:srgbClr val="FFFFFF"/>
                          </a:solidFill>
                          <a:effectLst/>
                          <a:latin typeface="Arial" charset="0"/>
                          <a:ea typeface="ＭＳ Ｐゴシック" charset="0"/>
                          <a:cs typeface="Arial" charset="0"/>
                        </a:rPr>
                        <a:t>Zambia</a:t>
                      </a:r>
                      <a:r>
                        <a:rPr kumimoji="0" lang="en-US" sz="1400" b="0" i="0" u="none" strike="noStrike" cap="none" normalizeH="0" baseline="0" dirty="0">
                          <a:ln>
                            <a:noFill/>
                          </a:ln>
                          <a:solidFill>
                            <a:srgbClr val="FFFFFF"/>
                          </a:solidFill>
                          <a:effectLst/>
                          <a:latin typeface="Arial" charset="0"/>
                          <a:ea typeface="ＭＳ Ｐゴシック" charset="0"/>
                          <a:cs typeface="Arial" charset="0"/>
                        </a:rPr>
                        <a:t>, Zimbabwe </a:t>
                      </a:r>
                    </a:p>
                  </a:txBody>
                  <a:tcPr marL="12699" marR="12699" marT="12688"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1202267">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a:ln>
                            <a:noFill/>
                          </a:ln>
                          <a:solidFill>
                            <a:srgbClr val="FFFFFF"/>
                          </a:solidFill>
                          <a:effectLst/>
                          <a:latin typeface="Arial" charset="0"/>
                          <a:ea typeface="ＭＳ Ｐゴシック" charset="0"/>
                          <a:cs typeface="Arial" charset="0"/>
                        </a:rPr>
                        <a:t>Same as eligibility </a:t>
                      </a:r>
                    </a:p>
                  </a:txBody>
                  <a:tcPr marL="12699" marR="12699" marT="12688"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FFFFFF"/>
                          </a:solidFill>
                          <a:effectLst/>
                          <a:latin typeface="Calibri" charset="0"/>
                          <a:ea typeface="ＭＳ Ｐゴシック" charset="0"/>
                          <a:cs typeface="ＭＳ Ｐゴシック" charset="0"/>
                        </a:rPr>
                        <a:t>22</a:t>
                      </a:r>
                      <a:endParaRPr kumimoji="0" lang="en-US" sz="1800" b="0" i="0" u="none" strike="noStrike" cap="none" normalizeH="0" baseline="0" dirty="0">
                        <a:ln>
                          <a:noFill/>
                        </a:ln>
                        <a:solidFill>
                          <a:srgbClr val="FFFFFF"/>
                        </a:solidFill>
                        <a:effectLst/>
                        <a:latin typeface="Calibri" charset="0"/>
                        <a:ea typeface="ＭＳ Ｐゴシック" charset="0"/>
                        <a:cs typeface="ＭＳ Ｐゴシック" charset="0"/>
                      </a:endParaRPr>
                    </a:p>
                  </a:txBody>
                  <a:tcPr marL="12699" marR="12699" marT="12688"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Belarus, Benin</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Bolivia</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Burkina </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Faso,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Canada</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Cape Verde,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Colombia</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Comoros, Cote d</a:t>
                      </a:r>
                      <a:r>
                        <a:rPr kumimoji="0" lang="ja-JP" altLang="en-US" sz="1500" b="0" i="0" u="none" strike="noStrike" cap="none" normalizeH="0" baseline="0" dirty="0">
                          <a:ln>
                            <a:noFill/>
                          </a:ln>
                          <a:solidFill>
                            <a:srgbClr val="FFFFFF"/>
                          </a:solidFill>
                          <a:effectLst/>
                          <a:latin typeface="Arial" charset="0"/>
                          <a:ea typeface="ＭＳ Ｐゴシック" charset="0"/>
                          <a:cs typeface="Arial" charset="0"/>
                        </a:rPr>
                        <a:t>’</a:t>
                      </a:r>
                      <a:r>
                        <a:rPr kumimoji="0" lang="en-US" sz="1500" b="0" i="0" u="none" strike="noStrike" cap="none" normalizeH="0" baseline="0" dirty="0" err="1">
                          <a:ln>
                            <a:noFill/>
                          </a:ln>
                          <a:solidFill>
                            <a:srgbClr val="FFFFFF"/>
                          </a:solidFill>
                          <a:effectLst/>
                          <a:latin typeface="Arial" charset="0"/>
                          <a:ea typeface="ＭＳ Ｐゴシック" charset="0"/>
                          <a:cs typeface="Arial" charset="0"/>
                        </a:rPr>
                        <a:t>Ivoire</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Djibouti, Ethiopia, Ghana, Guinea, Guyana,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Hungary, Kazakhstan</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Macedonia, Niger</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Oman,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Panama</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Senegal</a:t>
                      </a:r>
                      <a:r>
                        <a:rPr kumimoji="0" lang="en-US" sz="1500" b="0" i="0" u="none" strike="noStrike" cap="none" normalizeH="0" baseline="0" dirty="0">
                          <a:ln>
                            <a:noFill/>
                          </a:ln>
                          <a:solidFill>
                            <a:srgbClr val="FFFFFF"/>
                          </a:solidFill>
                          <a:effectLst/>
                          <a:latin typeface="Arial" charset="0"/>
                          <a:ea typeface="ＭＳ Ｐゴシック" charset="0"/>
                          <a:cs typeface="Arial" charset="0"/>
                        </a:rPr>
                        <a:t>, Sierra </a:t>
                      </a:r>
                      <a:r>
                        <a:rPr kumimoji="0" lang="en-US" sz="1500" b="0" i="0" u="none" strike="noStrike" cap="none" normalizeH="0" baseline="0" dirty="0" smtClean="0">
                          <a:ln>
                            <a:noFill/>
                          </a:ln>
                          <a:solidFill>
                            <a:srgbClr val="FFFFFF"/>
                          </a:solidFill>
                          <a:effectLst/>
                          <a:latin typeface="Arial" charset="0"/>
                          <a:ea typeface="ＭＳ Ｐゴシック" charset="0"/>
                          <a:cs typeface="Arial" charset="0"/>
                        </a:rPr>
                        <a:t>Leone</a:t>
                      </a:r>
                      <a:endParaRPr kumimoji="0" lang="en-US" sz="1500" b="0" i="0" u="none" strike="noStrike" cap="none" normalizeH="0" baseline="0" dirty="0">
                        <a:ln>
                          <a:noFill/>
                        </a:ln>
                        <a:solidFill>
                          <a:srgbClr val="FFFFFF"/>
                        </a:solidFill>
                        <a:effectLst/>
                        <a:latin typeface="Arial" charset="0"/>
                        <a:ea typeface="ヒラギノ角ゴ Pro W3" charset="0"/>
                        <a:cs typeface="ヒラギノ角ゴ Pro W3" charset="0"/>
                      </a:endParaRPr>
                    </a:p>
                  </a:txBody>
                  <a:tcPr marL="12699" marR="12699" marT="12688"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bl>
          </a:graphicData>
        </a:graphic>
      </p:graphicFrame>
      <p:sp>
        <p:nvSpPr>
          <p:cNvPr id="5" name="Text Box 5"/>
          <p:cNvSpPr txBox="1">
            <a:spLocks noChangeArrowheads="1"/>
          </p:cNvSpPr>
          <p:nvPr/>
        </p:nvSpPr>
        <p:spPr bwMode="auto">
          <a:xfrm>
            <a:off x="1998133" y="681216"/>
            <a:ext cx="5486400" cy="338554"/>
          </a:xfrm>
          <a:prstGeom prst="rect">
            <a:avLst/>
          </a:prstGeom>
          <a:noFill/>
          <a:ln w="9525">
            <a:solidFill>
              <a:schemeClr val="bg1"/>
            </a:solid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Bef>
                <a:spcPct val="50000"/>
              </a:spcBef>
            </a:pPr>
            <a:r>
              <a:rPr lang="en-US" sz="1600" dirty="0" smtClean="0">
                <a:solidFill>
                  <a:schemeClr val="bg1"/>
                </a:solidFill>
                <a:ea typeface="ヒラギノ角ゴ Pro W3"/>
                <a:cs typeface="ヒラギノ角ゴ Pro W3"/>
              </a:rPr>
              <a:t>2015 </a:t>
            </a:r>
            <a:r>
              <a:rPr lang="en-US" sz="1600" dirty="0">
                <a:solidFill>
                  <a:schemeClr val="bg1"/>
                </a:solidFill>
                <a:ea typeface="ヒラギノ角ゴ Pro W3"/>
                <a:cs typeface="ヒラギノ角ゴ Pro W3"/>
              </a:rPr>
              <a:t>WHO Recommendation : </a:t>
            </a:r>
            <a:r>
              <a:rPr lang="en-US" sz="1600" dirty="0" smtClean="0">
                <a:solidFill>
                  <a:schemeClr val="bg1"/>
                </a:solidFill>
                <a:ea typeface="ヒラギノ角ゴ Pro W3"/>
                <a:cs typeface="ヒラギノ角ゴ Pro W3"/>
              </a:rPr>
              <a:t>Irrespective of CD4 count</a:t>
            </a:r>
            <a:endParaRPr lang="en-US" sz="1600" dirty="0">
              <a:solidFill>
                <a:schemeClr val="bg1"/>
              </a:solidFill>
              <a:ea typeface="ヒラギノ角ゴ Pro W3"/>
              <a:cs typeface="ヒラギノ角ゴ Pro W3"/>
            </a:endParaRPr>
          </a:p>
        </p:txBody>
      </p:sp>
      <p:sp>
        <p:nvSpPr>
          <p:cNvPr id="7" name="Rectangle 6"/>
          <p:cNvSpPr/>
          <p:nvPr/>
        </p:nvSpPr>
        <p:spPr>
          <a:xfrm>
            <a:off x="203199" y="5164661"/>
            <a:ext cx="8771468" cy="1152348"/>
          </a:xfrm>
          <a:prstGeom prst="rect">
            <a:avLst/>
          </a:prstGeom>
          <a:noFill/>
          <a:ln w="7620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143543" y="6449247"/>
            <a:ext cx="2185214" cy="307777"/>
          </a:xfrm>
          <a:prstGeom prst="rect">
            <a:avLst/>
          </a:prstGeom>
        </p:spPr>
        <p:txBody>
          <a:bodyPr wrap="none">
            <a:spAutoFit/>
          </a:bodyPr>
          <a:lstStyle/>
          <a:p>
            <a:pPr algn="ctr">
              <a:spcBef>
                <a:spcPct val="50000"/>
              </a:spcBef>
            </a:pPr>
            <a:r>
              <a:rPr lang="en-US" sz="1400" b="1" dirty="0" smtClean="0">
                <a:solidFill>
                  <a:srgbClr val="FFFF00"/>
                </a:solidFill>
                <a:ea typeface="ヒラギノ角ゴ Pro W3"/>
                <a:cs typeface="ヒラギノ角ゴ Pro W3"/>
              </a:rPr>
              <a:t>Source</a:t>
            </a:r>
            <a:r>
              <a:rPr lang="en-US" sz="1400" dirty="0" smtClean="0">
                <a:solidFill>
                  <a:srgbClr val="FFFF00"/>
                </a:solidFill>
                <a:ea typeface="ヒラギノ角ゴ Pro W3"/>
                <a:cs typeface="ヒラギノ角ゴ Pro W3"/>
              </a:rPr>
              <a:t>: published policy</a:t>
            </a:r>
            <a:endParaRPr lang="en-US" sz="1400" dirty="0">
              <a:solidFill>
                <a:srgbClr val="FFFF00"/>
              </a:solidFill>
              <a:ea typeface="ヒラギノ角ゴ Pro W3"/>
              <a:cs typeface="ヒラギノ角ゴ Pro W3"/>
            </a:endParaRPr>
          </a:p>
        </p:txBody>
      </p:sp>
      <p:pic>
        <p:nvPicPr>
          <p:cNvPr id="9" name="Picture 8"/>
          <p:cNvPicPr>
            <a:picLocks noChangeAspect="1"/>
          </p:cNvPicPr>
          <p:nvPr/>
        </p:nvPicPr>
        <p:blipFill>
          <a:blip r:embed="rId2"/>
          <a:stretch>
            <a:fillRect/>
          </a:stretch>
        </p:blipFill>
        <p:spPr>
          <a:xfrm>
            <a:off x="7747000" y="6324600"/>
            <a:ext cx="1397000" cy="533400"/>
          </a:xfrm>
          <a:prstGeom prst="rect">
            <a:avLst/>
          </a:prstGeom>
        </p:spPr>
      </p:pic>
    </p:spTree>
    <p:extLst>
      <p:ext uri="{BB962C8B-B14F-4D97-AF65-F5344CB8AC3E}">
        <p14:creationId xmlns:p14="http://schemas.microsoft.com/office/powerpoint/2010/main" val="2900266160"/>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4"/>
          <p:cNvSpPr txBox="1">
            <a:spLocks noChangeArrowheads="1"/>
          </p:cNvSpPr>
          <p:nvPr/>
        </p:nvSpPr>
        <p:spPr bwMode="auto">
          <a:xfrm>
            <a:off x="83295" y="15225"/>
            <a:ext cx="8959102" cy="646331"/>
          </a:xfrm>
          <a:prstGeom prst="rect">
            <a:avLst/>
          </a:prstGeom>
          <a:noFill/>
          <a:ln w="9525">
            <a:noFill/>
            <a:miter lim="800000"/>
            <a:headEnd/>
            <a:tailEnd/>
          </a:ln>
        </p:spPr>
        <p:txBody>
          <a:bodyPr wrap="square">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spcBef>
                <a:spcPct val="50000"/>
              </a:spcBef>
            </a:pPr>
            <a:r>
              <a:rPr lang="en-US" sz="3600" dirty="0">
                <a:solidFill>
                  <a:srgbClr val="FFFF00"/>
                </a:solidFill>
                <a:ea typeface="ヒラギノ角ゴ Pro W3"/>
                <a:cs typeface="ヒラギノ角ゴ Pro W3"/>
              </a:rPr>
              <a:t>ART </a:t>
            </a:r>
            <a:r>
              <a:rPr lang="en-US" sz="3600" dirty="0" smtClean="0">
                <a:solidFill>
                  <a:srgbClr val="FFFF00"/>
                </a:solidFill>
                <a:ea typeface="ヒラギノ角ゴ Pro W3"/>
                <a:cs typeface="ヒラギノ角ゴ Pro W3"/>
              </a:rPr>
              <a:t>initiation criteria </a:t>
            </a:r>
            <a:r>
              <a:rPr lang="en-US" sz="3600" dirty="0">
                <a:solidFill>
                  <a:srgbClr val="FFFF00"/>
                </a:solidFill>
                <a:ea typeface="ヒラギノ角ゴ Pro W3"/>
                <a:cs typeface="ヒラギノ角ゴ Pro W3"/>
              </a:rPr>
              <a:t>for </a:t>
            </a:r>
            <a:r>
              <a:rPr lang="en-US" sz="3600" dirty="0" smtClean="0">
                <a:solidFill>
                  <a:srgbClr val="FFFF00"/>
                </a:solidFill>
                <a:ea typeface="ヒラギノ角ゴ Pro W3"/>
                <a:cs typeface="ヒラギノ角ゴ Pro W3"/>
              </a:rPr>
              <a:t>key populations</a:t>
            </a:r>
            <a:endParaRPr lang="en-US" sz="3200" dirty="0" smtClean="0">
              <a:solidFill>
                <a:srgbClr val="FFFF00"/>
              </a:solidFill>
              <a:ea typeface="ヒラギノ角ゴ Pro W3"/>
              <a:cs typeface="ヒラギノ角ゴ Pro W3"/>
            </a:endParaRPr>
          </a:p>
        </p:txBody>
      </p:sp>
      <p:graphicFrame>
        <p:nvGraphicFramePr>
          <p:cNvPr id="3" name="Table 2"/>
          <p:cNvGraphicFramePr>
            <a:graphicFrameLocks noGrp="1"/>
          </p:cNvGraphicFramePr>
          <p:nvPr>
            <p:extLst>
              <p:ext uri="{D42A27DB-BD31-4B8C-83A1-F6EECF244321}">
                <p14:modId xmlns:p14="http://schemas.microsoft.com/office/powerpoint/2010/main" val="2683861353"/>
              </p:ext>
            </p:extLst>
          </p:nvPr>
        </p:nvGraphicFramePr>
        <p:xfrm>
          <a:off x="321737" y="1381839"/>
          <a:ext cx="8382003" cy="3488935"/>
        </p:xfrm>
        <a:graphic>
          <a:graphicData uri="http://schemas.openxmlformats.org/drawingml/2006/table">
            <a:tbl>
              <a:tblPr/>
              <a:tblGrid>
                <a:gridCol w="2015069"/>
                <a:gridCol w="6366934"/>
              </a:tblGrid>
              <a:tr h="621416">
                <a:tc>
                  <a:txBody>
                    <a:bodyPr/>
                    <a:lstStyle/>
                    <a:p>
                      <a:pPr algn="ctr" fontAlgn="b"/>
                      <a:r>
                        <a:rPr lang="en-US" sz="2000" b="1" i="0" u="none" strike="noStrike" dirty="0" smtClean="0">
                          <a:solidFill>
                            <a:srgbClr val="FFFFFF"/>
                          </a:solidFill>
                          <a:effectLst/>
                          <a:latin typeface="Arial"/>
                          <a:cs typeface="Arial"/>
                        </a:rPr>
                        <a:t>COUNTRY</a:t>
                      </a:r>
                      <a:endParaRPr lang="en-US" sz="200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US" sz="2000" b="1" i="0" u="none" strike="noStrike" dirty="0" smtClean="0">
                          <a:solidFill>
                            <a:srgbClr val="FFFFFF"/>
                          </a:solidFill>
                          <a:effectLst/>
                          <a:latin typeface="Arial"/>
                          <a:cs typeface="Arial"/>
                        </a:rPr>
                        <a:t>TEST AND</a:t>
                      </a:r>
                      <a:r>
                        <a:rPr lang="en-US" sz="2000" b="1" i="0" u="none" strike="noStrike" baseline="0" dirty="0" smtClean="0">
                          <a:solidFill>
                            <a:srgbClr val="FFFFFF"/>
                          </a:solidFill>
                          <a:effectLst/>
                          <a:latin typeface="Arial"/>
                          <a:cs typeface="Arial"/>
                        </a:rPr>
                        <a:t> TREAT (ART IRRESPECTIVE OF CD4 COUNT) FOR KEY POPULATIONS</a:t>
                      </a:r>
                      <a:endParaRPr lang="en-US" sz="200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r>
              <a:tr h="366530">
                <a:tc>
                  <a:txBody>
                    <a:bodyPr/>
                    <a:lstStyle/>
                    <a:p>
                      <a:pPr algn="ctr"/>
                      <a:r>
                        <a:rPr lang="en-US" sz="1800" dirty="0" smtClean="0">
                          <a:solidFill>
                            <a:srgbClr val="FFFFFF"/>
                          </a:solidFill>
                          <a:latin typeface="Arial"/>
                          <a:cs typeface="Arial"/>
                        </a:rPr>
                        <a:t>48 countries</a:t>
                      </a:r>
                      <a:endParaRPr lang="en-US" sz="1800" dirty="0">
                        <a:solidFill>
                          <a:srgbClr val="FFFFFF"/>
                        </a:solidFill>
                        <a:latin typeface="Arial"/>
                        <a:cs typeface="Arial"/>
                      </a:endParaRPr>
                    </a:p>
                  </a:txBody>
                  <a:tcPr marL="12701" marR="12701" marT="126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0" baseline="0" dirty="0" smtClean="0">
                          <a:solidFill>
                            <a:srgbClr val="FFFFFF"/>
                          </a:solidFill>
                          <a:latin typeface="Arial"/>
                          <a:cs typeface="Arial"/>
                        </a:rPr>
                        <a:t> Test and treat for all, including key populations</a:t>
                      </a:r>
                    </a:p>
                  </a:txBody>
                  <a:tcPr marL="12701" marR="12701" marT="126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72533">
                <a:tc>
                  <a:txBody>
                    <a:bodyPr/>
                    <a:lstStyle/>
                    <a:p>
                      <a:pPr algn="ctr"/>
                      <a:r>
                        <a:rPr lang="en-US" sz="1800" dirty="0" smtClean="0">
                          <a:solidFill>
                            <a:srgbClr val="FFFFFF"/>
                          </a:solidFill>
                          <a:latin typeface="Arial"/>
                          <a:cs typeface="Arial"/>
                        </a:rPr>
                        <a:t>Cameroon</a:t>
                      </a:r>
                      <a:endParaRPr lang="en-US" sz="1800" dirty="0">
                        <a:solidFill>
                          <a:srgbClr val="FFFFFF"/>
                        </a:solidFill>
                        <a:latin typeface="Arial"/>
                        <a:cs typeface="Arial"/>
                      </a:endParaRPr>
                    </a:p>
                  </a:txBody>
                  <a:tcPr marL="12701" marR="12701" marT="126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0" baseline="0" dirty="0" smtClean="0">
                          <a:solidFill>
                            <a:srgbClr val="FFFFFF"/>
                          </a:solidFill>
                          <a:latin typeface="Arial"/>
                          <a:cs typeface="Arial"/>
                        </a:rPr>
                        <a:t> MSM, sex workers, injecting drug users</a:t>
                      </a:r>
                      <a:endParaRPr kumimoji="0" lang="en-US" sz="1800" b="0" i="0" u="none" strike="noStrike" cap="none" normalizeH="0" baseline="0" dirty="0" smtClean="0">
                        <a:ln>
                          <a:noFill/>
                        </a:ln>
                        <a:solidFill>
                          <a:srgbClr val="FFFFFF"/>
                        </a:solidFill>
                        <a:effectLst/>
                        <a:latin typeface="Arial" charset="0"/>
                        <a:ea typeface="ヒラギノ角ゴ Pro W3" charset="0"/>
                        <a:cs typeface="ヒラギノ角ゴ Pro W3" charset="0"/>
                      </a:endParaRPr>
                    </a:p>
                  </a:txBody>
                  <a:tcPr marL="12701" marR="12701" marT="126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89467">
                <a:tc>
                  <a:txBody>
                    <a:bodyPr/>
                    <a:lstStyle/>
                    <a:p>
                      <a:pPr algn="ctr"/>
                      <a:r>
                        <a:rPr lang="en-US" sz="1800" b="0" baseline="0" dirty="0" smtClean="0">
                          <a:solidFill>
                            <a:srgbClr val="FFFFFF"/>
                          </a:solidFill>
                          <a:latin typeface="Arial"/>
                          <a:cs typeface="Arial"/>
                        </a:rPr>
                        <a:t>Indonesia</a:t>
                      </a:r>
                      <a:endParaRPr lang="en-US" sz="1800" dirty="0">
                        <a:solidFill>
                          <a:srgbClr val="FFFFFF"/>
                        </a:solidFill>
                        <a:latin typeface="Arial"/>
                        <a:cs typeface="Arial"/>
                      </a:endParaRPr>
                    </a:p>
                  </a:txBody>
                  <a:tcPr marL="12701" marR="12701" marT="126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0" baseline="0" dirty="0" smtClean="0">
                          <a:solidFill>
                            <a:srgbClr val="FFFFFF"/>
                          </a:solidFill>
                          <a:latin typeface="Arial"/>
                          <a:cs typeface="Arial"/>
                        </a:rPr>
                        <a:t> MSM, sex workers, injecting drug users, transgender</a:t>
                      </a:r>
                      <a:endParaRPr kumimoji="0" lang="en-US" sz="1800" b="0" i="0" u="none" strike="noStrike" cap="none" normalizeH="0" baseline="0" dirty="0" smtClean="0">
                        <a:ln>
                          <a:noFill/>
                        </a:ln>
                        <a:solidFill>
                          <a:srgbClr val="FFFFFF"/>
                        </a:solidFill>
                        <a:effectLst/>
                        <a:latin typeface="Arial" charset="0"/>
                        <a:ea typeface="ヒラギノ角ゴ Pro W3" charset="0"/>
                        <a:cs typeface="ヒラギノ角ゴ Pro W3" charset="0"/>
                      </a:endParaRPr>
                    </a:p>
                  </a:txBody>
                  <a:tcPr marL="12701" marR="12701" marT="126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04800">
                <a:tc>
                  <a:txBody>
                    <a:bodyPr/>
                    <a:lstStyle/>
                    <a:p>
                      <a:pPr algn="ctr"/>
                      <a:r>
                        <a:rPr lang="en-US" sz="1800" dirty="0" smtClean="0">
                          <a:solidFill>
                            <a:srgbClr val="FFFFFF"/>
                          </a:solidFill>
                          <a:latin typeface="Arial"/>
                          <a:cs typeface="Arial"/>
                        </a:rPr>
                        <a:t>Moldova</a:t>
                      </a:r>
                      <a:endParaRPr lang="en-US" sz="1800" dirty="0">
                        <a:solidFill>
                          <a:srgbClr val="FFFFFF"/>
                        </a:solidFill>
                        <a:latin typeface="Arial"/>
                        <a:cs typeface="Arial"/>
                      </a:endParaRPr>
                    </a:p>
                  </a:txBody>
                  <a:tcPr marL="12701" marR="12701" marT="126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cap="none" normalizeH="0" baseline="0" dirty="0" smtClean="0">
                          <a:ln>
                            <a:noFill/>
                          </a:ln>
                          <a:solidFill>
                            <a:srgbClr val="FFFFFF"/>
                          </a:solidFill>
                          <a:effectLst/>
                          <a:latin typeface="Arial" charset="0"/>
                          <a:ea typeface="ヒラギノ角ゴ Pro W3" charset="0"/>
                          <a:cs typeface="ヒラギノ角ゴ Pro W3" charset="0"/>
                        </a:rPr>
                        <a:t> High risk populations</a:t>
                      </a:r>
                    </a:p>
                  </a:txBody>
                  <a:tcPr marL="12701" marR="12701" marT="126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38646">
                <a:tc>
                  <a:txBody>
                    <a:bodyPr/>
                    <a:lstStyle/>
                    <a:p>
                      <a:pPr algn="ctr"/>
                      <a:r>
                        <a:rPr lang="en-US" sz="1800" dirty="0" smtClean="0">
                          <a:solidFill>
                            <a:srgbClr val="FFFFFF"/>
                          </a:solidFill>
                          <a:latin typeface="Arial"/>
                          <a:cs typeface="Arial"/>
                        </a:rPr>
                        <a:t>Myanmar</a:t>
                      </a:r>
                      <a:endParaRPr lang="en-US" sz="1800" dirty="0">
                        <a:solidFill>
                          <a:srgbClr val="FFFFFF"/>
                        </a:solidFill>
                        <a:latin typeface="Arial"/>
                        <a:cs typeface="Arial"/>
                      </a:endParaRPr>
                    </a:p>
                  </a:txBody>
                  <a:tcPr marL="12701" marR="12701" marT="126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0" baseline="0" dirty="0" smtClean="0">
                          <a:solidFill>
                            <a:srgbClr val="FFFFFF"/>
                          </a:solidFill>
                          <a:latin typeface="Arial"/>
                          <a:cs typeface="Arial"/>
                        </a:rPr>
                        <a:t> MSM, female sex workers, injecting drug users</a:t>
                      </a:r>
                      <a:r>
                        <a:rPr kumimoji="0" lang="en-US" sz="1800" b="0" i="0" u="none" strike="noStrike" cap="none" normalizeH="0" baseline="0" dirty="0" smtClean="0">
                          <a:ln>
                            <a:noFill/>
                          </a:ln>
                          <a:solidFill>
                            <a:srgbClr val="FFFFFF"/>
                          </a:solidFill>
                          <a:effectLst/>
                          <a:latin typeface="Arial" charset="0"/>
                          <a:ea typeface="ヒラギノ角ゴ Pro W3" charset="0"/>
                          <a:cs typeface="ヒラギノ角ゴ Pro W3" charset="0"/>
                        </a:rPr>
                        <a:t>, transgender</a:t>
                      </a:r>
                    </a:p>
                  </a:txBody>
                  <a:tcPr marL="12701" marR="12701" marT="126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83461">
                <a:tc>
                  <a:txBody>
                    <a:bodyPr/>
                    <a:lstStyle/>
                    <a:p>
                      <a:pPr algn="ctr"/>
                      <a:r>
                        <a:rPr lang="en-US" sz="1800" dirty="0" smtClean="0">
                          <a:solidFill>
                            <a:srgbClr val="FFFFFF"/>
                          </a:solidFill>
                          <a:latin typeface="Arial"/>
                          <a:cs typeface="Arial"/>
                        </a:rPr>
                        <a:t>Tanzania</a:t>
                      </a:r>
                      <a:endParaRPr lang="en-US" sz="1800" dirty="0">
                        <a:solidFill>
                          <a:srgbClr val="FFFFFF"/>
                        </a:solidFill>
                        <a:latin typeface="Arial"/>
                        <a:cs typeface="Arial"/>
                      </a:endParaRPr>
                    </a:p>
                  </a:txBody>
                  <a:tcPr marL="12701" marR="12701" marT="126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0" baseline="0" dirty="0" smtClean="0">
                          <a:solidFill>
                            <a:srgbClr val="FFFFFF"/>
                          </a:solidFill>
                          <a:latin typeface="Arial"/>
                          <a:cs typeface="Arial"/>
                        </a:rPr>
                        <a:t> MSM, sex workers, injecting drug users, </a:t>
                      </a:r>
                      <a:r>
                        <a:rPr kumimoji="0" lang="en-US" sz="1800" b="0" i="0" u="none" strike="noStrike" cap="none" normalizeH="0" baseline="0" dirty="0" smtClean="0">
                          <a:ln>
                            <a:noFill/>
                          </a:ln>
                          <a:solidFill>
                            <a:srgbClr val="FFFFFF"/>
                          </a:solidFill>
                          <a:effectLst/>
                          <a:latin typeface="Arial" charset="0"/>
                          <a:ea typeface="ヒラギノ角ゴ Pro W3" charset="0"/>
                          <a:cs typeface="ヒラギノ角ゴ Pro W3" charset="0"/>
                        </a:rPr>
                        <a:t>prisoners</a:t>
                      </a:r>
                    </a:p>
                  </a:txBody>
                  <a:tcPr marL="12701" marR="12701" marT="126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55600">
                <a:tc>
                  <a:txBody>
                    <a:bodyPr/>
                    <a:lstStyle/>
                    <a:p>
                      <a:pPr algn="ctr"/>
                      <a:r>
                        <a:rPr lang="en-US" sz="1800" dirty="0" smtClean="0">
                          <a:solidFill>
                            <a:srgbClr val="FFFFFF"/>
                          </a:solidFill>
                          <a:latin typeface="Arial"/>
                          <a:cs typeface="Arial"/>
                        </a:rPr>
                        <a:t>Ukraine</a:t>
                      </a:r>
                      <a:endParaRPr lang="en-US" sz="1800" dirty="0">
                        <a:solidFill>
                          <a:srgbClr val="FFFFFF"/>
                        </a:solidFill>
                        <a:latin typeface="Arial"/>
                        <a:cs typeface="Arial"/>
                      </a:endParaRPr>
                    </a:p>
                  </a:txBody>
                  <a:tcPr marL="12701" marR="12701" marT="126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cap="none" normalizeH="0" baseline="0" dirty="0" smtClean="0">
                          <a:ln>
                            <a:noFill/>
                          </a:ln>
                          <a:solidFill>
                            <a:srgbClr val="FFFFFF"/>
                          </a:solidFill>
                          <a:effectLst/>
                          <a:latin typeface="Arial" charset="0"/>
                          <a:ea typeface="ヒラギノ角ゴ Pro W3" charset="0"/>
                          <a:cs typeface="ヒラギノ角ゴ Pro W3" charset="0"/>
                        </a:rPr>
                        <a:t> High risk populations (e.g., injecting drug users)</a:t>
                      </a:r>
                    </a:p>
                  </a:txBody>
                  <a:tcPr marL="12701" marR="12701" marT="126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55600">
                <a:tc>
                  <a:txBody>
                    <a:bodyPr/>
                    <a:lstStyle/>
                    <a:p>
                      <a:pPr algn="ctr"/>
                      <a:r>
                        <a:rPr lang="en-US" sz="1800" dirty="0" smtClean="0">
                          <a:solidFill>
                            <a:srgbClr val="FFFFFF"/>
                          </a:solidFill>
                          <a:latin typeface="Arial"/>
                          <a:cs typeface="Arial"/>
                        </a:rPr>
                        <a:t>Viet Nam</a:t>
                      </a:r>
                      <a:endParaRPr lang="en-US" sz="1800" dirty="0">
                        <a:solidFill>
                          <a:srgbClr val="FFFFFF"/>
                        </a:solidFill>
                        <a:latin typeface="Arial"/>
                        <a:cs typeface="Arial"/>
                      </a:endParaRPr>
                    </a:p>
                  </a:txBody>
                  <a:tcPr marL="12701" marR="12701" marT="126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cap="none" normalizeH="0" baseline="0" dirty="0" smtClean="0">
                          <a:ln>
                            <a:noFill/>
                          </a:ln>
                          <a:solidFill>
                            <a:srgbClr val="FFFFFF"/>
                          </a:solidFill>
                          <a:effectLst/>
                          <a:latin typeface="Arial" charset="0"/>
                          <a:ea typeface="ヒラギノ角ゴ Pro W3" charset="0"/>
                          <a:cs typeface="ヒラギノ角ゴ Pro W3" charset="0"/>
                        </a:rPr>
                        <a:t> </a:t>
                      </a:r>
                      <a:r>
                        <a:rPr lang="en-US" sz="1800" b="0" baseline="0" dirty="0" smtClean="0">
                          <a:solidFill>
                            <a:srgbClr val="FFFFFF"/>
                          </a:solidFill>
                          <a:latin typeface="Arial"/>
                          <a:cs typeface="Arial"/>
                        </a:rPr>
                        <a:t>MSM, sex workers, injecting drug users</a:t>
                      </a:r>
                      <a:endParaRPr kumimoji="0" lang="en-US" sz="1800" b="0" i="0" u="none" strike="noStrike" cap="none" normalizeH="0" baseline="0" dirty="0" smtClean="0">
                        <a:ln>
                          <a:noFill/>
                        </a:ln>
                        <a:solidFill>
                          <a:srgbClr val="FFFFFF"/>
                        </a:solidFill>
                        <a:effectLst/>
                        <a:latin typeface="Arial" charset="0"/>
                        <a:ea typeface="ヒラギノ角ゴ Pro W3" charset="0"/>
                        <a:cs typeface="ヒラギノ角ゴ Pro W3" charset="0"/>
                      </a:endParaRPr>
                    </a:p>
                  </a:txBody>
                  <a:tcPr marL="12701" marR="12701" marT="126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bl>
          </a:graphicData>
        </a:graphic>
      </p:graphicFrame>
      <p:sp>
        <p:nvSpPr>
          <p:cNvPr id="5" name="Text Box 5"/>
          <p:cNvSpPr txBox="1">
            <a:spLocks noChangeArrowheads="1"/>
          </p:cNvSpPr>
          <p:nvPr/>
        </p:nvSpPr>
        <p:spPr bwMode="auto">
          <a:xfrm>
            <a:off x="1259620" y="698149"/>
            <a:ext cx="6475025" cy="369332"/>
          </a:xfrm>
          <a:prstGeom prst="rect">
            <a:avLst/>
          </a:prstGeom>
          <a:noFill/>
          <a:ln w="9525">
            <a:solidFill>
              <a:schemeClr val="bg1"/>
            </a:solid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Bef>
                <a:spcPct val="50000"/>
              </a:spcBef>
            </a:pPr>
            <a:r>
              <a:rPr lang="en-US" dirty="0" smtClean="0">
                <a:solidFill>
                  <a:schemeClr val="bg1"/>
                </a:solidFill>
                <a:ea typeface="ヒラギノ角ゴ Pro W3"/>
                <a:cs typeface="ヒラギノ角ゴ Pro W3"/>
              </a:rPr>
              <a:t>2015 </a:t>
            </a:r>
            <a:r>
              <a:rPr lang="en-US" dirty="0">
                <a:solidFill>
                  <a:schemeClr val="bg1"/>
                </a:solidFill>
                <a:ea typeface="ヒラギノ角ゴ Pro W3"/>
                <a:cs typeface="ヒラギノ角ゴ Pro W3"/>
              </a:rPr>
              <a:t>WHO Recommendation : </a:t>
            </a:r>
            <a:r>
              <a:rPr lang="en-US" dirty="0" smtClean="0">
                <a:solidFill>
                  <a:schemeClr val="bg1"/>
                </a:solidFill>
                <a:ea typeface="ヒラギノ角ゴ Pro W3"/>
                <a:cs typeface="ヒラギノ角ゴ Pro W3"/>
              </a:rPr>
              <a:t>No specific recommendation</a:t>
            </a:r>
            <a:endParaRPr lang="en-US" dirty="0">
              <a:solidFill>
                <a:schemeClr val="bg1"/>
              </a:solidFill>
              <a:ea typeface="ヒラギノ角ゴ Pro W3"/>
              <a:cs typeface="ヒラギノ角ゴ Pro W3"/>
            </a:endParaRPr>
          </a:p>
        </p:txBody>
      </p:sp>
      <p:sp>
        <p:nvSpPr>
          <p:cNvPr id="6" name="Rectangle 5"/>
          <p:cNvSpPr/>
          <p:nvPr/>
        </p:nvSpPr>
        <p:spPr>
          <a:xfrm>
            <a:off x="211275" y="6415381"/>
            <a:ext cx="2185214" cy="307777"/>
          </a:xfrm>
          <a:prstGeom prst="rect">
            <a:avLst/>
          </a:prstGeom>
        </p:spPr>
        <p:txBody>
          <a:bodyPr wrap="none">
            <a:spAutoFit/>
          </a:bodyPr>
          <a:lstStyle/>
          <a:p>
            <a:pPr algn="ctr">
              <a:spcBef>
                <a:spcPct val="50000"/>
              </a:spcBef>
            </a:pPr>
            <a:r>
              <a:rPr lang="en-US" sz="1400" b="1" dirty="0" smtClean="0">
                <a:solidFill>
                  <a:srgbClr val="FFFF00"/>
                </a:solidFill>
                <a:ea typeface="ヒラギノ角ゴ Pro W3"/>
                <a:cs typeface="ヒラギノ角ゴ Pro W3"/>
              </a:rPr>
              <a:t>Source</a:t>
            </a:r>
            <a:r>
              <a:rPr lang="en-US" sz="1400" dirty="0" smtClean="0">
                <a:solidFill>
                  <a:srgbClr val="FFFF00"/>
                </a:solidFill>
                <a:ea typeface="ヒラギノ角ゴ Pro W3"/>
                <a:cs typeface="ヒラギノ角ゴ Pro W3"/>
              </a:rPr>
              <a:t>: published policy</a:t>
            </a:r>
            <a:endParaRPr lang="en-US" sz="1400" dirty="0">
              <a:solidFill>
                <a:srgbClr val="FFFF00"/>
              </a:solidFill>
              <a:ea typeface="ヒラギノ角ゴ Pro W3"/>
              <a:cs typeface="ヒラギノ角ゴ Pro W3"/>
            </a:endParaRPr>
          </a:p>
        </p:txBody>
      </p:sp>
      <p:pic>
        <p:nvPicPr>
          <p:cNvPr id="7" name="Picture 6"/>
          <p:cNvPicPr>
            <a:picLocks noChangeAspect="1"/>
          </p:cNvPicPr>
          <p:nvPr/>
        </p:nvPicPr>
        <p:blipFill>
          <a:blip r:embed="rId2"/>
          <a:stretch>
            <a:fillRect/>
          </a:stretch>
        </p:blipFill>
        <p:spPr>
          <a:xfrm>
            <a:off x="7747000" y="6324600"/>
            <a:ext cx="1397000" cy="533400"/>
          </a:xfrm>
          <a:prstGeom prst="rect">
            <a:avLst/>
          </a:prstGeom>
        </p:spPr>
      </p:pic>
    </p:spTree>
    <p:extLst>
      <p:ext uri="{BB962C8B-B14F-4D97-AF65-F5344CB8AC3E}">
        <p14:creationId xmlns:p14="http://schemas.microsoft.com/office/powerpoint/2010/main" val="290173249"/>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74083" y="1185335"/>
            <a:ext cx="9015413" cy="4856918"/>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8" name="Group 1"/>
          <p:cNvGrpSpPr>
            <a:grpSpLocks/>
          </p:cNvGrpSpPr>
          <p:nvPr/>
        </p:nvGrpSpPr>
        <p:grpSpPr bwMode="auto">
          <a:xfrm>
            <a:off x="57150" y="1420813"/>
            <a:ext cx="9015413" cy="4706937"/>
            <a:chOff x="31222" y="1420934"/>
            <a:chExt cx="9016495" cy="4707467"/>
          </a:xfrm>
        </p:grpSpPr>
        <p:graphicFrame>
          <p:nvGraphicFramePr>
            <p:cNvPr id="19" name="Object 2"/>
            <p:cNvGraphicFramePr>
              <a:graphicFrameLocks noChangeAspect="1"/>
            </p:cNvGraphicFramePr>
            <p:nvPr>
              <p:extLst>
                <p:ext uri="{D42A27DB-BD31-4B8C-83A1-F6EECF244321}">
                  <p14:modId xmlns:p14="http://schemas.microsoft.com/office/powerpoint/2010/main" val="3369549233"/>
                </p:ext>
              </p:extLst>
            </p:nvPr>
          </p:nvGraphicFramePr>
          <p:xfrm>
            <a:off x="31222" y="1420934"/>
            <a:ext cx="9016495" cy="4707467"/>
          </p:xfrm>
          <a:graphic>
            <a:graphicData uri="http://schemas.openxmlformats.org/presentationml/2006/ole">
              <mc:AlternateContent xmlns:mc="http://schemas.openxmlformats.org/markup-compatibility/2006">
                <mc:Choice xmlns:v="urn:schemas-microsoft-com:vml" Requires="v">
                  <p:oleObj spid="_x0000_s11650" name="Document" r:id="rId4" imgW="8267700" imgH="4318000" progId="Word.Document.12">
                    <p:embed/>
                  </p:oleObj>
                </mc:Choice>
                <mc:Fallback>
                  <p:oleObj name="Document" r:id="rId4" imgW="8267700" imgH="4318000" progId="Word.Document.12">
                    <p:embed/>
                    <p:pic>
                      <p:nvPicPr>
                        <p:cNvPr id="0" name=""/>
                        <p:cNvPicPr>
                          <a:picLocks noChangeAspect="1" noChangeArrowheads="1"/>
                        </p:cNvPicPr>
                        <p:nvPr/>
                      </p:nvPicPr>
                      <p:blipFill>
                        <a:blip r:embed="rId5"/>
                        <a:srcRect/>
                        <a:stretch>
                          <a:fillRect/>
                        </a:stretch>
                      </p:blipFill>
                      <p:spPr bwMode="auto">
                        <a:xfrm>
                          <a:off x="31222" y="1420934"/>
                          <a:ext cx="9016495" cy="4707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Freeform 125"/>
            <p:cNvSpPr>
              <a:spLocks/>
            </p:cNvSpPr>
            <p:nvPr/>
          </p:nvSpPr>
          <p:spPr bwMode="auto">
            <a:xfrm>
              <a:off x="5042962" y="4077570"/>
              <a:ext cx="48682" cy="45719"/>
            </a:xfrm>
            <a:custGeom>
              <a:avLst/>
              <a:gdLst>
                <a:gd name="T0" fmla="*/ 2147483647 w 89"/>
                <a:gd name="T1" fmla="*/ 2147483647 h 79"/>
                <a:gd name="T2" fmla="*/ 2147483647 w 89"/>
                <a:gd name="T3" fmla="*/ 2147483647 h 79"/>
                <a:gd name="T4" fmla="*/ 2147483647 w 89"/>
                <a:gd name="T5" fmla="*/ 2147483647 h 79"/>
                <a:gd name="T6" fmla="*/ 2147483647 w 89"/>
                <a:gd name="T7" fmla="*/ 2147483647 h 79"/>
                <a:gd name="T8" fmla="*/ 2147483647 w 89"/>
                <a:gd name="T9" fmla="*/ 2147483647 h 79"/>
                <a:gd name="T10" fmla="*/ 2147483647 w 89"/>
                <a:gd name="T11" fmla="*/ 2147483647 h 79"/>
                <a:gd name="T12" fmla="*/ 2147483647 w 89"/>
                <a:gd name="T13" fmla="*/ 2147483647 h 79"/>
                <a:gd name="T14" fmla="*/ 2147483647 w 89"/>
                <a:gd name="T15" fmla="*/ 2147483647 h 79"/>
                <a:gd name="T16" fmla="*/ 2147483647 w 89"/>
                <a:gd name="T17" fmla="*/ 2147483647 h 79"/>
                <a:gd name="T18" fmla="*/ 2147483647 w 89"/>
                <a:gd name="T19" fmla="*/ 2147483647 h 79"/>
                <a:gd name="T20" fmla="*/ 2147483647 w 89"/>
                <a:gd name="T21" fmla="*/ 2147483647 h 79"/>
                <a:gd name="T22" fmla="*/ 2147483647 w 89"/>
                <a:gd name="T23" fmla="*/ 2147483647 h 79"/>
                <a:gd name="T24" fmla="*/ 0 w 89"/>
                <a:gd name="T25" fmla="*/ 2147483647 h 79"/>
                <a:gd name="T26" fmla="*/ 2147483647 w 89"/>
                <a:gd name="T27" fmla="*/ 2147483647 h 79"/>
                <a:gd name="T28" fmla="*/ 2147483647 w 89"/>
                <a:gd name="T29" fmla="*/ 2147483647 h 79"/>
                <a:gd name="T30" fmla="*/ 2147483647 w 89"/>
                <a:gd name="T31" fmla="*/ 2147483647 h 79"/>
                <a:gd name="T32" fmla="*/ 2147483647 w 89"/>
                <a:gd name="T33" fmla="*/ 2147483647 h 79"/>
                <a:gd name="T34" fmla="*/ 2147483647 w 89"/>
                <a:gd name="T35" fmla="*/ 0 h 79"/>
                <a:gd name="T36" fmla="*/ 2147483647 w 89"/>
                <a:gd name="T37" fmla="*/ 2147483647 h 79"/>
                <a:gd name="T38" fmla="*/ 2147483647 w 89"/>
                <a:gd name="T39" fmla="*/ 2147483647 h 79"/>
                <a:gd name="T40" fmla="*/ 2147483647 w 89"/>
                <a:gd name="T41" fmla="*/ 2147483647 h 79"/>
                <a:gd name="T42" fmla="*/ 2147483647 w 89"/>
                <a:gd name="T43" fmla="*/ 2147483647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5" y="25"/>
                  </a:moveTo>
                  <a:lnTo>
                    <a:pt x="88" y="30"/>
                  </a:lnTo>
                  <a:lnTo>
                    <a:pt x="89" y="29"/>
                  </a:lnTo>
                  <a:lnTo>
                    <a:pt x="89" y="35"/>
                  </a:lnTo>
                  <a:lnTo>
                    <a:pt x="71" y="60"/>
                  </a:lnTo>
                  <a:lnTo>
                    <a:pt x="51" y="67"/>
                  </a:lnTo>
                  <a:lnTo>
                    <a:pt x="44" y="75"/>
                  </a:lnTo>
                  <a:lnTo>
                    <a:pt x="38" y="78"/>
                  </a:lnTo>
                  <a:lnTo>
                    <a:pt x="30" y="79"/>
                  </a:lnTo>
                  <a:lnTo>
                    <a:pt x="16" y="69"/>
                  </a:lnTo>
                  <a:lnTo>
                    <a:pt x="8" y="61"/>
                  </a:lnTo>
                  <a:lnTo>
                    <a:pt x="3" y="53"/>
                  </a:lnTo>
                  <a:lnTo>
                    <a:pt x="0" y="45"/>
                  </a:lnTo>
                  <a:lnTo>
                    <a:pt x="3" y="37"/>
                  </a:lnTo>
                  <a:lnTo>
                    <a:pt x="20" y="16"/>
                  </a:lnTo>
                  <a:lnTo>
                    <a:pt x="28" y="10"/>
                  </a:lnTo>
                  <a:lnTo>
                    <a:pt x="48" y="1"/>
                  </a:lnTo>
                  <a:lnTo>
                    <a:pt x="58" y="0"/>
                  </a:lnTo>
                  <a:lnTo>
                    <a:pt x="67" y="3"/>
                  </a:lnTo>
                  <a:lnTo>
                    <a:pt x="75" y="11"/>
                  </a:lnTo>
                  <a:lnTo>
                    <a:pt x="78" y="17"/>
                  </a:lnTo>
                  <a:lnTo>
                    <a:pt x="85" y="25"/>
                  </a:lnTo>
                  <a:close/>
                </a:path>
              </a:pathLst>
            </a:custGeom>
            <a:solidFill>
              <a:srgbClr val="24BB78"/>
            </a:solidFill>
            <a:ln w="7938">
              <a:solidFill>
                <a:srgbClr val="1C1329"/>
              </a:solidFill>
              <a:miter lim="800000"/>
              <a:headEnd/>
              <a:tailEnd/>
            </a:ln>
          </p:spPr>
          <p:txBody>
            <a:bodyPr/>
            <a:lstStyle/>
            <a:p>
              <a:endParaRPr lang="en-US"/>
            </a:p>
          </p:txBody>
        </p:sp>
        <p:sp>
          <p:nvSpPr>
            <p:cNvPr id="21" name="Freeform 125"/>
            <p:cNvSpPr>
              <a:spLocks/>
            </p:cNvSpPr>
            <p:nvPr/>
          </p:nvSpPr>
          <p:spPr bwMode="auto">
            <a:xfrm>
              <a:off x="5424607" y="3629395"/>
              <a:ext cx="47631" cy="46043"/>
            </a:xfrm>
            <a:custGeom>
              <a:avLst/>
              <a:gdLst>
                <a:gd name="T0" fmla="*/ 126 w 89"/>
                <a:gd name="T1" fmla="*/ 32 h 79"/>
                <a:gd name="T2" fmla="*/ 130 w 89"/>
                <a:gd name="T3" fmla="*/ 42 h 79"/>
                <a:gd name="T4" fmla="*/ 131 w 89"/>
                <a:gd name="T5" fmla="*/ 40 h 79"/>
                <a:gd name="T6" fmla="*/ 131 w 89"/>
                <a:gd name="T7" fmla="*/ 47 h 79"/>
                <a:gd name="T8" fmla="*/ 105 w 89"/>
                <a:gd name="T9" fmla="*/ 80 h 79"/>
                <a:gd name="T10" fmla="*/ 75 w 89"/>
                <a:gd name="T11" fmla="*/ 90 h 79"/>
                <a:gd name="T12" fmla="*/ 65 w 89"/>
                <a:gd name="T13" fmla="*/ 101 h 79"/>
                <a:gd name="T14" fmla="*/ 57 w 89"/>
                <a:gd name="T15" fmla="*/ 105 h 79"/>
                <a:gd name="T16" fmla="*/ 44 w 89"/>
                <a:gd name="T17" fmla="*/ 106 h 79"/>
                <a:gd name="T18" fmla="*/ 22 w 89"/>
                <a:gd name="T19" fmla="*/ 92 h 79"/>
                <a:gd name="T20" fmla="*/ 14 w 89"/>
                <a:gd name="T21" fmla="*/ 82 h 79"/>
                <a:gd name="T22" fmla="*/ 3 w 89"/>
                <a:gd name="T23" fmla="*/ 71 h 79"/>
                <a:gd name="T24" fmla="*/ 0 w 89"/>
                <a:gd name="T25" fmla="*/ 60 h 79"/>
                <a:gd name="T26" fmla="*/ 3 w 89"/>
                <a:gd name="T27" fmla="*/ 49 h 79"/>
                <a:gd name="T28" fmla="*/ 29 w 89"/>
                <a:gd name="T29" fmla="*/ 22 h 79"/>
                <a:gd name="T30" fmla="*/ 41 w 89"/>
                <a:gd name="T31" fmla="*/ 16 h 79"/>
                <a:gd name="T32" fmla="*/ 70 w 89"/>
                <a:gd name="T33" fmla="*/ 1 h 79"/>
                <a:gd name="T34" fmla="*/ 85 w 89"/>
                <a:gd name="T35" fmla="*/ 0 h 79"/>
                <a:gd name="T36" fmla="*/ 100 w 89"/>
                <a:gd name="T37" fmla="*/ 3 h 79"/>
                <a:gd name="T38" fmla="*/ 111 w 89"/>
                <a:gd name="T39" fmla="*/ 17 h 79"/>
                <a:gd name="T40" fmla="*/ 115 w 89"/>
                <a:gd name="T41" fmla="*/ 23 h 79"/>
                <a:gd name="T42" fmla="*/ 126 w 89"/>
                <a:gd name="T43" fmla="*/ 32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5" y="25"/>
                  </a:moveTo>
                  <a:lnTo>
                    <a:pt x="88" y="30"/>
                  </a:lnTo>
                  <a:lnTo>
                    <a:pt x="89" y="29"/>
                  </a:lnTo>
                  <a:lnTo>
                    <a:pt x="89" y="35"/>
                  </a:lnTo>
                  <a:lnTo>
                    <a:pt x="71" y="60"/>
                  </a:lnTo>
                  <a:lnTo>
                    <a:pt x="51" y="67"/>
                  </a:lnTo>
                  <a:lnTo>
                    <a:pt x="44" y="75"/>
                  </a:lnTo>
                  <a:lnTo>
                    <a:pt x="38" y="78"/>
                  </a:lnTo>
                  <a:lnTo>
                    <a:pt x="30" y="79"/>
                  </a:lnTo>
                  <a:lnTo>
                    <a:pt x="16" y="69"/>
                  </a:lnTo>
                  <a:lnTo>
                    <a:pt x="8" y="61"/>
                  </a:lnTo>
                  <a:lnTo>
                    <a:pt x="3" y="53"/>
                  </a:lnTo>
                  <a:lnTo>
                    <a:pt x="0" y="45"/>
                  </a:lnTo>
                  <a:lnTo>
                    <a:pt x="3" y="37"/>
                  </a:lnTo>
                  <a:lnTo>
                    <a:pt x="20" y="16"/>
                  </a:lnTo>
                  <a:lnTo>
                    <a:pt x="28" y="10"/>
                  </a:lnTo>
                  <a:lnTo>
                    <a:pt x="48" y="1"/>
                  </a:lnTo>
                  <a:lnTo>
                    <a:pt x="58" y="0"/>
                  </a:lnTo>
                  <a:lnTo>
                    <a:pt x="67" y="3"/>
                  </a:lnTo>
                  <a:lnTo>
                    <a:pt x="75" y="11"/>
                  </a:lnTo>
                  <a:lnTo>
                    <a:pt x="78" y="17"/>
                  </a:lnTo>
                  <a:lnTo>
                    <a:pt x="85" y="25"/>
                  </a:lnTo>
                  <a:close/>
                </a:path>
              </a:pathLst>
            </a:custGeom>
            <a:solidFill>
              <a:schemeClr val="accent2">
                <a:lumMod val="60000"/>
                <a:lumOff val="40000"/>
              </a:schemeClr>
            </a:solidFill>
            <a:ln w="7938">
              <a:solidFill>
                <a:srgbClr val="1C1329"/>
              </a:solidFill>
              <a:miter lim="800000"/>
              <a:headEnd/>
              <a:tailEnd/>
            </a:ln>
          </p:spPr>
          <p:txBody>
            <a:bodyPr/>
            <a:lstStyle/>
            <a:p>
              <a:pPr>
                <a:defRPr/>
              </a:pPr>
              <a:endParaRPr lang="en-US">
                <a:ea typeface="ＭＳ Ｐゴシック" charset="0"/>
                <a:cs typeface="ＭＳ Ｐゴシック" charset="0"/>
              </a:endParaRPr>
            </a:p>
          </p:txBody>
        </p:sp>
        <p:sp>
          <p:nvSpPr>
            <p:cNvPr id="22" name="Freeform 125"/>
            <p:cNvSpPr>
              <a:spLocks/>
            </p:cNvSpPr>
            <p:nvPr/>
          </p:nvSpPr>
          <p:spPr bwMode="auto">
            <a:xfrm>
              <a:off x="5067303" y="4903070"/>
              <a:ext cx="48682" cy="45719"/>
            </a:xfrm>
            <a:custGeom>
              <a:avLst/>
              <a:gdLst>
                <a:gd name="T0" fmla="*/ 2147483647 w 89"/>
                <a:gd name="T1" fmla="*/ 2147483647 h 79"/>
                <a:gd name="T2" fmla="*/ 2147483647 w 89"/>
                <a:gd name="T3" fmla="*/ 2147483647 h 79"/>
                <a:gd name="T4" fmla="*/ 2147483647 w 89"/>
                <a:gd name="T5" fmla="*/ 2147483647 h 79"/>
                <a:gd name="T6" fmla="*/ 2147483647 w 89"/>
                <a:gd name="T7" fmla="*/ 2147483647 h 79"/>
                <a:gd name="T8" fmla="*/ 2147483647 w 89"/>
                <a:gd name="T9" fmla="*/ 2147483647 h 79"/>
                <a:gd name="T10" fmla="*/ 2147483647 w 89"/>
                <a:gd name="T11" fmla="*/ 2147483647 h 79"/>
                <a:gd name="T12" fmla="*/ 2147483647 w 89"/>
                <a:gd name="T13" fmla="*/ 2147483647 h 79"/>
                <a:gd name="T14" fmla="*/ 2147483647 w 89"/>
                <a:gd name="T15" fmla="*/ 2147483647 h 79"/>
                <a:gd name="T16" fmla="*/ 2147483647 w 89"/>
                <a:gd name="T17" fmla="*/ 2147483647 h 79"/>
                <a:gd name="T18" fmla="*/ 2147483647 w 89"/>
                <a:gd name="T19" fmla="*/ 2147483647 h 79"/>
                <a:gd name="T20" fmla="*/ 2147483647 w 89"/>
                <a:gd name="T21" fmla="*/ 2147483647 h 79"/>
                <a:gd name="T22" fmla="*/ 2147483647 w 89"/>
                <a:gd name="T23" fmla="*/ 2147483647 h 79"/>
                <a:gd name="T24" fmla="*/ 0 w 89"/>
                <a:gd name="T25" fmla="*/ 2147483647 h 79"/>
                <a:gd name="T26" fmla="*/ 2147483647 w 89"/>
                <a:gd name="T27" fmla="*/ 2147483647 h 79"/>
                <a:gd name="T28" fmla="*/ 2147483647 w 89"/>
                <a:gd name="T29" fmla="*/ 2147483647 h 79"/>
                <a:gd name="T30" fmla="*/ 2147483647 w 89"/>
                <a:gd name="T31" fmla="*/ 2147483647 h 79"/>
                <a:gd name="T32" fmla="*/ 2147483647 w 89"/>
                <a:gd name="T33" fmla="*/ 2147483647 h 79"/>
                <a:gd name="T34" fmla="*/ 2147483647 w 89"/>
                <a:gd name="T35" fmla="*/ 0 h 79"/>
                <a:gd name="T36" fmla="*/ 2147483647 w 89"/>
                <a:gd name="T37" fmla="*/ 2147483647 h 79"/>
                <a:gd name="T38" fmla="*/ 2147483647 w 89"/>
                <a:gd name="T39" fmla="*/ 2147483647 h 79"/>
                <a:gd name="T40" fmla="*/ 2147483647 w 89"/>
                <a:gd name="T41" fmla="*/ 2147483647 h 79"/>
                <a:gd name="T42" fmla="*/ 2147483647 w 89"/>
                <a:gd name="T43" fmla="*/ 2147483647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5" y="25"/>
                  </a:moveTo>
                  <a:lnTo>
                    <a:pt x="88" y="30"/>
                  </a:lnTo>
                  <a:lnTo>
                    <a:pt x="89" y="29"/>
                  </a:lnTo>
                  <a:lnTo>
                    <a:pt x="89" y="35"/>
                  </a:lnTo>
                  <a:lnTo>
                    <a:pt x="71" y="60"/>
                  </a:lnTo>
                  <a:lnTo>
                    <a:pt x="51" y="67"/>
                  </a:lnTo>
                  <a:lnTo>
                    <a:pt x="44" y="75"/>
                  </a:lnTo>
                  <a:lnTo>
                    <a:pt x="38" y="78"/>
                  </a:lnTo>
                  <a:lnTo>
                    <a:pt x="30" y="79"/>
                  </a:lnTo>
                  <a:lnTo>
                    <a:pt x="16" y="69"/>
                  </a:lnTo>
                  <a:lnTo>
                    <a:pt x="8" y="61"/>
                  </a:lnTo>
                  <a:lnTo>
                    <a:pt x="3" y="53"/>
                  </a:lnTo>
                  <a:lnTo>
                    <a:pt x="0" y="45"/>
                  </a:lnTo>
                  <a:lnTo>
                    <a:pt x="3" y="37"/>
                  </a:lnTo>
                  <a:lnTo>
                    <a:pt x="20" y="16"/>
                  </a:lnTo>
                  <a:lnTo>
                    <a:pt x="28" y="10"/>
                  </a:lnTo>
                  <a:lnTo>
                    <a:pt x="48" y="1"/>
                  </a:lnTo>
                  <a:lnTo>
                    <a:pt x="58" y="0"/>
                  </a:lnTo>
                  <a:lnTo>
                    <a:pt x="67" y="3"/>
                  </a:lnTo>
                  <a:lnTo>
                    <a:pt x="75" y="11"/>
                  </a:lnTo>
                  <a:lnTo>
                    <a:pt x="78" y="17"/>
                  </a:lnTo>
                  <a:lnTo>
                    <a:pt x="85" y="25"/>
                  </a:lnTo>
                  <a:close/>
                </a:path>
              </a:pathLst>
            </a:custGeom>
            <a:solidFill>
              <a:schemeClr val="accent2"/>
            </a:solidFill>
            <a:ln w="7938">
              <a:solidFill>
                <a:srgbClr val="1C1329"/>
              </a:solidFill>
              <a:miter lim="800000"/>
              <a:headEnd/>
              <a:tailEnd/>
            </a:ln>
          </p:spPr>
          <p:txBody>
            <a:bodyPr/>
            <a:lstStyle/>
            <a:p>
              <a:endParaRPr lang="en-US"/>
            </a:p>
          </p:txBody>
        </p:sp>
      </p:grpSp>
      <p:sp>
        <p:nvSpPr>
          <p:cNvPr id="7" name="Rectangle 6"/>
          <p:cNvSpPr/>
          <p:nvPr/>
        </p:nvSpPr>
        <p:spPr>
          <a:xfrm>
            <a:off x="156690" y="4470068"/>
            <a:ext cx="375920" cy="255588"/>
          </a:xfrm>
          <a:prstGeom prst="rect">
            <a:avLst/>
          </a:prstGeom>
          <a:solidFill>
            <a:srgbClr val="AD413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8" name="Rectangle 7"/>
          <p:cNvSpPr/>
          <p:nvPr/>
        </p:nvSpPr>
        <p:spPr>
          <a:xfrm>
            <a:off x="156690" y="4905065"/>
            <a:ext cx="375920" cy="255588"/>
          </a:xfrm>
          <a:prstGeom prst="rect">
            <a:avLst/>
          </a:prstGeom>
          <a:solidFill>
            <a:srgbClr val="24BB7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9" name="Rectangle 8"/>
          <p:cNvSpPr/>
          <p:nvPr/>
        </p:nvSpPr>
        <p:spPr>
          <a:xfrm>
            <a:off x="156690" y="5317497"/>
            <a:ext cx="375920" cy="2555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10" name="TextBox 9"/>
          <p:cNvSpPr txBox="1"/>
          <p:nvPr/>
        </p:nvSpPr>
        <p:spPr>
          <a:xfrm>
            <a:off x="552928" y="4398948"/>
            <a:ext cx="1598437" cy="461665"/>
          </a:xfrm>
          <a:prstGeom prst="rect">
            <a:avLst/>
          </a:prstGeom>
          <a:noFill/>
        </p:spPr>
        <p:txBody>
          <a:bodyPr wrap="square" rtlCol="0">
            <a:spAutoFit/>
          </a:bodyPr>
          <a:lstStyle/>
          <a:p>
            <a:r>
              <a:rPr lang="en-US" sz="1200" dirty="0" smtClean="0"/>
              <a:t>No recommendation specific for KP</a:t>
            </a:r>
            <a:endParaRPr lang="en-US" sz="1200" dirty="0"/>
          </a:p>
        </p:txBody>
      </p:sp>
      <p:sp>
        <p:nvSpPr>
          <p:cNvPr id="11" name="TextBox 10"/>
          <p:cNvSpPr txBox="1"/>
          <p:nvPr/>
        </p:nvSpPr>
        <p:spPr>
          <a:xfrm>
            <a:off x="552929" y="4833292"/>
            <a:ext cx="1598436" cy="461665"/>
          </a:xfrm>
          <a:prstGeom prst="rect">
            <a:avLst/>
          </a:prstGeom>
          <a:noFill/>
        </p:spPr>
        <p:txBody>
          <a:bodyPr wrap="square" rtlCol="0">
            <a:spAutoFit/>
          </a:bodyPr>
          <a:lstStyle/>
          <a:p>
            <a:r>
              <a:rPr lang="en-US" sz="1200" dirty="0" smtClean="0"/>
              <a:t>Irrespective of CD4 count for KP</a:t>
            </a:r>
            <a:endParaRPr lang="en-US" sz="1200" dirty="0"/>
          </a:p>
        </p:txBody>
      </p:sp>
      <p:sp>
        <p:nvSpPr>
          <p:cNvPr id="12" name="TextBox 11"/>
          <p:cNvSpPr txBox="1"/>
          <p:nvPr/>
        </p:nvSpPr>
        <p:spPr>
          <a:xfrm>
            <a:off x="542769" y="5253997"/>
            <a:ext cx="2022630" cy="461665"/>
          </a:xfrm>
          <a:prstGeom prst="rect">
            <a:avLst/>
          </a:prstGeom>
          <a:noFill/>
        </p:spPr>
        <p:txBody>
          <a:bodyPr wrap="square" rtlCol="0">
            <a:spAutoFit/>
          </a:bodyPr>
          <a:lstStyle/>
          <a:p>
            <a:r>
              <a:rPr lang="en-US" sz="1200" dirty="0" smtClean="0"/>
              <a:t>Irrespective of CD4 count for all, including KP</a:t>
            </a:r>
            <a:endParaRPr lang="en-US" sz="1200" dirty="0"/>
          </a:p>
        </p:txBody>
      </p:sp>
      <p:sp>
        <p:nvSpPr>
          <p:cNvPr id="13" name="Freeform 12"/>
          <p:cNvSpPr/>
          <p:nvPr/>
        </p:nvSpPr>
        <p:spPr>
          <a:xfrm>
            <a:off x="1144059" y="2030899"/>
            <a:ext cx="409575" cy="352425"/>
          </a:xfrm>
          <a:custGeom>
            <a:avLst/>
            <a:gdLst>
              <a:gd name="connsiteX0" fmla="*/ 15875 w 746125"/>
              <a:gd name="connsiteY0" fmla="*/ 5349 h 687974"/>
              <a:gd name="connsiteX1" fmla="*/ 15875 w 746125"/>
              <a:gd name="connsiteY1" fmla="*/ 5349 h 687974"/>
              <a:gd name="connsiteX2" fmla="*/ 476250 w 746125"/>
              <a:gd name="connsiteY2" fmla="*/ 8524 h 687974"/>
              <a:gd name="connsiteX3" fmla="*/ 558800 w 746125"/>
              <a:gd name="connsiteY3" fmla="*/ 14874 h 687974"/>
              <a:gd name="connsiteX4" fmla="*/ 666750 w 746125"/>
              <a:gd name="connsiteY4" fmla="*/ 11699 h 687974"/>
              <a:gd name="connsiteX5" fmla="*/ 676275 w 746125"/>
              <a:gd name="connsiteY5" fmla="*/ 5349 h 687974"/>
              <a:gd name="connsiteX6" fmla="*/ 746125 w 746125"/>
              <a:gd name="connsiteY6" fmla="*/ 8524 h 687974"/>
              <a:gd name="connsiteX7" fmla="*/ 736600 w 746125"/>
              <a:gd name="connsiteY7" fmla="*/ 33924 h 687974"/>
              <a:gd name="connsiteX8" fmla="*/ 730250 w 746125"/>
              <a:gd name="connsiteY8" fmla="*/ 52974 h 687974"/>
              <a:gd name="connsiteX9" fmla="*/ 711200 w 746125"/>
              <a:gd name="connsiteY9" fmla="*/ 97424 h 687974"/>
              <a:gd name="connsiteX10" fmla="*/ 704850 w 746125"/>
              <a:gd name="connsiteY10" fmla="*/ 110124 h 687974"/>
              <a:gd name="connsiteX11" fmla="*/ 701675 w 746125"/>
              <a:gd name="connsiteY11" fmla="*/ 122824 h 687974"/>
              <a:gd name="connsiteX12" fmla="*/ 695325 w 746125"/>
              <a:gd name="connsiteY12" fmla="*/ 141874 h 687974"/>
              <a:gd name="connsiteX13" fmla="*/ 692150 w 746125"/>
              <a:gd name="connsiteY13" fmla="*/ 151399 h 687974"/>
              <a:gd name="connsiteX14" fmla="*/ 688975 w 746125"/>
              <a:gd name="connsiteY14" fmla="*/ 164099 h 687974"/>
              <a:gd name="connsiteX15" fmla="*/ 682625 w 746125"/>
              <a:gd name="connsiteY15" fmla="*/ 183149 h 687974"/>
              <a:gd name="connsiteX16" fmla="*/ 679450 w 746125"/>
              <a:gd name="connsiteY16" fmla="*/ 192674 h 687974"/>
              <a:gd name="connsiteX17" fmla="*/ 676275 w 746125"/>
              <a:gd name="connsiteY17" fmla="*/ 224424 h 687974"/>
              <a:gd name="connsiteX18" fmla="*/ 666750 w 746125"/>
              <a:gd name="connsiteY18" fmla="*/ 246649 h 687974"/>
              <a:gd name="connsiteX19" fmla="*/ 663575 w 746125"/>
              <a:gd name="connsiteY19" fmla="*/ 259349 h 687974"/>
              <a:gd name="connsiteX20" fmla="*/ 657225 w 746125"/>
              <a:gd name="connsiteY20" fmla="*/ 278399 h 687974"/>
              <a:gd name="connsiteX21" fmla="*/ 650875 w 746125"/>
              <a:gd name="connsiteY21" fmla="*/ 303799 h 687974"/>
              <a:gd name="connsiteX22" fmla="*/ 644525 w 746125"/>
              <a:gd name="connsiteY22" fmla="*/ 316499 h 687974"/>
              <a:gd name="connsiteX23" fmla="*/ 641350 w 746125"/>
              <a:gd name="connsiteY23" fmla="*/ 329199 h 687974"/>
              <a:gd name="connsiteX24" fmla="*/ 635000 w 746125"/>
              <a:gd name="connsiteY24" fmla="*/ 341899 h 687974"/>
              <a:gd name="connsiteX25" fmla="*/ 631825 w 746125"/>
              <a:gd name="connsiteY25" fmla="*/ 354599 h 687974"/>
              <a:gd name="connsiteX26" fmla="*/ 622300 w 746125"/>
              <a:gd name="connsiteY26" fmla="*/ 364124 h 687974"/>
              <a:gd name="connsiteX27" fmla="*/ 612775 w 746125"/>
              <a:gd name="connsiteY27" fmla="*/ 386349 h 687974"/>
              <a:gd name="connsiteX28" fmla="*/ 619125 w 746125"/>
              <a:gd name="connsiteY28" fmla="*/ 481599 h 687974"/>
              <a:gd name="connsiteX29" fmla="*/ 622300 w 746125"/>
              <a:gd name="connsiteY29" fmla="*/ 491124 h 687974"/>
              <a:gd name="connsiteX30" fmla="*/ 625475 w 746125"/>
              <a:gd name="connsiteY30" fmla="*/ 516524 h 687974"/>
              <a:gd name="connsiteX31" fmla="*/ 628650 w 746125"/>
              <a:gd name="connsiteY31" fmla="*/ 538749 h 687974"/>
              <a:gd name="connsiteX32" fmla="*/ 631825 w 746125"/>
              <a:gd name="connsiteY32" fmla="*/ 580024 h 687974"/>
              <a:gd name="connsiteX33" fmla="*/ 635000 w 746125"/>
              <a:gd name="connsiteY33" fmla="*/ 589549 h 687974"/>
              <a:gd name="connsiteX34" fmla="*/ 638175 w 746125"/>
              <a:gd name="connsiteY34" fmla="*/ 605424 h 687974"/>
              <a:gd name="connsiteX35" fmla="*/ 644525 w 746125"/>
              <a:gd name="connsiteY35" fmla="*/ 633999 h 687974"/>
              <a:gd name="connsiteX36" fmla="*/ 654050 w 746125"/>
              <a:gd name="connsiteY36" fmla="*/ 646699 h 687974"/>
              <a:gd name="connsiteX37" fmla="*/ 657225 w 746125"/>
              <a:gd name="connsiteY37" fmla="*/ 656224 h 687974"/>
              <a:gd name="connsiteX38" fmla="*/ 663575 w 746125"/>
              <a:gd name="connsiteY38" fmla="*/ 665749 h 687974"/>
              <a:gd name="connsiteX39" fmla="*/ 654050 w 746125"/>
              <a:gd name="connsiteY39" fmla="*/ 668924 h 687974"/>
              <a:gd name="connsiteX40" fmla="*/ 603250 w 746125"/>
              <a:gd name="connsiteY40" fmla="*/ 672099 h 687974"/>
              <a:gd name="connsiteX41" fmla="*/ 561975 w 746125"/>
              <a:gd name="connsiteY41" fmla="*/ 678449 h 687974"/>
              <a:gd name="connsiteX42" fmla="*/ 514350 w 746125"/>
              <a:gd name="connsiteY42" fmla="*/ 687974 h 687974"/>
              <a:gd name="connsiteX43" fmla="*/ 393700 w 746125"/>
              <a:gd name="connsiteY43" fmla="*/ 684799 h 687974"/>
              <a:gd name="connsiteX44" fmla="*/ 355600 w 746125"/>
              <a:gd name="connsiteY44" fmla="*/ 678449 h 687974"/>
              <a:gd name="connsiteX45" fmla="*/ 311150 w 746125"/>
              <a:gd name="connsiteY45" fmla="*/ 675274 h 687974"/>
              <a:gd name="connsiteX46" fmla="*/ 234950 w 746125"/>
              <a:gd name="connsiteY46" fmla="*/ 678449 h 687974"/>
              <a:gd name="connsiteX47" fmla="*/ 174625 w 746125"/>
              <a:gd name="connsiteY47" fmla="*/ 684799 h 687974"/>
              <a:gd name="connsiteX48" fmla="*/ 133350 w 746125"/>
              <a:gd name="connsiteY48" fmla="*/ 678449 h 687974"/>
              <a:gd name="connsiteX49" fmla="*/ 123825 w 746125"/>
              <a:gd name="connsiteY49" fmla="*/ 668924 h 687974"/>
              <a:gd name="connsiteX50" fmla="*/ 98425 w 746125"/>
              <a:gd name="connsiteY50" fmla="*/ 646699 h 687974"/>
              <a:gd name="connsiteX51" fmla="*/ 95250 w 746125"/>
              <a:gd name="connsiteY51" fmla="*/ 633999 h 687974"/>
              <a:gd name="connsiteX52" fmla="*/ 82550 w 746125"/>
              <a:gd name="connsiteY52" fmla="*/ 627649 h 687974"/>
              <a:gd name="connsiteX53" fmla="*/ 73025 w 746125"/>
              <a:gd name="connsiteY53" fmla="*/ 621299 h 687974"/>
              <a:gd name="connsiteX54" fmla="*/ 66675 w 746125"/>
              <a:gd name="connsiteY54" fmla="*/ 608599 h 687974"/>
              <a:gd name="connsiteX55" fmla="*/ 44450 w 746125"/>
              <a:gd name="connsiteY55" fmla="*/ 595899 h 687974"/>
              <a:gd name="connsiteX56" fmla="*/ 38100 w 746125"/>
              <a:gd name="connsiteY56" fmla="*/ 586374 h 687974"/>
              <a:gd name="connsiteX57" fmla="*/ 15875 w 746125"/>
              <a:gd name="connsiteY57" fmla="*/ 576849 h 687974"/>
              <a:gd name="connsiteX58" fmla="*/ 9525 w 746125"/>
              <a:gd name="connsiteY58" fmla="*/ 567324 h 687974"/>
              <a:gd name="connsiteX59" fmla="*/ 19050 w 746125"/>
              <a:gd name="connsiteY59" fmla="*/ 557799 h 687974"/>
              <a:gd name="connsiteX60" fmla="*/ 31750 w 746125"/>
              <a:gd name="connsiteY60" fmla="*/ 538749 h 687974"/>
              <a:gd name="connsiteX61" fmla="*/ 38100 w 746125"/>
              <a:gd name="connsiteY61" fmla="*/ 529224 h 687974"/>
              <a:gd name="connsiteX62" fmla="*/ 47625 w 746125"/>
              <a:gd name="connsiteY62" fmla="*/ 494299 h 687974"/>
              <a:gd name="connsiteX63" fmla="*/ 38100 w 746125"/>
              <a:gd name="connsiteY63" fmla="*/ 487949 h 687974"/>
              <a:gd name="connsiteX64" fmla="*/ 25400 w 746125"/>
              <a:gd name="connsiteY64" fmla="*/ 481599 h 687974"/>
              <a:gd name="connsiteX65" fmla="*/ 22225 w 746125"/>
              <a:gd name="connsiteY65" fmla="*/ 472074 h 687974"/>
              <a:gd name="connsiteX66" fmla="*/ 25400 w 746125"/>
              <a:gd name="connsiteY66" fmla="*/ 437149 h 687974"/>
              <a:gd name="connsiteX67" fmla="*/ 34925 w 746125"/>
              <a:gd name="connsiteY67" fmla="*/ 433974 h 687974"/>
              <a:gd name="connsiteX68" fmla="*/ 66675 w 746125"/>
              <a:gd name="connsiteY68" fmla="*/ 411749 h 687974"/>
              <a:gd name="connsiteX69" fmla="*/ 79375 w 746125"/>
              <a:gd name="connsiteY69" fmla="*/ 408574 h 687974"/>
              <a:gd name="connsiteX70" fmla="*/ 85725 w 746125"/>
              <a:gd name="connsiteY70" fmla="*/ 399049 h 687974"/>
              <a:gd name="connsiteX71" fmla="*/ 98425 w 746125"/>
              <a:gd name="connsiteY71" fmla="*/ 370474 h 687974"/>
              <a:gd name="connsiteX72" fmla="*/ 111125 w 746125"/>
              <a:gd name="connsiteY72" fmla="*/ 367299 h 687974"/>
              <a:gd name="connsiteX73" fmla="*/ 123825 w 746125"/>
              <a:gd name="connsiteY73" fmla="*/ 351424 h 687974"/>
              <a:gd name="connsiteX74" fmla="*/ 130175 w 746125"/>
              <a:gd name="connsiteY74" fmla="*/ 341899 h 687974"/>
              <a:gd name="connsiteX75" fmla="*/ 139700 w 746125"/>
              <a:gd name="connsiteY75" fmla="*/ 332374 h 687974"/>
              <a:gd name="connsiteX76" fmla="*/ 142875 w 746125"/>
              <a:gd name="connsiteY76" fmla="*/ 322849 h 687974"/>
              <a:gd name="connsiteX77" fmla="*/ 152400 w 746125"/>
              <a:gd name="connsiteY77" fmla="*/ 319674 h 687974"/>
              <a:gd name="connsiteX78" fmla="*/ 139700 w 746125"/>
              <a:gd name="connsiteY78" fmla="*/ 281574 h 687974"/>
              <a:gd name="connsiteX79" fmla="*/ 127000 w 746125"/>
              <a:gd name="connsiteY79" fmla="*/ 278399 h 687974"/>
              <a:gd name="connsiteX80" fmla="*/ 127000 w 746125"/>
              <a:gd name="connsiteY80" fmla="*/ 211724 h 687974"/>
              <a:gd name="connsiteX81" fmla="*/ 133350 w 746125"/>
              <a:gd name="connsiteY81" fmla="*/ 202199 h 687974"/>
              <a:gd name="connsiteX82" fmla="*/ 139700 w 746125"/>
              <a:gd name="connsiteY82" fmla="*/ 183149 h 687974"/>
              <a:gd name="connsiteX83" fmla="*/ 152400 w 746125"/>
              <a:gd name="connsiteY83" fmla="*/ 138699 h 687974"/>
              <a:gd name="connsiteX84" fmla="*/ 155575 w 746125"/>
              <a:gd name="connsiteY84" fmla="*/ 129174 h 687974"/>
              <a:gd name="connsiteX85" fmla="*/ 161925 w 746125"/>
              <a:gd name="connsiteY85" fmla="*/ 119649 h 687974"/>
              <a:gd name="connsiteX86" fmla="*/ 152400 w 746125"/>
              <a:gd name="connsiteY86" fmla="*/ 78374 h 687974"/>
              <a:gd name="connsiteX87" fmla="*/ 149225 w 746125"/>
              <a:gd name="connsiteY87" fmla="*/ 65674 h 687974"/>
              <a:gd name="connsiteX88" fmla="*/ 139700 w 746125"/>
              <a:gd name="connsiteY88" fmla="*/ 59324 h 687974"/>
              <a:gd name="connsiteX89" fmla="*/ 114300 w 746125"/>
              <a:gd name="connsiteY89" fmla="*/ 62499 h 687974"/>
              <a:gd name="connsiteX90" fmla="*/ 104775 w 746125"/>
              <a:gd name="connsiteY90" fmla="*/ 65674 h 687974"/>
              <a:gd name="connsiteX91" fmla="*/ 98425 w 746125"/>
              <a:gd name="connsiteY91" fmla="*/ 75199 h 687974"/>
              <a:gd name="connsiteX92" fmla="*/ 79375 w 746125"/>
              <a:gd name="connsiteY92" fmla="*/ 81549 h 687974"/>
              <a:gd name="connsiteX93" fmla="*/ 9525 w 746125"/>
              <a:gd name="connsiteY93" fmla="*/ 78374 h 687974"/>
              <a:gd name="connsiteX94" fmla="*/ 3175 w 746125"/>
              <a:gd name="connsiteY94" fmla="*/ 59324 h 687974"/>
              <a:gd name="connsiteX95" fmla="*/ 0 w 746125"/>
              <a:gd name="connsiteY95" fmla="*/ 49799 h 687974"/>
              <a:gd name="connsiteX96" fmla="*/ 3175 w 746125"/>
              <a:gd name="connsiteY96" fmla="*/ 18049 h 687974"/>
              <a:gd name="connsiteX97" fmla="*/ 12700 w 746125"/>
              <a:gd name="connsiteY97" fmla="*/ 11699 h 687974"/>
              <a:gd name="connsiteX98" fmla="*/ 15875 w 746125"/>
              <a:gd name="connsiteY98" fmla="*/ 2174 h 687974"/>
              <a:gd name="connsiteX99" fmla="*/ 15875 w 746125"/>
              <a:gd name="connsiteY99" fmla="*/ 5349 h 687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746125" h="687974">
                <a:moveTo>
                  <a:pt x="15875" y="5349"/>
                </a:moveTo>
                <a:lnTo>
                  <a:pt x="15875" y="5349"/>
                </a:lnTo>
                <a:lnTo>
                  <a:pt x="476250" y="8524"/>
                </a:lnTo>
                <a:cubicBezTo>
                  <a:pt x="485868" y="8645"/>
                  <a:pt x="546686" y="13865"/>
                  <a:pt x="558800" y="14874"/>
                </a:cubicBezTo>
                <a:cubicBezTo>
                  <a:pt x="594783" y="13816"/>
                  <a:pt x="630869" y="14608"/>
                  <a:pt x="666750" y="11699"/>
                </a:cubicBezTo>
                <a:cubicBezTo>
                  <a:pt x="670553" y="11391"/>
                  <a:pt x="672462" y="5502"/>
                  <a:pt x="676275" y="5349"/>
                </a:cubicBezTo>
                <a:lnTo>
                  <a:pt x="746125" y="8524"/>
                </a:lnTo>
                <a:cubicBezTo>
                  <a:pt x="742950" y="16991"/>
                  <a:pt x="739641" y="25408"/>
                  <a:pt x="736600" y="33924"/>
                </a:cubicBezTo>
                <a:cubicBezTo>
                  <a:pt x="734349" y="40228"/>
                  <a:pt x="732736" y="46759"/>
                  <a:pt x="730250" y="52974"/>
                </a:cubicBezTo>
                <a:cubicBezTo>
                  <a:pt x="724263" y="67941"/>
                  <a:pt x="718409" y="83006"/>
                  <a:pt x="711200" y="97424"/>
                </a:cubicBezTo>
                <a:cubicBezTo>
                  <a:pt x="709083" y="101657"/>
                  <a:pt x="706512" y="105692"/>
                  <a:pt x="704850" y="110124"/>
                </a:cubicBezTo>
                <a:cubicBezTo>
                  <a:pt x="703318" y="114210"/>
                  <a:pt x="702929" y="118644"/>
                  <a:pt x="701675" y="122824"/>
                </a:cubicBezTo>
                <a:cubicBezTo>
                  <a:pt x="699752" y="129235"/>
                  <a:pt x="697442" y="135524"/>
                  <a:pt x="695325" y="141874"/>
                </a:cubicBezTo>
                <a:cubicBezTo>
                  <a:pt x="694267" y="145049"/>
                  <a:pt x="692962" y="148152"/>
                  <a:pt x="692150" y="151399"/>
                </a:cubicBezTo>
                <a:cubicBezTo>
                  <a:pt x="691092" y="155632"/>
                  <a:pt x="690229" y="159919"/>
                  <a:pt x="688975" y="164099"/>
                </a:cubicBezTo>
                <a:cubicBezTo>
                  <a:pt x="687052" y="170510"/>
                  <a:pt x="684742" y="176799"/>
                  <a:pt x="682625" y="183149"/>
                </a:cubicBezTo>
                <a:lnTo>
                  <a:pt x="679450" y="192674"/>
                </a:lnTo>
                <a:cubicBezTo>
                  <a:pt x="678392" y="203257"/>
                  <a:pt x="677892" y="213912"/>
                  <a:pt x="676275" y="224424"/>
                </a:cubicBezTo>
                <a:cubicBezTo>
                  <a:pt x="674904" y="233337"/>
                  <a:pt x="669929" y="238171"/>
                  <a:pt x="666750" y="246649"/>
                </a:cubicBezTo>
                <a:cubicBezTo>
                  <a:pt x="665218" y="250735"/>
                  <a:pt x="664829" y="255169"/>
                  <a:pt x="663575" y="259349"/>
                </a:cubicBezTo>
                <a:cubicBezTo>
                  <a:pt x="661652" y="265760"/>
                  <a:pt x="659064" y="271963"/>
                  <a:pt x="657225" y="278399"/>
                </a:cubicBezTo>
                <a:cubicBezTo>
                  <a:pt x="654827" y="286790"/>
                  <a:pt x="653635" y="295520"/>
                  <a:pt x="650875" y="303799"/>
                </a:cubicBezTo>
                <a:cubicBezTo>
                  <a:pt x="649378" y="308289"/>
                  <a:pt x="646187" y="312067"/>
                  <a:pt x="644525" y="316499"/>
                </a:cubicBezTo>
                <a:cubicBezTo>
                  <a:pt x="642993" y="320585"/>
                  <a:pt x="642882" y="325113"/>
                  <a:pt x="641350" y="329199"/>
                </a:cubicBezTo>
                <a:cubicBezTo>
                  <a:pt x="639688" y="333631"/>
                  <a:pt x="636662" y="337467"/>
                  <a:pt x="635000" y="341899"/>
                </a:cubicBezTo>
                <a:cubicBezTo>
                  <a:pt x="633468" y="345985"/>
                  <a:pt x="633990" y="350810"/>
                  <a:pt x="631825" y="354599"/>
                </a:cubicBezTo>
                <a:cubicBezTo>
                  <a:pt x="629597" y="358498"/>
                  <a:pt x="624910" y="360470"/>
                  <a:pt x="622300" y="364124"/>
                </a:cubicBezTo>
                <a:cubicBezTo>
                  <a:pt x="617396" y="370990"/>
                  <a:pt x="615366" y="378576"/>
                  <a:pt x="612775" y="386349"/>
                </a:cubicBezTo>
                <a:cubicBezTo>
                  <a:pt x="614892" y="418099"/>
                  <a:pt x="616244" y="449909"/>
                  <a:pt x="619125" y="481599"/>
                </a:cubicBezTo>
                <a:cubicBezTo>
                  <a:pt x="619428" y="484932"/>
                  <a:pt x="621701" y="487831"/>
                  <a:pt x="622300" y="491124"/>
                </a:cubicBezTo>
                <a:cubicBezTo>
                  <a:pt x="623826" y="499519"/>
                  <a:pt x="624347" y="508066"/>
                  <a:pt x="625475" y="516524"/>
                </a:cubicBezTo>
                <a:cubicBezTo>
                  <a:pt x="626464" y="523942"/>
                  <a:pt x="627905" y="531303"/>
                  <a:pt x="628650" y="538749"/>
                </a:cubicBezTo>
                <a:cubicBezTo>
                  <a:pt x="630023" y="552479"/>
                  <a:pt x="630113" y="566332"/>
                  <a:pt x="631825" y="580024"/>
                </a:cubicBezTo>
                <a:cubicBezTo>
                  <a:pt x="632240" y="583345"/>
                  <a:pt x="634188" y="586302"/>
                  <a:pt x="635000" y="589549"/>
                </a:cubicBezTo>
                <a:cubicBezTo>
                  <a:pt x="636309" y="594784"/>
                  <a:pt x="637210" y="600115"/>
                  <a:pt x="638175" y="605424"/>
                </a:cubicBezTo>
                <a:cubicBezTo>
                  <a:pt x="639056" y="610269"/>
                  <a:pt x="640793" y="627468"/>
                  <a:pt x="644525" y="633999"/>
                </a:cubicBezTo>
                <a:cubicBezTo>
                  <a:pt x="647150" y="638593"/>
                  <a:pt x="650875" y="642466"/>
                  <a:pt x="654050" y="646699"/>
                </a:cubicBezTo>
                <a:cubicBezTo>
                  <a:pt x="655108" y="649874"/>
                  <a:pt x="655728" y="653231"/>
                  <a:pt x="657225" y="656224"/>
                </a:cubicBezTo>
                <a:cubicBezTo>
                  <a:pt x="658932" y="659637"/>
                  <a:pt x="664500" y="662047"/>
                  <a:pt x="663575" y="665749"/>
                </a:cubicBezTo>
                <a:cubicBezTo>
                  <a:pt x="662763" y="668996"/>
                  <a:pt x="657378" y="668574"/>
                  <a:pt x="654050" y="668924"/>
                </a:cubicBezTo>
                <a:cubicBezTo>
                  <a:pt x="637177" y="670700"/>
                  <a:pt x="620183" y="671041"/>
                  <a:pt x="603250" y="672099"/>
                </a:cubicBezTo>
                <a:cubicBezTo>
                  <a:pt x="597057" y="672984"/>
                  <a:pt x="569134" y="676797"/>
                  <a:pt x="561975" y="678449"/>
                </a:cubicBezTo>
                <a:cubicBezTo>
                  <a:pt x="515738" y="689119"/>
                  <a:pt x="564901" y="681655"/>
                  <a:pt x="514350" y="687974"/>
                </a:cubicBezTo>
                <a:lnTo>
                  <a:pt x="393700" y="684799"/>
                </a:lnTo>
                <a:cubicBezTo>
                  <a:pt x="315568" y="681402"/>
                  <a:pt x="401331" y="683530"/>
                  <a:pt x="355600" y="678449"/>
                </a:cubicBezTo>
                <a:cubicBezTo>
                  <a:pt x="340836" y="676809"/>
                  <a:pt x="325967" y="676332"/>
                  <a:pt x="311150" y="675274"/>
                </a:cubicBezTo>
                <a:lnTo>
                  <a:pt x="234950" y="678449"/>
                </a:lnTo>
                <a:cubicBezTo>
                  <a:pt x="186995" y="680908"/>
                  <a:pt x="201657" y="678041"/>
                  <a:pt x="174625" y="684799"/>
                </a:cubicBezTo>
                <a:cubicBezTo>
                  <a:pt x="160867" y="682682"/>
                  <a:pt x="146637" y="682601"/>
                  <a:pt x="133350" y="678449"/>
                </a:cubicBezTo>
                <a:cubicBezTo>
                  <a:pt x="129064" y="677110"/>
                  <a:pt x="127234" y="671846"/>
                  <a:pt x="123825" y="668924"/>
                </a:cubicBezTo>
                <a:cubicBezTo>
                  <a:pt x="93218" y="642690"/>
                  <a:pt x="129707" y="677981"/>
                  <a:pt x="98425" y="646699"/>
                </a:cubicBezTo>
                <a:cubicBezTo>
                  <a:pt x="97367" y="642466"/>
                  <a:pt x="98044" y="637351"/>
                  <a:pt x="95250" y="633999"/>
                </a:cubicBezTo>
                <a:cubicBezTo>
                  <a:pt x="92220" y="630363"/>
                  <a:pt x="86659" y="629997"/>
                  <a:pt x="82550" y="627649"/>
                </a:cubicBezTo>
                <a:cubicBezTo>
                  <a:pt x="79237" y="625756"/>
                  <a:pt x="76200" y="623416"/>
                  <a:pt x="73025" y="621299"/>
                </a:cubicBezTo>
                <a:cubicBezTo>
                  <a:pt x="70908" y="617066"/>
                  <a:pt x="69755" y="612193"/>
                  <a:pt x="66675" y="608599"/>
                </a:cubicBezTo>
                <a:cubicBezTo>
                  <a:pt x="58986" y="599629"/>
                  <a:pt x="54132" y="599126"/>
                  <a:pt x="44450" y="595899"/>
                </a:cubicBezTo>
                <a:cubicBezTo>
                  <a:pt x="42333" y="592724"/>
                  <a:pt x="40798" y="589072"/>
                  <a:pt x="38100" y="586374"/>
                </a:cubicBezTo>
                <a:cubicBezTo>
                  <a:pt x="30791" y="579065"/>
                  <a:pt x="25591" y="579278"/>
                  <a:pt x="15875" y="576849"/>
                </a:cubicBezTo>
                <a:cubicBezTo>
                  <a:pt x="13758" y="573674"/>
                  <a:pt x="8898" y="571088"/>
                  <a:pt x="9525" y="567324"/>
                </a:cubicBezTo>
                <a:cubicBezTo>
                  <a:pt x="10263" y="562895"/>
                  <a:pt x="16293" y="561343"/>
                  <a:pt x="19050" y="557799"/>
                </a:cubicBezTo>
                <a:cubicBezTo>
                  <a:pt x="23735" y="551775"/>
                  <a:pt x="27517" y="545099"/>
                  <a:pt x="31750" y="538749"/>
                </a:cubicBezTo>
                <a:cubicBezTo>
                  <a:pt x="33867" y="535574"/>
                  <a:pt x="36893" y="532844"/>
                  <a:pt x="38100" y="529224"/>
                </a:cubicBezTo>
                <a:cubicBezTo>
                  <a:pt x="46157" y="505054"/>
                  <a:pt x="43137" y="516738"/>
                  <a:pt x="47625" y="494299"/>
                </a:cubicBezTo>
                <a:cubicBezTo>
                  <a:pt x="44450" y="492182"/>
                  <a:pt x="41413" y="489842"/>
                  <a:pt x="38100" y="487949"/>
                </a:cubicBezTo>
                <a:cubicBezTo>
                  <a:pt x="33991" y="485601"/>
                  <a:pt x="28747" y="484946"/>
                  <a:pt x="25400" y="481599"/>
                </a:cubicBezTo>
                <a:cubicBezTo>
                  <a:pt x="23033" y="479232"/>
                  <a:pt x="23283" y="475249"/>
                  <a:pt x="22225" y="472074"/>
                </a:cubicBezTo>
                <a:cubicBezTo>
                  <a:pt x="23283" y="460432"/>
                  <a:pt x="21703" y="448239"/>
                  <a:pt x="25400" y="437149"/>
                </a:cubicBezTo>
                <a:cubicBezTo>
                  <a:pt x="26458" y="433974"/>
                  <a:pt x="32019" y="435634"/>
                  <a:pt x="34925" y="433974"/>
                </a:cubicBezTo>
                <a:cubicBezTo>
                  <a:pt x="43098" y="429304"/>
                  <a:pt x="58556" y="413779"/>
                  <a:pt x="66675" y="411749"/>
                </a:cubicBezTo>
                <a:lnTo>
                  <a:pt x="79375" y="408574"/>
                </a:lnTo>
                <a:cubicBezTo>
                  <a:pt x="81492" y="405399"/>
                  <a:pt x="84175" y="402536"/>
                  <a:pt x="85725" y="399049"/>
                </a:cubicBezTo>
                <a:cubicBezTo>
                  <a:pt x="87571" y="394896"/>
                  <a:pt x="91618" y="375012"/>
                  <a:pt x="98425" y="370474"/>
                </a:cubicBezTo>
                <a:cubicBezTo>
                  <a:pt x="102056" y="368053"/>
                  <a:pt x="106892" y="368357"/>
                  <a:pt x="111125" y="367299"/>
                </a:cubicBezTo>
                <a:cubicBezTo>
                  <a:pt x="117306" y="348756"/>
                  <a:pt x="109464" y="365785"/>
                  <a:pt x="123825" y="351424"/>
                </a:cubicBezTo>
                <a:cubicBezTo>
                  <a:pt x="126523" y="348726"/>
                  <a:pt x="127732" y="344830"/>
                  <a:pt x="130175" y="341899"/>
                </a:cubicBezTo>
                <a:cubicBezTo>
                  <a:pt x="133050" y="338450"/>
                  <a:pt x="136525" y="335549"/>
                  <a:pt x="139700" y="332374"/>
                </a:cubicBezTo>
                <a:cubicBezTo>
                  <a:pt x="140758" y="329199"/>
                  <a:pt x="140508" y="325216"/>
                  <a:pt x="142875" y="322849"/>
                </a:cubicBezTo>
                <a:cubicBezTo>
                  <a:pt x="145242" y="320482"/>
                  <a:pt x="151801" y="322967"/>
                  <a:pt x="152400" y="319674"/>
                </a:cubicBezTo>
                <a:cubicBezTo>
                  <a:pt x="156082" y="299423"/>
                  <a:pt x="155479" y="288336"/>
                  <a:pt x="139700" y="281574"/>
                </a:cubicBezTo>
                <a:cubicBezTo>
                  <a:pt x="135689" y="279855"/>
                  <a:pt x="131233" y="279457"/>
                  <a:pt x="127000" y="278399"/>
                </a:cubicBezTo>
                <a:cubicBezTo>
                  <a:pt x="120259" y="251434"/>
                  <a:pt x="120245" y="256759"/>
                  <a:pt x="127000" y="211724"/>
                </a:cubicBezTo>
                <a:cubicBezTo>
                  <a:pt x="127566" y="207950"/>
                  <a:pt x="131800" y="205686"/>
                  <a:pt x="133350" y="202199"/>
                </a:cubicBezTo>
                <a:cubicBezTo>
                  <a:pt x="136068" y="196082"/>
                  <a:pt x="138077" y="189643"/>
                  <a:pt x="139700" y="183149"/>
                </a:cubicBezTo>
                <a:cubicBezTo>
                  <a:pt x="147673" y="151255"/>
                  <a:pt x="143290" y="166028"/>
                  <a:pt x="152400" y="138699"/>
                </a:cubicBezTo>
                <a:cubicBezTo>
                  <a:pt x="153458" y="135524"/>
                  <a:pt x="153719" y="131959"/>
                  <a:pt x="155575" y="129174"/>
                </a:cubicBezTo>
                <a:lnTo>
                  <a:pt x="161925" y="119649"/>
                </a:lnTo>
                <a:cubicBezTo>
                  <a:pt x="154555" y="68059"/>
                  <a:pt x="164022" y="124862"/>
                  <a:pt x="152400" y="78374"/>
                </a:cubicBezTo>
                <a:cubicBezTo>
                  <a:pt x="151342" y="74141"/>
                  <a:pt x="151646" y="69305"/>
                  <a:pt x="149225" y="65674"/>
                </a:cubicBezTo>
                <a:cubicBezTo>
                  <a:pt x="147108" y="62499"/>
                  <a:pt x="142875" y="61441"/>
                  <a:pt x="139700" y="59324"/>
                </a:cubicBezTo>
                <a:cubicBezTo>
                  <a:pt x="131233" y="60382"/>
                  <a:pt x="122695" y="60973"/>
                  <a:pt x="114300" y="62499"/>
                </a:cubicBezTo>
                <a:cubicBezTo>
                  <a:pt x="111007" y="63098"/>
                  <a:pt x="107388" y="63583"/>
                  <a:pt x="104775" y="65674"/>
                </a:cubicBezTo>
                <a:cubicBezTo>
                  <a:pt x="101795" y="68058"/>
                  <a:pt x="101661" y="73177"/>
                  <a:pt x="98425" y="75199"/>
                </a:cubicBezTo>
                <a:cubicBezTo>
                  <a:pt x="92749" y="78747"/>
                  <a:pt x="79375" y="81549"/>
                  <a:pt x="79375" y="81549"/>
                </a:cubicBezTo>
                <a:cubicBezTo>
                  <a:pt x="56092" y="80491"/>
                  <a:pt x="31900" y="84900"/>
                  <a:pt x="9525" y="78374"/>
                </a:cubicBezTo>
                <a:cubicBezTo>
                  <a:pt x="3099" y="76500"/>
                  <a:pt x="5292" y="65674"/>
                  <a:pt x="3175" y="59324"/>
                </a:cubicBezTo>
                <a:lnTo>
                  <a:pt x="0" y="49799"/>
                </a:lnTo>
                <a:cubicBezTo>
                  <a:pt x="1058" y="39216"/>
                  <a:pt x="-188" y="28139"/>
                  <a:pt x="3175" y="18049"/>
                </a:cubicBezTo>
                <a:cubicBezTo>
                  <a:pt x="4382" y="14429"/>
                  <a:pt x="10316" y="14679"/>
                  <a:pt x="12700" y="11699"/>
                </a:cubicBezTo>
                <a:cubicBezTo>
                  <a:pt x="14791" y="9086"/>
                  <a:pt x="14153" y="5044"/>
                  <a:pt x="15875" y="2174"/>
                </a:cubicBezTo>
                <a:cubicBezTo>
                  <a:pt x="17415" y="-393"/>
                  <a:pt x="20108" y="-2059"/>
                  <a:pt x="15875" y="5349"/>
                </a:cubicBezTo>
                <a:close/>
              </a:path>
            </a:pathLst>
          </a:custGeom>
          <a:solidFill>
            <a:schemeClr val="tx2"/>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p:cNvSpPr/>
          <p:nvPr/>
        </p:nvSpPr>
        <p:spPr>
          <a:xfrm>
            <a:off x="194342" y="6112982"/>
            <a:ext cx="2185214" cy="591444"/>
          </a:xfrm>
          <a:prstGeom prst="rect">
            <a:avLst/>
          </a:prstGeom>
        </p:spPr>
        <p:txBody>
          <a:bodyPr wrap="none">
            <a:spAutoFit/>
          </a:bodyPr>
          <a:lstStyle/>
          <a:p>
            <a:pPr>
              <a:lnSpc>
                <a:spcPct val="90000"/>
              </a:lnSpc>
              <a:spcBef>
                <a:spcPct val="50000"/>
              </a:spcBef>
            </a:pPr>
            <a:r>
              <a:rPr lang="en-US" sz="1400" b="1" dirty="0" smtClean="0">
                <a:solidFill>
                  <a:srgbClr val="FFFF00"/>
                </a:solidFill>
                <a:ea typeface="ヒラギノ角ゴ Pro W3"/>
                <a:cs typeface="ヒラギノ角ゴ Pro W3"/>
              </a:rPr>
              <a:t>Source</a:t>
            </a:r>
            <a:r>
              <a:rPr lang="en-US" sz="1400" dirty="0" smtClean="0">
                <a:solidFill>
                  <a:srgbClr val="FFFF00"/>
                </a:solidFill>
                <a:ea typeface="ヒラギノ角ゴ Pro W3"/>
                <a:cs typeface="ヒラギノ角ゴ Pro W3"/>
              </a:rPr>
              <a:t>: published policy</a:t>
            </a:r>
          </a:p>
          <a:p>
            <a:pPr>
              <a:lnSpc>
                <a:spcPct val="90000"/>
              </a:lnSpc>
              <a:spcBef>
                <a:spcPct val="50000"/>
              </a:spcBef>
            </a:pPr>
            <a:r>
              <a:rPr lang="en-US" sz="1400" dirty="0" smtClean="0">
                <a:solidFill>
                  <a:srgbClr val="FFFF00"/>
                </a:solidFill>
                <a:ea typeface="ヒラギノ角ゴ Pro W3"/>
                <a:cs typeface="ヒラギノ角ゴ Pro W3"/>
              </a:rPr>
              <a:t>KP: Key populations</a:t>
            </a:r>
            <a:endParaRPr lang="en-US" sz="1400" dirty="0">
              <a:solidFill>
                <a:srgbClr val="FFFF00"/>
              </a:solidFill>
              <a:ea typeface="ヒラギノ角ゴ Pro W3"/>
              <a:cs typeface="ヒラギノ角ゴ Pro W3"/>
            </a:endParaRPr>
          </a:p>
        </p:txBody>
      </p:sp>
      <p:pic>
        <p:nvPicPr>
          <p:cNvPr id="15" name="Picture 14"/>
          <p:cNvPicPr>
            <a:picLocks noChangeAspect="1"/>
          </p:cNvPicPr>
          <p:nvPr/>
        </p:nvPicPr>
        <p:blipFill>
          <a:blip r:embed="rId6"/>
          <a:stretch>
            <a:fillRect/>
          </a:stretch>
        </p:blipFill>
        <p:spPr>
          <a:xfrm>
            <a:off x="7747000" y="6324600"/>
            <a:ext cx="1397000" cy="533400"/>
          </a:xfrm>
          <a:prstGeom prst="rect">
            <a:avLst/>
          </a:prstGeom>
        </p:spPr>
      </p:pic>
      <p:sp>
        <p:nvSpPr>
          <p:cNvPr id="16" name="Text Box 4"/>
          <p:cNvSpPr txBox="1">
            <a:spLocks noChangeArrowheads="1"/>
          </p:cNvSpPr>
          <p:nvPr/>
        </p:nvSpPr>
        <p:spPr bwMode="auto">
          <a:xfrm>
            <a:off x="83295" y="33713"/>
            <a:ext cx="8959102" cy="646331"/>
          </a:xfrm>
          <a:prstGeom prst="rect">
            <a:avLst/>
          </a:prstGeom>
          <a:noFill/>
          <a:ln w="9525">
            <a:noFill/>
            <a:miter lim="800000"/>
            <a:headEnd/>
            <a:tailEnd/>
          </a:ln>
        </p:spPr>
        <p:txBody>
          <a:bodyPr wrap="square">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spcBef>
                <a:spcPct val="50000"/>
              </a:spcBef>
            </a:pPr>
            <a:r>
              <a:rPr lang="en-US" sz="3600" dirty="0">
                <a:solidFill>
                  <a:srgbClr val="FFFF00"/>
                </a:solidFill>
                <a:ea typeface="ヒラギノ角ゴ Pro W3"/>
                <a:cs typeface="ヒラギノ角ゴ Pro W3"/>
              </a:rPr>
              <a:t>ART </a:t>
            </a:r>
            <a:r>
              <a:rPr lang="en-US" sz="3600" dirty="0" smtClean="0">
                <a:solidFill>
                  <a:srgbClr val="FFFF00"/>
                </a:solidFill>
                <a:ea typeface="ヒラギノ角ゴ Pro W3"/>
                <a:cs typeface="ヒラギノ角ゴ Pro W3"/>
              </a:rPr>
              <a:t>initiation criteria </a:t>
            </a:r>
            <a:r>
              <a:rPr lang="en-US" sz="3600" dirty="0">
                <a:solidFill>
                  <a:srgbClr val="FFFF00"/>
                </a:solidFill>
                <a:ea typeface="ヒラギノ角ゴ Pro W3"/>
                <a:cs typeface="ヒラギノ角ゴ Pro W3"/>
              </a:rPr>
              <a:t>for </a:t>
            </a:r>
            <a:r>
              <a:rPr lang="en-US" sz="3600" dirty="0" smtClean="0">
                <a:solidFill>
                  <a:srgbClr val="FFFF00"/>
                </a:solidFill>
                <a:ea typeface="ヒラギノ角ゴ Pro W3"/>
                <a:cs typeface="ヒラギノ角ゴ Pro W3"/>
              </a:rPr>
              <a:t>key populations</a:t>
            </a:r>
            <a:endParaRPr lang="en-US" sz="3200" dirty="0" smtClean="0">
              <a:solidFill>
                <a:srgbClr val="FFFF00"/>
              </a:solidFill>
              <a:ea typeface="ヒラギノ角ゴ Pro W3"/>
              <a:cs typeface="ヒラギノ角ゴ Pro W3"/>
            </a:endParaRPr>
          </a:p>
        </p:txBody>
      </p:sp>
      <p:sp>
        <p:nvSpPr>
          <p:cNvPr id="25" name="Text Box 5"/>
          <p:cNvSpPr txBox="1">
            <a:spLocks noChangeArrowheads="1"/>
          </p:cNvSpPr>
          <p:nvPr/>
        </p:nvSpPr>
        <p:spPr bwMode="auto">
          <a:xfrm>
            <a:off x="1528981" y="664283"/>
            <a:ext cx="6232580" cy="369332"/>
          </a:xfrm>
          <a:prstGeom prst="rect">
            <a:avLst/>
          </a:prstGeom>
          <a:noFill/>
          <a:ln w="9525">
            <a:solidFill>
              <a:schemeClr val="bg1"/>
            </a:solidFill>
            <a:miter lim="800000"/>
            <a:headEnd/>
            <a:tailEnd/>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Bef>
                <a:spcPct val="50000"/>
              </a:spcBef>
            </a:pPr>
            <a:r>
              <a:rPr lang="en-US" dirty="0" smtClean="0">
                <a:solidFill>
                  <a:schemeClr val="bg1"/>
                </a:solidFill>
                <a:ea typeface="ヒラギノ角ゴ Pro W3"/>
                <a:cs typeface="ヒラギノ角ゴ Pro W3"/>
              </a:rPr>
              <a:t>2015 </a:t>
            </a:r>
            <a:r>
              <a:rPr lang="en-US" dirty="0">
                <a:solidFill>
                  <a:schemeClr val="bg1"/>
                </a:solidFill>
                <a:ea typeface="ヒラギノ角ゴ Pro W3"/>
                <a:cs typeface="ヒラギノ角ゴ Pro W3"/>
              </a:rPr>
              <a:t>WHO Recommendation : </a:t>
            </a:r>
            <a:r>
              <a:rPr lang="en-US" dirty="0" smtClean="0">
                <a:solidFill>
                  <a:schemeClr val="bg1"/>
                </a:solidFill>
                <a:ea typeface="ヒラギノ角ゴ Pro W3"/>
                <a:cs typeface="ヒラギノ角ゴ Pro W3"/>
              </a:rPr>
              <a:t>Irrespective of CD4 count</a:t>
            </a:r>
            <a:endParaRPr lang="en-US" dirty="0">
              <a:solidFill>
                <a:schemeClr val="bg1"/>
              </a:solidFill>
              <a:ea typeface="ヒラギノ角ゴ Pro W3"/>
              <a:cs typeface="ヒラギノ角ゴ Pro W3"/>
            </a:endParaRPr>
          </a:p>
        </p:txBody>
      </p:sp>
    </p:spTree>
    <p:extLst>
      <p:ext uri="{BB962C8B-B14F-4D97-AF65-F5344CB8AC3E}">
        <p14:creationId xmlns:p14="http://schemas.microsoft.com/office/powerpoint/2010/main" val="2608606379"/>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19690509"/>
              </p:ext>
            </p:extLst>
          </p:nvPr>
        </p:nvGraphicFramePr>
        <p:xfrm>
          <a:off x="203199" y="711201"/>
          <a:ext cx="8805334" cy="5909732"/>
        </p:xfrm>
        <a:graphic>
          <a:graphicData uri="http://schemas.openxmlformats.org/drawingml/2006/table">
            <a:tbl>
              <a:tblPr/>
              <a:tblGrid>
                <a:gridCol w="2726268"/>
                <a:gridCol w="745066"/>
                <a:gridCol w="5334000"/>
              </a:tblGrid>
              <a:tr h="251734">
                <a:tc>
                  <a:txBody>
                    <a:bodyPr/>
                    <a:lstStyle/>
                    <a:p>
                      <a:pPr algn="ctr" fontAlgn="b"/>
                      <a:r>
                        <a:rPr lang="en-US" sz="1250" b="1" i="0" u="none" strike="noStrike" dirty="0" smtClean="0">
                          <a:solidFill>
                            <a:srgbClr val="FFFFFF"/>
                          </a:solidFill>
                          <a:effectLst/>
                          <a:latin typeface="Arial"/>
                          <a:cs typeface="Arial"/>
                        </a:rPr>
                        <a:t>FREQUENCY</a:t>
                      </a:r>
                      <a:endParaRPr lang="en-US" sz="125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US" sz="1250" b="1" i="0" u="none" strike="noStrike" dirty="0" err="1" smtClean="0">
                          <a:solidFill>
                            <a:srgbClr val="FFFFFF"/>
                          </a:solidFill>
                          <a:effectLst/>
                          <a:latin typeface="Arial"/>
                          <a:cs typeface="Arial"/>
                        </a:rPr>
                        <a:t>Noo</a:t>
                      </a:r>
                      <a:endParaRPr lang="en-US" sz="125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US" sz="1250" b="1" i="0" u="none" strike="noStrike" dirty="0" smtClean="0">
                          <a:solidFill>
                            <a:srgbClr val="FFFFFF"/>
                          </a:solidFill>
                          <a:effectLst/>
                          <a:latin typeface="Arial"/>
                          <a:cs typeface="Arial"/>
                        </a:rPr>
                        <a:t>COUNTRIES</a:t>
                      </a:r>
                      <a:endParaRPr lang="en-US" sz="125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r>
              <a:tr h="217594">
                <a:tc>
                  <a:txBody>
                    <a:bodyPr/>
                    <a:lstStyle/>
                    <a:p>
                      <a:pPr>
                        <a:spcAft>
                          <a:spcPts val="0"/>
                        </a:spcAft>
                      </a:pPr>
                      <a:r>
                        <a:rPr lang="en-US" sz="1250" dirty="0">
                          <a:solidFill>
                            <a:srgbClr val="FFFFFF"/>
                          </a:solidFill>
                          <a:effectLst/>
                          <a:latin typeface="Arial"/>
                          <a:ea typeface="Times New Roman"/>
                          <a:cs typeface="Arial"/>
                        </a:rPr>
                        <a:t>Month 1; 3-monthly thereafter</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250" dirty="0">
                          <a:solidFill>
                            <a:srgbClr val="FFFFFF"/>
                          </a:solidFill>
                          <a:effectLst/>
                          <a:latin typeface="Arial"/>
                          <a:ea typeface="Times New Roman"/>
                          <a:cs typeface="Arial"/>
                        </a:rPr>
                        <a:t>1</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spcAft>
                          <a:spcPts val="0"/>
                        </a:spcAft>
                      </a:pPr>
                      <a:r>
                        <a:rPr lang="en-US" sz="1250" dirty="0">
                          <a:solidFill>
                            <a:srgbClr val="FFFFFF"/>
                          </a:solidFill>
                          <a:effectLst/>
                          <a:latin typeface="Arial"/>
                          <a:ea typeface="Times New Roman"/>
                          <a:cs typeface="Arial"/>
                        </a:rPr>
                        <a:t>Madagascar</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235411">
                <a:tc>
                  <a:txBody>
                    <a:bodyPr/>
                    <a:lstStyle/>
                    <a:p>
                      <a:pPr>
                        <a:spcAft>
                          <a:spcPts val="0"/>
                        </a:spcAft>
                      </a:pPr>
                      <a:r>
                        <a:rPr lang="en-US" sz="1250" dirty="0" smtClean="0">
                          <a:solidFill>
                            <a:srgbClr val="FFFFFF"/>
                          </a:solidFill>
                          <a:effectLst/>
                          <a:latin typeface="Arial"/>
                          <a:ea typeface="ＭＳ 明朝"/>
                          <a:cs typeface="Arial"/>
                        </a:rPr>
                        <a:t>Every 3 months</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250" dirty="0" smtClean="0">
                          <a:solidFill>
                            <a:srgbClr val="FFFFFF"/>
                          </a:solidFill>
                          <a:effectLst/>
                          <a:latin typeface="Arial"/>
                          <a:ea typeface="ＭＳ 明朝"/>
                          <a:cs typeface="Arial"/>
                        </a:rPr>
                        <a:t>1</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50" dirty="0" smtClean="0">
                          <a:solidFill>
                            <a:srgbClr val="FFFFFF"/>
                          </a:solidFill>
                          <a:effectLst/>
                          <a:latin typeface="Arial"/>
                          <a:ea typeface="Times New Roman"/>
                          <a:cs typeface="Arial"/>
                        </a:rPr>
                        <a:t>Ukraine</a:t>
                      </a:r>
                      <a:endParaRPr lang="en-US" sz="1250" dirty="0" smtClean="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04800">
                <a:tc>
                  <a:txBody>
                    <a:bodyPr/>
                    <a:lstStyle/>
                    <a:p>
                      <a:pPr>
                        <a:spcAft>
                          <a:spcPts val="0"/>
                        </a:spcAft>
                      </a:pPr>
                      <a:r>
                        <a:rPr lang="en-US" sz="1250" dirty="0" smtClean="0">
                          <a:solidFill>
                            <a:srgbClr val="FFFFFF"/>
                          </a:solidFill>
                          <a:effectLst/>
                          <a:latin typeface="Arial"/>
                          <a:ea typeface="Times New Roman"/>
                          <a:cs typeface="Arial"/>
                        </a:rPr>
                        <a:t>Every 3</a:t>
                      </a:r>
                      <a:r>
                        <a:rPr lang="en-US" sz="1250" dirty="0">
                          <a:solidFill>
                            <a:srgbClr val="FFFFFF"/>
                          </a:solidFill>
                          <a:effectLst/>
                          <a:latin typeface="Arial"/>
                          <a:ea typeface="Times New Roman"/>
                          <a:cs typeface="Arial"/>
                        </a:rPr>
                        <a:t>-</a:t>
                      </a:r>
                      <a:r>
                        <a:rPr lang="en-US" sz="1250" dirty="0" smtClean="0">
                          <a:solidFill>
                            <a:srgbClr val="FFFFFF"/>
                          </a:solidFill>
                          <a:effectLst/>
                          <a:latin typeface="Arial"/>
                          <a:ea typeface="Times New Roman"/>
                          <a:cs typeface="Arial"/>
                        </a:rPr>
                        <a:t>monthly for 1 year; 6-monthly thereafter</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250" dirty="0">
                          <a:solidFill>
                            <a:srgbClr val="FFFFFF"/>
                          </a:solidFill>
                          <a:effectLst/>
                          <a:latin typeface="Arial"/>
                          <a:ea typeface="Times New Roman"/>
                          <a:cs typeface="Arial"/>
                        </a:rPr>
                        <a:t>1</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spcAft>
                          <a:spcPts val="0"/>
                        </a:spcAft>
                      </a:pPr>
                      <a:r>
                        <a:rPr lang="en-US" sz="1250" dirty="0">
                          <a:solidFill>
                            <a:srgbClr val="FFFFFF"/>
                          </a:solidFill>
                          <a:effectLst/>
                          <a:latin typeface="Arial"/>
                          <a:ea typeface="Times New Roman"/>
                          <a:cs typeface="Arial"/>
                        </a:rPr>
                        <a:t>China</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218403">
                <a:tc>
                  <a:txBody>
                    <a:bodyPr/>
                    <a:lstStyle/>
                    <a:p>
                      <a:pPr>
                        <a:spcAft>
                          <a:spcPts val="0"/>
                        </a:spcAft>
                      </a:pPr>
                      <a:r>
                        <a:rPr lang="en-US" sz="1250" dirty="0">
                          <a:solidFill>
                            <a:srgbClr val="FFFFFF"/>
                          </a:solidFill>
                          <a:effectLst/>
                          <a:latin typeface="Arial"/>
                          <a:ea typeface="Times New Roman"/>
                          <a:cs typeface="Arial"/>
                        </a:rPr>
                        <a:t>Every 3-4 months</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250" dirty="0">
                          <a:solidFill>
                            <a:srgbClr val="FFFFFF"/>
                          </a:solidFill>
                          <a:effectLst/>
                          <a:latin typeface="Arial"/>
                          <a:ea typeface="Times New Roman"/>
                          <a:cs typeface="Arial"/>
                        </a:rPr>
                        <a:t>1</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spcAft>
                          <a:spcPts val="0"/>
                        </a:spcAft>
                      </a:pPr>
                      <a:r>
                        <a:rPr lang="en-US" sz="1250" dirty="0" smtClean="0">
                          <a:solidFill>
                            <a:srgbClr val="FFFFFF"/>
                          </a:solidFill>
                          <a:effectLst/>
                          <a:latin typeface="Arial"/>
                          <a:ea typeface="Times New Roman"/>
                          <a:cs typeface="Arial"/>
                        </a:rPr>
                        <a:t>Sierra </a:t>
                      </a:r>
                      <a:r>
                        <a:rPr lang="en-US" sz="1250" dirty="0">
                          <a:solidFill>
                            <a:srgbClr val="FFFFFF"/>
                          </a:solidFill>
                          <a:effectLst/>
                          <a:latin typeface="Arial"/>
                          <a:ea typeface="Times New Roman"/>
                          <a:cs typeface="Arial"/>
                        </a:rPr>
                        <a:t>Leone</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220133">
                <a:tc>
                  <a:txBody>
                    <a:bodyPr/>
                    <a:lstStyle/>
                    <a:p>
                      <a:pPr>
                        <a:spcAft>
                          <a:spcPts val="0"/>
                        </a:spcAft>
                      </a:pPr>
                      <a:r>
                        <a:rPr lang="en-US" sz="1250">
                          <a:solidFill>
                            <a:srgbClr val="FFFFFF"/>
                          </a:solidFill>
                          <a:effectLst/>
                          <a:latin typeface="Arial"/>
                          <a:ea typeface="Times New Roman"/>
                          <a:cs typeface="Arial"/>
                        </a:rPr>
                        <a:t>Every 3-6 months</a:t>
                      </a:r>
                      <a:endParaRPr lang="en-US" sz="125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250" dirty="0">
                          <a:solidFill>
                            <a:srgbClr val="FFFFFF"/>
                          </a:solidFill>
                          <a:effectLst/>
                          <a:latin typeface="Arial"/>
                          <a:ea typeface="Times New Roman"/>
                          <a:cs typeface="Arial"/>
                        </a:rPr>
                        <a:t>2</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spcAft>
                          <a:spcPts val="0"/>
                        </a:spcAft>
                      </a:pPr>
                      <a:r>
                        <a:rPr lang="en-US" sz="1250" dirty="0">
                          <a:solidFill>
                            <a:srgbClr val="FFFFFF"/>
                          </a:solidFill>
                          <a:effectLst/>
                          <a:latin typeface="Arial"/>
                          <a:ea typeface="Times New Roman"/>
                          <a:cs typeface="Arial"/>
                        </a:rPr>
                        <a:t>Angola, </a:t>
                      </a:r>
                      <a:r>
                        <a:rPr lang="en-US" sz="1250" dirty="0" smtClean="0">
                          <a:solidFill>
                            <a:srgbClr val="FFFFFF"/>
                          </a:solidFill>
                          <a:effectLst/>
                          <a:latin typeface="Arial"/>
                          <a:ea typeface="Times New Roman"/>
                          <a:cs typeface="Arial"/>
                        </a:rPr>
                        <a:t>Colombia</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270657">
                <a:tc>
                  <a:txBody>
                    <a:bodyPr/>
                    <a:lstStyle/>
                    <a:p>
                      <a:pPr>
                        <a:spcAft>
                          <a:spcPts val="0"/>
                        </a:spcAft>
                      </a:pPr>
                      <a:r>
                        <a:rPr lang="en-US" sz="1250" dirty="0">
                          <a:solidFill>
                            <a:srgbClr val="FFFFFF"/>
                          </a:solidFill>
                          <a:effectLst/>
                          <a:latin typeface="Arial"/>
                          <a:ea typeface="Times New Roman"/>
                          <a:cs typeface="Arial"/>
                        </a:rPr>
                        <a:t>Month 3 and 6; 6-monthly thereafter</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250" dirty="0">
                          <a:solidFill>
                            <a:srgbClr val="FFFFFF"/>
                          </a:solidFill>
                          <a:effectLst/>
                          <a:latin typeface="Arial"/>
                          <a:ea typeface="Times New Roman"/>
                          <a:cs typeface="Arial"/>
                        </a:rPr>
                        <a:t>1</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spcAft>
                          <a:spcPts val="0"/>
                        </a:spcAft>
                      </a:pPr>
                      <a:r>
                        <a:rPr lang="en-US" sz="1250" dirty="0" smtClean="0">
                          <a:solidFill>
                            <a:srgbClr val="FFFFFF"/>
                          </a:solidFill>
                          <a:effectLst/>
                          <a:latin typeface="Arial"/>
                          <a:ea typeface="Times New Roman"/>
                          <a:cs typeface="Arial"/>
                        </a:rPr>
                        <a:t>Burkina </a:t>
                      </a:r>
                      <a:r>
                        <a:rPr lang="en-US" sz="1250" dirty="0">
                          <a:solidFill>
                            <a:srgbClr val="FFFFFF"/>
                          </a:solidFill>
                          <a:effectLst/>
                          <a:latin typeface="Arial"/>
                          <a:ea typeface="Times New Roman"/>
                          <a:cs typeface="Arial"/>
                        </a:rPr>
                        <a:t>Faso</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216747">
                <a:tc>
                  <a:txBody>
                    <a:bodyPr/>
                    <a:lstStyle/>
                    <a:p>
                      <a:pPr>
                        <a:spcAft>
                          <a:spcPts val="0"/>
                        </a:spcAft>
                      </a:pPr>
                      <a:r>
                        <a:rPr lang="en-US" sz="1250" dirty="0">
                          <a:solidFill>
                            <a:srgbClr val="FFFFFF"/>
                          </a:solidFill>
                          <a:effectLst/>
                          <a:latin typeface="Arial"/>
                          <a:ea typeface="Times New Roman"/>
                          <a:cs typeface="Arial"/>
                        </a:rPr>
                        <a:t>Month 3; 6-monthly thereafter</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250" dirty="0">
                          <a:solidFill>
                            <a:srgbClr val="FFFFFF"/>
                          </a:solidFill>
                          <a:effectLst/>
                          <a:latin typeface="Arial"/>
                          <a:ea typeface="Times New Roman"/>
                          <a:cs typeface="Arial"/>
                        </a:rPr>
                        <a:t>1</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50" dirty="0" smtClean="0">
                          <a:solidFill>
                            <a:srgbClr val="FFFFFF"/>
                          </a:solidFill>
                          <a:effectLst/>
                          <a:latin typeface="Arial"/>
                          <a:ea typeface="Times New Roman"/>
                          <a:cs typeface="Arial"/>
                        </a:rPr>
                        <a:t>Pakistan</a:t>
                      </a:r>
                      <a:endParaRPr lang="en-US" sz="1250" dirty="0" smtClean="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284480">
                <a:tc>
                  <a:txBody>
                    <a:bodyPr/>
                    <a:lstStyle/>
                    <a:p>
                      <a:pPr>
                        <a:spcAft>
                          <a:spcPts val="0"/>
                        </a:spcAft>
                      </a:pPr>
                      <a:r>
                        <a:rPr lang="en-US" sz="1250" kern="1200" dirty="0" smtClean="0">
                          <a:solidFill>
                            <a:schemeClr val="bg1"/>
                          </a:solidFill>
                          <a:effectLst/>
                          <a:latin typeface="Arial"/>
                          <a:ea typeface="+mn-ea"/>
                          <a:cs typeface="Arial"/>
                        </a:rPr>
                        <a:t>Month 3; every 4-6 months thereafter</a:t>
                      </a:r>
                      <a:r>
                        <a:rPr lang="en-US" sz="1250" dirty="0" smtClean="0">
                          <a:solidFill>
                            <a:schemeClr val="bg1"/>
                          </a:solidFill>
                          <a:effectLst/>
                          <a:latin typeface="Arial"/>
                          <a:cs typeface="Arial"/>
                        </a:rPr>
                        <a:t> </a:t>
                      </a:r>
                      <a:endParaRPr lang="en-US" sz="1250" dirty="0">
                        <a:solidFill>
                          <a:schemeClr val="bg1"/>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250" dirty="0" smtClean="0">
                          <a:solidFill>
                            <a:srgbClr val="FFFFFF"/>
                          </a:solidFill>
                          <a:effectLst/>
                          <a:latin typeface="Arial"/>
                          <a:ea typeface="ＭＳ 明朝"/>
                          <a:cs typeface="Arial"/>
                        </a:rPr>
                        <a:t>1</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spcAft>
                          <a:spcPts val="0"/>
                        </a:spcAft>
                      </a:pPr>
                      <a:r>
                        <a:rPr lang="en-US" sz="1250" dirty="0" smtClean="0">
                          <a:solidFill>
                            <a:srgbClr val="FFFFFF"/>
                          </a:solidFill>
                          <a:effectLst/>
                          <a:latin typeface="Arial"/>
                          <a:ea typeface="ＭＳ 明朝"/>
                          <a:cs typeface="Arial"/>
                        </a:rPr>
                        <a:t>Chile</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284480">
                <a:tc>
                  <a:txBody>
                    <a:bodyPr/>
                    <a:lstStyle/>
                    <a:p>
                      <a:pPr>
                        <a:spcAft>
                          <a:spcPts val="0"/>
                        </a:spcAft>
                      </a:pPr>
                      <a:r>
                        <a:rPr lang="en-US" sz="1250">
                          <a:solidFill>
                            <a:srgbClr val="FFFFFF"/>
                          </a:solidFill>
                          <a:effectLst/>
                          <a:latin typeface="Arial"/>
                          <a:ea typeface="Times New Roman"/>
                          <a:cs typeface="Arial"/>
                        </a:rPr>
                        <a:t>Every 4-6 months</a:t>
                      </a:r>
                      <a:endParaRPr lang="en-US" sz="125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250" dirty="0" smtClean="0">
                          <a:solidFill>
                            <a:srgbClr val="FFFFFF"/>
                          </a:solidFill>
                          <a:effectLst/>
                          <a:latin typeface="Arial"/>
                          <a:ea typeface="Times New Roman"/>
                          <a:cs typeface="Arial"/>
                        </a:rPr>
                        <a:t>2</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spcAft>
                          <a:spcPts val="0"/>
                        </a:spcAft>
                      </a:pPr>
                      <a:r>
                        <a:rPr lang="en-US" sz="1250" dirty="0" smtClean="0">
                          <a:solidFill>
                            <a:srgbClr val="FFFFFF"/>
                          </a:solidFill>
                          <a:effectLst/>
                          <a:latin typeface="Arial"/>
                          <a:ea typeface="Times New Roman"/>
                          <a:cs typeface="Arial"/>
                        </a:rPr>
                        <a:t>Dominican Republic, Mexico</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55600">
                <a:tc>
                  <a:txBody>
                    <a:bodyPr/>
                    <a:lstStyle/>
                    <a:p>
                      <a:pPr>
                        <a:spcAft>
                          <a:spcPts val="0"/>
                        </a:spcAft>
                      </a:pPr>
                      <a:r>
                        <a:rPr lang="en-US" sz="1250" dirty="0">
                          <a:solidFill>
                            <a:srgbClr val="FFFFFF"/>
                          </a:solidFill>
                          <a:effectLst/>
                          <a:latin typeface="Arial"/>
                          <a:ea typeface="Times New Roman"/>
                          <a:cs typeface="Arial"/>
                        </a:rPr>
                        <a:t>6-monthly </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250" dirty="0" smtClean="0">
                          <a:solidFill>
                            <a:srgbClr val="FFFFFF"/>
                          </a:solidFill>
                          <a:effectLst/>
                          <a:latin typeface="Arial"/>
                          <a:ea typeface="Times New Roman"/>
                          <a:cs typeface="Arial"/>
                        </a:rPr>
                        <a:t>23</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spcAft>
                          <a:spcPts val="0"/>
                        </a:spcAft>
                      </a:pPr>
                      <a:r>
                        <a:rPr lang="en-US" sz="1250" dirty="0">
                          <a:solidFill>
                            <a:srgbClr val="FFFFFF"/>
                          </a:solidFill>
                          <a:effectLst/>
                          <a:latin typeface="Arial"/>
                          <a:ea typeface="Times New Roman"/>
                          <a:cs typeface="Arial"/>
                        </a:rPr>
                        <a:t>Benin, Brazil, </a:t>
                      </a:r>
                      <a:r>
                        <a:rPr lang="en-US" sz="1250" dirty="0" smtClean="0">
                          <a:solidFill>
                            <a:srgbClr val="FFFFFF"/>
                          </a:solidFill>
                          <a:effectLst/>
                          <a:latin typeface="Arial"/>
                          <a:ea typeface="Times New Roman"/>
                          <a:cs typeface="Arial"/>
                        </a:rPr>
                        <a:t>Cambodia</a:t>
                      </a:r>
                      <a:r>
                        <a:rPr lang="en-US" sz="1250" dirty="0">
                          <a:solidFill>
                            <a:srgbClr val="FFFFFF"/>
                          </a:solidFill>
                          <a:effectLst/>
                          <a:latin typeface="Arial"/>
                          <a:ea typeface="Times New Roman"/>
                          <a:cs typeface="Arial"/>
                        </a:rPr>
                        <a:t>, </a:t>
                      </a:r>
                      <a:r>
                        <a:rPr lang="en-US" sz="1250" dirty="0" smtClean="0">
                          <a:solidFill>
                            <a:srgbClr val="FFFFFF"/>
                          </a:solidFill>
                          <a:effectLst/>
                          <a:latin typeface="Arial"/>
                          <a:ea typeface="Times New Roman"/>
                          <a:cs typeface="Arial"/>
                        </a:rPr>
                        <a:t>Cote </a:t>
                      </a:r>
                      <a:r>
                        <a:rPr lang="en-US" sz="1250" dirty="0">
                          <a:solidFill>
                            <a:srgbClr val="FFFFFF"/>
                          </a:solidFill>
                          <a:effectLst/>
                          <a:latin typeface="Arial"/>
                          <a:ea typeface="Times New Roman"/>
                          <a:cs typeface="Arial"/>
                        </a:rPr>
                        <a:t>d'Ivoire, Democratic Republic of Congo, Ecuador, Ethiopia, Guatemala, Guinea, Haiti, India, </a:t>
                      </a:r>
                      <a:r>
                        <a:rPr lang="en-US" sz="1250" dirty="0" smtClean="0">
                          <a:solidFill>
                            <a:srgbClr val="FFFFFF"/>
                          </a:solidFill>
                          <a:effectLst/>
                          <a:latin typeface="Arial"/>
                          <a:ea typeface="Times New Roman"/>
                          <a:cs typeface="Arial"/>
                        </a:rPr>
                        <a:t>Indonesia, Mali, Myanmar</a:t>
                      </a:r>
                      <a:r>
                        <a:rPr lang="en-US" sz="1250" dirty="0">
                          <a:solidFill>
                            <a:srgbClr val="FFFFFF"/>
                          </a:solidFill>
                          <a:effectLst/>
                          <a:latin typeface="Arial"/>
                          <a:ea typeface="Times New Roman"/>
                          <a:cs typeface="Arial"/>
                        </a:rPr>
                        <a:t>, </a:t>
                      </a:r>
                      <a:r>
                        <a:rPr lang="en-US" sz="1250" dirty="0" smtClean="0">
                          <a:solidFill>
                            <a:srgbClr val="FFFFFF"/>
                          </a:solidFill>
                          <a:effectLst/>
                          <a:latin typeface="Arial"/>
                          <a:ea typeface="Times New Roman"/>
                          <a:cs typeface="Arial"/>
                        </a:rPr>
                        <a:t>Nepal, Niger</a:t>
                      </a:r>
                      <a:r>
                        <a:rPr lang="en-US" sz="1250" dirty="0">
                          <a:solidFill>
                            <a:srgbClr val="FFFFFF"/>
                          </a:solidFill>
                          <a:effectLst/>
                          <a:latin typeface="Arial"/>
                          <a:ea typeface="Times New Roman"/>
                          <a:cs typeface="Arial"/>
                        </a:rPr>
                        <a:t>, </a:t>
                      </a:r>
                      <a:r>
                        <a:rPr lang="en-US" sz="1250" dirty="0" smtClean="0">
                          <a:solidFill>
                            <a:srgbClr val="FFFFFF"/>
                          </a:solidFill>
                          <a:effectLst/>
                          <a:latin typeface="Arial"/>
                          <a:ea typeface="Times New Roman"/>
                          <a:cs typeface="Arial"/>
                        </a:rPr>
                        <a:t>Nigeria, Peru</a:t>
                      </a:r>
                      <a:r>
                        <a:rPr lang="en-US" sz="1250" dirty="0">
                          <a:solidFill>
                            <a:srgbClr val="FFFFFF"/>
                          </a:solidFill>
                          <a:effectLst/>
                          <a:latin typeface="Arial"/>
                          <a:ea typeface="Times New Roman"/>
                          <a:cs typeface="Arial"/>
                        </a:rPr>
                        <a:t>, </a:t>
                      </a:r>
                      <a:r>
                        <a:rPr lang="en-US" sz="1250" dirty="0" smtClean="0">
                          <a:solidFill>
                            <a:srgbClr val="FFFFFF"/>
                          </a:solidFill>
                          <a:effectLst/>
                          <a:latin typeface="Arial"/>
                          <a:ea typeface="Times New Roman"/>
                          <a:cs typeface="Arial"/>
                        </a:rPr>
                        <a:t>South Sudan, Sudan, Tanzania</a:t>
                      </a:r>
                      <a:r>
                        <a:rPr lang="en-US" sz="1250" dirty="0">
                          <a:solidFill>
                            <a:srgbClr val="FFFFFF"/>
                          </a:solidFill>
                          <a:effectLst/>
                          <a:latin typeface="Arial"/>
                          <a:ea typeface="Times New Roman"/>
                          <a:cs typeface="Arial"/>
                        </a:rPr>
                        <a:t>, </a:t>
                      </a:r>
                      <a:r>
                        <a:rPr lang="en-US" sz="1250" dirty="0" smtClean="0">
                          <a:solidFill>
                            <a:srgbClr val="FFFFFF"/>
                          </a:solidFill>
                          <a:effectLst/>
                          <a:latin typeface="Arial"/>
                          <a:ea typeface="Times New Roman"/>
                          <a:cs typeface="Arial"/>
                        </a:rPr>
                        <a:t>Viet </a:t>
                      </a:r>
                      <a:r>
                        <a:rPr lang="en-US" sz="1250" dirty="0">
                          <a:solidFill>
                            <a:srgbClr val="FFFFFF"/>
                          </a:solidFill>
                          <a:effectLst/>
                          <a:latin typeface="Arial"/>
                          <a:ea typeface="Times New Roman"/>
                          <a:cs typeface="Arial"/>
                        </a:rPr>
                        <a:t>Nam, </a:t>
                      </a:r>
                      <a:r>
                        <a:rPr lang="en-US" sz="1250" dirty="0" smtClean="0">
                          <a:solidFill>
                            <a:srgbClr val="FFFFFF"/>
                          </a:solidFill>
                          <a:effectLst/>
                          <a:latin typeface="Arial"/>
                          <a:ea typeface="Times New Roman"/>
                          <a:cs typeface="Arial"/>
                        </a:rPr>
                        <a:t>Zimbabwe</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237067">
                <a:tc>
                  <a:txBody>
                    <a:bodyPr/>
                    <a:lstStyle/>
                    <a:p>
                      <a:pPr>
                        <a:spcAft>
                          <a:spcPts val="0"/>
                        </a:spcAft>
                      </a:pPr>
                      <a:r>
                        <a:rPr lang="en-US" sz="1250" dirty="0">
                          <a:solidFill>
                            <a:srgbClr val="FFFFFF"/>
                          </a:solidFill>
                          <a:effectLst/>
                          <a:latin typeface="Arial"/>
                          <a:ea typeface="Times New Roman"/>
                          <a:cs typeface="Arial"/>
                        </a:rPr>
                        <a:t>Every 6-12 months</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250" dirty="0">
                          <a:solidFill>
                            <a:srgbClr val="FFFFFF"/>
                          </a:solidFill>
                          <a:effectLst/>
                          <a:latin typeface="Arial"/>
                          <a:ea typeface="Times New Roman"/>
                          <a:cs typeface="Arial"/>
                        </a:rPr>
                        <a:t>1</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spcAft>
                          <a:spcPts val="0"/>
                        </a:spcAft>
                      </a:pPr>
                      <a:r>
                        <a:rPr lang="en-US" sz="1250" dirty="0">
                          <a:solidFill>
                            <a:srgbClr val="FFFFFF"/>
                          </a:solidFill>
                          <a:effectLst/>
                          <a:latin typeface="Arial"/>
                          <a:ea typeface="Times New Roman"/>
                          <a:cs typeface="Arial"/>
                        </a:rPr>
                        <a:t>Venezuela</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268963">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250" dirty="0" smtClean="0">
                          <a:solidFill>
                            <a:srgbClr val="FFFFFF"/>
                          </a:solidFill>
                          <a:effectLst/>
                          <a:latin typeface="Arial"/>
                          <a:ea typeface="Times New Roman"/>
                          <a:cs typeface="Arial"/>
                        </a:rPr>
                        <a:t>Month 3, 6 and 12; yearly thereafter</a:t>
                      </a:r>
                      <a:endParaRPr lang="en-US" sz="1250" dirty="0" smtClean="0">
                        <a:solidFill>
                          <a:srgbClr val="FFFFFF"/>
                        </a:solidFill>
                        <a:effectLst/>
                        <a:latin typeface="Arial"/>
                        <a:ea typeface="ＭＳ 明朝"/>
                        <a:cs typeface="Arial"/>
                      </a:endParaRPr>
                    </a:p>
                  </a:txBody>
                  <a:tcPr marL="68584" marR="68584"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250" dirty="0" smtClean="0">
                          <a:solidFill>
                            <a:srgbClr val="FFFFFF"/>
                          </a:solidFill>
                          <a:effectLst/>
                          <a:latin typeface="Arial"/>
                          <a:ea typeface="ＭＳ 明朝"/>
                          <a:cs typeface="Arial"/>
                        </a:rPr>
                        <a:t>1</a:t>
                      </a:r>
                      <a:endParaRPr lang="en-US" sz="1250" dirty="0">
                        <a:solidFill>
                          <a:srgbClr val="FFFFFF"/>
                        </a:solidFill>
                        <a:effectLst/>
                        <a:latin typeface="Arial"/>
                        <a:ea typeface="ＭＳ 明朝"/>
                        <a:cs typeface="Arial"/>
                      </a:endParaRPr>
                    </a:p>
                  </a:txBody>
                  <a:tcPr marL="68584" marR="68584"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spcAft>
                          <a:spcPts val="0"/>
                        </a:spcAft>
                      </a:pPr>
                      <a:r>
                        <a:rPr lang="en-US" sz="1250" dirty="0" smtClean="0">
                          <a:solidFill>
                            <a:srgbClr val="FFFFFF"/>
                          </a:solidFill>
                          <a:effectLst/>
                          <a:latin typeface="Arial"/>
                          <a:ea typeface="Times New Roman"/>
                          <a:cs typeface="Arial"/>
                        </a:rPr>
                        <a:t>Botswana</a:t>
                      </a:r>
                      <a:endParaRPr lang="en-US" sz="1250" dirty="0">
                        <a:solidFill>
                          <a:srgbClr val="FFFFFF"/>
                        </a:solidFill>
                        <a:effectLst/>
                        <a:latin typeface="Arial"/>
                        <a:ea typeface="ＭＳ 明朝"/>
                        <a:cs typeface="Arial"/>
                      </a:endParaRPr>
                    </a:p>
                  </a:txBody>
                  <a:tcPr marL="68584" marR="68584"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01413">
                <a:tc>
                  <a:txBody>
                    <a:bodyPr/>
                    <a:lstStyle/>
                    <a:p>
                      <a:pPr>
                        <a:spcAft>
                          <a:spcPts val="0"/>
                        </a:spcAft>
                      </a:pPr>
                      <a:r>
                        <a:rPr lang="en-US" sz="1250" dirty="0">
                          <a:solidFill>
                            <a:srgbClr val="FFFFFF"/>
                          </a:solidFill>
                          <a:effectLst/>
                          <a:latin typeface="Arial"/>
                          <a:ea typeface="Times New Roman"/>
                          <a:cs typeface="Arial"/>
                        </a:rPr>
                        <a:t>Month 6; yearly thereafter</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250" dirty="0">
                          <a:solidFill>
                            <a:srgbClr val="FFFFFF"/>
                          </a:solidFill>
                          <a:effectLst/>
                          <a:latin typeface="Arial"/>
                          <a:ea typeface="Times New Roman"/>
                          <a:cs typeface="Arial"/>
                        </a:rPr>
                        <a:t>1</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spcAft>
                          <a:spcPts val="0"/>
                        </a:spcAft>
                      </a:pPr>
                      <a:r>
                        <a:rPr lang="en-US" sz="1250" dirty="0">
                          <a:solidFill>
                            <a:srgbClr val="FFFFFF"/>
                          </a:solidFill>
                          <a:effectLst/>
                          <a:latin typeface="Arial"/>
                          <a:ea typeface="Times New Roman"/>
                          <a:cs typeface="Arial"/>
                        </a:rPr>
                        <a:t>Ghana</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01413">
                <a:tc>
                  <a:txBody>
                    <a:bodyPr/>
                    <a:lstStyle/>
                    <a:p>
                      <a:pPr>
                        <a:spcAft>
                          <a:spcPts val="0"/>
                        </a:spcAft>
                      </a:pPr>
                      <a:r>
                        <a:rPr lang="en-US" sz="1250" dirty="0" smtClean="0">
                          <a:solidFill>
                            <a:srgbClr val="FFFFFF"/>
                          </a:solidFill>
                          <a:effectLst/>
                          <a:latin typeface="Arial"/>
                          <a:ea typeface="ＭＳ 明朝"/>
                          <a:cs typeface="Arial"/>
                        </a:rPr>
                        <a:t>Every 6 months, annually if CD4 &gt;350 and VL &lt;1000</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250" dirty="0" smtClean="0">
                          <a:solidFill>
                            <a:srgbClr val="FFFFFF"/>
                          </a:solidFill>
                          <a:effectLst/>
                          <a:latin typeface="Arial"/>
                          <a:ea typeface="ＭＳ 明朝"/>
                          <a:cs typeface="Arial"/>
                        </a:rPr>
                        <a:t>1</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spcAft>
                          <a:spcPts val="0"/>
                        </a:spcAft>
                      </a:pPr>
                      <a:r>
                        <a:rPr lang="en-US" sz="1250" dirty="0" smtClean="0">
                          <a:solidFill>
                            <a:srgbClr val="FFFFFF"/>
                          </a:solidFill>
                          <a:effectLst/>
                          <a:latin typeface="Arial"/>
                          <a:ea typeface="ＭＳ 明朝"/>
                          <a:cs typeface="Arial"/>
                        </a:rPr>
                        <a:t>Lesotho</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01413">
                <a:tc>
                  <a:txBody>
                    <a:bodyPr/>
                    <a:lstStyle/>
                    <a:p>
                      <a:pPr>
                        <a:spcAft>
                          <a:spcPts val="0"/>
                        </a:spcAft>
                      </a:pPr>
                      <a:r>
                        <a:rPr lang="en-US" sz="1250" dirty="0" smtClean="0">
                          <a:solidFill>
                            <a:srgbClr val="FFFFFF"/>
                          </a:solidFill>
                          <a:effectLst/>
                          <a:latin typeface="Arial"/>
                          <a:ea typeface="ＭＳ 明朝"/>
                          <a:cs typeface="Arial"/>
                        </a:rPr>
                        <a:t>Every 4-6 months; yearly after 2 years if CD4 count &gt;350</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250" dirty="0" smtClean="0">
                          <a:solidFill>
                            <a:srgbClr val="FFFFFF"/>
                          </a:solidFill>
                          <a:effectLst/>
                          <a:latin typeface="Arial"/>
                          <a:ea typeface="ＭＳ 明朝"/>
                          <a:cs typeface="Arial"/>
                        </a:rPr>
                        <a:t>1</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spcAft>
                          <a:spcPts val="0"/>
                        </a:spcAft>
                      </a:pPr>
                      <a:r>
                        <a:rPr lang="en-US" sz="1250" dirty="0" smtClean="0">
                          <a:solidFill>
                            <a:srgbClr val="FFFFFF"/>
                          </a:solidFill>
                          <a:effectLst/>
                          <a:latin typeface="Arial"/>
                          <a:ea typeface="ＭＳ 明朝"/>
                          <a:cs typeface="Arial"/>
                        </a:rPr>
                        <a:t>Argentina</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474133">
                <a:tc>
                  <a:txBody>
                    <a:bodyPr/>
                    <a:lstStyle/>
                    <a:p>
                      <a:pPr>
                        <a:spcAft>
                          <a:spcPts val="0"/>
                        </a:spcAft>
                      </a:pPr>
                      <a:r>
                        <a:rPr lang="en-US" sz="1250" dirty="0" smtClean="0">
                          <a:solidFill>
                            <a:srgbClr val="FFFFFF"/>
                          </a:solidFill>
                          <a:effectLst/>
                          <a:latin typeface="Arial"/>
                          <a:ea typeface="ＭＳ 明朝"/>
                          <a:cs typeface="Arial"/>
                        </a:rPr>
                        <a:t>No routine</a:t>
                      </a:r>
                      <a:r>
                        <a:rPr lang="en-US" sz="1250" baseline="0" dirty="0" smtClean="0">
                          <a:solidFill>
                            <a:srgbClr val="FFFFFF"/>
                          </a:solidFill>
                          <a:effectLst/>
                          <a:latin typeface="Arial"/>
                          <a:ea typeface="ＭＳ 明朝"/>
                          <a:cs typeface="Arial"/>
                        </a:rPr>
                        <a:t> CD4 ART monitoring</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250" dirty="0" smtClean="0">
                          <a:solidFill>
                            <a:srgbClr val="FFFFFF"/>
                          </a:solidFill>
                          <a:effectLst/>
                          <a:latin typeface="Arial"/>
                          <a:ea typeface="Times New Roman"/>
                          <a:cs typeface="Arial"/>
                        </a:rPr>
                        <a:t>14</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50" dirty="0" smtClean="0">
                          <a:solidFill>
                            <a:srgbClr val="FFFFFF"/>
                          </a:solidFill>
                          <a:effectLst/>
                          <a:latin typeface="Arial"/>
                          <a:ea typeface="Times New Roman"/>
                          <a:cs typeface="Arial"/>
                        </a:rPr>
                        <a:t>Burundi, Cameroon, Kenya, Malawi, Malaysia, Mozambique, Namibia, Papua New Guinea, Rwanda, South Africa, Swaziland</a:t>
                      </a:r>
                      <a:r>
                        <a:rPr lang="en-US" sz="1250" dirty="0" smtClean="0">
                          <a:solidFill>
                            <a:srgbClr val="FFFFFF"/>
                          </a:solidFill>
                          <a:effectLst/>
                          <a:latin typeface="Arial"/>
                          <a:ea typeface="ＭＳ 明朝"/>
                          <a:cs typeface="Arial"/>
                        </a:rPr>
                        <a:t>,</a:t>
                      </a:r>
                      <a:r>
                        <a:rPr lang="en-US" sz="1250" baseline="0" dirty="0" smtClean="0">
                          <a:solidFill>
                            <a:srgbClr val="FFFFFF"/>
                          </a:solidFill>
                          <a:effectLst/>
                          <a:latin typeface="Arial"/>
                          <a:ea typeface="ＭＳ 明朝"/>
                          <a:cs typeface="Arial"/>
                        </a:rPr>
                        <a:t> </a:t>
                      </a:r>
                      <a:r>
                        <a:rPr lang="en-US" sz="1250" dirty="0" smtClean="0">
                          <a:solidFill>
                            <a:srgbClr val="FFFFFF"/>
                          </a:solidFill>
                          <a:effectLst/>
                          <a:latin typeface="Arial"/>
                          <a:ea typeface="Times New Roman"/>
                          <a:cs typeface="Arial"/>
                        </a:rPr>
                        <a:t>Thailand, Uganda, Zambia</a:t>
                      </a:r>
                      <a:endParaRPr lang="en-US" sz="1250" dirty="0" smtClean="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29630">
                <a:tc>
                  <a:txBody>
                    <a:bodyPr/>
                    <a:lstStyle/>
                    <a:p>
                      <a:pPr>
                        <a:spcAft>
                          <a:spcPts val="0"/>
                        </a:spcAft>
                      </a:pPr>
                      <a:r>
                        <a:rPr lang="en-US" sz="1250" kern="1200" dirty="0" smtClean="0">
                          <a:solidFill>
                            <a:schemeClr val="bg1"/>
                          </a:solidFill>
                          <a:effectLst/>
                          <a:latin typeface="Arial"/>
                          <a:ea typeface="+mn-ea"/>
                          <a:cs typeface="Arial"/>
                        </a:rPr>
                        <a:t>No recommendation</a:t>
                      </a:r>
                      <a:endParaRPr lang="en-US" sz="1250" dirty="0">
                        <a:solidFill>
                          <a:schemeClr val="bg1"/>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250" dirty="0" smtClean="0">
                          <a:solidFill>
                            <a:srgbClr val="FFFFFF"/>
                          </a:solidFill>
                          <a:effectLst/>
                          <a:latin typeface="Arial"/>
                          <a:ea typeface="ＭＳ 明朝"/>
                          <a:cs typeface="Arial"/>
                        </a:rPr>
                        <a:t>2</a:t>
                      </a:r>
                      <a:endParaRPr lang="en-US" sz="125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50" dirty="0" smtClean="0">
                          <a:solidFill>
                            <a:srgbClr val="FFFFFF"/>
                          </a:solidFill>
                          <a:effectLst/>
                          <a:latin typeface="Arial"/>
                          <a:ea typeface="ＭＳ 明朝"/>
                          <a:cs typeface="Arial"/>
                        </a:rPr>
                        <a:t>Morocco, Senegal</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bl>
          </a:graphicData>
        </a:graphic>
      </p:graphicFrame>
      <p:sp>
        <p:nvSpPr>
          <p:cNvPr id="4" name="Text Box 4"/>
          <p:cNvSpPr txBox="1">
            <a:spLocks noChangeArrowheads="1"/>
          </p:cNvSpPr>
          <p:nvPr/>
        </p:nvSpPr>
        <p:spPr bwMode="auto">
          <a:xfrm>
            <a:off x="0" y="15221"/>
            <a:ext cx="9143999" cy="646331"/>
          </a:xfrm>
          <a:prstGeom prst="rect">
            <a:avLst/>
          </a:prstGeom>
          <a:noFill/>
          <a:ln w="9525">
            <a:noFill/>
            <a:miter lim="800000"/>
            <a:headEnd/>
            <a:tailEnd/>
          </a:ln>
        </p:spPr>
        <p:txBody>
          <a:bodyPr wrap="square">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spcBef>
                <a:spcPct val="50000"/>
              </a:spcBef>
            </a:pPr>
            <a:r>
              <a:rPr lang="en-US" sz="3600" dirty="0" smtClean="0">
                <a:solidFill>
                  <a:srgbClr val="FFFF00"/>
                </a:solidFill>
                <a:ea typeface="ヒラギノ角ゴ Pro W3"/>
                <a:cs typeface="ヒラギノ角ゴ Pro W3"/>
              </a:rPr>
              <a:t>Frequency of CD4 monitoring (55 countries) </a:t>
            </a:r>
            <a:endParaRPr lang="en-US" sz="3200" dirty="0" smtClean="0">
              <a:solidFill>
                <a:srgbClr val="FFFF00"/>
              </a:solidFill>
              <a:ea typeface="ヒラギノ角ゴ Pro W3"/>
              <a:cs typeface="ヒラギノ角ゴ Pro W3"/>
            </a:endParaRPr>
          </a:p>
        </p:txBody>
      </p:sp>
      <p:sp>
        <p:nvSpPr>
          <p:cNvPr id="5" name="Rectangle 4"/>
          <p:cNvSpPr/>
          <p:nvPr/>
        </p:nvSpPr>
        <p:spPr>
          <a:xfrm>
            <a:off x="203199" y="5727982"/>
            <a:ext cx="8788401" cy="576000"/>
          </a:xfrm>
          <a:prstGeom prst="rect">
            <a:avLst/>
          </a:prstGeom>
          <a:noFill/>
          <a:ln w="7620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stretch>
            <a:fillRect/>
          </a:stretch>
        </p:blipFill>
        <p:spPr>
          <a:xfrm>
            <a:off x="7747000" y="6324600"/>
            <a:ext cx="1397000" cy="533400"/>
          </a:xfrm>
          <a:prstGeom prst="rect">
            <a:avLst/>
          </a:prstGeom>
        </p:spPr>
      </p:pic>
    </p:spTree>
    <p:extLst>
      <p:ext uri="{BB962C8B-B14F-4D97-AF65-F5344CB8AC3E}">
        <p14:creationId xmlns:p14="http://schemas.microsoft.com/office/powerpoint/2010/main" val="1862345754"/>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43781649"/>
              </p:ext>
            </p:extLst>
          </p:nvPr>
        </p:nvGraphicFramePr>
        <p:xfrm>
          <a:off x="203199" y="931330"/>
          <a:ext cx="8805334" cy="4872603"/>
        </p:xfrm>
        <a:graphic>
          <a:graphicData uri="http://schemas.openxmlformats.org/drawingml/2006/table">
            <a:tbl>
              <a:tblPr/>
              <a:tblGrid>
                <a:gridCol w="2726268"/>
                <a:gridCol w="1134533"/>
                <a:gridCol w="4944533"/>
              </a:tblGrid>
              <a:tr h="251734">
                <a:tc>
                  <a:txBody>
                    <a:bodyPr/>
                    <a:lstStyle/>
                    <a:p>
                      <a:pPr algn="ctr" fontAlgn="b"/>
                      <a:r>
                        <a:rPr lang="en-US" sz="1800" b="1" i="0" u="none" strike="noStrike" dirty="0" smtClean="0">
                          <a:solidFill>
                            <a:srgbClr val="FFFFFF"/>
                          </a:solidFill>
                          <a:effectLst/>
                          <a:latin typeface="Arial"/>
                          <a:cs typeface="Arial"/>
                        </a:rPr>
                        <a:t>RECOMMENDATION</a:t>
                      </a:r>
                      <a:endParaRPr lang="en-US" sz="180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US" sz="1800" b="1" i="0" u="none" strike="noStrike" dirty="0" smtClean="0">
                          <a:solidFill>
                            <a:srgbClr val="FFFFFF"/>
                          </a:solidFill>
                          <a:effectLst/>
                          <a:latin typeface="Arial"/>
                          <a:cs typeface="Arial"/>
                        </a:rPr>
                        <a:t>NUMBER</a:t>
                      </a:r>
                      <a:endParaRPr lang="en-US" sz="180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US" sz="1800" b="1" i="0" u="none" strike="noStrike" dirty="0" smtClean="0">
                          <a:solidFill>
                            <a:srgbClr val="FFFFFF"/>
                          </a:solidFill>
                          <a:effectLst/>
                          <a:latin typeface="Arial"/>
                          <a:cs typeface="Arial"/>
                        </a:rPr>
                        <a:t>COUNTRIES</a:t>
                      </a:r>
                      <a:endParaRPr lang="en-US" sz="1800" b="1" i="0" u="none" strike="noStrike" dirty="0">
                        <a:solidFill>
                          <a:srgbClr val="FFFFFF"/>
                        </a:solidFill>
                        <a:effectLst/>
                        <a:latin typeface="Arial"/>
                        <a:cs typeface="Arial"/>
                      </a:endParaRPr>
                    </a:p>
                  </a:txBody>
                  <a:tcPr marL="12700" marR="12700" marT="1269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r>
              <a:tr h="3370583">
                <a:tc>
                  <a:txBody>
                    <a:bodyPr/>
                    <a:lstStyle/>
                    <a:p>
                      <a:pPr>
                        <a:spcAft>
                          <a:spcPts val="0"/>
                        </a:spcAft>
                      </a:pPr>
                      <a:r>
                        <a:rPr lang="en-US" sz="1800" dirty="0" smtClean="0">
                          <a:solidFill>
                            <a:srgbClr val="FFFFFF"/>
                          </a:solidFill>
                          <a:effectLst/>
                          <a:latin typeface="Arial"/>
                          <a:ea typeface="Times New Roman"/>
                          <a:cs typeface="Arial"/>
                        </a:rPr>
                        <a:t>Routine</a:t>
                      </a:r>
                      <a:r>
                        <a:rPr lang="en-US" sz="1800" baseline="0" dirty="0" smtClean="0">
                          <a:solidFill>
                            <a:srgbClr val="FFFFFF"/>
                          </a:solidFill>
                          <a:effectLst/>
                          <a:latin typeface="Arial"/>
                          <a:ea typeface="Times New Roman"/>
                          <a:cs typeface="Arial"/>
                        </a:rPr>
                        <a:t> viral load for ART monitoring</a:t>
                      </a:r>
                      <a:endParaRPr lang="en-US" sz="1800" dirty="0">
                        <a:solidFill>
                          <a:srgbClr val="FFFFFF"/>
                        </a:solidFill>
                        <a:effectLst/>
                        <a:latin typeface="Arial"/>
                        <a:ea typeface="ＭＳ 明朝"/>
                        <a:cs typeface="Arial"/>
                      </a:endParaRPr>
                    </a:p>
                    <a:p>
                      <a:pPr>
                        <a:spcAft>
                          <a:spcPts val="0"/>
                        </a:spcAft>
                      </a:pPr>
                      <a:r>
                        <a:rPr lang="en-US" sz="1800" i="1" dirty="0">
                          <a:solidFill>
                            <a:srgbClr val="FFFFFF"/>
                          </a:solidFill>
                          <a:effectLst/>
                          <a:latin typeface="Arial"/>
                          <a:ea typeface="Times New Roman"/>
                          <a:cs typeface="Arial"/>
                        </a:rPr>
                        <a:t>(WHO recommendation)</a:t>
                      </a:r>
                      <a:endParaRPr lang="en-US" sz="180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800" dirty="0" smtClean="0">
                          <a:solidFill>
                            <a:srgbClr val="FFFFFF"/>
                          </a:solidFill>
                          <a:effectLst/>
                          <a:latin typeface="Arial"/>
                          <a:ea typeface="Times New Roman"/>
                          <a:cs typeface="Arial"/>
                        </a:rPr>
                        <a:t>51</a:t>
                      </a:r>
                      <a:endParaRPr lang="en-US" sz="180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dirty="0" smtClean="0">
                          <a:solidFill>
                            <a:srgbClr val="FFFFFF"/>
                          </a:solidFill>
                          <a:effectLst/>
                          <a:latin typeface="Arial"/>
                          <a:ea typeface="Times New Roman"/>
                          <a:cs typeface="Arial"/>
                        </a:rPr>
                        <a:t>Angola, Argentina, Benin</a:t>
                      </a:r>
                      <a:r>
                        <a:rPr lang="en-US" sz="1800" dirty="0">
                          <a:solidFill>
                            <a:srgbClr val="FFFFFF"/>
                          </a:solidFill>
                          <a:effectLst/>
                          <a:latin typeface="Arial"/>
                          <a:ea typeface="Times New Roman"/>
                          <a:cs typeface="Arial"/>
                        </a:rPr>
                        <a:t>, </a:t>
                      </a:r>
                      <a:r>
                        <a:rPr lang="en-US" sz="1800" dirty="0" smtClean="0">
                          <a:solidFill>
                            <a:srgbClr val="FFFFFF"/>
                          </a:solidFill>
                          <a:effectLst/>
                          <a:latin typeface="Arial"/>
                          <a:ea typeface="Times New Roman"/>
                          <a:cs typeface="Arial"/>
                        </a:rPr>
                        <a:t>Botswana, Brazil</a:t>
                      </a:r>
                      <a:r>
                        <a:rPr lang="en-US" sz="1800" dirty="0">
                          <a:solidFill>
                            <a:srgbClr val="FFFFFF"/>
                          </a:solidFill>
                          <a:effectLst/>
                          <a:latin typeface="Arial"/>
                          <a:ea typeface="Times New Roman"/>
                          <a:cs typeface="Arial"/>
                        </a:rPr>
                        <a:t>, </a:t>
                      </a:r>
                      <a:r>
                        <a:rPr lang="en-US" sz="1800" dirty="0" smtClean="0">
                          <a:solidFill>
                            <a:srgbClr val="FFFFFF"/>
                          </a:solidFill>
                          <a:effectLst/>
                          <a:latin typeface="Arial"/>
                          <a:ea typeface="Times New Roman"/>
                          <a:cs typeface="Arial"/>
                        </a:rPr>
                        <a:t>Burkina Faso, Burundi</a:t>
                      </a:r>
                      <a:r>
                        <a:rPr lang="en-US" sz="1800" dirty="0">
                          <a:solidFill>
                            <a:srgbClr val="FFFFFF"/>
                          </a:solidFill>
                          <a:effectLst/>
                          <a:latin typeface="Arial"/>
                          <a:ea typeface="Times New Roman"/>
                          <a:cs typeface="Arial"/>
                        </a:rPr>
                        <a:t>, Cambodia, </a:t>
                      </a:r>
                      <a:r>
                        <a:rPr lang="en-US" sz="1800" dirty="0" smtClean="0">
                          <a:solidFill>
                            <a:srgbClr val="FFFFFF"/>
                          </a:solidFill>
                          <a:effectLst/>
                          <a:latin typeface="Arial"/>
                          <a:ea typeface="Times New Roman"/>
                          <a:cs typeface="Arial"/>
                        </a:rPr>
                        <a:t>Cameroon, Chile, China, Colombia</a:t>
                      </a:r>
                      <a:r>
                        <a:rPr lang="en-US" sz="1800" dirty="0">
                          <a:solidFill>
                            <a:srgbClr val="FFFFFF"/>
                          </a:solidFill>
                          <a:effectLst/>
                          <a:latin typeface="Arial"/>
                          <a:ea typeface="Times New Roman"/>
                          <a:cs typeface="Arial"/>
                        </a:rPr>
                        <a:t>, Cote d'Ivoire, Democratic Republic of Congo, </a:t>
                      </a:r>
                      <a:r>
                        <a:rPr lang="en-US" sz="1800" dirty="0" smtClean="0">
                          <a:solidFill>
                            <a:srgbClr val="FFFFFF"/>
                          </a:solidFill>
                          <a:effectLst/>
                          <a:latin typeface="Arial"/>
                          <a:ea typeface="Times New Roman"/>
                          <a:cs typeface="Arial"/>
                        </a:rPr>
                        <a:t>Dominican Republic,</a:t>
                      </a:r>
                      <a:r>
                        <a:rPr lang="en-US" sz="1800" baseline="0" dirty="0" smtClean="0">
                          <a:solidFill>
                            <a:srgbClr val="FFFFFF"/>
                          </a:solidFill>
                          <a:effectLst/>
                          <a:latin typeface="Arial"/>
                          <a:ea typeface="Times New Roman"/>
                          <a:cs typeface="Arial"/>
                        </a:rPr>
                        <a:t> </a:t>
                      </a:r>
                      <a:r>
                        <a:rPr lang="en-US" sz="1800" dirty="0" smtClean="0">
                          <a:solidFill>
                            <a:srgbClr val="FFFFFF"/>
                          </a:solidFill>
                          <a:effectLst/>
                          <a:latin typeface="Arial"/>
                          <a:ea typeface="Times New Roman"/>
                          <a:cs typeface="Arial"/>
                        </a:rPr>
                        <a:t>Ecuador</a:t>
                      </a:r>
                      <a:r>
                        <a:rPr lang="en-US" sz="1800" dirty="0">
                          <a:solidFill>
                            <a:srgbClr val="FFFFFF"/>
                          </a:solidFill>
                          <a:effectLst/>
                          <a:latin typeface="Arial"/>
                          <a:ea typeface="Times New Roman"/>
                          <a:cs typeface="Arial"/>
                        </a:rPr>
                        <a:t>, </a:t>
                      </a:r>
                      <a:r>
                        <a:rPr lang="en-US" sz="1800" dirty="0" smtClean="0">
                          <a:solidFill>
                            <a:srgbClr val="FFFFFF"/>
                          </a:solidFill>
                          <a:effectLst/>
                          <a:latin typeface="Arial"/>
                          <a:ea typeface="Times New Roman"/>
                          <a:cs typeface="Arial"/>
                        </a:rPr>
                        <a:t>Ethiopia</a:t>
                      </a:r>
                      <a:r>
                        <a:rPr lang="en-US" sz="1800" dirty="0" smtClean="0">
                          <a:solidFill>
                            <a:srgbClr val="FFFFFF"/>
                          </a:solidFill>
                          <a:effectLst/>
                          <a:latin typeface="Arial"/>
                          <a:ea typeface="ＭＳ 明朝"/>
                          <a:cs typeface="Arial"/>
                        </a:rPr>
                        <a:t>,</a:t>
                      </a:r>
                      <a:r>
                        <a:rPr lang="en-US" sz="1800" baseline="0" dirty="0" smtClean="0">
                          <a:solidFill>
                            <a:srgbClr val="FFFFFF"/>
                          </a:solidFill>
                          <a:effectLst/>
                          <a:latin typeface="Arial"/>
                          <a:ea typeface="ＭＳ 明朝"/>
                          <a:cs typeface="Arial"/>
                        </a:rPr>
                        <a:t> </a:t>
                      </a:r>
                      <a:r>
                        <a:rPr lang="en-US" sz="1800" dirty="0" smtClean="0">
                          <a:solidFill>
                            <a:srgbClr val="FFFFFF"/>
                          </a:solidFill>
                          <a:effectLst/>
                          <a:latin typeface="Arial"/>
                          <a:ea typeface="Times New Roman"/>
                          <a:cs typeface="Arial"/>
                        </a:rPr>
                        <a:t>Ghana, Guatemala</a:t>
                      </a:r>
                      <a:r>
                        <a:rPr lang="en-US" sz="1800" dirty="0">
                          <a:solidFill>
                            <a:srgbClr val="FFFFFF"/>
                          </a:solidFill>
                          <a:effectLst/>
                          <a:latin typeface="Arial"/>
                          <a:ea typeface="Times New Roman"/>
                          <a:cs typeface="Arial"/>
                        </a:rPr>
                        <a:t>, Guinea</a:t>
                      </a:r>
                      <a:r>
                        <a:rPr lang="en-US" sz="1800" dirty="0" smtClean="0">
                          <a:solidFill>
                            <a:srgbClr val="FFFFFF"/>
                          </a:solidFill>
                          <a:effectLst/>
                          <a:latin typeface="Arial"/>
                          <a:ea typeface="Times New Roman"/>
                          <a:cs typeface="Arial"/>
                        </a:rPr>
                        <a:t>,</a:t>
                      </a:r>
                      <a:r>
                        <a:rPr lang="en-US" sz="1800" baseline="0" dirty="0" smtClean="0">
                          <a:solidFill>
                            <a:srgbClr val="FFFFFF"/>
                          </a:solidFill>
                          <a:effectLst/>
                          <a:latin typeface="Arial"/>
                          <a:ea typeface="Times New Roman"/>
                          <a:cs typeface="Arial"/>
                        </a:rPr>
                        <a:t> </a:t>
                      </a:r>
                      <a:r>
                        <a:rPr lang="en-US" sz="1800" dirty="0" smtClean="0">
                          <a:solidFill>
                            <a:srgbClr val="FFFFFF"/>
                          </a:solidFill>
                          <a:effectLst/>
                          <a:latin typeface="Arial"/>
                          <a:ea typeface="Times New Roman"/>
                          <a:cs typeface="Arial"/>
                        </a:rPr>
                        <a:t>Haiti, India, Indonesia, </a:t>
                      </a:r>
                      <a:r>
                        <a:rPr lang="en-US" sz="1800" baseline="0" dirty="0" smtClean="0">
                          <a:solidFill>
                            <a:srgbClr val="FFFFFF"/>
                          </a:solidFill>
                          <a:effectLst/>
                          <a:latin typeface="Arial"/>
                          <a:ea typeface="Times New Roman"/>
                          <a:cs typeface="Arial"/>
                        </a:rPr>
                        <a:t>Kenya</a:t>
                      </a:r>
                      <a:r>
                        <a:rPr lang="en-US" sz="1800" dirty="0" smtClean="0">
                          <a:solidFill>
                            <a:srgbClr val="FFFFFF"/>
                          </a:solidFill>
                          <a:effectLst/>
                          <a:latin typeface="Arial"/>
                          <a:ea typeface="Times New Roman"/>
                          <a:cs typeface="Arial"/>
                        </a:rPr>
                        <a:t>, Lesotho</a:t>
                      </a:r>
                      <a:r>
                        <a:rPr lang="en-US" sz="1800" dirty="0">
                          <a:solidFill>
                            <a:srgbClr val="FFFFFF"/>
                          </a:solidFill>
                          <a:effectLst/>
                          <a:latin typeface="Arial"/>
                          <a:ea typeface="Times New Roman"/>
                          <a:cs typeface="Arial"/>
                        </a:rPr>
                        <a:t>, </a:t>
                      </a:r>
                      <a:r>
                        <a:rPr lang="en-US" sz="1800" dirty="0" smtClean="0">
                          <a:solidFill>
                            <a:srgbClr val="FFFFFF"/>
                          </a:solidFill>
                          <a:effectLst/>
                          <a:latin typeface="Arial"/>
                          <a:ea typeface="Times New Roman"/>
                          <a:cs typeface="Arial"/>
                        </a:rPr>
                        <a:t>Madagascar, Malawi, Malaysia, Mali, Mexico, Mozambique</a:t>
                      </a:r>
                      <a:r>
                        <a:rPr lang="en-US" sz="1800" dirty="0">
                          <a:solidFill>
                            <a:srgbClr val="FFFFFF"/>
                          </a:solidFill>
                          <a:effectLst/>
                          <a:latin typeface="Arial"/>
                          <a:ea typeface="Times New Roman"/>
                          <a:cs typeface="Arial"/>
                        </a:rPr>
                        <a:t>, </a:t>
                      </a:r>
                      <a:r>
                        <a:rPr lang="en-US" sz="1800" dirty="0" smtClean="0">
                          <a:solidFill>
                            <a:srgbClr val="FFFFFF"/>
                          </a:solidFill>
                          <a:effectLst/>
                          <a:latin typeface="Arial"/>
                          <a:ea typeface="Times New Roman"/>
                          <a:cs typeface="Arial"/>
                        </a:rPr>
                        <a:t>Namibia, Nepal</a:t>
                      </a:r>
                      <a:r>
                        <a:rPr lang="en-US" sz="1800" dirty="0">
                          <a:solidFill>
                            <a:srgbClr val="FFFFFF"/>
                          </a:solidFill>
                          <a:effectLst/>
                          <a:latin typeface="Arial"/>
                          <a:ea typeface="Times New Roman"/>
                          <a:cs typeface="Arial"/>
                        </a:rPr>
                        <a:t>, Niger, </a:t>
                      </a:r>
                      <a:r>
                        <a:rPr lang="en-US" sz="1800" dirty="0" smtClean="0">
                          <a:solidFill>
                            <a:srgbClr val="FFFFFF"/>
                          </a:solidFill>
                          <a:effectLst/>
                          <a:latin typeface="Arial"/>
                          <a:ea typeface="Times New Roman"/>
                          <a:cs typeface="Arial"/>
                        </a:rPr>
                        <a:t>Nigeria, Pakistan, Papua New Guinea, Peru</a:t>
                      </a:r>
                      <a:r>
                        <a:rPr lang="en-US" sz="1800" dirty="0">
                          <a:solidFill>
                            <a:srgbClr val="FFFFFF"/>
                          </a:solidFill>
                          <a:effectLst/>
                          <a:latin typeface="Arial"/>
                          <a:ea typeface="Times New Roman"/>
                          <a:cs typeface="Arial"/>
                        </a:rPr>
                        <a:t>, Rwanda, </a:t>
                      </a:r>
                      <a:r>
                        <a:rPr lang="en-US" sz="1800" dirty="0" smtClean="0">
                          <a:solidFill>
                            <a:srgbClr val="FFFFFF"/>
                          </a:solidFill>
                          <a:effectLst/>
                          <a:latin typeface="Arial"/>
                          <a:ea typeface="Times New Roman"/>
                          <a:cs typeface="Arial"/>
                        </a:rPr>
                        <a:t>Sierra</a:t>
                      </a:r>
                      <a:r>
                        <a:rPr lang="en-US" sz="1800" baseline="0" dirty="0" smtClean="0">
                          <a:solidFill>
                            <a:srgbClr val="FFFFFF"/>
                          </a:solidFill>
                          <a:effectLst/>
                          <a:latin typeface="Arial"/>
                          <a:ea typeface="Times New Roman"/>
                          <a:cs typeface="Arial"/>
                        </a:rPr>
                        <a:t> Leone, </a:t>
                      </a:r>
                      <a:r>
                        <a:rPr lang="en-US" sz="1800" dirty="0" smtClean="0">
                          <a:solidFill>
                            <a:srgbClr val="FFFFFF"/>
                          </a:solidFill>
                          <a:effectLst/>
                          <a:latin typeface="Arial"/>
                          <a:ea typeface="Times New Roman"/>
                          <a:cs typeface="Arial"/>
                        </a:rPr>
                        <a:t>South Africa, Sudan, Swaziland, Tanzania</a:t>
                      </a:r>
                      <a:r>
                        <a:rPr lang="en-US" sz="1800" dirty="0">
                          <a:solidFill>
                            <a:srgbClr val="FFFFFF"/>
                          </a:solidFill>
                          <a:effectLst/>
                          <a:latin typeface="Arial"/>
                          <a:ea typeface="Times New Roman"/>
                          <a:cs typeface="Arial"/>
                        </a:rPr>
                        <a:t>, Thailand, </a:t>
                      </a:r>
                      <a:r>
                        <a:rPr lang="en-US" sz="1800" dirty="0" smtClean="0">
                          <a:solidFill>
                            <a:srgbClr val="FFFFFF"/>
                          </a:solidFill>
                          <a:effectLst/>
                          <a:latin typeface="Arial"/>
                          <a:ea typeface="Times New Roman"/>
                          <a:cs typeface="Arial"/>
                        </a:rPr>
                        <a:t>Uganda, </a:t>
                      </a:r>
                      <a:r>
                        <a:rPr lang="en-US" sz="1800" dirty="0" smtClean="0">
                          <a:solidFill>
                            <a:srgbClr val="FFFFFF"/>
                          </a:solidFill>
                          <a:effectLst/>
                          <a:latin typeface="Arial"/>
                          <a:ea typeface="ＭＳ 明朝"/>
                          <a:cs typeface="Arial"/>
                        </a:rPr>
                        <a:t>Ukraine,</a:t>
                      </a:r>
                      <a:r>
                        <a:rPr lang="en-US" sz="1800" baseline="0" dirty="0" smtClean="0">
                          <a:solidFill>
                            <a:srgbClr val="FFFFFF"/>
                          </a:solidFill>
                          <a:effectLst/>
                          <a:latin typeface="Arial"/>
                          <a:ea typeface="ＭＳ 明朝"/>
                          <a:cs typeface="Arial"/>
                        </a:rPr>
                        <a:t> </a:t>
                      </a:r>
                      <a:r>
                        <a:rPr lang="en-US" sz="1800" dirty="0" smtClean="0">
                          <a:solidFill>
                            <a:srgbClr val="FFFFFF"/>
                          </a:solidFill>
                          <a:effectLst/>
                          <a:latin typeface="Arial"/>
                          <a:ea typeface="Times New Roman"/>
                          <a:cs typeface="Arial"/>
                        </a:rPr>
                        <a:t>Venezuela, Viet </a:t>
                      </a:r>
                      <a:r>
                        <a:rPr lang="en-US" sz="1800" dirty="0">
                          <a:solidFill>
                            <a:srgbClr val="FFFFFF"/>
                          </a:solidFill>
                          <a:effectLst/>
                          <a:latin typeface="Arial"/>
                          <a:ea typeface="Times New Roman"/>
                          <a:cs typeface="Arial"/>
                        </a:rPr>
                        <a:t>Nam, </a:t>
                      </a:r>
                      <a:r>
                        <a:rPr lang="en-US" sz="1800" dirty="0" smtClean="0">
                          <a:solidFill>
                            <a:srgbClr val="FFFFFF"/>
                          </a:solidFill>
                          <a:effectLst/>
                          <a:latin typeface="Arial"/>
                          <a:ea typeface="Times New Roman"/>
                          <a:cs typeface="Arial"/>
                        </a:rPr>
                        <a:t>Zambia, Zimbabwe</a:t>
                      </a:r>
                      <a:endParaRPr lang="en-US" sz="1800" dirty="0" smtClean="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626533">
                <a:tc>
                  <a:txBody>
                    <a:bodyPr/>
                    <a:lstStyle/>
                    <a:p>
                      <a:pPr>
                        <a:spcAft>
                          <a:spcPts val="0"/>
                        </a:spcAft>
                      </a:pPr>
                      <a:r>
                        <a:rPr lang="en-US" sz="1800" dirty="0" smtClean="0">
                          <a:solidFill>
                            <a:srgbClr val="FFFFFF"/>
                          </a:solidFill>
                          <a:effectLst/>
                          <a:latin typeface="Arial"/>
                          <a:ea typeface="Times New Roman"/>
                          <a:cs typeface="Arial"/>
                        </a:rPr>
                        <a:t>Targeted viral load monitoring</a:t>
                      </a:r>
                      <a:endParaRPr lang="en-US" sz="180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800" dirty="0">
                          <a:solidFill>
                            <a:srgbClr val="FFFFFF"/>
                          </a:solidFill>
                          <a:effectLst/>
                          <a:latin typeface="Arial"/>
                          <a:ea typeface="Times New Roman"/>
                          <a:cs typeface="Arial"/>
                        </a:rPr>
                        <a:t>3</a:t>
                      </a:r>
                      <a:endParaRPr lang="en-US" sz="180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spcAft>
                          <a:spcPts val="0"/>
                        </a:spcAft>
                      </a:pPr>
                      <a:r>
                        <a:rPr lang="en-US" sz="1800" dirty="0" smtClean="0">
                          <a:solidFill>
                            <a:srgbClr val="FFFFFF"/>
                          </a:solidFill>
                          <a:effectLst/>
                          <a:latin typeface="Arial"/>
                          <a:ea typeface="Times New Roman"/>
                          <a:cs typeface="Arial"/>
                        </a:rPr>
                        <a:t>Morocco, Myanmar, South Sudan</a:t>
                      </a:r>
                      <a:endParaRPr lang="en-US" sz="180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92892">
                <a:tc>
                  <a:txBody>
                    <a:bodyPr/>
                    <a:lstStyle/>
                    <a:p>
                      <a:pPr>
                        <a:spcAft>
                          <a:spcPts val="0"/>
                        </a:spcAft>
                      </a:pPr>
                      <a:r>
                        <a:rPr lang="en-US" sz="1800" kern="1200" dirty="0" smtClean="0">
                          <a:solidFill>
                            <a:schemeClr val="bg1"/>
                          </a:solidFill>
                          <a:effectLst/>
                          <a:latin typeface="Arial"/>
                          <a:ea typeface="+mn-ea"/>
                          <a:cs typeface="Arial"/>
                        </a:rPr>
                        <a:t>No recommendation</a:t>
                      </a:r>
                      <a:endParaRPr lang="en-US" sz="1800" dirty="0">
                        <a:solidFill>
                          <a:schemeClr val="bg1"/>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spcAft>
                          <a:spcPts val="0"/>
                        </a:spcAft>
                      </a:pPr>
                      <a:r>
                        <a:rPr lang="en-US" sz="1800" dirty="0" smtClean="0">
                          <a:solidFill>
                            <a:srgbClr val="FFFFFF"/>
                          </a:solidFill>
                          <a:effectLst/>
                          <a:latin typeface="Arial"/>
                          <a:ea typeface="ＭＳ 明朝"/>
                          <a:cs typeface="Arial"/>
                        </a:rPr>
                        <a:t>1</a:t>
                      </a:r>
                      <a:endParaRPr lang="en-US" sz="1800" dirty="0">
                        <a:solidFill>
                          <a:srgbClr val="FFFFFF"/>
                        </a:solidFill>
                        <a:effectLst/>
                        <a:latin typeface="Arial"/>
                        <a:ea typeface="ＭＳ 明朝"/>
                        <a:cs typeface="Arial"/>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dirty="0" smtClean="0">
                          <a:solidFill>
                            <a:srgbClr val="FFFFFF"/>
                          </a:solidFill>
                          <a:effectLst/>
                          <a:latin typeface="Arial"/>
                          <a:ea typeface="ＭＳ 明朝"/>
                          <a:cs typeface="Arial"/>
                        </a:rPr>
                        <a:t>Senegal</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bl>
          </a:graphicData>
        </a:graphic>
      </p:graphicFrame>
      <p:sp>
        <p:nvSpPr>
          <p:cNvPr id="3" name="Text Box 4"/>
          <p:cNvSpPr txBox="1">
            <a:spLocks noChangeArrowheads="1"/>
          </p:cNvSpPr>
          <p:nvPr/>
        </p:nvSpPr>
        <p:spPr bwMode="auto">
          <a:xfrm>
            <a:off x="0" y="133752"/>
            <a:ext cx="9143999" cy="646331"/>
          </a:xfrm>
          <a:prstGeom prst="rect">
            <a:avLst/>
          </a:prstGeom>
          <a:noFill/>
          <a:ln w="9525">
            <a:noFill/>
            <a:miter lim="800000"/>
            <a:headEnd/>
            <a:tailEnd/>
          </a:ln>
        </p:spPr>
        <p:txBody>
          <a:bodyPr wrap="square">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spcBef>
                <a:spcPct val="50000"/>
              </a:spcBef>
            </a:pPr>
            <a:r>
              <a:rPr lang="en-US" sz="3600" dirty="0" smtClean="0">
                <a:solidFill>
                  <a:srgbClr val="FFFF00"/>
                </a:solidFill>
                <a:ea typeface="ヒラギノ角ゴ Pro W3"/>
                <a:cs typeface="ヒラギノ角ゴ Pro W3"/>
              </a:rPr>
              <a:t>Viral load monitoring (55 countries) </a:t>
            </a:r>
            <a:endParaRPr lang="en-US" sz="3200" dirty="0" smtClean="0">
              <a:solidFill>
                <a:srgbClr val="FFFF00"/>
              </a:solidFill>
              <a:ea typeface="ヒラギノ角ゴ Pro W3"/>
              <a:cs typeface="ヒラギノ角ゴ Pro W3"/>
            </a:endParaRPr>
          </a:p>
        </p:txBody>
      </p:sp>
      <p:sp>
        <p:nvSpPr>
          <p:cNvPr id="4" name="Rectangle 3"/>
          <p:cNvSpPr/>
          <p:nvPr/>
        </p:nvSpPr>
        <p:spPr>
          <a:xfrm>
            <a:off x="220132" y="1223717"/>
            <a:ext cx="8771468" cy="3585349"/>
          </a:xfrm>
          <a:prstGeom prst="rect">
            <a:avLst/>
          </a:prstGeom>
          <a:noFill/>
          <a:ln w="7620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stretch>
            <a:fillRect/>
          </a:stretch>
        </p:blipFill>
        <p:spPr>
          <a:xfrm>
            <a:off x="7747000" y="6324600"/>
            <a:ext cx="1397000" cy="533400"/>
          </a:xfrm>
          <a:prstGeom prst="rect">
            <a:avLst/>
          </a:prstGeom>
        </p:spPr>
      </p:pic>
    </p:spTree>
    <p:extLst>
      <p:ext uri="{BB962C8B-B14F-4D97-AF65-F5344CB8AC3E}">
        <p14:creationId xmlns:p14="http://schemas.microsoft.com/office/powerpoint/2010/main" val="2391784845"/>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4"/>
          <p:cNvSpPr txBox="1">
            <a:spLocks noChangeArrowheads="1"/>
          </p:cNvSpPr>
          <p:nvPr/>
        </p:nvSpPr>
        <p:spPr bwMode="auto">
          <a:xfrm>
            <a:off x="0" y="-1712"/>
            <a:ext cx="9143999" cy="646331"/>
          </a:xfrm>
          <a:prstGeom prst="rect">
            <a:avLst/>
          </a:prstGeom>
          <a:noFill/>
          <a:ln w="9525">
            <a:noFill/>
            <a:miter lim="800000"/>
            <a:headEnd/>
            <a:tailEnd/>
          </a:ln>
        </p:spPr>
        <p:txBody>
          <a:bodyPr wrap="square">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spcBef>
                <a:spcPct val="50000"/>
              </a:spcBef>
            </a:pPr>
            <a:r>
              <a:rPr lang="en-US" sz="3600" dirty="0" smtClean="0">
                <a:solidFill>
                  <a:srgbClr val="FFFF00"/>
                </a:solidFill>
                <a:ea typeface="ヒラギノ角ゴ Pro W3"/>
                <a:cs typeface="ヒラギノ角ゴ Pro W3"/>
              </a:rPr>
              <a:t>Frequency of routine VL (49 countries) </a:t>
            </a:r>
            <a:endParaRPr lang="en-US" sz="3200" dirty="0" smtClean="0">
              <a:solidFill>
                <a:srgbClr val="FFFF00"/>
              </a:solidFill>
              <a:ea typeface="ヒラギノ角ゴ Pro W3"/>
              <a:cs typeface="ヒラギノ角ゴ Pro W3"/>
            </a:endParaRPr>
          </a:p>
        </p:txBody>
      </p:sp>
      <p:graphicFrame>
        <p:nvGraphicFramePr>
          <p:cNvPr id="6" name="Table 5"/>
          <p:cNvGraphicFramePr>
            <a:graphicFrameLocks noGrp="1"/>
          </p:cNvGraphicFramePr>
          <p:nvPr>
            <p:extLst>
              <p:ext uri="{D42A27DB-BD31-4B8C-83A1-F6EECF244321}">
                <p14:modId xmlns:p14="http://schemas.microsoft.com/office/powerpoint/2010/main" val="2041369730"/>
              </p:ext>
            </p:extLst>
          </p:nvPr>
        </p:nvGraphicFramePr>
        <p:xfrm>
          <a:off x="67733" y="725209"/>
          <a:ext cx="8991596" cy="5577377"/>
        </p:xfrm>
        <a:graphic>
          <a:graphicData uri="http://schemas.openxmlformats.org/drawingml/2006/table">
            <a:tbl>
              <a:tblPr firstRow="1" bandRow="1">
                <a:tableStyleId>{5C22544A-7EE6-4342-B048-85BDC9FD1C3A}</a:tableStyleId>
              </a:tblPr>
              <a:tblGrid>
                <a:gridCol w="3254207"/>
                <a:gridCol w="640962"/>
                <a:gridCol w="687861"/>
                <a:gridCol w="672229"/>
                <a:gridCol w="640961"/>
                <a:gridCol w="640961"/>
                <a:gridCol w="640962"/>
                <a:gridCol w="712785"/>
                <a:gridCol w="1100668"/>
              </a:tblGrid>
              <a:tr h="370840">
                <a:tc>
                  <a:txBody>
                    <a:bodyPr/>
                    <a:lstStyle/>
                    <a:p>
                      <a:pPr algn="ctr">
                        <a:spcAft>
                          <a:spcPts val="0"/>
                        </a:spcAft>
                      </a:pPr>
                      <a:r>
                        <a:rPr lang="en-US" sz="1400" b="1" dirty="0">
                          <a:solidFill>
                            <a:schemeClr val="bg1"/>
                          </a:solidFill>
                          <a:effectLst/>
                          <a:latin typeface="Arial"/>
                          <a:ea typeface="Times New Roman"/>
                          <a:cs typeface="Times New Roman"/>
                        </a:rPr>
                        <a:t>MONTH AFTER ART INITIATION</a:t>
                      </a:r>
                      <a:endParaRPr lang="en-US" sz="1400" dirty="0">
                        <a:solidFill>
                          <a:schemeClr val="bg1"/>
                        </a:solidFill>
                        <a:effectLst/>
                        <a:latin typeface="Cambria"/>
                        <a:ea typeface="ＭＳ 明朝"/>
                        <a:cs typeface="Times New Roman"/>
                      </a:endParaRPr>
                    </a:p>
                  </a:txBody>
                  <a:tcPr marL="68580" marR="68580" marT="0" marB="0" anchor="ctr">
                    <a:solidFill>
                      <a:schemeClr val="accent2"/>
                    </a:solidFill>
                  </a:tcPr>
                </a:tc>
                <a:tc>
                  <a:txBody>
                    <a:bodyPr/>
                    <a:lstStyle/>
                    <a:p>
                      <a:pPr algn="ctr">
                        <a:spcAft>
                          <a:spcPts val="0"/>
                        </a:spcAft>
                      </a:pPr>
                      <a:r>
                        <a:rPr lang="en-US" sz="1400" b="0" dirty="0">
                          <a:solidFill>
                            <a:schemeClr val="bg1"/>
                          </a:solidFill>
                          <a:effectLst/>
                          <a:latin typeface="Arial"/>
                          <a:ea typeface="Times New Roman"/>
                          <a:cs typeface="Times New Roman"/>
                        </a:rPr>
                        <a:t>Month </a:t>
                      </a:r>
                      <a:r>
                        <a:rPr lang="en-US" sz="1400" b="0" dirty="0" smtClean="0">
                          <a:solidFill>
                            <a:schemeClr val="bg1"/>
                          </a:solidFill>
                          <a:effectLst/>
                          <a:latin typeface="Arial"/>
                          <a:ea typeface="Times New Roman"/>
                          <a:cs typeface="Times New Roman"/>
                        </a:rPr>
                        <a:t>1</a:t>
                      </a:r>
                      <a:endParaRPr lang="en-US" sz="1400" b="0" dirty="0">
                        <a:solidFill>
                          <a:schemeClr val="bg1"/>
                        </a:solidFill>
                        <a:effectLst/>
                        <a:latin typeface="Cambria"/>
                        <a:ea typeface="ＭＳ 明朝"/>
                        <a:cs typeface="Times New Roman"/>
                      </a:endParaRPr>
                    </a:p>
                  </a:txBody>
                  <a:tcPr marL="68580" marR="68580" marT="0" marB="0" anchor="ctr">
                    <a:solidFill>
                      <a:schemeClr val="accent2"/>
                    </a:solidFill>
                  </a:tcPr>
                </a:tc>
                <a:tc>
                  <a:txBody>
                    <a:bodyPr/>
                    <a:lstStyle/>
                    <a:p>
                      <a:pPr algn="ctr">
                        <a:spcAft>
                          <a:spcPts val="0"/>
                        </a:spcAft>
                      </a:pPr>
                      <a:r>
                        <a:rPr lang="en-US" sz="1400" b="0">
                          <a:solidFill>
                            <a:schemeClr val="bg1"/>
                          </a:solidFill>
                          <a:effectLst/>
                          <a:latin typeface="Arial"/>
                          <a:ea typeface="Times New Roman"/>
                          <a:cs typeface="Times New Roman"/>
                        </a:rPr>
                        <a:t>Month 3</a:t>
                      </a:r>
                      <a:endParaRPr lang="en-US" sz="1400" b="0">
                        <a:solidFill>
                          <a:schemeClr val="bg1"/>
                        </a:solidFill>
                        <a:effectLst/>
                        <a:latin typeface="Cambria"/>
                        <a:ea typeface="ＭＳ 明朝"/>
                        <a:cs typeface="Times New Roman"/>
                      </a:endParaRPr>
                    </a:p>
                  </a:txBody>
                  <a:tcPr marL="68580" marR="68580" marT="0" marB="0" anchor="ctr">
                    <a:solidFill>
                      <a:schemeClr val="accent2"/>
                    </a:solidFill>
                  </a:tcPr>
                </a:tc>
                <a:tc>
                  <a:txBody>
                    <a:bodyPr/>
                    <a:lstStyle/>
                    <a:p>
                      <a:pPr algn="ctr">
                        <a:spcAft>
                          <a:spcPts val="0"/>
                        </a:spcAft>
                      </a:pPr>
                      <a:r>
                        <a:rPr lang="en-US" sz="1400" b="0" dirty="0">
                          <a:solidFill>
                            <a:schemeClr val="bg1"/>
                          </a:solidFill>
                          <a:effectLst/>
                          <a:latin typeface="Arial"/>
                          <a:ea typeface="Times New Roman"/>
                          <a:cs typeface="Times New Roman"/>
                        </a:rPr>
                        <a:t>Month 6 </a:t>
                      </a:r>
                      <a:endParaRPr lang="en-US" sz="1400" b="0" dirty="0">
                        <a:solidFill>
                          <a:schemeClr val="bg1"/>
                        </a:solidFill>
                        <a:effectLst/>
                        <a:latin typeface="Cambria"/>
                        <a:ea typeface="ＭＳ 明朝"/>
                        <a:cs typeface="Times New Roman"/>
                      </a:endParaRPr>
                    </a:p>
                  </a:txBody>
                  <a:tcPr marL="68580" marR="68580" marT="0" marB="0" anchor="ctr">
                    <a:solidFill>
                      <a:schemeClr val="accent2"/>
                    </a:solidFill>
                  </a:tcPr>
                </a:tc>
                <a:tc>
                  <a:txBody>
                    <a:bodyPr/>
                    <a:lstStyle/>
                    <a:p>
                      <a:pPr algn="ctr">
                        <a:spcAft>
                          <a:spcPts val="0"/>
                        </a:spcAft>
                      </a:pPr>
                      <a:r>
                        <a:rPr lang="en-US" sz="1400" b="0" dirty="0" smtClean="0">
                          <a:solidFill>
                            <a:schemeClr val="bg1"/>
                          </a:solidFill>
                          <a:effectLst/>
                          <a:latin typeface="Arial"/>
                          <a:ea typeface="Times New Roman"/>
                          <a:cs typeface="Times New Roman"/>
                        </a:rPr>
                        <a:t>Month 9</a:t>
                      </a:r>
                      <a:endParaRPr lang="en-US" sz="1400" b="0" dirty="0">
                        <a:solidFill>
                          <a:schemeClr val="bg1"/>
                        </a:solidFill>
                        <a:effectLst/>
                        <a:latin typeface="Cambria"/>
                        <a:ea typeface="ＭＳ 明朝"/>
                        <a:cs typeface="Times New Roman"/>
                      </a:endParaRPr>
                    </a:p>
                  </a:txBody>
                  <a:tcPr marL="68580" marR="68580" marT="0" marB="0" anchor="ctr">
                    <a:solidFill>
                      <a:schemeClr val="accent2"/>
                    </a:solidFill>
                  </a:tcPr>
                </a:tc>
                <a:tc>
                  <a:txBody>
                    <a:bodyPr/>
                    <a:lstStyle/>
                    <a:p>
                      <a:pPr algn="ctr">
                        <a:spcAft>
                          <a:spcPts val="0"/>
                        </a:spcAft>
                      </a:pPr>
                      <a:r>
                        <a:rPr lang="en-US" sz="1400" b="0" dirty="0">
                          <a:solidFill>
                            <a:schemeClr val="bg1"/>
                          </a:solidFill>
                          <a:effectLst/>
                          <a:latin typeface="Arial"/>
                          <a:ea typeface="Times New Roman"/>
                          <a:cs typeface="Times New Roman"/>
                        </a:rPr>
                        <a:t>Month 12 </a:t>
                      </a:r>
                      <a:endParaRPr lang="en-US" sz="1400" b="0" dirty="0">
                        <a:solidFill>
                          <a:schemeClr val="bg1"/>
                        </a:solidFill>
                        <a:effectLst/>
                        <a:latin typeface="Cambria"/>
                        <a:ea typeface="ＭＳ 明朝"/>
                        <a:cs typeface="Times New Roman"/>
                      </a:endParaRPr>
                    </a:p>
                  </a:txBody>
                  <a:tcPr marL="68580" marR="68580" marT="0" marB="0" anchor="ctr">
                    <a:solidFill>
                      <a:schemeClr val="accent2"/>
                    </a:solidFill>
                  </a:tcPr>
                </a:tc>
                <a:tc>
                  <a:txBody>
                    <a:bodyPr/>
                    <a:lstStyle/>
                    <a:p>
                      <a:pPr algn="ctr">
                        <a:spcAft>
                          <a:spcPts val="0"/>
                        </a:spcAft>
                      </a:pPr>
                      <a:r>
                        <a:rPr lang="en-US" sz="1400" b="0" dirty="0">
                          <a:solidFill>
                            <a:schemeClr val="bg1"/>
                          </a:solidFill>
                          <a:effectLst/>
                          <a:latin typeface="Arial"/>
                          <a:ea typeface="Times New Roman"/>
                          <a:cs typeface="Times New Roman"/>
                        </a:rPr>
                        <a:t>Month 18 </a:t>
                      </a:r>
                      <a:endParaRPr lang="en-US" sz="1400" b="0" dirty="0">
                        <a:solidFill>
                          <a:schemeClr val="bg1"/>
                        </a:solidFill>
                        <a:effectLst/>
                        <a:latin typeface="Cambria"/>
                        <a:ea typeface="ＭＳ 明朝"/>
                        <a:cs typeface="Times New Roman"/>
                      </a:endParaRPr>
                    </a:p>
                  </a:txBody>
                  <a:tcPr marL="68580" marR="68580" marT="0" marB="0" anchor="ctr">
                    <a:solidFill>
                      <a:schemeClr val="accent2"/>
                    </a:solidFill>
                  </a:tcPr>
                </a:tc>
                <a:tc>
                  <a:txBody>
                    <a:bodyPr/>
                    <a:lstStyle/>
                    <a:p>
                      <a:pPr algn="ctr">
                        <a:spcAft>
                          <a:spcPts val="0"/>
                        </a:spcAft>
                      </a:pPr>
                      <a:r>
                        <a:rPr lang="en-US" sz="1400" b="0" dirty="0">
                          <a:solidFill>
                            <a:schemeClr val="bg1"/>
                          </a:solidFill>
                          <a:effectLst/>
                          <a:latin typeface="Arial"/>
                          <a:ea typeface="Times New Roman"/>
                          <a:cs typeface="Times New Roman"/>
                        </a:rPr>
                        <a:t>Month 24 </a:t>
                      </a:r>
                      <a:endParaRPr lang="en-US" sz="1400" b="0" dirty="0">
                        <a:solidFill>
                          <a:schemeClr val="bg1"/>
                        </a:solidFill>
                        <a:effectLst/>
                        <a:latin typeface="Cambria"/>
                        <a:ea typeface="ＭＳ 明朝"/>
                        <a:cs typeface="Times New Roman"/>
                      </a:endParaRPr>
                    </a:p>
                  </a:txBody>
                  <a:tcPr marL="68580" marR="68580" marT="0" marB="0" anchor="ctr">
                    <a:lnR w="57150" cap="flat" cmpd="sng" algn="ctr">
                      <a:solidFill>
                        <a:srgbClr val="FFFFFF"/>
                      </a:solidFill>
                      <a:prstDash val="solid"/>
                      <a:round/>
                      <a:headEnd type="none" w="med" len="med"/>
                      <a:tailEnd type="none" w="med" len="med"/>
                    </a:lnR>
                    <a:solidFill>
                      <a:schemeClr val="accent2"/>
                    </a:solidFill>
                  </a:tcPr>
                </a:tc>
                <a:tc>
                  <a:txBody>
                    <a:bodyPr/>
                    <a:lstStyle/>
                    <a:p>
                      <a:pPr algn="ctr">
                        <a:spcAft>
                          <a:spcPts val="0"/>
                        </a:spcAft>
                      </a:pPr>
                      <a:r>
                        <a:rPr lang="en-US" sz="1400" b="1" dirty="0">
                          <a:solidFill>
                            <a:schemeClr val="bg1"/>
                          </a:solidFill>
                          <a:effectLst/>
                          <a:latin typeface="Arial"/>
                          <a:ea typeface="Times New Roman"/>
                          <a:cs typeface="Times New Roman"/>
                        </a:rPr>
                        <a:t>Post the last VL test</a:t>
                      </a:r>
                      <a:endParaRPr lang="en-US" sz="1400" dirty="0">
                        <a:solidFill>
                          <a:schemeClr val="bg1"/>
                        </a:solidFill>
                        <a:effectLst/>
                        <a:latin typeface="Cambria"/>
                        <a:ea typeface="ＭＳ 明朝"/>
                        <a:cs typeface="Times New Roman"/>
                      </a:endParaRPr>
                    </a:p>
                  </a:txBody>
                  <a:tcPr marL="68580" marR="68580" marT="0" marB="0" anchor="ctr">
                    <a:lnL w="57150" cap="flat" cmpd="sng" algn="ctr">
                      <a:solidFill>
                        <a:srgbClr val="FFFFFF"/>
                      </a:solidFill>
                      <a:prstDash val="solid"/>
                      <a:round/>
                      <a:headEnd type="none" w="med" len="med"/>
                      <a:tailEnd type="none" w="med" len="med"/>
                    </a:lnL>
                    <a:solidFill>
                      <a:schemeClr val="accent2"/>
                    </a:solidFill>
                  </a:tcPr>
                </a:tc>
              </a:tr>
              <a:tr h="76153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kern="1200" dirty="0" smtClean="0">
                          <a:solidFill>
                            <a:srgbClr val="FFFFFF"/>
                          </a:solidFill>
                          <a:effectLst/>
                          <a:latin typeface="Arial"/>
                          <a:ea typeface="+mn-ea"/>
                          <a:cs typeface="Arial"/>
                        </a:rPr>
                        <a:t>Angola, Dominican Republic, Ecuador, Guatemala, Mali, Niger, Venezuela, Viet Nam</a:t>
                      </a:r>
                      <a:r>
                        <a:rPr lang="en-US" sz="1400" dirty="0" smtClean="0">
                          <a:solidFill>
                            <a:srgbClr val="FFFFFF"/>
                          </a:solidFill>
                          <a:effectLst/>
                          <a:latin typeface="Arial"/>
                          <a:cs typeface="Arial"/>
                        </a:rPr>
                        <a:t> </a:t>
                      </a:r>
                      <a:endParaRPr lang="en-US" sz="1400" dirty="0">
                        <a:solidFill>
                          <a:srgbClr val="FFFFFF"/>
                        </a:solidFill>
                        <a:effectLst/>
                        <a:latin typeface="Arial"/>
                        <a:ea typeface="ＭＳ 明朝"/>
                        <a:cs typeface="Arial"/>
                      </a:endParaRPr>
                    </a:p>
                  </a:txBody>
                  <a:tcPr marL="68580" marR="68580" marT="0" marB="0" anchor="ctr">
                    <a:noFill/>
                  </a:tcPr>
                </a:tc>
                <a:tc>
                  <a:txBody>
                    <a:bodyPr/>
                    <a:lstStyle/>
                    <a:p>
                      <a:pPr algn="ctr"/>
                      <a:endParaRPr lang="en-US" sz="2000" b="1" dirty="0">
                        <a:solidFill>
                          <a:srgbClr val="FFFFFF"/>
                        </a:solidFill>
                        <a:effectLst/>
                        <a:latin typeface="Cambria"/>
                      </a:endParaRPr>
                    </a:p>
                  </a:txBody>
                  <a:tcPr marL="68580" marR="68580" marT="0" marB="0" anchor="ctr">
                    <a:noFill/>
                  </a:tcPr>
                </a:tc>
                <a:tc>
                  <a:txBody>
                    <a:bodyPr/>
                    <a:lstStyle/>
                    <a:p>
                      <a:pPr algn="ctr"/>
                      <a:endParaRPr lang="en-US" sz="2000" b="1" dirty="0">
                        <a:solidFill>
                          <a:srgbClr val="FFFFFF"/>
                        </a:solidFill>
                        <a:effectLst/>
                        <a:latin typeface="Cambria"/>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r>
                        <a:rPr lang="en-US" sz="2000" b="1">
                          <a:solidFill>
                            <a:srgbClr val="FFFFFF"/>
                          </a:solidFill>
                          <a:effectLst/>
                          <a:latin typeface="Menlo Bold"/>
                          <a:ea typeface="ＭＳ 明朝"/>
                          <a:cs typeface="Times New Roman"/>
                        </a:rPr>
                        <a:t>✔</a:t>
                      </a:r>
                      <a:endParaRPr lang="en-US" sz="2000" b="1">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lnR w="57150" cap="flat" cmpd="sng" algn="ctr">
                      <a:solidFill>
                        <a:srgbClr val="FFFFFF"/>
                      </a:solidFill>
                      <a:prstDash val="solid"/>
                      <a:round/>
                      <a:headEnd type="none" w="med" len="med"/>
                      <a:tailEnd type="none" w="med" len="med"/>
                    </a:lnR>
                    <a:noFill/>
                  </a:tcPr>
                </a:tc>
                <a:tc>
                  <a:txBody>
                    <a:bodyPr/>
                    <a:lstStyle/>
                    <a:p>
                      <a:pPr algn="ctr">
                        <a:spcAft>
                          <a:spcPts val="0"/>
                        </a:spcAft>
                      </a:pPr>
                      <a:r>
                        <a:rPr lang="en-US" sz="1400" dirty="0">
                          <a:solidFill>
                            <a:srgbClr val="FFFFFF"/>
                          </a:solidFill>
                          <a:effectLst/>
                          <a:latin typeface="Arial"/>
                          <a:ea typeface="ＭＳ 明朝"/>
                          <a:cs typeface="Times New Roman"/>
                        </a:rPr>
                        <a:t>6-monthly</a:t>
                      </a:r>
                      <a:endParaRPr lang="en-US" sz="1400" dirty="0">
                        <a:solidFill>
                          <a:srgbClr val="FFFFFF"/>
                        </a:solidFill>
                        <a:effectLst/>
                        <a:latin typeface="Cambria"/>
                        <a:ea typeface="ＭＳ 明朝"/>
                        <a:cs typeface="Times New Roman"/>
                      </a:endParaRPr>
                    </a:p>
                  </a:txBody>
                  <a:tcPr marL="68580" marR="68580" marT="0" marB="0" anchor="ctr">
                    <a:lnL w="57150" cap="flat" cmpd="sng" algn="ctr">
                      <a:solidFill>
                        <a:srgbClr val="FFFFFF"/>
                      </a:solidFill>
                      <a:prstDash val="solid"/>
                      <a:round/>
                      <a:headEnd type="none" w="med" len="med"/>
                      <a:tailEnd type="none" w="med" len="med"/>
                    </a:lnL>
                    <a:noFill/>
                  </a:tcPr>
                </a:tc>
              </a:tr>
              <a:tr h="25400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solidFill>
                            <a:srgbClr val="FFFFFF"/>
                          </a:solidFill>
                          <a:effectLst/>
                          <a:latin typeface="Arial"/>
                          <a:ea typeface="Times New Roman"/>
                          <a:cs typeface="Arial"/>
                        </a:rPr>
                        <a:t>Colombia</a:t>
                      </a:r>
                      <a:endParaRPr lang="en-US" sz="1400" dirty="0">
                        <a:solidFill>
                          <a:srgbClr val="FFFFFF"/>
                        </a:solidFill>
                        <a:effectLst/>
                        <a:latin typeface="Arial"/>
                        <a:ea typeface="ＭＳ 明朝"/>
                        <a:cs typeface="Arial"/>
                      </a:endParaRPr>
                    </a:p>
                  </a:txBody>
                  <a:tcPr marL="68580" marR="68580" marT="0" marB="0" anchor="c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FFFFFF"/>
                          </a:solidFill>
                          <a:effectLst/>
                          <a:latin typeface="Menlo Bold"/>
                          <a:ea typeface="ＭＳ 明朝"/>
                          <a:cs typeface="Times New Roman"/>
                        </a:rPr>
                        <a:t>✔</a:t>
                      </a:r>
                      <a:endParaRPr lang="en-US" sz="2000" b="1" dirty="0" smtClean="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FFFFFF"/>
                          </a:solidFill>
                          <a:effectLst/>
                          <a:latin typeface="Menlo Bold"/>
                          <a:ea typeface="ＭＳ 明朝"/>
                          <a:cs typeface="Times New Roman"/>
                        </a:rPr>
                        <a:t>✔</a:t>
                      </a:r>
                      <a:endParaRPr lang="en-US" sz="2000" b="1" dirty="0" smtClean="0">
                        <a:solidFill>
                          <a:srgbClr val="FFFFFF"/>
                        </a:solidFill>
                        <a:effectLst/>
                        <a:latin typeface="Cambria"/>
                        <a:ea typeface="ＭＳ 明朝"/>
                        <a:cs typeface="Times New Roman"/>
                      </a:endParaRPr>
                    </a:p>
                  </a:txBody>
                  <a:tcPr marL="68580" marR="68580" marT="0" marB="0" anchor="c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2000" b="1" dirty="0" smtClean="0">
                        <a:solidFill>
                          <a:srgbClr val="FFFFFF"/>
                        </a:solidFill>
                        <a:effectLst/>
                        <a:latin typeface="Cambria"/>
                        <a:ea typeface="ＭＳ 明朝"/>
                        <a:cs typeface="Times New Roman"/>
                      </a:endParaRPr>
                    </a:p>
                  </a:txBody>
                  <a:tcPr marL="68580" marR="68580" marT="0" marB="0" anchor="c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FFFFFF"/>
                          </a:solidFill>
                          <a:effectLst/>
                          <a:latin typeface="Menlo Bold"/>
                          <a:ea typeface="ＭＳ 明朝"/>
                          <a:cs typeface="Times New Roman"/>
                        </a:rPr>
                        <a:t>✔</a:t>
                      </a:r>
                      <a:endParaRPr lang="en-US" sz="2000" b="1" dirty="0" smtClean="0">
                        <a:solidFill>
                          <a:srgbClr val="FFFFFF"/>
                        </a:solidFill>
                        <a:effectLst/>
                        <a:latin typeface="Cambria"/>
                        <a:ea typeface="ＭＳ 明朝"/>
                        <a:cs typeface="Times New Roman"/>
                      </a:endParaRPr>
                    </a:p>
                  </a:txBody>
                  <a:tcPr marL="68580" marR="68580" marT="0" marB="0" anchor="c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FFFFFF"/>
                          </a:solidFill>
                          <a:effectLst/>
                          <a:latin typeface="Menlo Bold"/>
                          <a:ea typeface="ＭＳ 明朝"/>
                          <a:cs typeface="Times New Roman"/>
                        </a:rPr>
                        <a:t>✔</a:t>
                      </a:r>
                      <a:endParaRPr lang="en-US" sz="2000" b="1" dirty="0" smtClean="0">
                        <a:solidFill>
                          <a:srgbClr val="FFFFFF"/>
                        </a:solidFill>
                        <a:effectLst/>
                        <a:latin typeface="Cambria"/>
                        <a:ea typeface="ＭＳ 明朝"/>
                        <a:cs typeface="Times New Roman"/>
                      </a:endParaRPr>
                    </a:p>
                  </a:txBody>
                  <a:tcPr marL="68580" marR="68580" marT="0" marB="0" anchor="c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FFFFFF"/>
                          </a:solidFill>
                          <a:effectLst/>
                          <a:latin typeface="Menlo Bold"/>
                          <a:ea typeface="ＭＳ 明朝"/>
                          <a:cs typeface="Times New Roman"/>
                        </a:rPr>
                        <a:t>✔</a:t>
                      </a:r>
                      <a:endParaRPr lang="en-US" sz="2000" b="1" dirty="0" smtClean="0">
                        <a:solidFill>
                          <a:srgbClr val="FFFFFF"/>
                        </a:solidFill>
                        <a:effectLst/>
                        <a:latin typeface="Cambria"/>
                        <a:ea typeface="ＭＳ 明朝"/>
                        <a:cs typeface="Times New Roman"/>
                      </a:endParaRPr>
                    </a:p>
                  </a:txBody>
                  <a:tcPr marL="68580" marR="68580" marT="0" marB="0" anchor="ctr">
                    <a:lnR w="57150" cap="flat" cmpd="sng" algn="ctr">
                      <a:solidFill>
                        <a:srgbClr val="FFFFFF"/>
                      </a:solidFill>
                      <a:prstDash val="solid"/>
                      <a:round/>
                      <a:headEnd type="none" w="med" len="med"/>
                      <a:tailEnd type="none" w="med" len="med"/>
                    </a:ln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smtClean="0">
                          <a:solidFill>
                            <a:srgbClr val="FFFFFF"/>
                          </a:solidFill>
                          <a:effectLst/>
                          <a:latin typeface="Arial"/>
                          <a:ea typeface="ＭＳ 明朝"/>
                          <a:cs typeface="Times New Roman"/>
                        </a:rPr>
                        <a:t>3-6</a:t>
                      </a:r>
                      <a:r>
                        <a:rPr lang="en-US" sz="1400" baseline="0" dirty="0" smtClean="0">
                          <a:solidFill>
                            <a:srgbClr val="FFFFFF"/>
                          </a:solidFill>
                          <a:effectLst/>
                          <a:latin typeface="Arial"/>
                          <a:ea typeface="ＭＳ 明朝"/>
                          <a:cs typeface="Times New Roman"/>
                        </a:rPr>
                        <a:t> </a:t>
                      </a:r>
                      <a:r>
                        <a:rPr lang="en-US" sz="1400" dirty="0" smtClean="0">
                          <a:solidFill>
                            <a:srgbClr val="FFFFFF"/>
                          </a:solidFill>
                          <a:effectLst/>
                          <a:latin typeface="Arial"/>
                          <a:ea typeface="ＭＳ 明朝"/>
                          <a:cs typeface="Times New Roman"/>
                        </a:rPr>
                        <a:t>months</a:t>
                      </a:r>
                      <a:endParaRPr lang="en-US" sz="1400" dirty="0" smtClean="0">
                        <a:solidFill>
                          <a:srgbClr val="FFFFFF"/>
                        </a:solidFill>
                        <a:effectLst/>
                        <a:latin typeface="Cambria"/>
                        <a:ea typeface="ＭＳ 明朝"/>
                        <a:cs typeface="Times New Roman"/>
                      </a:endParaRPr>
                    </a:p>
                  </a:txBody>
                  <a:tcPr marL="68580" marR="68580" marT="0" marB="0" anchor="ctr">
                    <a:lnL w="57150" cap="flat" cmpd="sng" algn="ctr">
                      <a:solidFill>
                        <a:srgbClr val="FFFFFF"/>
                      </a:solidFill>
                      <a:prstDash val="solid"/>
                      <a:round/>
                      <a:headEnd type="none" w="med" len="med"/>
                      <a:tailEnd type="none" w="med" len="med"/>
                    </a:lnL>
                    <a:noFill/>
                  </a:tcPr>
                </a:tc>
              </a:tr>
              <a:tr h="28786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solidFill>
                            <a:srgbClr val="FFFFFF"/>
                          </a:solidFill>
                          <a:effectLst/>
                          <a:latin typeface="Arial"/>
                          <a:ea typeface="ＭＳ 明朝"/>
                          <a:cs typeface="Arial"/>
                        </a:rPr>
                        <a:t>Argentina</a:t>
                      </a:r>
                      <a:endParaRPr lang="en-US" sz="1400" dirty="0">
                        <a:solidFill>
                          <a:srgbClr val="FFFFFF"/>
                        </a:solidFill>
                        <a:effectLst/>
                        <a:latin typeface="Arial"/>
                        <a:ea typeface="ＭＳ 明朝"/>
                        <a:cs typeface="Arial"/>
                      </a:endParaRPr>
                    </a:p>
                  </a:txBody>
                  <a:tcPr marL="68580" marR="68580" marT="0" marB="0" anchor="c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FFFFFF"/>
                          </a:solidFill>
                          <a:effectLst/>
                          <a:latin typeface="Menlo Bold"/>
                          <a:ea typeface="ＭＳ 明朝"/>
                          <a:cs typeface="Times New Roman"/>
                        </a:rPr>
                        <a:t>✔</a:t>
                      </a:r>
                      <a:endParaRPr lang="en-US" sz="2000" b="1" dirty="0" smtClean="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FFFFFF"/>
                          </a:solidFill>
                          <a:effectLst/>
                          <a:latin typeface="Menlo Bold"/>
                          <a:ea typeface="ＭＳ 明朝"/>
                          <a:cs typeface="Times New Roman"/>
                        </a:rPr>
                        <a:t>✔</a:t>
                      </a:r>
                      <a:endParaRPr lang="en-US" sz="2000" b="1" dirty="0" smtClean="0">
                        <a:solidFill>
                          <a:srgbClr val="FFFFFF"/>
                        </a:solidFill>
                        <a:effectLst/>
                        <a:latin typeface="Cambria"/>
                        <a:ea typeface="ＭＳ 明朝"/>
                        <a:cs typeface="Times New Roman"/>
                      </a:endParaRPr>
                    </a:p>
                  </a:txBody>
                  <a:tcPr marL="68580" marR="68580" marT="0" marB="0" anchor="c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2000" b="1" dirty="0" smtClean="0">
                        <a:solidFill>
                          <a:srgbClr val="FFFFFF"/>
                        </a:solidFill>
                        <a:effectLst/>
                        <a:latin typeface="Cambria"/>
                        <a:ea typeface="ＭＳ 明朝"/>
                        <a:cs typeface="Times New Roman"/>
                      </a:endParaRPr>
                    </a:p>
                  </a:txBody>
                  <a:tcPr marL="68580" marR="68580" marT="0" marB="0" anchor="c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FFFFFF"/>
                          </a:solidFill>
                          <a:effectLst/>
                          <a:latin typeface="Menlo Bold"/>
                          <a:ea typeface="ＭＳ 明朝"/>
                          <a:cs typeface="Times New Roman"/>
                        </a:rPr>
                        <a:t>✔</a:t>
                      </a:r>
                      <a:endParaRPr lang="en-US" sz="2000" b="1" dirty="0" smtClean="0">
                        <a:solidFill>
                          <a:srgbClr val="FFFFFF"/>
                        </a:solidFill>
                        <a:effectLst/>
                        <a:latin typeface="Cambria"/>
                        <a:ea typeface="ＭＳ 明朝"/>
                        <a:cs typeface="Times New Roman"/>
                      </a:endParaRPr>
                    </a:p>
                  </a:txBody>
                  <a:tcPr marL="68580" marR="68580" marT="0" marB="0" anchor="c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FFFFFF"/>
                          </a:solidFill>
                          <a:effectLst/>
                          <a:latin typeface="Menlo Bold"/>
                          <a:ea typeface="ＭＳ 明朝"/>
                          <a:cs typeface="Times New Roman"/>
                        </a:rPr>
                        <a:t>✔</a:t>
                      </a:r>
                      <a:endParaRPr lang="en-US" sz="2000" b="1" dirty="0" smtClean="0">
                        <a:solidFill>
                          <a:srgbClr val="FFFFFF"/>
                        </a:solidFill>
                        <a:effectLst/>
                        <a:latin typeface="Cambria"/>
                        <a:ea typeface="ＭＳ 明朝"/>
                        <a:cs typeface="Times New Roman"/>
                      </a:endParaRPr>
                    </a:p>
                  </a:txBody>
                  <a:tcPr marL="68580" marR="68580" marT="0" marB="0" anchor="c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FFFFFF"/>
                          </a:solidFill>
                          <a:effectLst/>
                          <a:latin typeface="Menlo Bold"/>
                          <a:ea typeface="ＭＳ 明朝"/>
                          <a:cs typeface="Times New Roman"/>
                        </a:rPr>
                        <a:t>✔</a:t>
                      </a:r>
                      <a:endParaRPr lang="en-US" sz="2000" b="1" dirty="0" smtClean="0">
                        <a:solidFill>
                          <a:srgbClr val="FFFFFF"/>
                        </a:solidFill>
                        <a:effectLst/>
                        <a:latin typeface="Cambria"/>
                        <a:ea typeface="ＭＳ 明朝"/>
                        <a:cs typeface="Times New Roman"/>
                      </a:endParaRPr>
                    </a:p>
                  </a:txBody>
                  <a:tcPr marL="68580" marR="68580" marT="0" marB="0" anchor="ctr">
                    <a:lnR w="57150" cap="flat" cmpd="sng" algn="ctr">
                      <a:solidFill>
                        <a:srgbClr val="FFFFFF"/>
                      </a:solidFill>
                      <a:prstDash val="solid"/>
                      <a:round/>
                      <a:headEnd type="none" w="med" len="med"/>
                      <a:tailEnd type="none" w="med" len="med"/>
                    </a:ln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smtClean="0">
                          <a:solidFill>
                            <a:srgbClr val="FFFFFF"/>
                          </a:solidFill>
                          <a:effectLst/>
                          <a:latin typeface="Arial"/>
                          <a:ea typeface="ＭＳ 明朝"/>
                          <a:cs typeface="Times New Roman"/>
                        </a:rPr>
                        <a:t>4-6</a:t>
                      </a:r>
                      <a:r>
                        <a:rPr lang="en-US" sz="1400" baseline="0" dirty="0" smtClean="0">
                          <a:solidFill>
                            <a:srgbClr val="FFFFFF"/>
                          </a:solidFill>
                          <a:effectLst/>
                          <a:latin typeface="Arial"/>
                          <a:ea typeface="ＭＳ 明朝"/>
                          <a:cs typeface="Times New Roman"/>
                        </a:rPr>
                        <a:t> </a:t>
                      </a:r>
                      <a:r>
                        <a:rPr lang="en-US" sz="1400" dirty="0" smtClean="0">
                          <a:solidFill>
                            <a:srgbClr val="FFFFFF"/>
                          </a:solidFill>
                          <a:effectLst/>
                          <a:latin typeface="Arial"/>
                          <a:ea typeface="ＭＳ 明朝"/>
                          <a:cs typeface="Times New Roman"/>
                        </a:rPr>
                        <a:t>months</a:t>
                      </a:r>
                      <a:endParaRPr lang="en-US" sz="1400" dirty="0" smtClean="0">
                        <a:solidFill>
                          <a:srgbClr val="FFFFFF"/>
                        </a:solidFill>
                        <a:effectLst/>
                        <a:latin typeface="Cambria"/>
                        <a:ea typeface="ＭＳ 明朝"/>
                        <a:cs typeface="Times New Roman"/>
                      </a:endParaRPr>
                    </a:p>
                  </a:txBody>
                  <a:tcPr marL="68580" marR="68580" marT="0" marB="0" anchor="ctr">
                    <a:lnL w="57150" cap="flat" cmpd="sng" algn="ctr">
                      <a:solidFill>
                        <a:srgbClr val="FFFFFF"/>
                      </a:solidFill>
                      <a:prstDash val="solid"/>
                      <a:round/>
                      <a:headEnd type="none" w="med" len="med"/>
                      <a:tailEnd type="none" w="med" len="med"/>
                    </a:lnL>
                    <a:noFill/>
                  </a:tcPr>
                </a:tc>
              </a:tr>
              <a:tr h="22013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solidFill>
                            <a:srgbClr val="FFFFFF"/>
                          </a:solidFill>
                          <a:effectLst/>
                          <a:latin typeface="Arial"/>
                          <a:ea typeface="ＭＳ 明朝"/>
                          <a:cs typeface="Arial"/>
                        </a:rPr>
                        <a:t>Ukraine</a:t>
                      </a:r>
                      <a:endParaRPr lang="en-US" sz="1400" dirty="0">
                        <a:solidFill>
                          <a:srgbClr val="FFFFFF"/>
                        </a:solidFill>
                        <a:effectLst/>
                        <a:latin typeface="Arial"/>
                        <a:ea typeface="ＭＳ 明朝"/>
                        <a:cs typeface="Arial"/>
                      </a:endParaRPr>
                    </a:p>
                  </a:txBody>
                  <a:tcPr marL="68580" marR="68580" marT="0" marB="0" anchor="ctr">
                    <a:noFill/>
                  </a:tcPr>
                </a:tc>
                <a:tc>
                  <a:txBody>
                    <a:bodyPr/>
                    <a:lstStyle/>
                    <a:p>
                      <a:pPr algn="ctr"/>
                      <a:endParaRPr lang="en-US" sz="2000" b="1">
                        <a:solidFill>
                          <a:srgbClr val="FFFFFF"/>
                        </a:solidFill>
                        <a:effectLst/>
                        <a:latin typeface="Cambria"/>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FFFFFF"/>
                          </a:solidFill>
                          <a:effectLst/>
                          <a:latin typeface="Menlo Bold"/>
                          <a:ea typeface="ＭＳ 明朝"/>
                          <a:cs typeface="Times New Roman"/>
                        </a:rPr>
                        <a:t>✔</a:t>
                      </a:r>
                      <a:endParaRPr lang="en-US" sz="2000" b="1" dirty="0" smtClean="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lnR w="57150" cap="flat" cmpd="sng" algn="ctr">
                      <a:solidFill>
                        <a:srgbClr val="FFFFFF"/>
                      </a:solidFill>
                      <a:prstDash val="solid"/>
                      <a:round/>
                      <a:headEnd type="none" w="med" len="med"/>
                      <a:tailEnd type="none" w="med" len="med"/>
                    </a:lnR>
                    <a:noFill/>
                  </a:tcPr>
                </a:tc>
                <a:tc>
                  <a:txBody>
                    <a:bodyPr/>
                    <a:lstStyle/>
                    <a:p>
                      <a:pPr algn="ctr">
                        <a:spcAft>
                          <a:spcPts val="0"/>
                        </a:spcAft>
                      </a:pPr>
                      <a:r>
                        <a:rPr lang="en-US" sz="1400" dirty="0">
                          <a:solidFill>
                            <a:srgbClr val="FFFFFF"/>
                          </a:solidFill>
                          <a:effectLst/>
                          <a:latin typeface="Arial"/>
                          <a:ea typeface="ＭＳ 明朝"/>
                          <a:cs typeface="Times New Roman"/>
                        </a:rPr>
                        <a:t>6-monthly</a:t>
                      </a:r>
                      <a:endParaRPr lang="en-US" sz="1400" dirty="0">
                        <a:solidFill>
                          <a:srgbClr val="FFFFFF"/>
                        </a:solidFill>
                        <a:effectLst/>
                        <a:latin typeface="Cambria"/>
                        <a:ea typeface="ＭＳ 明朝"/>
                        <a:cs typeface="Times New Roman"/>
                      </a:endParaRPr>
                    </a:p>
                  </a:txBody>
                  <a:tcPr marL="68580" marR="68580" marT="0" marB="0" anchor="ctr">
                    <a:lnL w="57150" cap="flat" cmpd="sng" algn="ctr">
                      <a:solidFill>
                        <a:srgbClr val="FFFFFF"/>
                      </a:solidFill>
                      <a:prstDash val="solid"/>
                      <a:round/>
                      <a:headEnd type="none" w="med" len="med"/>
                      <a:tailEnd type="none" w="med" len="med"/>
                    </a:lnL>
                    <a:noFill/>
                  </a:tcPr>
                </a:tc>
              </a:tr>
              <a:tr h="20320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a:solidFill>
                            <a:srgbClr val="FFFFFF"/>
                          </a:solidFill>
                          <a:effectLst/>
                          <a:latin typeface="Arial"/>
                          <a:ea typeface="Times New Roman"/>
                          <a:cs typeface="Arial"/>
                        </a:rPr>
                        <a:t>Botswana</a:t>
                      </a:r>
                      <a:r>
                        <a:rPr lang="en-US" sz="1400" dirty="0" smtClean="0">
                          <a:solidFill>
                            <a:srgbClr val="FFFFFF"/>
                          </a:solidFill>
                          <a:effectLst/>
                          <a:latin typeface="Arial"/>
                          <a:ea typeface="Times New Roman"/>
                          <a:cs typeface="Arial"/>
                        </a:rPr>
                        <a:t>,</a:t>
                      </a:r>
                      <a:r>
                        <a:rPr lang="en-US" sz="1400" kern="1200" dirty="0" smtClean="0">
                          <a:solidFill>
                            <a:srgbClr val="FFFFFF"/>
                          </a:solidFill>
                          <a:effectLst/>
                          <a:latin typeface="Arial"/>
                          <a:ea typeface="+mn-ea"/>
                          <a:cs typeface="Arial"/>
                        </a:rPr>
                        <a:t> </a:t>
                      </a:r>
                      <a:r>
                        <a:rPr lang="en-US" sz="1400" dirty="0" smtClean="0">
                          <a:solidFill>
                            <a:srgbClr val="FFFFFF"/>
                          </a:solidFill>
                          <a:effectLst/>
                          <a:latin typeface="Arial"/>
                          <a:ea typeface="ＭＳ 明朝"/>
                          <a:cs typeface="Arial"/>
                        </a:rPr>
                        <a:t>Brazil, Chile, </a:t>
                      </a:r>
                      <a:r>
                        <a:rPr lang="en-US" sz="1400" kern="1200" dirty="0" smtClean="0">
                          <a:solidFill>
                            <a:srgbClr val="FFFFFF"/>
                          </a:solidFill>
                          <a:effectLst/>
                          <a:latin typeface="Arial"/>
                          <a:ea typeface="+mn-ea"/>
                          <a:cs typeface="Arial"/>
                        </a:rPr>
                        <a:t>Mexico, </a:t>
                      </a:r>
                      <a:r>
                        <a:rPr lang="en-US" sz="1400" dirty="0" smtClean="0">
                          <a:solidFill>
                            <a:srgbClr val="FFFFFF"/>
                          </a:solidFill>
                          <a:effectLst/>
                          <a:latin typeface="Arial"/>
                          <a:ea typeface="ＭＳ 明朝"/>
                          <a:cs typeface="Arial"/>
                        </a:rPr>
                        <a:t>Pakistan, </a:t>
                      </a:r>
                      <a:r>
                        <a:rPr lang="en-US" sz="1400" dirty="0" smtClean="0">
                          <a:solidFill>
                            <a:srgbClr val="FFFFFF"/>
                          </a:solidFill>
                          <a:effectLst/>
                          <a:latin typeface="Arial"/>
                          <a:ea typeface="Times New Roman"/>
                          <a:cs typeface="Arial"/>
                        </a:rPr>
                        <a:t>Peru, </a:t>
                      </a:r>
                      <a:r>
                        <a:rPr lang="en-US" sz="1400" dirty="0" smtClean="0">
                          <a:solidFill>
                            <a:srgbClr val="FFFFFF"/>
                          </a:solidFill>
                          <a:effectLst/>
                          <a:latin typeface="Arial"/>
                          <a:ea typeface="ＭＳ 明朝"/>
                          <a:cs typeface="Arial"/>
                        </a:rPr>
                        <a:t>Sierra Leone</a:t>
                      </a:r>
                    </a:p>
                  </a:txBody>
                  <a:tcPr marL="68580" marR="68580" marT="0" marB="0" anchor="ctr">
                    <a:noFill/>
                  </a:tcPr>
                </a:tc>
                <a:tc>
                  <a:txBody>
                    <a:bodyPr/>
                    <a:lstStyle/>
                    <a:p>
                      <a:pPr algn="ctr"/>
                      <a:endParaRPr lang="en-US" sz="2000" b="1" dirty="0">
                        <a:solidFill>
                          <a:srgbClr val="FFFFFF"/>
                        </a:solidFill>
                        <a:effectLst/>
                        <a:latin typeface="Cambria"/>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lnR w="57150" cap="flat" cmpd="sng" algn="ctr">
                      <a:solidFill>
                        <a:srgbClr val="FFFFFF"/>
                      </a:solidFill>
                      <a:prstDash val="solid"/>
                      <a:round/>
                      <a:headEnd type="none" w="med" len="med"/>
                      <a:tailEnd type="none" w="med" len="med"/>
                    </a:lnR>
                    <a:noFill/>
                  </a:tcPr>
                </a:tc>
                <a:tc>
                  <a:txBody>
                    <a:bodyPr/>
                    <a:lstStyle/>
                    <a:p>
                      <a:pPr algn="ctr">
                        <a:spcAft>
                          <a:spcPts val="0"/>
                        </a:spcAft>
                      </a:pPr>
                      <a:r>
                        <a:rPr lang="en-US" sz="1400" dirty="0">
                          <a:solidFill>
                            <a:srgbClr val="FFFFFF"/>
                          </a:solidFill>
                          <a:effectLst/>
                          <a:latin typeface="Arial"/>
                          <a:ea typeface="ＭＳ 明朝"/>
                          <a:cs typeface="Times New Roman"/>
                        </a:rPr>
                        <a:t>6-monthly</a:t>
                      </a:r>
                      <a:endParaRPr lang="en-US" sz="1400" dirty="0">
                        <a:solidFill>
                          <a:srgbClr val="FFFFFF"/>
                        </a:solidFill>
                        <a:effectLst/>
                        <a:latin typeface="Cambria"/>
                        <a:ea typeface="ＭＳ 明朝"/>
                        <a:cs typeface="Times New Roman"/>
                      </a:endParaRPr>
                    </a:p>
                  </a:txBody>
                  <a:tcPr marL="68580" marR="68580" marT="0" marB="0" anchor="ctr">
                    <a:lnL w="57150" cap="flat" cmpd="sng" algn="ctr">
                      <a:solidFill>
                        <a:srgbClr val="FFFFFF"/>
                      </a:solidFill>
                      <a:prstDash val="solid"/>
                      <a:round/>
                      <a:headEnd type="none" w="med" len="med"/>
                      <a:tailEnd type="none" w="med" len="med"/>
                    </a:lnL>
                    <a:noFill/>
                  </a:tcPr>
                </a:tc>
              </a:tr>
              <a:tr h="233680">
                <a:tc>
                  <a:txBody>
                    <a:bodyPr/>
                    <a:lstStyle/>
                    <a:p>
                      <a:pPr>
                        <a:spcAft>
                          <a:spcPts val="0"/>
                        </a:spcAft>
                      </a:pPr>
                      <a:r>
                        <a:rPr lang="en-US" sz="1400" kern="1200" dirty="0" smtClean="0">
                          <a:solidFill>
                            <a:srgbClr val="FFFFFF"/>
                          </a:solidFill>
                          <a:effectLst/>
                          <a:latin typeface="Arial"/>
                          <a:ea typeface="+mn-ea"/>
                          <a:cs typeface="Arial"/>
                        </a:rPr>
                        <a:t>Thailand</a:t>
                      </a:r>
                      <a:endParaRPr lang="en-US" sz="1400" dirty="0">
                        <a:solidFill>
                          <a:srgbClr val="FFFFFF"/>
                        </a:solidFill>
                        <a:effectLst/>
                        <a:latin typeface="Arial"/>
                        <a:ea typeface="ＭＳ 明朝"/>
                        <a:cs typeface="Arial"/>
                      </a:endParaRPr>
                    </a:p>
                  </a:txBody>
                  <a:tcPr marL="68580" marR="68580" marT="0" marB="0" anchor="ctr">
                    <a:noFill/>
                  </a:tcPr>
                </a:tc>
                <a:tc>
                  <a:txBody>
                    <a:bodyPr/>
                    <a:lstStyle/>
                    <a:p>
                      <a:pPr algn="ctr"/>
                      <a:endParaRPr lang="en-US" sz="2000" b="1">
                        <a:solidFill>
                          <a:srgbClr val="FFFFFF"/>
                        </a:solidFill>
                        <a:effectLst/>
                        <a:latin typeface="Cambria"/>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r>
                        <a:rPr lang="en-US" sz="2000" b="1" dirty="0" smtClean="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endParaRPr lang="en-US" sz="2000" b="1" dirty="0">
                        <a:solidFill>
                          <a:srgbClr val="FFFFFF"/>
                        </a:solidFill>
                        <a:effectLst/>
                        <a:latin typeface="Cambria"/>
                        <a:ea typeface="ＭＳ 明朝"/>
                        <a:cs typeface="Times New Roman"/>
                      </a:endParaRPr>
                    </a:p>
                  </a:txBody>
                  <a:tcPr marL="68580" marR="68580" marT="0" marB="0" anchor="ctr">
                    <a:lnR w="57150" cap="flat" cmpd="sng" algn="ctr">
                      <a:solidFill>
                        <a:srgbClr val="FFFFFF"/>
                      </a:solidFill>
                      <a:prstDash val="solid"/>
                      <a:round/>
                      <a:headEnd type="none" w="med" len="med"/>
                      <a:tailEnd type="none" w="med" len="med"/>
                    </a:lnR>
                    <a:noFill/>
                  </a:tcPr>
                </a:tc>
                <a:tc>
                  <a:txBody>
                    <a:bodyPr/>
                    <a:lstStyle/>
                    <a:p>
                      <a:pPr algn="ctr">
                        <a:spcAft>
                          <a:spcPts val="0"/>
                        </a:spcAft>
                      </a:pPr>
                      <a:r>
                        <a:rPr lang="en-US" sz="1400" dirty="0" smtClean="0">
                          <a:solidFill>
                            <a:srgbClr val="FFFFFF"/>
                          </a:solidFill>
                          <a:effectLst/>
                          <a:latin typeface="Arial"/>
                          <a:ea typeface="ＭＳ 明朝"/>
                          <a:cs typeface="Times New Roman"/>
                        </a:rPr>
                        <a:t>Yearly</a:t>
                      </a:r>
                      <a:endParaRPr lang="en-US" sz="1400" dirty="0">
                        <a:solidFill>
                          <a:srgbClr val="FFFFFF"/>
                        </a:solidFill>
                        <a:effectLst/>
                        <a:latin typeface="Cambria"/>
                        <a:ea typeface="ＭＳ 明朝"/>
                        <a:cs typeface="Times New Roman"/>
                      </a:endParaRPr>
                    </a:p>
                  </a:txBody>
                  <a:tcPr marL="68580" marR="68580" marT="0" marB="0" anchor="ctr">
                    <a:lnL w="57150" cap="flat" cmpd="sng" algn="ctr">
                      <a:solidFill>
                        <a:srgbClr val="FFFFFF"/>
                      </a:solidFill>
                      <a:prstDash val="solid"/>
                      <a:round/>
                      <a:headEnd type="none" w="med" len="med"/>
                      <a:tailEnd type="none" w="med" len="med"/>
                    </a:lnL>
                    <a:noFill/>
                  </a:tcPr>
                </a:tc>
              </a:tr>
              <a:tr h="199474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kern="1200" dirty="0" smtClean="0">
                          <a:solidFill>
                            <a:srgbClr val="FFFFFF"/>
                          </a:solidFill>
                          <a:effectLst/>
                          <a:latin typeface="Arial"/>
                          <a:ea typeface="+mn-ea"/>
                          <a:cs typeface="Arial"/>
                        </a:rPr>
                        <a:t>Benin, Burkina Faso, Burundi, Cambodia,</a:t>
                      </a:r>
                      <a:r>
                        <a:rPr lang="en-US" sz="1400" kern="1200" baseline="0" dirty="0" smtClean="0">
                          <a:solidFill>
                            <a:srgbClr val="FFFFFF"/>
                          </a:solidFill>
                          <a:effectLst/>
                          <a:latin typeface="Arial"/>
                          <a:ea typeface="+mn-ea"/>
                          <a:cs typeface="Arial"/>
                        </a:rPr>
                        <a:t> </a:t>
                      </a:r>
                      <a:r>
                        <a:rPr lang="en-US" sz="1400" kern="1200" dirty="0" smtClean="0">
                          <a:solidFill>
                            <a:srgbClr val="FFFFFF"/>
                          </a:solidFill>
                          <a:effectLst/>
                          <a:latin typeface="Arial"/>
                          <a:ea typeface="+mn-ea"/>
                          <a:cs typeface="Arial"/>
                        </a:rPr>
                        <a:t>Cameroon, China, Cote d’Ivoire, Democratic Republic of Congo, Ethiopia, Ghana, Haiti, Indonesia, Kenya, Lesotho, Madagascar, Mozambique, Namibia, Nepal, Nigeria, Papua New Guinea, Rwanda, South Africa, Sudan, Swaziland, Tanzania, Uganda, Zambia, Zimbabwe</a:t>
                      </a:r>
                    </a:p>
                  </a:txBody>
                  <a:tcPr marL="68580" marR="68580" marT="0" marB="0" anchor="ctr">
                    <a:noFill/>
                  </a:tcPr>
                </a:tc>
                <a:tc>
                  <a:txBody>
                    <a:bodyPr/>
                    <a:lstStyle/>
                    <a:p>
                      <a:pPr algn="ctr"/>
                      <a:endParaRPr lang="en-US" sz="2000" b="1" dirty="0">
                        <a:solidFill>
                          <a:srgbClr val="FFFFFF"/>
                        </a:solidFill>
                        <a:effectLst/>
                        <a:latin typeface="Cambria"/>
                      </a:endParaRPr>
                    </a:p>
                  </a:txBody>
                  <a:tcPr marL="68580" marR="68580" marT="0" marB="0" anchor="ctr">
                    <a:noFill/>
                  </a:tcPr>
                </a:tc>
                <a:tc>
                  <a:txBody>
                    <a:bodyPr/>
                    <a:lstStyle/>
                    <a:p>
                      <a:pPr algn="ctr"/>
                      <a:endParaRPr lang="en-US" sz="2000" b="1">
                        <a:solidFill>
                          <a:srgbClr val="FFFFFF"/>
                        </a:solidFill>
                        <a:effectLst/>
                        <a:latin typeface="Cambria"/>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noFill/>
                  </a:tcPr>
                </a:tc>
                <a:tc>
                  <a:txBody>
                    <a:bodyPr/>
                    <a:lstStyle/>
                    <a:p>
                      <a:pPr algn="ctr"/>
                      <a:endParaRPr lang="en-US" sz="2000" b="1" dirty="0">
                        <a:solidFill>
                          <a:srgbClr val="FFFFFF"/>
                        </a:solidFill>
                        <a:effectLst/>
                        <a:latin typeface="Cambria"/>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lnR w="57150" cap="flat" cmpd="sng" algn="ctr">
                      <a:solidFill>
                        <a:srgbClr val="FFFFFF"/>
                      </a:solidFill>
                      <a:prstDash val="solid"/>
                      <a:round/>
                      <a:headEnd type="none" w="med" len="med"/>
                      <a:tailEnd type="none" w="med" len="med"/>
                    </a:lnR>
                    <a:noFill/>
                  </a:tcPr>
                </a:tc>
                <a:tc>
                  <a:txBody>
                    <a:bodyPr/>
                    <a:lstStyle/>
                    <a:p>
                      <a:pPr algn="ctr">
                        <a:spcAft>
                          <a:spcPts val="0"/>
                        </a:spcAft>
                      </a:pPr>
                      <a:r>
                        <a:rPr lang="en-US" sz="1400" dirty="0">
                          <a:solidFill>
                            <a:srgbClr val="FFFFFF"/>
                          </a:solidFill>
                          <a:effectLst/>
                          <a:latin typeface="Arial"/>
                          <a:ea typeface="ＭＳ 明朝"/>
                          <a:cs typeface="Times New Roman"/>
                        </a:rPr>
                        <a:t>Yearly</a:t>
                      </a:r>
                      <a:endParaRPr lang="en-US" sz="1400" dirty="0">
                        <a:solidFill>
                          <a:srgbClr val="FFFFFF"/>
                        </a:solidFill>
                        <a:effectLst/>
                        <a:latin typeface="Cambria"/>
                        <a:ea typeface="ＭＳ 明朝"/>
                        <a:cs typeface="Times New Roman"/>
                      </a:endParaRPr>
                    </a:p>
                  </a:txBody>
                  <a:tcPr marL="68580" marR="68580" marT="0" marB="0" anchor="ctr">
                    <a:lnL w="57150" cap="flat" cmpd="sng" algn="ctr">
                      <a:solidFill>
                        <a:srgbClr val="FFFFFF"/>
                      </a:solidFill>
                      <a:prstDash val="solid"/>
                      <a:round/>
                      <a:headEnd type="none" w="med" len="med"/>
                      <a:tailEnd type="none" w="med" len="med"/>
                    </a:lnL>
                    <a:noFill/>
                  </a:tcPr>
                </a:tc>
              </a:tr>
              <a:tr h="287867">
                <a:tc>
                  <a:txBody>
                    <a:bodyPr/>
                    <a:lstStyle/>
                    <a:p>
                      <a:pPr>
                        <a:spcAft>
                          <a:spcPts val="0"/>
                        </a:spcAft>
                      </a:pPr>
                      <a:r>
                        <a:rPr lang="en-US" sz="1400" dirty="0" smtClean="0">
                          <a:solidFill>
                            <a:srgbClr val="FFFFFF"/>
                          </a:solidFill>
                          <a:effectLst/>
                          <a:latin typeface="Arial"/>
                          <a:ea typeface="Times New Roman"/>
                          <a:cs typeface="Arial"/>
                        </a:rPr>
                        <a:t>Guinea</a:t>
                      </a:r>
                      <a:endParaRPr lang="en-US" sz="1400" dirty="0">
                        <a:solidFill>
                          <a:srgbClr val="FFFFFF"/>
                        </a:solidFill>
                        <a:effectLst/>
                        <a:latin typeface="Arial"/>
                        <a:ea typeface="ＭＳ 明朝"/>
                        <a:cs typeface="Arial"/>
                      </a:endParaRPr>
                    </a:p>
                  </a:txBody>
                  <a:tcPr marL="68580" marR="68580" marT="0" marB="0" anchor="ctr">
                    <a:noFill/>
                  </a:tcPr>
                </a:tc>
                <a:tc>
                  <a:txBody>
                    <a:bodyPr/>
                    <a:lstStyle/>
                    <a:p>
                      <a:pPr algn="ctr"/>
                      <a:endParaRPr lang="en-US" sz="2000" b="1">
                        <a:solidFill>
                          <a:srgbClr val="FFFFFF"/>
                        </a:solidFill>
                        <a:effectLst/>
                        <a:latin typeface="Cambria"/>
                      </a:endParaRPr>
                    </a:p>
                  </a:txBody>
                  <a:tcPr marL="68580" marR="68580" marT="0" marB="0" anchor="ctr">
                    <a:noFill/>
                  </a:tcPr>
                </a:tc>
                <a:tc>
                  <a:txBody>
                    <a:bodyPr/>
                    <a:lstStyle/>
                    <a:p>
                      <a:pPr algn="ctr"/>
                      <a:endParaRPr lang="en-US" sz="2000" b="1">
                        <a:solidFill>
                          <a:srgbClr val="FFFFFF"/>
                        </a:solidFill>
                        <a:effectLst/>
                        <a:latin typeface="Cambria"/>
                      </a:endParaRPr>
                    </a:p>
                  </a:txBody>
                  <a:tcPr marL="68580" marR="68580" marT="0" marB="0" anchor="ctr">
                    <a:noFill/>
                  </a:tcPr>
                </a:tc>
                <a:tc>
                  <a:txBody>
                    <a:bodyPr/>
                    <a:lstStyle/>
                    <a:p>
                      <a:pPr algn="ctr"/>
                      <a:endParaRPr lang="en-US" sz="2000" b="1">
                        <a:solidFill>
                          <a:srgbClr val="FFFFFF"/>
                        </a:solidFill>
                        <a:effectLst/>
                        <a:latin typeface="Cambria"/>
                      </a:endParaRPr>
                    </a:p>
                  </a:txBody>
                  <a:tcPr marL="68580" marR="68580" marT="0" marB="0" anchor="ctr">
                    <a:noFill/>
                  </a:tcPr>
                </a:tc>
                <a:tc>
                  <a:txBody>
                    <a:bodyPr/>
                    <a:lstStyle/>
                    <a:p>
                      <a:pPr algn="ctr">
                        <a:spcAft>
                          <a:spcPts val="0"/>
                        </a:spcAft>
                      </a:pPr>
                      <a:endParaRPr lang="en-US" sz="2000" b="1">
                        <a:solidFill>
                          <a:srgbClr val="FFFFFF"/>
                        </a:solidFill>
                        <a:effectLst/>
                        <a:latin typeface="Cambria"/>
                        <a:ea typeface="ＭＳ 明朝"/>
                        <a:cs typeface="Times New Roman"/>
                      </a:endParaRPr>
                    </a:p>
                  </a:txBody>
                  <a:tcPr marL="68580" marR="68580" marT="0" marB="0" anchor="ctr">
                    <a:noFill/>
                  </a:tcPr>
                </a:tc>
                <a:tc>
                  <a:txBody>
                    <a:bodyPr/>
                    <a:lstStyle/>
                    <a:p>
                      <a:pPr algn="ctr">
                        <a:spcAft>
                          <a:spcPts val="0"/>
                        </a:spcAft>
                      </a:pPr>
                      <a:r>
                        <a:rPr lang="en-US" sz="2000" b="1">
                          <a:solidFill>
                            <a:srgbClr val="FFFFFF"/>
                          </a:solidFill>
                          <a:effectLst/>
                          <a:latin typeface="Menlo Bold"/>
                          <a:ea typeface="ＭＳ 明朝"/>
                          <a:cs typeface="Times New Roman"/>
                        </a:rPr>
                        <a:t>✔</a:t>
                      </a:r>
                      <a:endParaRPr lang="en-US" sz="2000" b="1">
                        <a:solidFill>
                          <a:srgbClr val="FFFFFF"/>
                        </a:solidFill>
                        <a:effectLst/>
                        <a:latin typeface="Cambria"/>
                        <a:ea typeface="ＭＳ 明朝"/>
                        <a:cs typeface="Times New Roman"/>
                      </a:endParaRPr>
                    </a:p>
                  </a:txBody>
                  <a:tcPr marL="68580" marR="68580" marT="0" marB="0" anchor="ctr">
                    <a:noFill/>
                  </a:tcPr>
                </a:tc>
                <a:tc>
                  <a:txBody>
                    <a:bodyPr/>
                    <a:lstStyle/>
                    <a:p>
                      <a:pPr algn="ctr"/>
                      <a:endParaRPr lang="en-US" sz="2000" b="1">
                        <a:solidFill>
                          <a:srgbClr val="FFFFFF"/>
                        </a:solidFill>
                        <a:effectLst/>
                        <a:latin typeface="Cambria"/>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lnR w="57150" cap="flat" cmpd="sng" algn="ctr">
                      <a:solidFill>
                        <a:srgbClr val="FFFFFF"/>
                      </a:solidFill>
                      <a:prstDash val="solid"/>
                      <a:round/>
                      <a:headEnd type="none" w="med" len="med"/>
                      <a:tailEnd type="none" w="med" len="med"/>
                    </a:lnR>
                    <a:noFill/>
                  </a:tcPr>
                </a:tc>
                <a:tc>
                  <a:txBody>
                    <a:bodyPr/>
                    <a:lstStyle/>
                    <a:p>
                      <a:pPr algn="ctr">
                        <a:spcAft>
                          <a:spcPts val="0"/>
                        </a:spcAft>
                      </a:pPr>
                      <a:r>
                        <a:rPr lang="en-US" sz="1400" dirty="0">
                          <a:solidFill>
                            <a:srgbClr val="FFFFFF"/>
                          </a:solidFill>
                          <a:effectLst/>
                          <a:latin typeface="Arial"/>
                          <a:ea typeface="ＭＳ 明朝"/>
                          <a:cs typeface="Times New Roman"/>
                        </a:rPr>
                        <a:t>Yearly</a:t>
                      </a:r>
                      <a:endParaRPr lang="en-US" sz="1400" dirty="0">
                        <a:solidFill>
                          <a:srgbClr val="FFFFFF"/>
                        </a:solidFill>
                        <a:effectLst/>
                        <a:latin typeface="Cambria"/>
                        <a:ea typeface="ＭＳ 明朝"/>
                        <a:cs typeface="Times New Roman"/>
                      </a:endParaRPr>
                    </a:p>
                  </a:txBody>
                  <a:tcPr marL="68580" marR="68580" marT="0" marB="0" anchor="ctr">
                    <a:lnL w="57150" cap="flat" cmpd="sng" algn="ctr">
                      <a:solidFill>
                        <a:srgbClr val="FFFFFF"/>
                      </a:solidFill>
                      <a:prstDash val="solid"/>
                      <a:round/>
                      <a:headEnd type="none" w="med" len="med"/>
                      <a:tailEnd type="none" w="med" len="med"/>
                    </a:lnL>
                    <a:noFill/>
                  </a:tcPr>
                </a:tc>
              </a:tr>
              <a:tr h="304800">
                <a:tc>
                  <a:txBody>
                    <a:bodyPr/>
                    <a:lstStyle/>
                    <a:p>
                      <a:pPr>
                        <a:spcAft>
                          <a:spcPts val="0"/>
                        </a:spcAft>
                      </a:pPr>
                      <a:r>
                        <a:rPr lang="en-US" sz="1400" dirty="0">
                          <a:solidFill>
                            <a:srgbClr val="FFFFFF"/>
                          </a:solidFill>
                          <a:effectLst/>
                          <a:latin typeface="Arial"/>
                          <a:ea typeface="Times New Roman"/>
                          <a:cs typeface="Arial"/>
                        </a:rPr>
                        <a:t>Malawi</a:t>
                      </a:r>
                      <a:endParaRPr lang="en-US" sz="1400" dirty="0">
                        <a:solidFill>
                          <a:srgbClr val="FFFFFF"/>
                        </a:solidFill>
                        <a:effectLst/>
                        <a:latin typeface="Arial"/>
                        <a:ea typeface="ＭＳ 明朝"/>
                        <a:cs typeface="Arial"/>
                      </a:endParaRPr>
                    </a:p>
                  </a:txBody>
                  <a:tcPr marL="68580" marR="68580" marT="0" marB="0" anchor="ctr">
                    <a:noFill/>
                  </a:tcPr>
                </a:tc>
                <a:tc>
                  <a:txBody>
                    <a:bodyPr/>
                    <a:lstStyle/>
                    <a:p>
                      <a:pPr algn="ctr"/>
                      <a:endParaRPr lang="en-US" sz="2000" b="1">
                        <a:solidFill>
                          <a:srgbClr val="FFFFFF"/>
                        </a:solidFill>
                        <a:effectLst/>
                        <a:latin typeface="Cambria"/>
                      </a:endParaRPr>
                    </a:p>
                  </a:txBody>
                  <a:tcPr marL="68580" marR="68580" marT="0" marB="0" anchor="ctr">
                    <a:noFill/>
                  </a:tcPr>
                </a:tc>
                <a:tc>
                  <a:txBody>
                    <a:bodyPr/>
                    <a:lstStyle/>
                    <a:p>
                      <a:pPr algn="ctr"/>
                      <a:endParaRPr lang="en-US" sz="2000" b="1">
                        <a:solidFill>
                          <a:srgbClr val="FFFFFF"/>
                        </a:solidFill>
                        <a:effectLst/>
                        <a:latin typeface="Cambria"/>
                      </a:endParaRPr>
                    </a:p>
                  </a:txBody>
                  <a:tcPr marL="68580" marR="68580" marT="0" marB="0" anchor="ctr">
                    <a:noFill/>
                  </a:tcPr>
                </a:tc>
                <a:tc>
                  <a:txBody>
                    <a:bodyPr/>
                    <a:lstStyle/>
                    <a:p>
                      <a:pPr algn="ctr">
                        <a:spcAft>
                          <a:spcPts val="0"/>
                        </a:spcAft>
                      </a:pPr>
                      <a:r>
                        <a:rPr lang="en-US" sz="2000" b="1">
                          <a:solidFill>
                            <a:srgbClr val="FFFFFF"/>
                          </a:solidFill>
                          <a:effectLst/>
                          <a:latin typeface="Menlo Bold"/>
                          <a:ea typeface="ＭＳ 明朝"/>
                          <a:cs typeface="Times New Roman"/>
                        </a:rPr>
                        <a:t>✔</a:t>
                      </a:r>
                      <a:endParaRPr lang="en-US" sz="2000" b="1">
                        <a:solidFill>
                          <a:srgbClr val="FFFFFF"/>
                        </a:solidFill>
                        <a:effectLst/>
                        <a:latin typeface="Cambria"/>
                        <a:ea typeface="ＭＳ 明朝"/>
                        <a:cs typeface="Times New Roman"/>
                      </a:endParaRPr>
                    </a:p>
                  </a:txBody>
                  <a:tcPr marL="68580" marR="68580" marT="0" marB="0" anchor="ctr">
                    <a:noFill/>
                  </a:tcPr>
                </a:tc>
                <a:tc>
                  <a:txBody>
                    <a:bodyPr/>
                    <a:lstStyle/>
                    <a:p>
                      <a:pPr algn="ctr"/>
                      <a:endParaRPr lang="en-US" sz="2000" b="1">
                        <a:solidFill>
                          <a:srgbClr val="FFFFFF"/>
                        </a:solidFill>
                        <a:effectLst/>
                        <a:latin typeface="Cambria"/>
                      </a:endParaRPr>
                    </a:p>
                  </a:txBody>
                  <a:tcPr marL="68580" marR="68580" marT="0" marB="0" anchor="ctr">
                    <a:noFill/>
                  </a:tcPr>
                </a:tc>
                <a:tc>
                  <a:txBody>
                    <a:bodyPr/>
                    <a:lstStyle/>
                    <a:p>
                      <a:pPr algn="ctr"/>
                      <a:endParaRPr lang="en-US" sz="2000" b="1">
                        <a:solidFill>
                          <a:srgbClr val="FFFFFF"/>
                        </a:solidFill>
                        <a:effectLst/>
                        <a:latin typeface="Cambria"/>
                      </a:endParaRPr>
                    </a:p>
                  </a:txBody>
                  <a:tcPr marL="68580" marR="68580" marT="0" marB="0" anchor="ctr">
                    <a:noFill/>
                  </a:tcPr>
                </a:tc>
                <a:tc>
                  <a:txBody>
                    <a:bodyPr/>
                    <a:lstStyle/>
                    <a:p>
                      <a:pPr algn="ctr"/>
                      <a:endParaRPr lang="en-US" sz="2000" b="1">
                        <a:solidFill>
                          <a:srgbClr val="FFFFFF"/>
                        </a:solidFill>
                        <a:effectLst/>
                        <a:latin typeface="Cambria"/>
                      </a:endParaRPr>
                    </a:p>
                  </a:txBody>
                  <a:tcPr marL="68580" marR="68580" marT="0" marB="0" anchor="ctr">
                    <a:noFill/>
                  </a:tcPr>
                </a:tc>
                <a:tc>
                  <a:txBody>
                    <a:bodyPr/>
                    <a:lstStyle/>
                    <a:p>
                      <a:pPr algn="ctr">
                        <a:spcAft>
                          <a:spcPts val="0"/>
                        </a:spcAft>
                      </a:pPr>
                      <a:r>
                        <a:rPr lang="en-US" sz="2000" b="1" dirty="0">
                          <a:solidFill>
                            <a:srgbClr val="FFFFFF"/>
                          </a:solidFill>
                          <a:effectLst/>
                          <a:latin typeface="Menlo Bold"/>
                          <a:ea typeface="ＭＳ 明朝"/>
                          <a:cs typeface="Times New Roman"/>
                        </a:rPr>
                        <a:t>✔</a:t>
                      </a:r>
                      <a:endParaRPr lang="en-US" sz="2000" b="1" dirty="0">
                        <a:solidFill>
                          <a:srgbClr val="FFFFFF"/>
                        </a:solidFill>
                        <a:effectLst/>
                        <a:latin typeface="Cambria"/>
                        <a:ea typeface="ＭＳ 明朝"/>
                        <a:cs typeface="Times New Roman"/>
                      </a:endParaRPr>
                    </a:p>
                  </a:txBody>
                  <a:tcPr marL="68580" marR="68580" marT="0" marB="0" anchor="ctr">
                    <a:lnR w="57150" cap="flat" cmpd="sng" algn="ctr">
                      <a:solidFill>
                        <a:srgbClr val="FFFFFF"/>
                      </a:solidFill>
                      <a:prstDash val="solid"/>
                      <a:round/>
                      <a:headEnd type="none" w="med" len="med"/>
                      <a:tailEnd type="none" w="med" len="med"/>
                    </a:lnR>
                    <a:noFill/>
                  </a:tcPr>
                </a:tc>
                <a:tc>
                  <a:txBody>
                    <a:bodyPr/>
                    <a:lstStyle/>
                    <a:p>
                      <a:pPr algn="ctr">
                        <a:spcAft>
                          <a:spcPts val="0"/>
                        </a:spcAft>
                      </a:pPr>
                      <a:r>
                        <a:rPr lang="en-US" sz="1400" dirty="0">
                          <a:solidFill>
                            <a:srgbClr val="FFFFFF"/>
                          </a:solidFill>
                          <a:effectLst/>
                          <a:latin typeface="Arial"/>
                          <a:ea typeface="ＭＳ 明朝"/>
                          <a:cs typeface="Times New Roman"/>
                        </a:rPr>
                        <a:t>Biennially</a:t>
                      </a:r>
                      <a:endParaRPr lang="en-US" sz="1400" dirty="0">
                        <a:solidFill>
                          <a:srgbClr val="FFFFFF"/>
                        </a:solidFill>
                        <a:effectLst/>
                        <a:latin typeface="Cambria"/>
                        <a:ea typeface="ＭＳ 明朝"/>
                        <a:cs typeface="Times New Roman"/>
                      </a:endParaRPr>
                    </a:p>
                  </a:txBody>
                  <a:tcPr marL="68580" marR="68580" marT="0" marB="0" anchor="ctr">
                    <a:lnL w="57150" cap="flat" cmpd="sng" algn="ctr">
                      <a:solidFill>
                        <a:srgbClr val="FFFFFF"/>
                      </a:solidFill>
                      <a:prstDash val="solid"/>
                      <a:round/>
                      <a:headEnd type="none" w="med" len="med"/>
                      <a:tailEnd type="none" w="med" len="med"/>
                    </a:lnL>
                    <a:noFill/>
                  </a:tcPr>
                </a:tc>
              </a:tr>
            </a:tbl>
          </a:graphicData>
        </a:graphic>
      </p:graphicFrame>
      <p:sp>
        <p:nvSpPr>
          <p:cNvPr id="5" name="Rectangle 4"/>
          <p:cNvSpPr/>
          <p:nvPr/>
        </p:nvSpPr>
        <p:spPr>
          <a:xfrm>
            <a:off x="203196" y="6268539"/>
            <a:ext cx="6993467" cy="461665"/>
          </a:xfrm>
          <a:prstGeom prst="rect">
            <a:avLst/>
          </a:prstGeom>
        </p:spPr>
        <p:txBody>
          <a:bodyPr wrap="square">
            <a:spAutoFit/>
          </a:bodyPr>
          <a:lstStyle/>
          <a:p>
            <a:r>
              <a:rPr lang="en-US" sz="1200" dirty="0" smtClean="0">
                <a:solidFill>
                  <a:srgbClr val="FFFFFF"/>
                </a:solidFill>
                <a:latin typeface="Arial"/>
                <a:cs typeface="Arial"/>
              </a:rPr>
              <a:t>Malaysia recommends VL </a:t>
            </a:r>
            <a:r>
              <a:rPr lang="en-US" sz="1200" dirty="0" smtClean="0">
                <a:solidFill>
                  <a:srgbClr val="FFFFFF"/>
                </a:solidFill>
                <a:latin typeface="Arial"/>
                <a:ea typeface="Geneva"/>
                <a:cs typeface="Arial"/>
              </a:rPr>
              <a:t>every </a:t>
            </a:r>
            <a:r>
              <a:rPr lang="en-US" sz="1200" dirty="0">
                <a:solidFill>
                  <a:srgbClr val="FFFFFF"/>
                </a:solidFill>
                <a:latin typeface="Arial"/>
                <a:ea typeface="Geneva"/>
                <a:cs typeface="Arial"/>
              </a:rPr>
              <a:t>4-6 </a:t>
            </a:r>
            <a:r>
              <a:rPr lang="en-US" sz="1200" dirty="0" smtClean="0">
                <a:solidFill>
                  <a:srgbClr val="FFFFFF"/>
                </a:solidFill>
                <a:latin typeface="Arial"/>
                <a:ea typeface="Geneva"/>
                <a:cs typeface="Arial"/>
              </a:rPr>
              <a:t>months</a:t>
            </a:r>
            <a:r>
              <a:rPr lang="en-US" sz="1200" dirty="0">
                <a:solidFill>
                  <a:srgbClr val="FFFFFF"/>
                </a:solidFill>
                <a:latin typeface="Arial"/>
                <a:ea typeface="Geneva"/>
                <a:cs typeface="Arial"/>
              </a:rPr>
              <a:t> </a:t>
            </a:r>
            <a:r>
              <a:rPr lang="en-US" sz="1200" dirty="0" smtClean="0">
                <a:solidFill>
                  <a:srgbClr val="FFFFFF"/>
                </a:solidFill>
                <a:latin typeface="Arial"/>
                <a:ea typeface="Geneva"/>
                <a:cs typeface="Arial"/>
              </a:rPr>
              <a:t>and every </a:t>
            </a:r>
            <a:r>
              <a:rPr lang="en-US" sz="1200" dirty="0">
                <a:solidFill>
                  <a:srgbClr val="FFFFFF"/>
                </a:solidFill>
                <a:latin typeface="Arial"/>
                <a:ea typeface="Geneva"/>
                <a:cs typeface="Arial"/>
              </a:rPr>
              <a:t>6-12 months when </a:t>
            </a:r>
            <a:r>
              <a:rPr lang="en-US" sz="1200" dirty="0" smtClean="0">
                <a:solidFill>
                  <a:srgbClr val="FFFFFF"/>
                </a:solidFill>
                <a:latin typeface="Arial"/>
                <a:ea typeface="Geneva"/>
                <a:cs typeface="Arial"/>
              </a:rPr>
              <a:t>viral </a:t>
            </a:r>
            <a:r>
              <a:rPr lang="en-US" sz="1200" dirty="0">
                <a:solidFill>
                  <a:srgbClr val="FFFFFF"/>
                </a:solidFill>
                <a:latin typeface="Arial"/>
                <a:ea typeface="Geneva"/>
                <a:cs typeface="Arial"/>
              </a:rPr>
              <a:t>suppression for &gt;1 </a:t>
            </a:r>
            <a:r>
              <a:rPr lang="en-US" sz="1200" dirty="0" smtClean="0">
                <a:solidFill>
                  <a:srgbClr val="FFFFFF"/>
                </a:solidFill>
                <a:latin typeface="Arial"/>
                <a:ea typeface="Geneva"/>
                <a:cs typeface="Arial"/>
              </a:rPr>
              <a:t>year has been achieved</a:t>
            </a:r>
            <a:r>
              <a:rPr lang="en-US" sz="1200" dirty="0" smtClean="0">
                <a:solidFill>
                  <a:srgbClr val="FFFFFF"/>
                </a:solidFill>
                <a:latin typeface="Arial"/>
                <a:cs typeface="Arial"/>
              </a:rPr>
              <a:t>. Frequency unavailable for India</a:t>
            </a:r>
            <a:endParaRPr lang="en-US" sz="1200" dirty="0">
              <a:solidFill>
                <a:srgbClr val="FFFFFF"/>
              </a:solidFill>
              <a:latin typeface="Arial"/>
              <a:cs typeface="Arial"/>
            </a:endParaRPr>
          </a:p>
        </p:txBody>
      </p:sp>
      <p:pic>
        <p:nvPicPr>
          <p:cNvPr id="7" name="Picture 6"/>
          <p:cNvPicPr>
            <a:picLocks noChangeAspect="1"/>
          </p:cNvPicPr>
          <p:nvPr/>
        </p:nvPicPr>
        <p:blipFill>
          <a:blip r:embed="rId3"/>
          <a:stretch>
            <a:fillRect/>
          </a:stretch>
        </p:blipFill>
        <p:spPr>
          <a:xfrm>
            <a:off x="7747000" y="6324600"/>
            <a:ext cx="1397000" cy="533400"/>
          </a:xfrm>
          <a:prstGeom prst="rect">
            <a:avLst/>
          </a:prstGeom>
        </p:spPr>
      </p:pic>
    </p:spTree>
    <p:extLst>
      <p:ext uri="{BB962C8B-B14F-4D97-AF65-F5344CB8AC3E}">
        <p14:creationId xmlns:p14="http://schemas.microsoft.com/office/powerpoint/2010/main" val="2388107916"/>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254002" y="761997"/>
            <a:ext cx="8602135" cy="536861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Text Box 4"/>
          <p:cNvSpPr txBox="1">
            <a:spLocks noChangeArrowheads="1"/>
          </p:cNvSpPr>
          <p:nvPr/>
        </p:nvSpPr>
        <p:spPr bwMode="auto">
          <a:xfrm>
            <a:off x="0" y="32154"/>
            <a:ext cx="9143999" cy="646331"/>
          </a:xfrm>
          <a:prstGeom prst="rect">
            <a:avLst/>
          </a:prstGeom>
          <a:noFill/>
          <a:ln w="9525">
            <a:noFill/>
            <a:miter lim="800000"/>
            <a:headEnd/>
            <a:tailEnd/>
          </a:ln>
        </p:spPr>
        <p:txBody>
          <a:bodyPr wrap="square">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spcBef>
                <a:spcPct val="50000"/>
              </a:spcBef>
            </a:pPr>
            <a:r>
              <a:rPr lang="en-US" sz="3600" dirty="0" smtClean="0">
                <a:solidFill>
                  <a:srgbClr val="FFFF00"/>
                </a:solidFill>
                <a:ea typeface="ヒラギノ角ゴ Pro W3"/>
                <a:cs typeface="ヒラギノ角ゴ Pro W3"/>
              </a:rPr>
              <a:t>Availability of Viral Load (55 countries) </a:t>
            </a:r>
            <a:endParaRPr lang="en-US" sz="3200" dirty="0" smtClean="0">
              <a:solidFill>
                <a:srgbClr val="FFFF00"/>
              </a:solidFill>
              <a:ea typeface="ヒラギノ角ゴ Pro W3"/>
              <a:cs typeface="ヒラギノ角ゴ Pro W3"/>
            </a:endParaRPr>
          </a:p>
        </p:txBody>
      </p:sp>
      <p:sp>
        <p:nvSpPr>
          <p:cNvPr id="25" name="Rectangle 24"/>
          <p:cNvSpPr/>
          <p:nvPr/>
        </p:nvSpPr>
        <p:spPr>
          <a:xfrm>
            <a:off x="759873" y="5171662"/>
            <a:ext cx="372533" cy="27093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p:cNvSpPr/>
          <p:nvPr/>
        </p:nvSpPr>
        <p:spPr>
          <a:xfrm>
            <a:off x="759873" y="5483202"/>
            <a:ext cx="372533" cy="270934"/>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TextBox 42"/>
          <p:cNvSpPr txBox="1"/>
          <p:nvPr/>
        </p:nvSpPr>
        <p:spPr>
          <a:xfrm>
            <a:off x="1132406" y="5147467"/>
            <a:ext cx="3098808" cy="276999"/>
          </a:xfrm>
          <a:prstGeom prst="rect">
            <a:avLst/>
          </a:prstGeom>
          <a:noFill/>
        </p:spPr>
        <p:txBody>
          <a:bodyPr wrap="square" rtlCol="0">
            <a:spAutoFit/>
          </a:bodyPr>
          <a:lstStyle/>
          <a:p>
            <a:r>
              <a:rPr lang="en-US" sz="1200" dirty="0" smtClean="0">
                <a:latin typeface="Arial"/>
                <a:cs typeface="Arial"/>
              </a:rPr>
              <a:t>Recommended and widely available</a:t>
            </a:r>
            <a:endParaRPr lang="en-US" sz="1200" dirty="0">
              <a:latin typeface="Arial"/>
              <a:cs typeface="Arial"/>
            </a:endParaRPr>
          </a:p>
        </p:txBody>
      </p:sp>
      <p:sp>
        <p:nvSpPr>
          <p:cNvPr id="44" name="Rectangle 43"/>
          <p:cNvSpPr/>
          <p:nvPr/>
        </p:nvSpPr>
        <p:spPr>
          <a:xfrm>
            <a:off x="4908834" y="5493402"/>
            <a:ext cx="3676367" cy="276999"/>
          </a:xfrm>
          <a:prstGeom prst="rect">
            <a:avLst/>
          </a:prstGeom>
        </p:spPr>
        <p:txBody>
          <a:bodyPr wrap="square">
            <a:spAutoFit/>
          </a:bodyPr>
          <a:lstStyle/>
          <a:p>
            <a:r>
              <a:rPr lang="en-US" sz="1200" dirty="0" smtClean="0">
                <a:latin typeface="Arial"/>
                <a:cs typeface="Arial"/>
              </a:rPr>
              <a:t>Recommended only for monitoring treatment failure</a:t>
            </a:r>
            <a:endParaRPr lang="en-US" sz="1200" dirty="0">
              <a:latin typeface="Arial"/>
              <a:cs typeface="Arial"/>
            </a:endParaRPr>
          </a:p>
        </p:txBody>
      </p:sp>
      <p:sp>
        <p:nvSpPr>
          <p:cNvPr id="45" name="Rectangle 44"/>
          <p:cNvSpPr/>
          <p:nvPr/>
        </p:nvSpPr>
        <p:spPr>
          <a:xfrm>
            <a:off x="1136639" y="5493402"/>
            <a:ext cx="3752863" cy="276999"/>
          </a:xfrm>
          <a:prstGeom prst="rect">
            <a:avLst/>
          </a:prstGeom>
        </p:spPr>
        <p:txBody>
          <a:bodyPr wrap="square">
            <a:spAutoFit/>
          </a:bodyPr>
          <a:lstStyle/>
          <a:p>
            <a:r>
              <a:rPr lang="en-US" sz="1200" dirty="0" smtClean="0">
                <a:latin typeface="Arial"/>
                <a:cs typeface="Arial"/>
              </a:rPr>
              <a:t>Recommended with limited availability</a:t>
            </a:r>
            <a:endParaRPr lang="en-US" sz="1200" dirty="0">
              <a:latin typeface="Arial"/>
              <a:cs typeface="Arial"/>
            </a:endParaRPr>
          </a:p>
        </p:txBody>
      </p:sp>
      <p:sp>
        <p:nvSpPr>
          <p:cNvPr id="46" name="Rectangle 45"/>
          <p:cNvSpPr/>
          <p:nvPr/>
        </p:nvSpPr>
        <p:spPr>
          <a:xfrm>
            <a:off x="4510618" y="5171662"/>
            <a:ext cx="372533" cy="270934"/>
          </a:xfrm>
          <a:prstGeom prst="rect">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7" name="TextBox 46"/>
          <p:cNvSpPr txBox="1"/>
          <p:nvPr/>
        </p:nvSpPr>
        <p:spPr>
          <a:xfrm>
            <a:off x="4908835" y="5165597"/>
            <a:ext cx="3538772" cy="276999"/>
          </a:xfrm>
          <a:prstGeom prst="rect">
            <a:avLst/>
          </a:prstGeom>
          <a:noFill/>
        </p:spPr>
        <p:txBody>
          <a:bodyPr wrap="square" rtlCol="0">
            <a:spAutoFit/>
          </a:bodyPr>
          <a:lstStyle/>
          <a:p>
            <a:r>
              <a:rPr lang="en-US" sz="1200" dirty="0" smtClean="0">
                <a:latin typeface="Arial"/>
                <a:cs typeface="Arial"/>
              </a:rPr>
              <a:t>Recommended (availability unknown)</a:t>
            </a:r>
            <a:endParaRPr lang="en-US" sz="1200" dirty="0">
              <a:latin typeface="Arial"/>
              <a:cs typeface="Arial"/>
            </a:endParaRPr>
          </a:p>
        </p:txBody>
      </p:sp>
      <p:sp>
        <p:nvSpPr>
          <p:cNvPr id="48" name="Rectangle 47"/>
          <p:cNvSpPr/>
          <p:nvPr/>
        </p:nvSpPr>
        <p:spPr>
          <a:xfrm>
            <a:off x="764106" y="5825808"/>
            <a:ext cx="372533" cy="270934"/>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Rectangle 48"/>
          <p:cNvSpPr/>
          <p:nvPr/>
        </p:nvSpPr>
        <p:spPr>
          <a:xfrm>
            <a:off x="1114872" y="5798954"/>
            <a:ext cx="3752863" cy="276999"/>
          </a:xfrm>
          <a:prstGeom prst="rect">
            <a:avLst/>
          </a:prstGeom>
        </p:spPr>
        <p:txBody>
          <a:bodyPr wrap="square">
            <a:spAutoFit/>
          </a:bodyPr>
          <a:lstStyle/>
          <a:p>
            <a:r>
              <a:rPr lang="en-US" sz="1200" dirty="0" smtClean="0">
                <a:latin typeface="Arial"/>
                <a:cs typeface="Arial"/>
              </a:rPr>
              <a:t>No recommendation</a:t>
            </a:r>
            <a:endParaRPr lang="en-US" sz="1200" dirty="0">
              <a:latin typeface="Arial"/>
              <a:cs typeface="Arial"/>
            </a:endParaRPr>
          </a:p>
        </p:txBody>
      </p:sp>
      <p:sp>
        <p:nvSpPr>
          <p:cNvPr id="52" name="Rectangle 51"/>
          <p:cNvSpPr/>
          <p:nvPr/>
        </p:nvSpPr>
        <p:spPr>
          <a:xfrm>
            <a:off x="4510618" y="5504453"/>
            <a:ext cx="372533" cy="27093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Picture 25"/>
          <p:cNvPicPr>
            <a:picLocks noChangeAspect="1"/>
          </p:cNvPicPr>
          <p:nvPr/>
        </p:nvPicPr>
        <p:blipFill>
          <a:blip r:embed="rId3"/>
          <a:stretch>
            <a:fillRect/>
          </a:stretch>
        </p:blipFill>
        <p:spPr>
          <a:xfrm>
            <a:off x="7747000" y="6324600"/>
            <a:ext cx="1397000" cy="533400"/>
          </a:xfrm>
          <a:prstGeom prst="rect">
            <a:avLst/>
          </a:prstGeom>
        </p:spPr>
      </p:pic>
      <p:grpSp>
        <p:nvGrpSpPr>
          <p:cNvPr id="23" name="Group 22"/>
          <p:cNvGrpSpPr/>
          <p:nvPr/>
        </p:nvGrpSpPr>
        <p:grpSpPr>
          <a:xfrm>
            <a:off x="356130" y="1070510"/>
            <a:ext cx="8420083" cy="4033420"/>
            <a:chOff x="141287" y="1138241"/>
            <a:chExt cx="8888413" cy="4387851"/>
          </a:xfrm>
        </p:grpSpPr>
        <p:sp>
          <p:nvSpPr>
            <p:cNvPr id="27" name="Freeform 6"/>
            <p:cNvSpPr>
              <a:spLocks/>
            </p:cNvSpPr>
            <p:nvPr/>
          </p:nvSpPr>
          <p:spPr bwMode="auto">
            <a:xfrm>
              <a:off x="5853112" y="2438404"/>
              <a:ext cx="374650" cy="300038"/>
            </a:xfrm>
            <a:custGeom>
              <a:avLst/>
              <a:gdLst>
                <a:gd name="T0" fmla="*/ 23 w 236"/>
                <a:gd name="T1" fmla="*/ 66 h 189"/>
                <a:gd name="T2" fmla="*/ 37 w 236"/>
                <a:gd name="T3" fmla="*/ 54 h 189"/>
                <a:gd name="T4" fmla="*/ 58 w 236"/>
                <a:gd name="T5" fmla="*/ 45 h 189"/>
                <a:gd name="T6" fmla="*/ 71 w 236"/>
                <a:gd name="T7" fmla="*/ 24 h 189"/>
                <a:gd name="T8" fmla="*/ 82 w 236"/>
                <a:gd name="T9" fmla="*/ 22 h 189"/>
                <a:gd name="T10" fmla="*/ 97 w 236"/>
                <a:gd name="T11" fmla="*/ 23 h 189"/>
                <a:gd name="T12" fmla="*/ 116 w 236"/>
                <a:gd name="T13" fmla="*/ 30 h 189"/>
                <a:gd name="T14" fmla="*/ 134 w 236"/>
                <a:gd name="T15" fmla="*/ 27 h 189"/>
                <a:gd name="T16" fmla="*/ 147 w 236"/>
                <a:gd name="T17" fmla="*/ 18 h 189"/>
                <a:gd name="T18" fmla="*/ 149 w 236"/>
                <a:gd name="T19" fmla="*/ 7 h 189"/>
                <a:gd name="T20" fmla="*/ 165 w 236"/>
                <a:gd name="T21" fmla="*/ 4 h 189"/>
                <a:gd name="T22" fmla="*/ 170 w 236"/>
                <a:gd name="T23" fmla="*/ 12 h 189"/>
                <a:gd name="T24" fmla="*/ 182 w 236"/>
                <a:gd name="T25" fmla="*/ 36 h 189"/>
                <a:gd name="T26" fmla="*/ 193 w 236"/>
                <a:gd name="T27" fmla="*/ 29 h 189"/>
                <a:gd name="T28" fmla="*/ 214 w 236"/>
                <a:gd name="T29" fmla="*/ 22 h 189"/>
                <a:gd name="T30" fmla="*/ 236 w 236"/>
                <a:gd name="T31" fmla="*/ 28 h 189"/>
                <a:gd name="T32" fmla="*/ 219 w 236"/>
                <a:gd name="T33" fmla="*/ 34 h 189"/>
                <a:gd name="T34" fmla="*/ 183 w 236"/>
                <a:gd name="T35" fmla="*/ 40 h 189"/>
                <a:gd name="T36" fmla="*/ 181 w 236"/>
                <a:gd name="T37" fmla="*/ 58 h 189"/>
                <a:gd name="T38" fmla="*/ 179 w 236"/>
                <a:gd name="T39" fmla="*/ 77 h 189"/>
                <a:gd name="T40" fmla="*/ 178 w 236"/>
                <a:gd name="T41" fmla="*/ 93 h 189"/>
                <a:gd name="T42" fmla="*/ 172 w 236"/>
                <a:gd name="T43" fmla="*/ 106 h 189"/>
                <a:gd name="T44" fmla="*/ 157 w 236"/>
                <a:gd name="T45" fmla="*/ 123 h 189"/>
                <a:gd name="T46" fmla="*/ 155 w 236"/>
                <a:gd name="T47" fmla="*/ 142 h 189"/>
                <a:gd name="T48" fmla="*/ 135 w 236"/>
                <a:gd name="T49" fmla="*/ 142 h 189"/>
                <a:gd name="T50" fmla="*/ 121 w 236"/>
                <a:gd name="T51" fmla="*/ 148 h 189"/>
                <a:gd name="T52" fmla="*/ 116 w 236"/>
                <a:gd name="T53" fmla="*/ 178 h 189"/>
                <a:gd name="T54" fmla="*/ 82 w 236"/>
                <a:gd name="T55" fmla="*/ 184 h 189"/>
                <a:gd name="T56" fmla="*/ 68 w 236"/>
                <a:gd name="T57" fmla="*/ 186 h 189"/>
                <a:gd name="T58" fmla="*/ 20 w 236"/>
                <a:gd name="T59" fmla="*/ 179 h 189"/>
                <a:gd name="T60" fmla="*/ 29 w 236"/>
                <a:gd name="T61" fmla="*/ 147 h 189"/>
                <a:gd name="T62" fmla="*/ 11 w 236"/>
                <a:gd name="T63" fmla="*/ 130 h 189"/>
                <a:gd name="T64" fmla="*/ 8 w 236"/>
                <a:gd name="T65" fmla="*/ 102 h 189"/>
                <a:gd name="T66" fmla="*/ 2 w 236"/>
                <a:gd name="T67" fmla="*/ 84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6" h="189">
                  <a:moveTo>
                    <a:pt x="4" y="58"/>
                  </a:moveTo>
                  <a:lnTo>
                    <a:pt x="23" y="66"/>
                  </a:lnTo>
                  <a:lnTo>
                    <a:pt x="35" y="63"/>
                  </a:lnTo>
                  <a:lnTo>
                    <a:pt x="37" y="54"/>
                  </a:lnTo>
                  <a:lnTo>
                    <a:pt x="50" y="51"/>
                  </a:lnTo>
                  <a:lnTo>
                    <a:pt x="58" y="45"/>
                  </a:lnTo>
                  <a:lnTo>
                    <a:pt x="58" y="28"/>
                  </a:lnTo>
                  <a:lnTo>
                    <a:pt x="71" y="24"/>
                  </a:lnTo>
                  <a:lnTo>
                    <a:pt x="72" y="17"/>
                  </a:lnTo>
                  <a:lnTo>
                    <a:pt x="82" y="22"/>
                  </a:lnTo>
                  <a:lnTo>
                    <a:pt x="87" y="23"/>
                  </a:lnTo>
                  <a:lnTo>
                    <a:pt x="97" y="23"/>
                  </a:lnTo>
                  <a:lnTo>
                    <a:pt x="110" y="27"/>
                  </a:lnTo>
                  <a:lnTo>
                    <a:pt x="116" y="30"/>
                  </a:lnTo>
                  <a:lnTo>
                    <a:pt x="127" y="23"/>
                  </a:lnTo>
                  <a:lnTo>
                    <a:pt x="134" y="27"/>
                  </a:lnTo>
                  <a:lnTo>
                    <a:pt x="137" y="18"/>
                  </a:lnTo>
                  <a:lnTo>
                    <a:pt x="147" y="18"/>
                  </a:lnTo>
                  <a:lnTo>
                    <a:pt x="149" y="15"/>
                  </a:lnTo>
                  <a:lnTo>
                    <a:pt x="149" y="7"/>
                  </a:lnTo>
                  <a:lnTo>
                    <a:pt x="154" y="0"/>
                  </a:lnTo>
                  <a:lnTo>
                    <a:pt x="165" y="4"/>
                  </a:lnTo>
                  <a:lnTo>
                    <a:pt x="165" y="11"/>
                  </a:lnTo>
                  <a:lnTo>
                    <a:pt x="170" y="12"/>
                  </a:lnTo>
                  <a:lnTo>
                    <a:pt x="173" y="29"/>
                  </a:lnTo>
                  <a:lnTo>
                    <a:pt x="182" y="36"/>
                  </a:lnTo>
                  <a:lnTo>
                    <a:pt x="186" y="31"/>
                  </a:lnTo>
                  <a:lnTo>
                    <a:pt x="193" y="29"/>
                  </a:lnTo>
                  <a:lnTo>
                    <a:pt x="202" y="20"/>
                  </a:lnTo>
                  <a:lnTo>
                    <a:pt x="214" y="22"/>
                  </a:lnTo>
                  <a:lnTo>
                    <a:pt x="232" y="22"/>
                  </a:lnTo>
                  <a:lnTo>
                    <a:pt x="236" y="28"/>
                  </a:lnTo>
                  <a:lnTo>
                    <a:pt x="227" y="30"/>
                  </a:lnTo>
                  <a:lnTo>
                    <a:pt x="219" y="34"/>
                  </a:lnTo>
                  <a:lnTo>
                    <a:pt x="200" y="36"/>
                  </a:lnTo>
                  <a:lnTo>
                    <a:pt x="183" y="40"/>
                  </a:lnTo>
                  <a:lnTo>
                    <a:pt x="175" y="50"/>
                  </a:lnTo>
                  <a:lnTo>
                    <a:pt x="181" y="58"/>
                  </a:lnTo>
                  <a:lnTo>
                    <a:pt x="185" y="69"/>
                  </a:lnTo>
                  <a:lnTo>
                    <a:pt x="179" y="77"/>
                  </a:lnTo>
                  <a:lnTo>
                    <a:pt x="182" y="85"/>
                  </a:lnTo>
                  <a:lnTo>
                    <a:pt x="178" y="93"/>
                  </a:lnTo>
                  <a:lnTo>
                    <a:pt x="162" y="92"/>
                  </a:lnTo>
                  <a:lnTo>
                    <a:pt x="172" y="106"/>
                  </a:lnTo>
                  <a:lnTo>
                    <a:pt x="162" y="111"/>
                  </a:lnTo>
                  <a:lnTo>
                    <a:pt x="157" y="123"/>
                  </a:lnTo>
                  <a:lnTo>
                    <a:pt x="160" y="136"/>
                  </a:lnTo>
                  <a:lnTo>
                    <a:pt x="155" y="142"/>
                  </a:lnTo>
                  <a:lnTo>
                    <a:pt x="148" y="140"/>
                  </a:lnTo>
                  <a:lnTo>
                    <a:pt x="135" y="142"/>
                  </a:lnTo>
                  <a:lnTo>
                    <a:pt x="134" y="148"/>
                  </a:lnTo>
                  <a:lnTo>
                    <a:pt x="121" y="148"/>
                  </a:lnTo>
                  <a:lnTo>
                    <a:pt x="113" y="160"/>
                  </a:lnTo>
                  <a:lnTo>
                    <a:pt x="116" y="178"/>
                  </a:lnTo>
                  <a:lnTo>
                    <a:pt x="95" y="186"/>
                  </a:lnTo>
                  <a:lnTo>
                    <a:pt x="82" y="184"/>
                  </a:lnTo>
                  <a:lnTo>
                    <a:pt x="79" y="189"/>
                  </a:lnTo>
                  <a:lnTo>
                    <a:pt x="68" y="186"/>
                  </a:lnTo>
                  <a:lnTo>
                    <a:pt x="51" y="189"/>
                  </a:lnTo>
                  <a:lnTo>
                    <a:pt x="20" y="179"/>
                  </a:lnTo>
                  <a:lnTo>
                    <a:pt x="33" y="160"/>
                  </a:lnTo>
                  <a:lnTo>
                    <a:pt x="29" y="147"/>
                  </a:lnTo>
                  <a:lnTo>
                    <a:pt x="15" y="143"/>
                  </a:lnTo>
                  <a:lnTo>
                    <a:pt x="11" y="130"/>
                  </a:lnTo>
                  <a:lnTo>
                    <a:pt x="3" y="113"/>
                  </a:lnTo>
                  <a:lnTo>
                    <a:pt x="8" y="102"/>
                  </a:lnTo>
                  <a:lnTo>
                    <a:pt x="0" y="99"/>
                  </a:lnTo>
                  <a:lnTo>
                    <a:pt x="2" y="84"/>
                  </a:lnTo>
                  <a:lnTo>
                    <a:pt x="4" y="58"/>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8" name="Freeform 7"/>
            <p:cNvSpPr>
              <a:spLocks/>
            </p:cNvSpPr>
            <p:nvPr/>
          </p:nvSpPr>
          <p:spPr bwMode="auto">
            <a:xfrm>
              <a:off x="4518025" y="3898904"/>
              <a:ext cx="361950" cy="398463"/>
            </a:xfrm>
            <a:custGeom>
              <a:avLst/>
              <a:gdLst>
                <a:gd name="T0" fmla="*/ 92 w 228"/>
                <a:gd name="T1" fmla="*/ 16 h 251"/>
                <a:gd name="T2" fmla="*/ 102 w 228"/>
                <a:gd name="T3" fmla="*/ 35 h 251"/>
                <a:gd name="T4" fmla="*/ 121 w 228"/>
                <a:gd name="T5" fmla="*/ 44 h 251"/>
                <a:gd name="T6" fmla="*/ 137 w 228"/>
                <a:gd name="T7" fmla="*/ 44 h 251"/>
                <a:gd name="T8" fmla="*/ 144 w 228"/>
                <a:gd name="T9" fmla="*/ 27 h 251"/>
                <a:gd name="T10" fmla="*/ 157 w 228"/>
                <a:gd name="T11" fmla="*/ 23 h 251"/>
                <a:gd name="T12" fmla="*/ 165 w 228"/>
                <a:gd name="T13" fmla="*/ 30 h 251"/>
                <a:gd name="T14" fmla="*/ 187 w 228"/>
                <a:gd name="T15" fmla="*/ 43 h 251"/>
                <a:gd name="T16" fmla="*/ 188 w 228"/>
                <a:gd name="T17" fmla="*/ 63 h 251"/>
                <a:gd name="T18" fmla="*/ 195 w 228"/>
                <a:gd name="T19" fmla="*/ 84 h 251"/>
                <a:gd name="T20" fmla="*/ 198 w 228"/>
                <a:gd name="T21" fmla="*/ 107 h 251"/>
                <a:gd name="T22" fmla="*/ 217 w 228"/>
                <a:gd name="T23" fmla="*/ 104 h 251"/>
                <a:gd name="T24" fmla="*/ 227 w 228"/>
                <a:gd name="T25" fmla="*/ 112 h 251"/>
                <a:gd name="T26" fmla="*/ 228 w 228"/>
                <a:gd name="T27" fmla="*/ 132 h 251"/>
                <a:gd name="T28" fmla="*/ 227 w 228"/>
                <a:gd name="T29" fmla="*/ 147 h 251"/>
                <a:gd name="T30" fmla="*/ 186 w 228"/>
                <a:gd name="T31" fmla="*/ 213 h 251"/>
                <a:gd name="T32" fmla="*/ 209 w 228"/>
                <a:gd name="T33" fmla="*/ 243 h 251"/>
                <a:gd name="T34" fmla="*/ 132 w 228"/>
                <a:gd name="T35" fmla="*/ 248 h 251"/>
                <a:gd name="T36" fmla="*/ 46 w 228"/>
                <a:gd name="T37" fmla="*/ 239 h 251"/>
                <a:gd name="T38" fmla="*/ 33 w 228"/>
                <a:gd name="T39" fmla="*/ 231 h 251"/>
                <a:gd name="T40" fmla="*/ 10 w 228"/>
                <a:gd name="T41" fmla="*/ 234 h 251"/>
                <a:gd name="T42" fmla="*/ 0 w 228"/>
                <a:gd name="T43" fmla="*/ 225 h 251"/>
                <a:gd name="T44" fmla="*/ 9 w 228"/>
                <a:gd name="T45" fmla="*/ 188 h 251"/>
                <a:gd name="T46" fmla="*/ 16 w 228"/>
                <a:gd name="T47" fmla="*/ 160 h 251"/>
                <a:gd name="T48" fmla="*/ 31 w 228"/>
                <a:gd name="T49" fmla="*/ 138 h 251"/>
                <a:gd name="T50" fmla="*/ 39 w 228"/>
                <a:gd name="T51" fmla="*/ 113 h 251"/>
                <a:gd name="T52" fmla="*/ 33 w 228"/>
                <a:gd name="T53" fmla="*/ 94 h 251"/>
                <a:gd name="T54" fmla="*/ 24 w 228"/>
                <a:gd name="T55" fmla="*/ 69 h 251"/>
                <a:gd name="T56" fmla="*/ 31 w 228"/>
                <a:gd name="T57" fmla="*/ 56 h 251"/>
                <a:gd name="T58" fmla="*/ 22 w 228"/>
                <a:gd name="T59" fmla="*/ 22 h 251"/>
                <a:gd name="T60" fmla="*/ 14 w 228"/>
                <a:gd name="T61" fmla="*/ 5 h 251"/>
                <a:gd name="T62" fmla="*/ 27 w 228"/>
                <a:gd name="T63" fmla="*/ 3 h 251"/>
                <a:gd name="T64" fmla="*/ 88 w 228"/>
                <a:gd name="T65" fmla="*/ 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51">
                  <a:moveTo>
                    <a:pt x="88" y="1"/>
                  </a:moveTo>
                  <a:lnTo>
                    <a:pt x="92" y="16"/>
                  </a:lnTo>
                  <a:lnTo>
                    <a:pt x="97" y="29"/>
                  </a:lnTo>
                  <a:lnTo>
                    <a:pt x="102" y="35"/>
                  </a:lnTo>
                  <a:lnTo>
                    <a:pt x="109" y="46"/>
                  </a:lnTo>
                  <a:lnTo>
                    <a:pt x="121" y="44"/>
                  </a:lnTo>
                  <a:lnTo>
                    <a:pt x="127" y="42"/>
                  </a:lnTo>
                  <a:lnTo>
                    <a:pt x="137" y="44"/>
                  </a:lnTo>
                  <a:lnTo>
                    <a:pt x="140" y="39"/>
                  </a:lnTo>
                  <a:lnTo>
                    <a:pt x="144" y="27"/>
                  </a:lnTo>
                  <a:lnTo>
                    <a:pt x="156" y="26"/>
                  </a:lnTo>
                  <a:lnTo>
                    <a:pt x="157" y="23"/>
                  </a:lnTo>
                  <a:lnTo>
                    <a:pt x="166" y="22"/>
                  </a:lnTo>
                  <a:lnTo>
                    <a:pt x="165" y="30"/>
                  </a:lnTo>
                  <a:lnTo>
                    <a:pt x="187" y="30"/>
                  </a:lnTo>
                  <a:lnTo>
                    <a:pt x="187" y="43"/>
                  </a:lnTo>
                  <a:lnTo>
                    <a:pt x="190" y="51"/>
                  </a:lnTo>
                  <a:lnTo>
                    <a:pt x="188" y="63"/>
                  </a:lnTo>
                  <a:lnTo>
                    <a:pt x="189" y="76"/>
                  </a:lnTo>
                  <a:lnTo>
                    <a:pt x="195" y="84"/>
                  </a:lnTo>
                  <a:lnTo>
                    <a:pt x="193" y="109"/>
                  </a:lnTo>
                  <a:lnTo>
                    <a:pt x="198" y="107"/>
                  </a:lnTo>
                  <a:lnTo>
                    <a:pt x="206" y="107"/>
                  </a:lnTo>
                  <a:lnTo>
                    <a:pt x="217" y="104"/>
                  </a:lnTo>
                  <a:lnTo>
                    <a:pt x="226" y="105"/>
                  </a:lnTo>
                  <a:lnTo>
                    <a:pt x="227" y="112"/>
                  </a:lnTo>
                  <a:lnTo>
                    <a:pt x="225" y="122"/>
                  </a:lnTo>
                  <a:lnTo>
                    <a:pt x="228" y="132"/>
                  </a:lnTo>
                  <a:lnTo>
                    <a:pt x="225" y="140"/>
                  </a:lnTo>
                  <a:lnTo>
                    <a:pt x="227" y="147"/>
                  </a:lnTo>
                  <a:lnTo>
                    <a:pt x="188" y="146"/>
                  </a:lnTo>
                  <a:lnTo>
                    <a:pt x="186" y="213"/>
                  </a:lnTo>
                  <a:lnTo>
                    <a:pt x="198" y="230"/>
                  </a:lnTo>
                  <a:lnTo>
                    <a:pt x="209" y="243"/>
                  </a:lnTo>
                  <a:lnTo>
                    <a:pt x="176" y="251"/>
                  </a:lnTo>
                  <a:lnTo>
                    <a:pt x="132" y="248"/>
                  </a:lnTo>
                  <a:lnTo>
                    <a:pt x="120" y="238"/>
                  </a:lnTo>
                  <a:lnTo>
                    <a:pt x="46" y="239"/>
                  </a:lnTo>
                  <a:lnTo>
                    <a:pt x="43" y="240"/>
                  </a:lnTo>
                  <a:lnTo>
                    <a:pt x="33" y="231"/>
                  </a:lnTo>
                  <a:lnTo>
                    <a:pt x="21" y="230"/>
                  </a:lnTo>
                  <a:lnTo>
                    <a:pt x="10" y="234"/>
                  </a:lnTo>
                  <a:lnTo>
                    <a:pt x="1" y="238"/>
                  </a:lnTo>
                  <a:lnTo>
                    <a:pt x="0" y="225"/>
                  </a:lnTo>
                  <a:lnTo>
                    <a:pt x="2" y="206"/>
                  </a:lnTo>
                  <a:lnTo>
                    <a:pt x="9" y="188"/>
                  </a:lnTo>
                  <a:lnTo>
                    <a:pt x="10" y="179"/>
                  </a:lnTo>
                  <a:lnTo>
                    <a:pt x="16" y="160"/>
                  </a:lnTo>
                  <a:lnTo>
                    <a:pt x="21" y="151"/>
                  </a:lnTo>
                  <a:lnTo>
                    <a:pt x="31" y="138"/>
                  </a:lnTo>
                  <a:lnTo>
                    <a:pt x="37" y="129"/>
                  </a:lnTo>
                  <a:lnTo>
                    <a:pt x="39" y="113"/>
                  </a:lnTo>
                  <a:lnTo>
                    <a:pt x="39" y="101"/>
                  </a:lnTo>
                  <a:lnTo>
                    <a:pt x="33" y="94"/>
                  </a:lnTo>
                  <a:lnTo>
                    <a:pt x="29" y="81"/>
                  </a:lnTo>
                  <a:lnTo>
                    <a:pt x="24" y="69"/>
                  </a:lnTo>
                  <a:lnTo>
                    <a:pt x="25" y="64"/>
                  </a:lnTo>
                  <a:lnTo>
                    <a:pt x="31" y="56"/>
                  </a:lnTo>
                  <a:lnTo>
                    <a:pt x="25" y="36"/>
                  </a:lnTo>
                  <a:lnTo>
                    <a:pt x="22" y="22"/>
                  </a:lnTo>
                  <a:lnTo>
                    <a:pt x="13" y="9"/>
                  </a:lnTo>
                  <a:lnTo>
                    <a:pt x="14" y="5"/>
                  </a:lnTo>
                  <a:lnTo>
                    <a:pt x="22" y="2"/>
                  </a:lnTo>
                  <a:lnTo>
                    <a:pt x="27" y="3"/>
                  </a:lnTo>
                  <a:lnTo>
                    <a:pt x="34" y="0"/>
                  </a:lnTo>
                  <a:lnTo>
                    <a:pt x="88" y="1"/>
                  </a:lnTo>
                  <a:close/>
                </a:path>
              </a:pathLst>
            </a:custGeom>
            <a:solidFill>
              <a:schemeClr val="accent2">
                <a:lumMod val="40000"/>
                <a:lumOff val="60000"/>
              </a:schemeClr>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9" name="Freeform 8"/>
            <p:cNvSpPr>
              <a:spLocks/>
            </p:cNvSpPr>
            <p:nvPr/>
          </p:nvSpPr>
          <p:spPr bwMode="auto">
            <a:xfrm>
              <a:off x="4529137" y="3852867"/>
              <a:ext cx="31750" cy="44450"/>
            </a:xfrm>
            <a:custGeom>
              <a:avLst/>
              <a:gdLst>
                <a:gd name="T0" fmla="*/ 10 w 20"/>
                <a:gd name="T1" fmla="*/ 26 h 28"/>
                <a:gd name="T2" fmla="*/ 5 w 20"/>
                <a:gd name="T3" fmla="*/ 28 h 28"/>
                <a:gd name="T4" fmla="*/ 0 w 20"/>
                <a:gd name="T5" fmla="*/ 12 h 28"/>
                <a:gd name="T6" fmla="*/ 7 w 20"/>
                <a:gd name="T7" fmla="*/ 3 h 28"/>
                <a:gd name="T8" fmla="*/ 13 w 20"/>
                <a:gd name="T9" fmla="*/ 0 h 28"/>
                <a:gd name="T10" fmla="*/ 20 w 20"/>
                <a:gd name="T11" fmla="*/ 7 h 28"/>
                <a:gd name="T12" fmla="*/ 13 w 20"/>
                <a:gd name="T13" fmla="*/ 11 h 28"/>
                <a:gd name="T14" fmla="*/ 10 w 20"/>
                <a:gd name="T15" fmla="*/ 16 h 28"/>
                <a:gd name="T16" fmla="*/ 10 w 20"/>
                <a:gd name="T1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8">
                  <a:moveTo>
                    <a:pt x="10" y="26"/>
                  </a:moveTo>
                  <a:lnTo>
                    <a:pt x="5" y="28"/>
                  </a:lnTo>
                  <a:lnTo>
                    <a:pt x="0" y="12"/>
                  </a:lnTo>
                  <a:lnTo>
                    <a:pt x="7" y="3"/>
                  </a:lnTo>
                  <a:lnTo>
                    <a:pt x="13" y="0"/>
                  </a:lnTo>
                  <a:lnTo>
                    <a:pt x="20" y="7"/>
                  </a:lnTo>
                  <a:lnTo>
                    <a:pt x="13" y="11"/>
                  </a:lnTo>
                  <a:lnTo>
                    <a:pt x="10" y="16"/>
                  </a:lnTo>
                  <a:lnTo>
                    <a:pt x="10" y="26"/>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30" name="Freeform 9"/>
            <p:cNvSpPr>
              <a:spLocks/>
            </p:cNvSpPr>
            <p:nvPr/>
          </p:nvSpPr>
          <p:spPr bwMode="auto">
            <a:xfrm>
              <a:off x="4695825" y="2300291"/>
              <a:ext cx="49213" cy="100013"/>
            </a:xfrm>
            <a:custGeom>
              <a:avLst/>
              <a:gdLst>
                <a:gd name="T0" fmla="*/ 22 w 31"/>
                <a:gd name="T1" fmla="*/ 17 h 63"/>
                <a:gd name="T2" fmla="*/ 20 w 31"/>
                <a:gd name="T3" fmla="*/ 24 h 63"/>
                <a:gd name="T4" fmla="*/ 23 w 31"/>
                <a:gd name="T5" fmla="*/ 33 h 63"/>
                <a:gd name="T6" fmla="*/ 31 w 31"/>
                <a:gd name="T7" fmla="*/ 38 h 63"/>
                <a:gd name="T8" fmla="*/ 31 w 31"/>
                <a:gd name="T9" fmla="*/ 44 h 63"/>
                <a:gd name="T10" fmla="*/ 25 w 31"/>
                <a:gd name="T11" fmla="*/ 46 h 63"/>
                <a:gd name="T12" fmla="*/ 25 w 31"/>
                <a:gd name="T13" fmla="*/ 53 h 63"/>
                <a:gd name="T14" fmla="*/ 18 w 31"/>
                <a:gd name="T15" fmla="*/ 63 h 63"/>
                <a:gd name="T16" fmla="*/ 15 w 31"/>
                <a:gd name="T17" fmla="*/ 62 h 63"/>
                <a:gd name="T18" fmla="*/ 14 w 31"/>
                <a:gd name="T19" fmla="*/ 57 h 63"/>
                <a:gd name="T20" fmla="*/ 4 w 31"/>
                <a:gd name="T21" fmla="*/ 50 h 63"/>
                <a:gd name="T22" fmla="*/ 2 w 31"/>
                <a:gd name="T23" fmla="*/ 40 h 63"/>
                <a:gd name="T24" fmla="*/ 3 w 31"/>
                <a:gd name="T25" fmla="*/ 26 h 63"/>
                <a:gd name="T26" fmla="*/ 4 w 31"/>
                <a:gd name="T27" fmla="*/ 20 h 63"/>
                <a:gd name="T28" fmla="*/ 1 w 31"/>
                <a:gd name="T29" fmla="*/ 17 h 63"/>
                <a:gd name="T30" fmla="*/ 0 w 31"/>
                <a:gd name="T31" fmla="*/ 10 h 63"/>
                <a:gd name="T32" fmla="*/ 6 w 31"/>
                <a:gd name="T33" fmla="*/ 0 h 63"/>
                <a:gd name="T34" fmla="*/ 7 w 31"/>
                <a:gd name="T35" fmla="*/ 4 h 63"/>
                <a:gd name="T36" fmla="*/ 12 w 31"/>
                <a:gd name="T37" fmla="*/ 2 h 63"/>
                <a:gd name="T38" fmla="*/ 16 w 31"/>
                <a:gd name="T39" fmla="*/ 8 h 63"/>
                <a:gd name="T40" fmla="*/ 20 w 31"/>
                <a:gd name="T41" fmla="*/ 10 h 63"/>
                <a:gd name="T42" fmla="*/ 22 w 31"/>
                <a:gd name="T4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63">
                  <a:moveTo>
                    <a:pt x="22" y="17"/>
                  </a:moveTo>
                  <a:lnTo>
                    <a:pt x="20" y="24"/>
                  </a:lnTo>
                  <a:lnTo>
                    <a:pt x="23" y="33"/>
                  </a:lnTo>
                  <a:lnTo>
                    <a:pt x="31" y="38"/>
                  </a:lnTo>
                  <a:lnTo>
                    <a:pt x="31" y="44"/>
                  </a:lnTo>
                  <a:lnTo>
                    <a:pt x="25" y="46"/>
                  </a:lnTo>
                  <a:lnTo>
                    <a:pt x="25" y="53"/>
                  </a:lnTo>
                  <a:lnTo>
                    <a:pt x="18" y="63"/>
                  </a:lnTo>
                  <a:lnTo>
                    <a:pt x="15" y="62"/>
                  </a:lnTo>
                  <a:lnTo>
                    <a:pt x="14" y="57"/>
                  </a:lnTo>
                  <a:lnTo>
                    <a:pt x="4" y="50"/>
                  </a:lnTo>
                  <a:lnTo>
                    <a:pt x="2" y="40"/>
                  </a:lnTo>
                  <a:lnTo>
                    <a:pt x="3" y="26"/>
                  </a:lnTo>
                  <a:lnTo>
                    <a:pt x="4" y="20"/>
                  </a:lnTo>
                  <a:lnTo>
                    <a:pt x="1" y="17"/>
                  </a:lnTo>
                  <a:lnTo>
                    <a:pt x="0" y="10"/>
                  </a:lnTo>
                  <a:lnTo>
                    <a:pt x="6" y="0"/>
                  </a:lnTo>
                  <a:lnTo>
                    <a:pt x="7" y="4"/>
                  </a:lnTo>
                  <a:lnTo>
                    <a:pt x="12" y="2"/>
                  </a:lnTo>
                  <a:lnTo>
                    <a:pt x="16" y="8"/>
                  </a:lnTo>
                  <a:lnTo>
                    <a:pt x="20" y="10"/>
                  </a:lnTo>
                  <a:lnTo>
                    <a:pt x="22" y="1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31" name="Freeform 10"/>
            <p:cNvSpPr>
              <a:spLocks/>
            </p:cNvSpPr>
            <p:nvPr/>
          </p:nvSpPr>
          <p:spPr bwMode="auto">
            <a:xfrm>
              <a:off x="5646737" y="2846391"/>
              <a:ext cx="134938" cy="117475"/>
            </a:xfrm>
            <a:custGeom>
              <a:avLst/>
              <a:gdLst>
                <a:gd name="T0" fmla="*/ 0 w 85"/>
                <a:gd name="T1" fmla="*/ 38 h 74"/>
                <a:gd name="T2" fmla="*/ 3 w 85"/>
                <a:gd name="T3" fmla="*/ 37 h 74"/>
                <a:gd name="T4" fmla="*/ 4 w 85"/>
                <a:gd name="T5" fmla="*/ 42 h 74"/>
                <a:gd name="T6" fmla="*/ 18 w 85"/>
                <a:gd name="T7" fmla="*/ 39 h 74"/>
                <a:gd name="T8" fmla="*/ 33 w 85"/>
                <a:gd name="T9" fmla="*/ 40 h 74"/>
                <a:gd name="T10" fmla="*/ 44 w 85"/>
                <a:gd name="T11" fmla="*/ 40 h 74"/>
                <a:gd name="T12" fmla="*/ 54 w 85"/>
                <a:gd name="T13" fmla="*/ 26 h 74"/>
                <a:gd name="T14" fmla="*/ 66 w 85"/>
                <a:gd name="T15" fmla="*/ 13 h 74"/>
                <a:gd name="T16" fmla="*/ 76 w 85"/>
                <a:gd name="T17" fmla="*/ 0 h 74"/>
                <a:gd name="T18" fmla="*/ 80 w 85"/>
                <a:gd name="T19" fmla="*/ 7 h 74"/>
                <a:gd name="T20" fmla="*/ 85 w 85"/>
                <a:gd name="T21" fmla="*/ 24 h 74"/>
                <a:gd name="T22" fmla="*/ 75 w 85"/>
                <a:gd name="T23" fmla="*/ 24 h 74"/>
                <a:gd name="T24" fmla="*/ 76 w 85"/>
                <a:gd name="T25" fmla="*/ 37 h 74"/>
                <a:gd name="T26" fmla="*/ 79 w 85"/>
                <a:gd name="T27" fmla="*/ 40 h 74"/>
                <a:gd name="T28" fmla="*/ 72 w 85"/>
                <a:gd name="T29" fmla="*/ 44 h 74"/>
                <a:gd name="T30" fmla="*/ 72 w 85"/>
                <a:gd name="T31" fmla="*/ 53 h 74"/>
                <a:gd name="T32" fmla="*/ 68 w 85"/>
                <a:gd name="T33" fmla="*/ 61 h 74"/>
                <a:gd name="T34" fmla="*/ 69 w 85"/>
                <a:gd name="T35" fmla="*/ 70 h 74"/>
                <a:gd name="T36" fmla="*/ 65 w 85"/>
                <a:gd name="T37" fmla="*/ 74 h 74"/>
                <a:gd name="T38" fmla="*/ 10 w 85"/>
                <a:gd name="T39" fmla="*/ 64 h 74"/>
                <a:gd name="T40" fmla="*/ 1 w 85"/>
                <a:gd name="T41" fmla="*/ 43 h 74"/>
                <a:gd name="T42" fmla="*/ 0 w 85"/>
                <a:gd name="T43"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74">
                  <a:moveTo>
                    <a:pt x="0" y="38"/>
                  </a:moveTo>
                  <a:lnTo>
                    <a:pt x="3" y="37"/>
                  </a:lnTo>
                  <a:lnTo>
                    <a:pt x="4" y="42"/>
                  </a:lnTo>
                  <a:lnTo>
                    <a:pt x="18" y="39"/>
                  </a:lnTo>
                  <a:lnTo>
                    <a:pt x="33" y="40"/>
                  </a:lnTo>
                  <a:lnTo>
                    <a:pt x="44" y="40"/>
                  </a:lnTo>
                  <a:lnTo>
                    <a:pt x="54" y="26"/>
                  </a:lnTo>
                  <a:lnTo>
                    <a:pt x="66" y="13"/>
                  </a:lnTo>
                  <a:lnTo>
                    <a:pt x="76" y="0"/>
                  </a:lnTo>
                  <a:lnTo>
                    <a:pt x="80" y="7"/>
                  </a:lnTo>
                  <a:lnTo>
                    <a:pt x="85" y="24"/>
                  </a:lnTo>
                  <a:lnTo>
                    <a:pt x="75" y="24"/>
                  </a:lnTo>
                  <a:lnTo>
                    <a:pt x="76" y="37"/>
                  </a:lnTo>
                  <a:lnTo>
                    <a:pt x="79" y="40"/>
                  </a:lnTo>
                  <a:lnTo>
                    <a:pt x="72" y="44"/>
                  </a:lnTo>
                  <a:lnTo>
                    <a:pt x="72" y="53"/>
                  </a:lnTo>
                  <a:lnTo>
                    <a:pt x="68" y="61"/>
                  </a:lnTo>
                  <a:lnTo>
                    <a:pt x="69" y="70"/>
                  </a:lnTo>
                  <a:lnTo>
                    <a:pt x="65" y="74"/>
                  </a:lnTo>
                  <a:lnTo>
                    <a:pt x="10" y="64"/>
                  </a:lnTo>
                  <a:lnTo>
                    <a:pt x="1" y="43"/>
                  </a:lnTo>
                  <a:lnTo>
                    <a:pt x="0" y="38"/>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32" name="Freeform 11"/>
            <p:cNvSpPr>
              <a:spLocks noEditPoints="1"/>
            </p:cNvSpPr>
            <p:nvPr/>
          </p:nvSpPr>
          <p:spPr bwMode="auto">
            <a:xfrm>
              <a:off x="2219325" y="4425954"/>
              <a:ext cx="449263" cy="1089025"/>
            </a:xfrm>
            <a:custGeom>
              <a:avLst/>
              <a:gdLst>
                <a:gd name="T0" fmla="*/ 331 w 1160"/>
                <a:gd name="T1" fmla="*/ 82 h 2811"/>
                <a:gd name="T2" fmla="*/ 436 w 1160"/>
                <a:gd name="T3" fmla="*/ 17 h 2811"/>
                <a:gd name="T4" fmla="*/ 602 w 1160"/>
                <a:gd name="T5" fmla="*/ 174 h 2811"/>
                <a:gd name="T6" fmla="*/ 761 w 1160"/>
                <a:gd name="T7" fmla="*/ 250 h 2811"/>
                <a:gd name="T8" fmla="*/ 855 w 1160"/>
                <a:gd name="T9" fmla="*/ 321 h 2811"/>
                <a:gd name="T10" fmla="*/ 877 w 1160"/>
                <a:gd name="T11" fmla="*/ 473 h 2811"/>
                <a:gd name="T12" fmla="*/ 1016 w 1160"/>
                <a:gd name="T13" fmla="*/ 472 h 2811"/>
                <a:gd name="T14" fmla="*/ 1076 w 1160"/>
                <a:gd name="T15" fmla="*/ 332 h 2811"/>
                <a:gd name="T16" fmla="*/ 1153 w 1160"/>
                <a:gd name="T17" fmla="*/ 365 h 2811"/>
                <a:gd name="T18" fmla="*/ 1105 w 1160"/>
                <a:gd name="T19" fmla="*/ 480 h 2811"/>
                <a:gd name="T20" fmla="*/ 990 w 1160"/>
                <a:gd name="T21" fmla="*/ 597 h 2811"/>
                <a:gd name="T22" fmla="*/ 904 w 1160"/>
                <a:gd name="T23" fmla="*/ 781 h 2811"/>
                <a:gd name="T24" fmla="*/ 914 w 1160"/>
                <a:gd name="T25" fmla="*/ 953 h 2811"/>
                <a:gd name="T26" fmla="*/ 907 w 1160"/>
                <a:gd name="T27" fmla="*/ 1027 h 2811"/>
                <a:gd name="T28" fmla="*/ 1014 w 1160"/>
                <a:gd name="T29" fmla="*/ 1144 h 2811"/>
                <a:gd name="T30" fmla="*/ 1067 w 1160"/>
                <a:gd name="T31" fmla="*/ 1239 h 2811"/>
                <a:gd name="T32" fmla="*/ 1027 w 1160"/>
                <a:gd name="T33" fmla="*/ 1389 h 2811"/>
                <a:gd name="T34" fmla="*/ 797 w 1160"/>
                <a:gd name="T35" fmla="*/ 1452 h 2811"/>
                <a:gd name="T36" fmla="*/ 745 w 1160"/>
                <a:gd name="T37" fmla="*/ 1494 h 2811"/>
                <a:gd name="T38" fmla="*/ 770 w 1160"/>
                <a:gd name="T39" fmla="*/ 1600 h 2811"/>
                <a:gd name="T40" fmla="*/ 668 w 1160"/>
                <a:gd name="T41" fmla="*/ 1641 h 2811"/>
                <a:gd name="T42" fmla="*/ 573 w 1160"/>
                <a:gd name="T43" fmla="*/ 1632 h 2811"/>
                <a:gd name="T44" fmla="*/ 659 w 1160"/>
                <a:gd name="T45" fmla="*/ 1741 h 2811"/>
                <a:gd name="T46" fmla="*/ 722 w 1160"/>
                <a:gd name="T47" fmla="*/ 1759 h 2811"/>
                <a:gd name="T48" fmla="*/ 626 w 1160"/>
                <a:gd name="T49" fmla="*/ 1837 h 2811"/>
                <a:gd name="T50" fmla="*/ 639 w 1160"/>
                <a:gd name="T51" fmla="*/ 1966 h 2811"/>
                <a:gd name="T52" fmla="*/ 536 w 1160"/>
                <a:gd name="T53" fmla="*/ 2010 h 2811"/>
                <a:gd name="T54" fmla="*/ 623 w 1160"/>
                <a:gd name="T55" fmla="*/ 2134 h 2811"/>
                <a:gd name="T56" fmla="*/ 695 w 1160"/>
                <a:gd name="T57" fmla="*/ 2225 h 2811"/>
                <a:gd name="T58" fmla="*/ 626 w 1160"/>
                <a:gd name="T59" fmla="*/ 2369 h 2811"/>
                <a:gd name="T60" fmla="*/ 567 w 1160"/>
                <a:gd name="T61" fmla="*/ 2441 h 2811"/>
                <a:gd name="T62" fmla="*/ 683 w 1160"/>
                <a:gd name="T63" fmla="*/ 2574 h 2811"/>
                <a:gd name="T64" fmla="*/ 590 w 1160"/>
                <a:gd name="T65" fmla="*/ 2557 h 2811"/>
                <a:gd name="T66" fmla="*/ 383 w 1160"/>
                <a:gd name="T67" fmla="*/ 2498 h 2811"/>
                <a:gd name="T68" fmla="*/ 317 w 1160"/>
                <a:gd name="T69" fmla="*/ 2442 h 2811"/>
                <a:gd name="T70" fmla="*/ 241 w 1160"/>
                <a:gd name="T71" fmla="*/ 2324 h 2811"/>
                <a:gd name="T72" fmla="*/ 278 w 1160"/>
                <a:gd name="T73" fmla="*/ 2234 h 2811"/>
                <a:gd name="T74" fmla="*/ 264 w 1160"/>
                <a:gd name="T75" fmla="*/ 2121 h 2811"/>
                <a:gd name="T76" fmla="*/ 226 w 1160"/>
                <a:gd name="T77" fmla="*/ 1961 h 2811"/>
                <a:gd name="T78" fmla="*/ 232 w 1160"/>
                <a:gd name="T79" fmla="*/ 1914 h 2811"/>
                <a:gd name="T80" fmla="*/ 206 w 1160"/>
                <a:gd name="T81" fmla="*/ 1862 h 2811"/>
                <a:gd name="T82" fmla="*/ 119 w 1160"/>
                <a:gd name="T83" fmla="*/ 1733 h 2811"/>
                <a:gd name="T84" fmla="*/ 99 w 1160"/>
                <a:gd name="T85" fmla="*/ 1613 h 2811"/>
                <a:gd name="T86" fmla="*/ 88 w 1160"/>
                <a:gd name="T87" fmla="*/ 1451 h 2811"/>
                <a:gd name="T88" fmla="*/ 78 w 1160"/>
                <a:gd name="T89" fmla="*/ 1338 h 2811"/>
                <a:gd name="T90" fmla="*/ 98 w 1160"/>
                <a:gd name="T91" fmla="*/ 1204 h 2811"/>
                <a:gd name="T92" fmla="*/ 102 w 1160"/>
                <a:gd name="T93" fmla="*/ 1051 h 2811"/>
                <a:gd name="T94" fmla="*/ 63 w 1160"/>
                <a:gd name="T95" fmla="*/ 957 h 2811"/>
                <a:gd name="T96" fmla="*/ 27 w 1160"/>
                <a:gd name="T97" fmla="*/ 723 h 2811"/>
                <a:gd name="T98" fmla="*/ 17 w 1160"/>
                <a:gd name="T99" fmla="*/ 564 h 2811"/>
                <a:gd name="T100" fmla="*/ 94 w 1160"/>
                <a:gd name="T101" fmla="*/ 431 h 2811"/>
                <a:gd name="T102" fmla="*/ 77 w 1160"/>
                <a:gd name="T103" fmla="*/ 370 h 2811"/>
                <a:gd name="T104" fmla="*/ 128 w 1160"/>
                <a:gd name="T105" fmla="*/ 186 h 2811"/>
                <a:gd name="T106" fmla="*/ 130 w 1160"/>
                <a:gd name="T107" fmla="*/ 77 h 2811"/>
                <a:gd name="T108" fmla="*/ 281 w 1160"/>
                <a:gd name="T109" fmla="*/ 20 h 2811"/>
                <a:gd name="T110" fmla="*/ 889 w 1160"/>
                <a:gd name="T111" fmla="*/ 2811 h 2811"/>
                <a:gd name="T112" fmla="*/ 806 w 1160"/>
                <a:gd name="T113" fmla="*/ 2780 h 2811"/>
                <a:gd name="T114" fmla="*/ 662 w 1160"/>
                <a:gd name="T115" fmla="*/ 2598 h 2811"/>
                <a:gd name="T116" fmla="*/ 759 w 1160"/>
                <a:gd name="T117" fmla="*/ 2697 h 2811"/>
                <a:gd name="T118" fmla="*/ 959 w 1160"/>
                <a:gd name="T119" fmla="*/ 2766 h 2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0" h="2811">
                  <a:moveTo>
                    <a:pt x="281" y="20"/>
                  </a:moveTo>
                  <a:lnTo>
                    <a:pt x="331" y="82"/>
                  </a:lnTo>
                  <a:lnTo>
                    <a:pt x="352" y="13"/>
                  </a:lnTo>
                  <a:lnTo>
                    <a:pt x="436" y="17"/>
                  </a:lnTo>
                  <a:lnTo>
                    <a:pt x="450" y="35"/>
                  </a:lnTo>
                  <a:lnTo>
                    <a:pt x="602" y="174"/>
                  </a:lnTo>
                  <a:lnTo>
                    <a:pt x="663" y="187"/>
                  </a:lnTo>
                  <a:lnTo>
                    <a:pt x="761" y="250"/>
                  </a:lnTo>
                  <a:lnTo>
                    <a:pt x="840" y="283"/>
                  </a:lnTo>
                  <a:lnTo>
                    <a:pt x="855" y="321"/>
                  </a:lnTo>
                  <a:lnTo>
                    <a:pt x="801" y="450"/>
                  </a:lnTo>
                  <a:lnTo>
                    <a:pt x="877" y="473"/>
                  </a:lnTo>
                  <a:lnTo>
                    <a:pt x="960" y="486"/>
                  </a:lnTo>
                  <a:lnTo>
                    <a:pt x="1016" y="472"/>
                  </a:lnTo>
                  <a:lnTo>
                    <a:pt x="1074" y="407"/>
                  </a:lnTo>
                  <a:lnTo>
                    <a:pt x="1076" y="332"/>
                  </a:lnTo>
                  <a:lnTo>
                    <a:pt x="1111" y="316"/>
                  </a:lnTo>
                  <a:lnTo>
                    <a:pt x="1153" y="365"/>
                  </a:lnTo>
                  <a:lnTo>
                    <a:pt x="1160" y="433"/>
                  </a:lnTo>
                  <a:lnTo>
                    <a:pt x="1105" y="480"/>
                  </a:lnTo>
                  <a:lnTo>
                    <a:pt x="1060" y="514"/>
                  </a:lnTo>
                  <a:lnTo>
                    <a:pt x="990" y="597"/>
                  </a:lnTo>
                  <a:lnTo>
                    <a:pt x="911" y="713"/>
                  </a:lnTo>
                  <a:lnTo>
                    <a:pt x="904" y="781"/>
                  </a:lnTo>
                  <a:lnTo>
                    <a:pt x="899" y="868"/>
                  </a:lnTo>
                  <a:lnTo>
                    <a:pt x="914" y="953"/>
                  </a:lnTo>
                  <a:lnTo>
                    <a:pt x="902" y="972"/>
                  </a:lnTo>
                  <a:lnTo>
                    <a:pt x="907" y="1027"/>
                  </a:lnTo>
                  <a:lnTo>
                    <a:pt x="910" y="1071"/>
                  </a:lnTo>
                  <a:lnTo>
                    <a:pt x="1014" y="1144"/>
                  </a:lnTo>
                  <a:lnTo>
                    <a:pt x="1015" y="1202"/>
                  </a:lnTo>
                  <a:lnTo>
                    <a:pt x="1067" y="1239"/>
                  </a:lnTo>
                  <a:lnTo>
                    <a:pt x="1071" y="1280"/>
                  </a:lnTo>
                  <a:lnTo>
                    <a:pt x="1027" y="1389"/>
                  </a:lnTo>
                  <a:lnTo>
                    <a:pt x="933" y="1434"/>
                  </a:lnTo>
                  <a:lnTo>
                    <a:pt x="797" y="1452"/>
                  </a:lnTo>
                  <a:lnTo>
                    <a:pt x="719" y="1443"/>
                  </a:lnTo>
                  <a:lnTo>
                    <a:pt x="745" y="1494"/>
                  </a:lnTo>
                  <a:lnTo>
                    <a:pt x="747" y="1557"/>
                  </a:lnTo>
                  <a:lnTo>
                    <a:pt x="770" y="1600"/>
                  </a:lnTo>
                  <a:lnTo>
                    <a:pt x="736" y="1629"/>
                  </a:lnTo>
                  <a:lnTo>
                    <a:pt x="668" y="1641"/>
                  </a:lnTo>
                  <a:lnTo>
                    <a:pt x="594" y="1610"/>
                  </a:lnTo>
                  <a:lnTo>
                    <a:pt x="573" y="1632"/>
                  </a:lnTo>
                  <a:lnTo>
                    <a:pt x="606" y="1716"/>
                  </a:lnTo>
                  <a:lnTo>
                    <a:pt x="659" y="1741"/>
                  </a:lnTo>
                  <a:lnTo>
                    <a:pt x="689" y="1715"/>
                  </a:lnTo>
                  <a:lnTo>
                    <a:pt x="722" y="1759"/>
                  </a:lnTo>
                  <a:lnTo>
                    <a:pt x="666" y="1785"/>
                  </a:lnTo>
                  <a:lnTo>
                    <a:pt x="626" y="1837"/>
                  </a:lnTo>
                  <a:lnTo>
                    <a:pt x="641" y="1922"/>
                  </a:lnTo>
                  <a:lnTo>
                    <a:pt x="639" y="1966"/>
                  </a:lnTo>
                  <a:lnTo>
                    <a:pt x="575" y="1967"/>
                  </a:lnTo>
                  <a:lnTo>
                    <a:pt x="536" y="2010"/>
                  </a:lnTo>
                  <a:lnTo>
                    <a:pt x="537" y="2072"/>
                  </a:lnTo>
                  <a:lnTo>
                    <a:pt x="623" y="2134"/>
                  </a:lnTo>
                  <a:lnTo>
                    <a:pt x="693" y="2150"/>
                  </a:lnTo>
                  <a:lnTo>
                    <a:pt x="695" y="2225"/>
                  </a:lnTo>
                  <a:lnTo>
                    <a:pt x="633" y="2272"/>
                  </a:lnTo>
                  <a:lnTo>
                    <a:pt x="626" y="2369"/>
                  </a:lnTo>
                  <a:lnTo>
                    <a:pt x="578" y="2402"/>
                  </a:lnTo>
                  <a:lnTo>
                    <a:pt x="567" y="2441"/>
                  </a:lnTo>
                  <a:lnTo>
                    <a:pt x="621" y="2527"/>
                  </a:lnTo>
                  <a:lnTo>
                    <a:pt x="683" y="2574"/>
                  </a:lnTo>
                  <a:lnTo>
                    <a:pt x="654" y="2570"/>
                  </a:lnTo>
                  <a:lnTo>
                    <a:pt x="590" y="2557"/>
                  </a:lnTo>
                  <a:lnTo>
                    <a:pt x="429" y="2546"/>
                  </a:lnTo>
                  <a:lnTo>
                    <a:pt x="383" y="2498"/>
                  </a:lnTo>
                  <a:lnTo>
                    <a:pt x="359" y="2436"/>
                  </a:lnTo>
                  <a:lnTo>
                    <a:pt x="317" y="2442"/>
                  </a:lnTo>
                  <a:lnTo>
                    <a:pt x="282" y="2412"/>
                  </a:lnTo>
                  <a:lnTo>
                    <a:pt x="241" y="2324"/>
                  </a:lnTo>
                  <a:lnTo>
                    <a:pt x="277" y="2287"/>
                  </a:lnTo>
                  <a:lnTo>
                    <a:pt x="278" y="2234"/>
                  </a:lnTo>
                  <a:lnTo>
                    <a:pt x="255" y="2192"/>
                  </a:lnTo>
                  <a:lnTo>
                    <a:pt x="264" y="2121"/>
                  </a:lnTo>
                  <a:lnTo>
                    <a:pt x="250" y="2010"/>
                  </a:lnTo>
                  <a:lnTo>
                    <a:pt x="226" y="1961"/>
                  </a:lnTo>
                  <a:lnTo>
                    <a:pt x="250" y="1945"/>
                  </a:lnTo>
                  <a:lnTo>
                    <a:pt x="232" y="1914"/>
                  </a:lnTo>
                  <a:lnTo>
                    <a:pt x="195" y="1897"/>
                  </a:lnTo>
                  <a:lnTo>
                    <a:pt x="206" y="1862"/>
                  </a:lnTo>
                  <a:lnTo>
                    <a:pt x="165" y="1830"/>
                  </a:lnTo>
                  <a:lnTo>
                    <a:pt x="119" y="1733"/>
                  </a:lnTo>
                  <a:lnTo>
                    <a:pt x="141" y="1716"/>
                  </a:lnTo>
                  <a:lnTo>
                    <a:pt x="99" y="1613"/>
                  </a:lnTo>
                  <a:lnTo>
                    <a:pt x="90" y="1526"/>
                  </a:lnTo>
                  <a:lnTo>
                    <a:pt x="88" y="1451"/>
                  </a:lnTo>
                  <a:lnTo>
                    <a:pt x="121" y="1420"/>
                  </a:lnTo>
                  <a:lnTo>
                    <a:pt x="78" y="1338"/>
                  </a:lnTo>
                  <a:lnTo>
                    <a:pt x="58" y="1260"/>
                  </a:lnTo>
                  <a:lnTo>
                    <a:pt x="98" y="1204"/>
                  </a:lnTo>
                  <a:lnTo>
                    <a:pt x="80" y="1134"/>
                  </a:lnTo>
                  <a:lnTo>
                    <a:pt x="102" y="1051"/>
                  </a:lnTo>
                  <a:lnTo>
                    <a:pt x="85" y="973"/>
                  </a:lnTo>
                  <a:lnTo>
                    <a:pt x="63" y="957"/>
                  </a:lnTo>
                  <a:lnTo>
                    <a:pt x="0" y="811"/>
                  </a:lnTo>
                  <a:lnTo>
                    <a:pt x="27" y="723"/>
                  </a:lnTo>
                  <a:lnTo>
                    <a:pt x="5" y="641"/>
                  </a:lnTo>
                  <a:lnTo>
                    <a:pt x="17" y="564"/>
                  </a:lnTo>
                  <a:lnTo>
                    <a:pt x="51" y="484"/>
                  </a:lnTo>
                  <a:lnTo>
                    <a:pt x="94" y="431"/>
                  </a:lnTo>
                  <a:lnTo>
                    <a:pt x="67" y="397"/>
                  </a:lnTo>
                  <a:lnTo>
                    <a:pt x="77" y="370"/>
                  </a:lnTo>
                  <a:lnTo>
                    <a:pt x="54" y="228"/>
                  </a:lnTo>
                  <a:lnTo>
                    <a:pt x="128" y="186"/>
                  </a:lnTo>
                  <a:lnTo>
                    <a:pt x="142" y="98"/>
                  </a:lnTo>
                  <a:lnTo>
                    <a:pt x="130" y="77"/>
                  </a:lnTo>
                  <a:lnTo>
                    <a:pt x="182" y="0"/>
                  </a:lnTo>
                  <a:lnTo>
                    <a:pt x="281" y="20"/>
                  </a:lnTo>
                  <a:moveTo>
                    <a:pt x="947" y="2807"/>
                  </a:moveTo>
                  <a:lnTo>
                    <a:pt x="889" y="2811"/>
                  </a:lnTo>
                  <a:lnTo>
                    <a:pt x="845" y="2782"/>
                  </a:lnTo>
                  <a:lnTo>
                    <a:pt x="806" y="2780"/>
                  </a:lnTo>
                  <a:lnTo>
                    <a:pt x="739" y="2780"/>
                  </a:lnTo>
                  <a:lnTo>
                    <a:pt x="662" y="2598"/>
                  </a:lnTo>
                  <a:lnTo>
                    <a:pt x="702" y="2636"/>
                  </a:lnTo>
                  <a:lnTo>
                    <a:pt x="759" y="2697"/>
                  </a:lnTo>
                  <a:lnTo>
                    <a:pt x="862" y="2746"/>
                  </a:lnTo>
                  <a:lnTo>
                    <a:pt x="959" y="2766"/>
                  </a:lnTo>
                  <a:lnTo>
                    <a:pt x="947" y="2807"/>
                  </a:lnTo>
                </a:path>
              </a:pathLst>
            </a:custGeom>
            <a:solidFill>
              <a:srgbClr val="4F81BD"/>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33" name="Freeform 12"/>
            <p:cNvSpPr>
              <a:spLocks/>
            </p:cNvSpPr>
            <p:nvPr/>
          </p:nvSpPr>
          <p:spPr bwMode="auto">
            <a:xfrm>
              <a:off x="5346700" y="2347916"/>
              <a:ext cx="92075" cy="80963"/>
            </a:xfrm>
            <a:custGeom>
              <a:avLst/>
              <a:gdLst>
                <a:gd name="T0" fmla="*/ 0 w 58"/>
                <a:gd name="T1" fmla="*/ 3 h 51"/>
                <a:gd name="T2" fmla="*/ 23 w 58"/>
                <a:gd name="T3" fmla="*/ 0 h 51"/>
                <a:gd name="T4" fmla="*/ 27 w 58"/>
                <a:gd name="T5" fmla="*/ 5 h 51"/>
                <a:gd name="T6" fmla="*/ 34 w 58"/>
                <a:gd name="T7" fmla="*/ 9 h 51"/>
                <a:gd name="T8" fmla="*/ 32 w 58"/>
                <a:gd name="T9" fmla="*/ 14 h 51"/>
                <a:gd name="T10" fmla="*/ 42 w 58"/>
                <a:gd name="T11" fmla="*/ 21 h 51"/>
                <a:gd name="T12" fmla="*/ 39 w 58"/>
                <a:gd name="T13" fmla="*/ 27 h 51"/>
                <a:gd name="T14" fmla="*/ 47 w 58"/>
                <a:gd name="T15" fmla="*/ 33 h 51"/>
                <a:gd name="T16" fmla="*/ 55 w 58"/>
                <a:gd name="T17" fmla="*/ 36 h 51"/>
                <a:gd name="T18" fmla="*/ 58 w 58"/>
                <a:gd name="T19" fmla="*/ 51 h 51"/>
                <a:gd name="T20" fmla="*/ 52 w 58"/>
                <a:gd name="T21" fmla="*/ 51 h 51"/>
                <a:gd name="T22" fmla="*/ 43 w 58"/>
                <a:gd name="T23" fmla="*/ 39 h 51"/>
                <a:gd name="T24" fmla="*/ 42 w 58"/>
                <a:gd name="T25" fmla="*/ 36 h 51"/>
                <a:gd name="T26" fmla="*/ 35 w 58"/>
                <a:gd name="T27" fmla="*/ 36 h 51"/>
                <a:gd name="T28" fmla="*/ 29 w 58"/>
                <a:gd name="T29" fmla="*/ 31 h 51"/>
                <a:gd name="T30" fmla="*/ 26 w 58"/>
                <a:gd name="T31" fmla="*/ 31 h 51"/>
                <a:gd name="T32" fmla="*/ 18 w 58"/>
                <a:gd name="T33" fmla="*/ 25 h 51"/>
                <a:gd name="T34" fmla="*/ 4 w 58"/>
                <a:gd name="T35" fmla="*/ 20 h 51"/>
                <a:gd name="T36" fmla="*/ 4 w 58"/>
                <a:gd name="T37" fmla="*/ 10 h 51"/>
                <a:gd name="T38" fmla="*/ 0 w 58"/>
                <a:gd name="T39"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1">
                  <a:moveTo>
                    <a:pt x="0" y="3"/>
                  </a:moveTo>
                  <a:lnTo>
                    <a:pt x="23" y="0"/>
                  </a:lnTo>
                  <a:lnTo>
                    <a:pt x="27" y="5"/>
                  </a:lnTo>
                  <a:lnTo>
                    <a:pt x="34" y="9"/>
                  </a:lnTo>
                  <a:lnTo>
                    <a:pt x="32" y="14"/>
                  </a:lnTo>
                  <a:lnTo>
                    <a:pt x="42" y="21"/>
                  </a:lnTo>
                  <a:lnTo>
                    <a:pt x="39" y="27"/>
                  </a:lnTo>
                  <a:lnTo>
                    <a:pt x="47" y="33"/>
                  </a:lnTo>
                  <a:lnTo>
                    <a:pt x="55" y="36"/>
                  </a:lnTo>
                  <a:lnTo>
                    <a:pt x="58" y="51"/>
                  </a:lnTo>
                  <a:lnTo>
                    <a:pt x="52" y="51"/>
                  </a:lnTo>
                  <a:lnTo>
                    <a:pt x="43" y="39"/>
                  </a:lnTo>
                  <a:lnTo>
                    <a:pt x="42" y="36"/>
                  </a:lnTo>
                  <a:lnTo>
                    <a:pt x="35" y="36"/>
                  </a:lnTo>
                  <a:lnTo>
                    <a:pt x="29" y="31"/>
                  </a:lnTo>
                  <a:lnTo>
                    <a:pt x="26" y="31"/>
                  </a:lnTo>
                  <a:lnTo>
                    <a:pt x="18" y="25"/>
                  </a:lnTo>
                  <a:lnTo>
                    <a:pt x="4" y="20"/>
                  </a:lnTo>
                  <a:lnTo>
                    <a:pt x="4" y="10"/>
                  </a:lnTo>
                  <a:lnTo>
                    <a:pt x="0" y="3"/>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34" name="Freeform 13"/>
            <p:cNvSpPr>
              <a:spLocks noEditPoints="1"/>
            </p:cNvSpPr>
            <p:nvPr/>
          </p:nvSpPr>
          <p:spPr bwMode="auto">
            <a:xfrm>
              <a:off x="7351712" y="4057654"/>
              <a:ext cx="1160463" cy="1084263"/>
            </a:xfrm>
            <a:custGeom>
              <a:avLst/>
              <a:gdLst>
                <a:gd name="T0" fmla="*/ 2629 w 2996"/>
                <a:gd name="T1" fmla="*/ 334 h 2800"/>
                <a:gd name="T2" fmla="*/ 2651 w 2996"/>
                <a:gd name="T3" fmla="*/ 521 h 2800"/>
                <a:gd name="T4" fmla="*/ 2668 w 2996"/>
                <a:gd name="T5" fmla="*/ 706 h 2800"/>
                <a:gd name="T6" fmla="*/ 2806 w 2996"/>
                <a:gd name="T7" fmla="*/ 849 h 2800"/>
                <a:gd name="T8" fmla="*/ 2893 w 2996"/>
                <a:gd name="T9" fmla="*/ 1012 h 2800"/>
                <a:gd name="T10" fmla="*/ 2961 w 2996"/>
                <a:gd name="T11" fmla="*/ 1174 h 2800"/>
                <a:gd name="T12" fmla="*/ 2955 w 2996"/>
                <a:gd name="T13" fmla="*/ 1413 h 2800"/>
                <a:gd name="T14" fmla="*/ 2851 w 2996"/>
                <a:gd name="T15" fmla="*/ 1675 h 2800"/>
                <a:gd name="T16" fmla="*/ 2654 w 2996"/>
                <a:gd name="T17" fmla="*/ 1904 h 2800"/>
                <a:gd name="T18" fmla="*/ 2448 w 2996"/>
                <a:gd name="T19" fmla="*/ 2127 h 2800"/>
                <a:gd name="T20" fmla="*/ 2290 w 2996"/>
                <a:gd name="T21" fmla="*/ 2305 h 2800"/>
                <a:gd name="T22" fmla="*/ 2014 w 2996"/>
                <a:gd name="T23" fmla="*/ 2412 h 2800"/>
                <a:gd name="T24" fmla="*/ 1930 w 2996"/>
                <a:gd name="T25" fmla="*/ 2332 h 2800"/>
                <a:gd name="T26" fmla="*/ 1719 w 2996"/>
                <a:gd name="T27" fmla="*/ 2350 h 2800"/>
                <a:gd name="T28" fmla="*/ 1669 w 2996"/>
                <a:gd name="T29" fmla="*/ 2167 h 2800"/>
                <a:gd name="T30" fmla="*/ 1641 w 2996"/>
                <a:gd name="T31" fmla="*/ 2018 h 2800"/>
                <a:gd name="T32" fmla="*/ 1600 w 2996"/>
                <a:gd name="T33" fmla="*/ 1996 h 2800"/>
                <a:gd name="T34" fmla="*/ 1521 w 2996"/>
                <a:gd name="T35" fmla="*/ 1993 h 2800"/>
                <a:gd name="T36" fmla="*/ 1427 w 2996"/>
                <a:gd name="T37" fmla="*/ 1919 h 2800"/>
                <a:gd name="T38" fmla="*/ 1303 w 2996"/>
                <a:gd name="T39" fmla="*/ 1814 h 2800"/>
                <a:gd name="T40" fmla="*/ 922 w 2996"/>
                <a:gd name="T41" fmla="*/ 1840 h 2800"/>
                <a:gd name="T42" fmla="*/ 664 w 2996"/>
                <a:gd name="T43" fmla="*/ 1942 h 2800"/>
                <a:gd name="T44" fmla="*/ 458 w 2996"/>
                <a:gd name="T45" fmla="*/ 1970 h 2800"/>
                <a:gd name="T46" fmla="*/ 274 w 2996"/>
                <a:gd name="T47" fmla="*/ 2025 h 2800"/>
                <a:gd name="T48" fmla="*/ 87 w 2996"/>
                <a:gd name="T49" fmla="*/ 2072 h 2800"/>
                <a:gd name="T50" fmla="*/ 59 w 2996"/>
                <a:gd name="T51" fmla="*/ 1942 h 2800"/>
                <a:gd name="T52" fmla="*/ 124 w 2996"/>
                <a:gd name="T53" fmla="*/ 1783 h 2800"/>
                <a:gd name="T54" fmla="*/ 123 w 2996"/>
                <a:gd name="T55" fmla="*/ 1544 h 2800"/>
                <a:gd name="T56" fmla="*/ 91 w 2996"/>
                <a:gd name="T57" fmla="*/ 1352 h 2800"/>
                <a:gd name="T58" fmla="*/ 138 w 2996"/>
                <a:gd name="T59" fmla="*/ 1298 h 2800"/>
                <a:gd name="T60" fmla="*/ 141 w 2996"/>
                <a:gd name="T61" fmla="*/ 1193 h 2800"/>
                <a:gd name="T62" fmla="*/ 189 w 2996"/>
                <a:gd name="T63" fmla="*/ 1055 h 2800"/>
                <a:gd name="T64" fmla="*/ 270 w 2996"/>
                <a:gd name="T65" fmla="*/ 950 h 2800"/>
                <a:gd name="T66" fmla="*/ 476 w 2996"/>
                <a:gd name="T67" fmla="*/ 848 h 2800"/>
                <a:gd name="T68" fmla="*/ 621 w 2996"/>
                <a:gd name="T69" fmla="*/ 798 h 2800"/>
                <a:gd name="T70" fmla="*/ 812 w 2996"/>
                <a:gd name="T71" fmla="*/ 730 h 2800"/>
                <a:gd name="T72" fmla="*/ 910 w 2996"/>
                <a:gd name="T73" fmla="*/ 561 h 2800"/>
                <a:gd name="T74" fmla="*/ 1008 w 2996"/>
                <a:gd name="T75" fmla="*/ 505 h 2800"/>
                <a:gd name="T76" fmla="*/ 1134 w 2996"/>
                <a:gd name="T77" fmla="*/ 375 h 2800"/>
                <a:gd name="T78" fmla="*/ 1232 w 2996"/>
                <a:gd name="T79" fmla="*/ 313 h 2800"/>
                <a:gd name="T80" fmla="*/ 1358 w 2996"/>
                <a:gd name="T81" fmla="*/ 307 h 2800"/>
                <a:gd name="T82" fmla="*/ 1476 w 2996"/>
                <a:gd name="T83" fmla="*/ 320 h 2800"/>
                <a:gd name="T84" fmla="*/ 1588 w 2996"/>
                <a:gd name="T85" fmla="*/ 159 h 2800"/>
                <a:gd name="T86" fmla="*/ 1743 w 2996"/>
                <a:gd name="T87" fmla="*/ 80 h 2800"/>
                <a:gd name="T88" fmla="*/ 1815 w 2996"/>
                <a:gd name="T89" fmla="*/ 95 h 2800"/>
                <a:gd name="T90" fmla="*/ 1988 w 2996"/>
                <a:gd name="T91" fmla="*/ 110 h 2800"/>
                <a:gd name="T92" fmla="*/ 2038 w 2996"/>
                <a:gd name="T93" fmla="*/ 189 h 2800"/>
                <a:gd name="T94" fmla="*/ 1954 w 2996"/>
                <a:gd name="T95" fmla="*/ 303 h 2800"/>
                <a:gd name="T96" fmla="*/ 2027 w 2996"/>
                <a:gd name="T97" fmla="*/ 443 h 2800"/>
                <a:gd name="T98" fmla="*/ 2161 w 2996"/>
                <a:gd name="T99" fmla="*/ 545 h 2800"/>
                <a:gd name="T100" fmla="*/ 2310 w 2996"/>
                <a:gd name="T101" fmla="*/ 525 h 2800"/>
                <a:gd name="T102" fmla="*/ 2381 w 2996"/>
                <a:gd name="T103" fmla="*/ 332 h 2800"/>
                <a:gd name="T104" fmla="*/ 2425 w 2996"/>
                <a:gd name="T105" fmla="*/ 177 h 2800"/>
                <a:gd name="T106" fmla="*/ 2466 w 2996"/>
                <a:gd name="T107" fmla="*/ 32 h 2800"/>
                <a:gd name="T108" fmla="*/ 2530 w 2996"/>
                <a:gd name="T109" fmla="*/ 105 h 2800"/>
                <a:gd name="T110" fmla="*/ 2540 w 2996"/>
                <a:gd name="T111" fmla="*/ 264 h 2800"/>
                <a:gd name="T112" fmla="*/ 2023 w 2996"/>
                <a:gd name="T113" fmla="*/ 2562 h 2800"/>
                <a:gd name="T114" fmla="*/ 1911 w 2996"/>
                <a:gd name="T115" fmla="*/ 2764 h 2800"/>
                <a:gd name="T116" fmla="*/ 1765 w 2996"/>
                <a:gd name="T117" fmla="*/ 2793 h 2800"/>
                <a:gd name="T118" fmla="*/ 1824 w 2996"/>
                <a:gd name="T119" fmla="*/ 2553 h 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96" h="2800">
                  <a:moveTo>
                    <a:pt x="2540" y="264"/>
                  </a:moveTo>
                  <a:lnTo>
                    <a:pt x="2557" y="330"/>
                  </a:lnTo>
                  <a:lnTo>
                    <a:pt x="2610" y="298"/>
                  </a:lnTo>
                  <a:lnTo>
                    <a:pt x="2629" y="334"/>
                  </a:lnTo>
                  <a:lnTo>
                    <a:pt x="2659" y="368"/>
                  </a:lnTo>
                  <a:lnTo>
                    <a:pt x="2645" y="405"/>
                  </a:lnTo>
                  <a:lnTo>
                    <a:pt x="2647" y="478"/>
                  </a:lnTo>
                  <a:lnTo>
                    <a:pt x="2651" y="521"/>
                  </a:lnTo>
                  <a:lnTo>
                    <a:pt x="2667" y="531"/>
                  </a:lnTo>
                  <a:lnTo>
                    <a:pt x="2673" y="604"/>
                  </a:lnTo>
                  <a:lnTo>
                    <a:pt x="2656" y="648"/>
                  </a:lnTo>
                  <a:lnTo>
                    <a:pt x="2668" y="706"/>
                  </a:lnTo>
                  <a:lnTo>
                    <a:pt x="2738" y="750"/>
                  </a:lnTo>
                  <a:lnTo>
                    <a:pt x="2780" y="791"/>
                  </a:lnTo>
                  <a:lnTo>
                    <a:pt x="2821" y="828"/>
                  </a:lnTo>
                  <a:lnTo>
                    <a:pt x="2806" y="849"/>
                  </a:lnTo>
                  <a:lnTo>
                    <a:pt x="2835" y="902"/>
                  </a:lnTo>
                  <a:lnTo>
                    <a:pt x="2839" y="994"/>
                  </a:lnTo>
                  <a:lnTo>
                    <a:pt x="2873" y="975"/>
                  </a:lnTo>
                  <a:lnTo>
                    <a:pt x="2893" y="1012"/>
                  </a:lnTo>
                  <a:lnTo>
                    <a:pt x="2914" y="999"/>
                  </a:lnTo>
                  <a:lnTo>
                    <a:pt x="2901" y="1089"/>
                  </a:lnTo>
                  <a:lnTo>
                    <a:pt x="2937" y="1142"/>
                  </a:lnTo>
                  <a:lnTo>
                    <a:pt x="2961" y="1174"/>
                  </a:lnTo>
                  <a:lnTo>
                    <a:pt x="2996" y="1243"/>
                  </a:lnTo>
                  <a:lnTo>
                    <a:pt x="2994" y="1311"/>
                  </a:lnTo>
                  <a:lnTo>
                    <a:pt x="2979" y="1360"/>
                  </a:lnTo>
                  <a:lnTo>
                    <a:pt x="2955" y="1413"/>
                  </a:lnTo>
                  <a:lnTo>
                    <a:pt x="2963" y="1485"/>
                  </a:lnTo>
                  <a:lnTo>
                    <a:pt x="2930" y="1560"/>
                  </a:lnTo>
                  <a:lnTo>
                    <a:pt x="2902" y="1599"/>
                  </a:lnTo>
                  <a:lnTo>
                    <a:pt x="2851" y="1675"/>
                  </a:lnTo>
                  <a:lnTo>
                    <a:pt x="2832" y="1724"/>
                  </a:lnTo>
                  <a:lnTo>
                    <a:pt x="2792" y="1785"/>
                  </a:lnTo>
                  <a:lnTo>
                    <a:pt x="2726" y="1862"/>
                  </a:lnTo>
                  <a:lnTo>
                    <a:pt x="2654" y="1904"/>
                  </a:lnTo>
                  <a:lnTo>
                    <a:pt x="2597" y="1970"/>
                  </a:lnTo>
                  <a:lnTo>
                    <a:pt x="2553" y="2012"/>
                  </a:lnTo>
                  <a:lnTo>
                    <a:pt x="2496" y="2085"/>
                  </a:lnTo>
                  <a:lnTo>
                    <a:pt x="2448" y="2127"/>
                  </a:lnTo>
                  <a:lnTo>
                    <a:pt x="2397" y="2191"/>
                  </a:lnTo>
                  <a:lnTo>
                    <a:pt x="2357" y="2249"/>
                  </a:lnTo>
                  <a:lnTo>
                    <a:pt x="2347" y="2276"/>
                  </a:lnTo>
                  <a:lnTo>
                    <a:pt x="2290" y="2305"/>
                  </a:lnTo>
                  <a:lnTo>
                    <a:pt x="2210" y="2308"/>
                  </a:lnTo>
                  <a:lnTo>
                    <a:pt x="2127" y="2343"/>
                  </a:lnTo>
                  <a:lnTo>
                    <a:pt x="2077" y="2376"/>
                  </a:lnTo>
                  <a:lnTo>
                    <a:pt x="2014" y="2412"/>
                  </a:lnTo>
                  <a:lnTo>
                    <a:pt x="1977" y="2375"/>
                  </a:lnTo>
                  <a:lnTo>
                    <a:pt x="1943" y="2360"/>
                  </a:lnTo>
                  <a:lnTo>
                    <a:pt x="1977" y="2316"/>
                  </a:lnTo>
                  <a:lnTo>
                    <a:pt x="1930" y="2332"/>
                  </a:lnTo>
                  <a:lnTo>
                    <a:pt x="1836" y="2393"/>
                  </a:lnTo>
                  <a:lnTo>
                    <a:pt x="1788" y="2370"/>
                  </a:lnTo>
                  <a:lnTo>
                    <a:pt x="1756" y="2357"/>
                  </a:lnTo>
                  <a:lnTo>
                    <a:pt x="1719" y="2350"/>
                  </a:lnTo>
                  <a:lnTo>
                    <a:pt x="1664" y="2326"/>
                  </a:lnTo>
                  <a:lnTo>
                    <a:pt x="1646" y="2274"/>
                  </a:lnTo>
                  <a:lnTo>
                    <a:pt x="1665" y="2210"/>
                  </a:lnTo>
                  <a:lnTo>
                    <a:pt x="1669" y="2167"/>
                  </a:lnTo>
                  <a:lnTo>
                    <a:pt x="1651" y="2132"/>
                  </a:lnTo>
                  <a:lnTo>
                    <a:pt x="1587" y="2122"/>
                  </a:lnTo>
                  <a:lnTo>
                    <a:pt x="1630" y="2081"/>
                  </a:lnTo>
                  <a:lnTo>
                    <a:pt x="1641" y="2018"/>
                  </a:lnTo>
                  <a:lnTo>
                    <a:pt x="1580" y="2077"/>
                  </a:lnTo>
                  <a:lnTo>
                    <a:pt x="1510" y="2092"/>
                  </a:lnTo>
                  <a:lnTo>
                    <a:pt x="1568" y="2045"/>
                  </a:lnTo>
                  <a:lnTo>
                    <a:pt x="1600" y="1996"/>
                  </a:lnTo>
                  <a:lnTo>
                    <a:pt x="1646" y="1955"/>
                  </a:lnTo>
                  <a:lnTo>
                    <a:pt x="1667" y="1892"/>
                  </a:lnTo>
                  <a:lnTo>
                    <a:pt x="1578" y="1964"/>
                  </a:lnTo>
                  <a:lnTo>
                    <a:pt x="1521" y="1993"/>
                  </a:lnTo>
                  <a:lnTo>
                    <a:pt x="1464" y="2061"/>
                  </a:lnTo>
                  <a:lnTo>
                    <a:pt x="1424" y="2026"/>
                  </a:lnTo>
                  <a:lnTo>
                    <a:pt x="1446" y="1981"/>
                  </a:lnTo>
                  <a:lnTo>
                    <a:pt x="1427" y="1919"/>
                  </a:lnTo>
                  <a:lnTo>
                    <a:pt x="1402" y="1888"/>
                  </a:lnTo>
                  <a:lnTo>
                    <a:pt x="1424" y="1868"/>
                  </a:lnTo>
                  <a:lnTo>
                    <a:pt x="1352" y="1816"/>
                  </a:lnTo>
                  <a:lnTo>
                    <a:pt x="1303" y="1814"/>
                  </a:lnTo>
                  <a:lnTo>
                    <a:pt x="1250" y="1773"/>
                  </a:lnTo>
                  <a:lnTo>
                    <a:pt x="1118" y="1781"/>
                  </a:lnTo>
                  <a:lnTo>
                    <a:pt x="1014" y="1811"/>
                  </a:lnTo>
                  <a:lnTo>
                    <a:pt x="922" y="1840"/>
                  </a:lnTo>
                  <a:lnTo>
                    <a:pt x="856" y="1834"/>
                  </a:lnTo>
                  <a:lnTo>
                    <a:pt x="764" y="1877"/>
                  </a:lnTo>
                  <a:lnTo>
                    <a:pt x="694" y="1897"/>
                  </a:lnTo>
                  <a:lnTo>
                    <a:pt x="664" y="1942"/>
                  </a:lnTo>
                  <a:lnTo>
                    <a:pt x="624" y="1976"/>
                  </a:lnTo>
                  <a:lnTo>
                    <a:pt x="563" y="1978"/>
                  </a:lnTo>
                  <a:lnTo>
                    <a:pt x="515" y="1986"/>
                  </a:lnTo>
                  <a:lnTo>
                    <a:pt x="458" y="1970"/>
                  </a:lnTo>
                  <a:lnTo>
                    <a:pt x="404" y="1979"/>
                  </a:lnTo>
                  <a:lnTo>
                    <a:pt x="353" y="1983"/>
                  </a:lnTo>
                  <a:lnTo>
                    <a:pt x="294" y="2029"/>
                  </a:lnTo>
                  <a:lnTo>
                    <a:pt x="274" y="2025"/>
                  </a:lnTo>
                  <a:lnTo>
                    <a:pt x="230" y="2049"/>
                  </a:lnTo>
                  <a:lnTo>
                    <a:pt x="185" y="2076"/>
                  </a:lnTo>
                  <a:lnTo>
                    <a:pt x="135" y="2072"/>
                  </a:lnTo>
                  <a:lnTo>
                    <a:pt x="87" y="2072"/>
                  </a:lnTo>
                  <a:lnTo>
                    <a:pt x="32" y="2018"/>
                  </a:lnTo>
                  <a:lnTo>
                    <a:pt x="0" y="2002"/>
                  </a:lnTo>
                  <a:lnTo>
                    <a:pt x="19" y="1953"/>
                  </a:lnTo>
                  <a:lnTo>
                    <a:pt x="59" y="1942"/>
                  </a:lnTo>
                  <a:lnTo>
                    <a:pt x="78" y="1923"/>
                  </a:lnTo>
                  <a:lnTo>
                    <a:pt x="86" y="1892"/>
                  </a:lnTo>
                  <a:lnTo>
                    <a:pt x="115" y="1833"/>
                  </a:lnTo>
                  <a:lnTo>
                    <a:pt x="124" y="1783"/>
                  </a:lnTo>
                  <a:lnTo>
                    <a:pt x="114" y="1697"/>
                  </a:lnTo>
                  <a:lnTo>
                    <a:pt x="117" y="1648"/>
                  </a:lnTo>
                  <a:lnTo>
                    <a:pt x="135" y="1600"/>
                  </a:lnTo>
                  <a:lnTo>
                    <a:pt x="123" y="1544"/>
                  </a:lnTo>
                  <a:lnTo>
                    <a:pt x="128" y="1519"/>
                  </a:lnTo>
                  <a:lnTo>
                    <a:pt x="105" y="1486"/>
                  </a:lnTo>
                  <a:lnTo>
                    <a:pt x="115" y="1419"/>
                  </a:lnTo>
                  <a:lnTo>
                    <a:pt x="91" y="1352"/>
                  </a:lnTo>
                  <a:lnTo>
                    <a:pt x="90" y="1315"/>
                  </a:lnTo>
                  <a:lnTo>
                    <a:pt x="113" y="1352"/>
                  </a:lnTo>
                  <a:lnTo>
                    <a:pt x="108" y="1273"/>
                  </a:lnTo>
                  <a:lnTo>
                    <a:pt x="138" y="1298"/>
                  </a:lnTo>
                  <a:lnTo>
                    <a:pt x="151" y="1331"/>
                  </a:lnTo>
                  <a:lnTo>
                    <a:pt x="161" y="1287"/>
                  </a:lnTo>
                  <a:lnTo>
                    <a:pt x="142" y="1220"/>
                  </a:lnTo>
                  <a:lnTo>
                    <a:pt x="141" y="1193"/>
                  </a:lnTo>
                  <a:lnTo>
                    <a:pt x="130" y="1168"/>
                  </a:lnTo>
                  <a:lnTo>
                    <a:pt x="149" y="1119"/>
                  </a:lnTo>
                  <a:lnTo>
                    <a:pt x="169" y="1098"/>
                  </a:lnTo>
                  <a:lnTo>
                    <a:pt x="189" y="1055"/>
                  </a:lnTo>
                  <a:lnTo>
                    <a:pt x="191" y="1005"/>
                  </a:lnTo>
                  <a:lnTo>
                    <a:pt x="235" y="944"/>
                  </a:lnTo>
                  <a:lnTo>
                    <a:pt x="227" y="1009"/>
                  </a:lnTo>
                  <a:lnTo>
                    <a:pt x="270" y="950"/>
                  </a:lnTo>
                  <a:lnTo>
                    <a:pt x="336" y="922"/>
                  </a:lnTo>
                  <a:lnTo>
                    <a:pt x="379" y="886"/>
                  </a:lnTo>
                  <a:lnTo>
                    <a:pt x="442" y="854"/>
                  </a:lnTo>
                  <a:lnTo>
                    <a:pt x="476" y="848"/>
                  </a:lnTo>
                  <a:lnTo>
                    <a:pt x="495" y="858"/>
                  </a:lnTo>
                  <a:lnTo>
                    <a:pt x="559" y="826"/>
                  </a:lnTo>
                  <a:lnTo>
                    <a:pt x="606" y="817"/>
                  </a:lnTo>
                  <a:lnTo>
                    <a:pt x="621" y="798"/>
                  </a:lnTo>
                  <a:lnTo>
                    <a:pt x="642" y="791"/>
                  </a:lnTo>
                  <a:lnTo>
                    <a:pt x="682" y="793"/>
                  </a:lnTo>
                  <a:lnTo>
                    <a:pt x="765" y="768"/>
                  </a:lnTo>
                  <a:lnTo>
                    <a:pt x="812" y="730"/>
                  </a:lnTo>
                  <a:lnTo>
                    <a:pt x="840" y="684"/>
                  </a:lnTo>
                  <a:lnTo>
                    <a:pt x="891" y="641"/>
                  </a:lnTo>
                  <a:lnTo>
                    <a:pt x="900" y="607"/>
                  </a:lnTo>
                  <a:lnTo>
                    <a:pt x="910" y="561"/>
                  </a:lnTo>
                  <a:lnTo>
                    <a:pt x="974" y="489"/>
                  </a:lnTo>
                  <a:lnTo>
                    <a:pt x="993" y="562"/>
                  </a:lnTo>
                  <a:lnTo>
                    <a:pt x="1028" y="545"/>
                  </a:lnTo>
                  <a:lnTo>
                    <a:pt x="1008" y="505"/>
                  </a:lnTo>
                  <a:lnTo>
                    <a:pt x="1038" y="464"/>
                  </a:lnTo>
                  <a:lnTo>
                    <a:pt x="1068" y="482"/>
                  </a:lnTo>
                  <a:lnTo>
                    <a:pt x="1087" y="417"/>
                  </a:lnTo>
                  <a:lnTo>
                    <a:pt x="1134" y="375"/>
                  </a:lnTo>
                  <a:lnTo>
                    <a:pt x="1157" y="342"/>
                  </a:lnTo>
                  <a:lnTo>
                    <a:pt x="1196" y="327"/>
                  </a:lnTo>
                  <a:lnTo>
                    <a:pt x="1201" y="303"/>
                  </a:lnTo>
                  <a:lnTo>
                    <a:pt x="1232" y="313"/>
                  </a:lnTo>
                  <a:lnTo>
                    <a:pt x="1236" y="292"/>
                  </a:lnTo>
                  <a:lnTo>
                    <a:pt x="1271" y="280"/>
                  </a:lnTo>
                  <a:lnTo>
                    <a:pt x="1308" y="268"/>
                  </a:lnTo>
                  <a:lnTo>
                    <a:pt x="1358" y="307"/>
                  </a:lnTo>
                  <a:lnTo>
                    <a:pt x="1392" y="358"/>
                  </a:lnTo>
                  <a:lnTo>
                    <a:pt x="1439" y="358"/>
                  </a:lnTo>
                  <a:lnTo>
                    <a:pt x="1485" y="366"/>
                  </a:lnTo>
                  <a:lnTo>
                    <a:pt x="1476" y="320"/>
                  </a:lnTo>
                  <a:lnTo>
                    <a:pt x="1521" y="251"/>
                  </a:lnTo>
                  <a:lnTo>
                    <a:pt x="1558" y="229"/>
                  </a:lnTo>
                  <a:lnTo>
                    <a:pt x="1549" y="208"/>
                  </a:lnTo>
                  <a:lnTo>
                    <a:pt x="1588" y="159"/>
                  </a:lnTo>
                  <a:lnTo>
                    <a:pt x="1637" y="129"/>
                  </a:lnTo>
                  <a:lnTo>
                    <a:pt x="1674" y="139"/>
                  </a:lnTo>
                  <a:lnTo>
                    <a:pt x="1739" y="123"/>
                  </a:lnTo>
                  <a:lnTo>
                    <a:pt x="1743" y="80"/>
                  </a:lnTo>
                  <a:lnTo>
                    <a:pt x="1691" y="52"/>
                  </a:lnTo>
                  <a:lnTo>
                    <a:pt x="1733" y="39"/>
                  </a:lnTo>
                  <a:lnTo>
                    <a:pt x="1780" y="60"/>
                  </a:lnTo>
                  <a:lnTo>
                    <a:pt x="1815" y="95"/>
                  </a:lnTo>
                  <a:lnTo>
                    <a:pt x="1876" y="117"/>
                  </a:lnTo>
                  <a:lnTo>
                    <a:pt x="1898" y="108"/>
                  </a:lnTo>
                  <a:lnTo>
                    <a:pt x="1941" y="135"/>
                  </a:lnTo>
                  <a:lnTo>
                    <a:pt x="1988" y="110"/>
                  </a:lnTo>
                  <a:lnTo>
                    <a:pt x="2015" y="118"/>
                  </a:lnTo>
                  <a:lnTo>
                    <a:pt x="2035" y="101"/>
                  </a:lnTo>
                  <a:lnTo>
                    <a:pt x="2064" y="143"/>
                  </a:lnTo>
                  <a:lnTo>
                    <a:pt x="2038" y="189"/>
                  </a:lnTo>
                  <a:lnTo>
                    <a:pt x="2005" y="223"/>
                  </a:lnTo>
                  <a:lnTo>
                    <a:pt x="1978" y="226"/>
                  </a:lnTo>
                  <a:lnTo>
                    <a:pt x="1982" y="260"/>
                  </a:lnTo>
                  <a:lnTo>
                    <a:pt x="1954" y="303"/>
                  </a:lnTo>
                  <a:lnTo>
                    <a:pt x="1921" y="345"/>
                  </a:lnTo>
                  <a:lnTo>
                    <a:pt x="1923" y="369"/>
                  </a:lnTo>
                  <a:lnTo>
                    <a:pt x="1974" y="416"/>
                  </a:lnTo>
                  <a:lnTo>
                    <a:pt x="2027" y="443"/>
                  </a:lnTo>
                  <a:lnTo>
                    <a:pt x="2060" y="472"/>
                  </a:lnTo>
                  <a:lnTo>
                    <a:pt x="2105" y="523"/>
                  </a:lnTo>
                  <a:lnTo>
                    <a:pt x="2126" y="523"/>
                  </a:lnTo>
                  <a:lnTo>
                    <a:pt x="2161" y="545"/>
                  </a:lnTo>
                  <a:lnTo>
                    <a:pt x="2167" y="571"/>
                  </a:lnTo>
                  <a:lnTo>
                    <a:pt x="2232" y="600"/>
                  </a:lnTo>
                  <a:lnTo>
                    <a:pt x="2287" y="571"/>
                  </a:lnTo>
                  <a:lnTo>
                    <a:pt x="2310" y="525"/>
                  </a:lnTo>
                  <a:lnTo>
                    <a:pt x="2332" y="487"/>
                  </a:lnTo>
                  <a:lnTo>
                    <a:pt x="2350" y="440"/>
                  </a:lnTo>
                  <a:lnTo>
                    <a:pt x="2384" y="373"/>
                  </a:lnTo>
                  <a:lnTo>
                    <a:pt x="2381" y="332"/>
                  </a:lnTo>
                  <a:lnTo>
                    <a:pt x="2390" y="307"/>
                  </a:lnTo>
                  <a:lnTo>
                    <a:pt x="2389" y="258"/>
                  </a:lnTo>
                  <a:lnTo>
                    <a:pt x="2408" y="194"/>
                  </a:lnTo>
                  <a:lnTo>
                    <a:pt x="2425" y="177"/>
                  </a:lnTo>
                  <a:lnTo>
                    <a:pt x="2417" y="148"/>
                  </a:lnTo>
                  <a:lnTo>
                    <a:pt x="2441" y="103"/>
                  </a:lnTo>
                  <a:lnTo>
                    <a:pt x="2461" y="56"/>
                  </a:lnTo>
                  <a:lnTo>
                    <a:pt x="2466" y="32"/>
                  </a:lnTo>
                  <a:lnTo>
                    <a:pt x="2498" y="0"/>
                  </a:lnTo>
                  <a:lnTo>
                    <a:pt x="2514" y="42"/>
                  </a:lnTo>
                  <a:lnTo>
                    <a:pt x="2512" y="95"/>
                  </a:lnTo>
                  <a:lnTo>
                    <a:pt x="2530" y="105"/>
                  </a:lnTo>
                  <a:lnTo>
                    <a:pt x="2528" y="141"/>
                  </a:lnTo>
                  <a:lnTo>
                    <a:pt x="2549" y="184"/>
                  </a:lnTo>
                  <a:lnTo>
                    <a:pt x="2548" y="233"/>
                  </a:lnTo>
                  <a:lnTo>
                    <a:pt x="2540" y="264"/>
                  </a:lnTo>
                  <a:moveTo>
                    <a:pt x="1865" y="2560"/>
                  </a:moveTo>
                  <a:lnTo>
                    <a:pt x="1914" y="2590"/>
                  </a:lnTo>
                  <a:lnTo>
                    <a:pt x="1959" y="2578"/>
                  </a:lnTo>
                  <a:lnTo>
                    <a:pt x="2023" y="2562"/>
                  </a:lnTo>
                  <a:lnTo>
                    <a:pt x="2061" y="2567"/>
                  </a:lnTo>
                  <a:lnTo>
                    <a:pt x="2004" y="2667"/>
                  </a:lnTo>
                  <a:lnTo>
                    <a:pt x="1962" y="2696"/>
                  </a:lnTo>
                  <a:lnTo>
                    <a:pt x="1911" y="2764"/>
                  </a:lnTo>
                  <a:lnTo>
                    <a:pt x="1902" y="2741"/>
                  </a:lnTo>
                  <a:lnTo>
                    <a:pt x="1816" y="2800"/>
                  </a:lnTo>
                  <a:lnTo>
                    <a:pt x="1805" y="2795"/>
                  </a:lnTo>
                  <a:lnTo>
                    <a:pt x="1765" y="2793"/>
                  </a:lnTo>
                  <a:lnTo>
                    <a:pt x="1769" y="2721"/>
                  </a:lnTo>
                  <a:lnTo>
                    <a:pt x="1795" y="2665"/>
                  </a:lnTo>
                  <a:lnTo>
                    <a:pt x="1800" y="2592"/>
                  </a:lnTo>
                  <a:lnTo>
                    <a:pt x="1824" y="2553"/>
                  </a:lnTo>
                  <a:lnTo>
                    <a:pt x="1865" y="2560"/>
                  </a:lnTo>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35" name="Freeform 14"/>
            <p:cNvSpPr>
              <a:spLocks/>
            </p:cNvSpPr>
            <p:nvPr/>
          </p:nvSpPr>
          <p:spPr bwMode="auto">
            <a:xfrm>
              <a:off x="4427537" y="2093916"/>
              <a:ext cx="190500" cy="85725"/>
            </a:xfrm>
            <a:custGeom>
              <a:avLst/>
              <a:gdLst>
                <a:gd name="T0" fmla="*/ 120 w 120"/>
                <a:gd name="T1" fmla="*/ 19 h 54"/>
                <a:gd name="T2" fmla="*/ 119 w 120"/>
                <a:gd name="T3" fmla="*/ 27 h 54"/>
                <a:gd name="T4" fmla="*/ 110 w 120"/>
                <a:gd name="T5" fmla="*/ 27 h 54"/>
                <a:gd name="T6" fmla="*/ 114 w 120"/>
                <a:gd name="T7" fmla="*/ 32 h 54"/>
                <a:gd name="T8" fmla="*/ 109 w 120"/>
                <a:gd name="T9" fmla="*/ 45 h 54"/>
                <a:gd name="T10" fmla="*/ 107 w 120"/>
                <a:gd name="T11" fmla="*/ 48 h 54"/>
                <a:gd name="T12" fmla="*/ 92 w 120"/>
                <a:gd name="T13" fmla="*/ 49 h 54"/>
                <a:gd name="T14" fmla="*/ 85 w 120"/>
                <a:gd name="T15" fmla="*/ 54 h 54"/>
                <a:gd name="T16" fmla="*/ 71 w 120"/>
                <a:gd name="T17" fmla="*/ 52 h 54"/>
                <a:gd name="T18" fmla="*/ 47 w 120"/>
                <a:gd name="T19" fmla="*/ 47 h 54"/>
                <a:gd name="T20" fmla="*/ 43 w 120"/>
                <a:gd name="T21" fmla="*/ 40 h 54"/>
                <a:gd name="T22" fmla="*/ 27 w 120"/>
                <a:gd name="T23" fmla="*/ 43 h 54"/>
                <a:gd name="T24" fmla="*/ 25 w 120"/>
                <a:gd name="T25" fmla="*/ 47 h 54"/>
                <a:gd name="T26" fmla="*/ 15 w 120"/>
                <a:gd name="T27" fmla="*/ 44 h 54"/>
                <a:gd name="T28" fmla="*/ 7 w 120"/>
                <a:gd name="T29" fmla="*/ 44 h 54"/>
                <a:gd name="T30" fmla="*/ 0 w 120"/>
                <a:gd name="T31" fmla="*/ 40 h 54"/>
                <a:gd name="T32" fmla="*/ 2 w 120"/>
                <a:gd name="T33" fmla="*/ 35 h 54"/>
                <a:gd name="T34" fmla="*/ 1 w 120"/>
                <a:gd name="T35" fmla="*/ 31 h 54"/>
                <a:gd name="T36" fmla="*/ 6 w 120"/>
                <a:gd name="T37" fmla="*/ 30 h 54"/>
                <a:gd name="T38" fmla="*/ 15 w 120"/>
                <a:gd name="T39" fmla="*/ 36 h 54"/>
                <a:gd name="T40" fmla="*/ 16 w 120"/>
                <a:gd name="T41" fmla="*/ 30 h 54"/>
                <a:gd name="T42" fmla="*/ 31 w 120"/>
                <a:gd name="T43" fmla="*/ 31 h 54"/>
                <a:gd name="T44" fmla="*/ 42 w 120"/>
                <a:gd name="T45" fmla="*/ 28 h 54"/>
                <a:gd name="T46" fmla="*/ 50 w 120"/>
                <a:gd name="T47" fmla="*/ 28 h 54"/>
                <a:gd name="T48" fmla="*/ 55 w 120"/>
                <a:gd name="T49" fmla="*/ 32 h 54"/>
                <a:gd name="T50" fmla="*/ 57 w 120"/>
                <a:gd name="T51" fmla="*/ 29 h 54"/>
                <a:gd name="T52" fmla="*/ 53 w 120"/>
                <a:gd name="T53" fmla="*/ 16 h 54"/>
                <a:gd name="T54" fmla="*/ 59 w 120"/>
                <a:gd name="T55" fmla="*/ 13 h 54"/>
                <a:gd name="T56" fmla="*/ 64 w 120"/>
                <a:gd name="T57" fmla="*/ 4 h 54"/>
                <a:gd name="T58" fmla="*/ 77 w 120"/>
                <a:gd name="T59" fmla="*/ 10 h 54"/>
                <a:gd name="T60" fmla="*/ 85 w 120"/>
                <a:gd name="T61" fmla="*/ 2 h 54"/>
                <a:gd name="T62" fmla="*/ 90 w 120"/>
                <a:gd name="T63" fmla="*/ 0 h 54"/>
                <a:gd name="T64" fmla="*/ 103 w 120"/>
                <a:gd name="T65" fmla="*/ 7 h 54"/>
                <a:gd name="T66" fmla="*/ 111 w 120"/>
                <a:gd name="T67" fmla="*/ 6 h 54"/>
                <a:gd name="T68" fmla="*/ 119 w 120"/>
                <a:gd name="T69" fmla="*/ 9 h 54"/>
                <a:gd name="T70" fmla="*/ 118 w 120"/>
                <a:gd name="T71" fmla="*/ 12 h 54"/>
                <a:gd name="T72" fmla="*/ 120 w 120"/>
                <a:gd name="T73"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54">
                  <a:moveTo>
                    <a:pt x="120" y="19"/>
                  </a:moveTo>
                  <a:lnTo>
                    <a:pt x="119" y="27"/>
                  </a:lnTo>
                  <a:lnTo>
                    <a:pt x="110" y="27"/>
                  </a:lnTo>
                  <a:lnTo>
                    <a:pt x="114" y="32"/>
                  </a:lnTo>
                  <a:lnTo>
                    <a:pt x="109" y="45"/>
                  </a:lnTo>
                  <a:lnTo>
                    <a:pt x="107" y="48"/>
                  </a:lnTo>
                  <a:lnTo>
                    <a:pt x="92" y="49"/>
                  </a:lnTo>
                  <a:lnTo>
                    <a:pt x="85" y="54"/>
                  </a:lnTo>
                  <a:lnTo>
                    <a:pt x="71" y="52"/>
                  </a:lnTo>
                  <a:lnTo>
                    <a:pt x="47" y="47"/>
                  </a:lnTo>
                  <a:lnTo>
                    <a:pt x="43" y="40"/>
                  </a:lnTo>
                  <a:lnTo>
                    <a:pt x="27" y="43"/>
                  </a:lnTo>
                  <a:lnTo>
                    <a:pt x="25" y="47"/>
                  </a:lnTo>
                  <a:lnTo>
                    <a:pt x="15" y="44"/>
                  </a:lnTo>
                  <a:lnTo>
                    <a:pt x="7" y="44"/>
                  </a:lnTo>
                  <a:lnTo>
                    <a:pt x="0" y="40"/>
                  </a:lnTo>
                  <a:lnTo>
                    <a:pt x="2" y="35"/>
                  </a:lnTo>
                  <a:lnTo>
                    <a:pt x="1" y="31"/>
                  </a:lnTo>
                  <a:lnTo>
                    <a:pt x="6" y="30"/>
                  </a:lnTo>
                  <a:lnTo>
                    <a:pt x="15" y="36"/>
                  </a:lnTo>
                  <a:lnTo>
                    <a:pt x="16" y="30"/>
                  </a:lnTo>
                  <a:lnTo>
                    <a:pt x="31" y="31"/>
                  </a:lnTo>
                  <a:lnTo>
                    <a:pt x="42" y="28"/>
                  </a:lnTo>
                  <a:lnTo>
                    <a:pt x="50" y="28"/>
                  </a:lnTo>
                  <a:lnTo>
                    <a:pt x="55" y="32"/>
                  </a:lnTo>
                  <a:lnTo>
                    <a:pt x="57" y="29"/>
                  </a:lnTo>
                  <a:lnTo>
                    <a:pt x="53" y="16"/>
                  </a:lnTo>
                  <a:lnTo>
                    <a:pt x="59" y="13"/>
                  </a:lnTo>
                  <a:lnTo>
                    <a:pt x="64" y="4"/>
                  </a:lnTo>
                  <a:lnTo>
                    <a:pt x="77" y="10"/>
                  </a:lnTo>
                  <a:lnTo>
                    <a:pt x="85" y="2"/>
                  </a:lnTo>
                  <a:lnTo>
                    <a:pt x="90" y="0"/>
                  </a:lnTo>
                  <a:lnTo>
                    <a:pt x="103" y="7"/>
                  </a:lnTo>
                  <a:lnTo>
                    <a:pt x="111" y="6"/>
                  </a:lnTo>
                  <a:lnTo>
                    <a:pt x="119" y="9"/>
                  </a:lnTo>
                  <a:lnTo>
                    <a:pt x="118" y="12"/>
                  </a:lnTo>
                  <a:lnTo>
                    <a:pt x="120" y="1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36" name="Freeform 15"/>
            <p:cNvSpPr>
              <a:spLocks/>
            </p:cNvSpPr>
            <p:nvPr/>
          </p:nvSpPr>
          <p:spPr bwMode="auto">
            <a:xfrm>
              <a:off x="5387975" y="2397129"/>
              <a:ext cx="41275" cy="31750"/>
            </a:xfrm>
            <a:custGeom>
              <a:avLst/>
              <a:gdLst>
                <a:gd name="T0" fmla="*/ 14 w 108"/>
                <a:gd name="T1" fmla="*/ 1 h 85"/>
                <a:gd name="T2" fmla="*/ 38 w 108"/>
                <a:gd name="T3" fmla="*/ 23 h 85"/>
                <a:gd name="T4" fmla="*/ 69 w 108"/>
                <a:gd name="T5" fmla="*/ 23 h 85"/>
                <a:gd name="T6" fmla="*/ 71 w 108"/>
                <a:gd name="T7" fmla="*/ 36 h 85"/>
                <a:gd name="T8" fmla="*/ 108 w 108"/>
                <a:gd name="T9" fmla="*/ 85 h 85"/>
                <a:gd name="T10" fmla="*/ 58 w 108"/>
                <a:gd name="T11" fmla="*/ 74 h 85"/>
                <a:gd name="T12" fmla="*/ 16 w 108"/>
                <a:gd name="T13" fmla="*/ 35 h 85"/>
                <a:gd name="T14" fmla="*/ 0 w 108"/>
                <a:gd name="T15" fmla="*/ 3 h 85"/>
                <a:gd name="T16" fmla="*/ 14 w 108"/>
                <a:gd name="T1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85">
                  <a:moveTo>
                    <a:pt x="14" y="1"/>
                  </a:moveTo>
                  <a:lnTo>
                    <a:pt x="38" y="23"/>
                  </a:lnTo>
                  <a:lnTo>
                    <a:pt x="69" y="23"/>
                  </a:lnTo>
                  <a:lnTo>
                    <a:pt x="71" y="36"/>
                  </a:lnTo>
                  <a:lnTo>
                    <a:pt x="108" y="85"/>
                  </a:lnTo>
                  <a:lnTo>
                    <a:pt x="58" y="74"/>
                  </a:lnTo>
                  <a:lnTo>
                    <a:pt x="16" y="35"/>
                  </a:lnTo>
                  <a:lnTo>
                    <a:pt x="0" y="3"/>
                  </a:lnTo>
                  <a:lnTo>
                    <a:pt x="14" y="0"/>
                  </a:lnTo>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37" name="Freeform 16"/>
            <p:cNvSpPr>
              <a:spLocks/>
            </p:cNvSpPr>
            <p:nvPr/>
          </p:nvSpPr>
          <p:spPr bwMode="auto">
            <a:xfrm>
              <a:off x="5383212" y="2327279"/>
              <a:ext cx="150813" cy="117475"/>
            </a:xfrm>
            <a:custGeom>
              <a:avLst/>
              <a:gdLst>
                <a:gd name="T0" fmla="*/ 40 w 95"/>
                <a:gd name="T1" fmla="*/ 13 h 74"/>
                <a:gd name="T2" fmla="*/ 48 w 95"/>
                <a:gd name="T3" fmla="*/ 15 h 74"/>
                <a:gd name="T4" fmla="*/ 50 w 95"/>
                <a:gd name="T5" fmla="*/ 9 h 74"/>
                <a:gd name="T6" fmla="*/ 58 w 95"/>
                <a:gd name="T7" fmla="*/ 1 h 74"/>
                <a:gd name="T8" fmla="*/ 69 w 95"/>
                <a:gd name="T9" fmla="*/ 12 h 74"/>
                <a:gd name="T10" fmla="*/ 81 w 95"/>
                <a:gd name="T11" fmla="*/ 27 h 74"/>
                <a:gd name="T12" fmla="*/ 89 w 95"/>
                <a:gd name="T13" fmla="*/ 28 h 74"/>
                <a:gd name="T14" fmla="*/ 95 w 95"/>
                <a:gd name="T15" fmla="*/ 33 h 74"/>
                <a:gd name="T16" fmla="*/ 82 w 95"/>
                <a:gd name="T17" fmla="*/ 35 h 74"/>
                <a:gd name="T18" fmla="*/ 82 w 95"/>
                <a:gd name="T19" fmla="*/ 51 h 74"/>
                <a:gd name="T20" fmla="*/ 80 w 95"/>
                <a:gd name="T21" fmla="*/ 58 h 74"/>
                <a:gd name="T22" fmla="*/ 75 w 95"/>
                <a:gd name="T23" fmla="*/ 63 h 74"/>
                <a:gd name="T24" fmla="*/ 77 w 95"/>
                <a:gd name="T25" fmla="*/ 73 h 74"/>
                <a:gd name="T26" fmla="*/ 73 w 95"/>
                <a:gd name="T27" fmla="*/ 74 h 74"/>
                <a:gd name="T28" fmla="*/ 61 w 95"/>
                <a:gd name="T29" fmla="*/ 63 h 74"/>
                <a:gd name="T30" fmla="*/ 65 w 95"/>
                <a:gd name="T31" fmla="*/ 53 h 74"/>
                <a:gd name="T32" fmla="*/ 59 w 95"/>
                <a:gd name="T33" fmla="*/ 47 h 74"/>
                <a:gd name="T34" fmla="*/ 52 w 95"/>
                <a:gd name="T35" fmla="*/ 49 h 74"/>
                <a:gd name="T36" fmla="*/ 35 w 95"/>
                <a:gd name="T37" fmla="*/ 64 h 74"/>
                <a:gd name="T38" fmla="*/ 32 w 95"/>
                <a:gd name="T39" fmla="*/ 49 h 74"/>
                <a:gd name="T40" fmla="*/ 24 w 95"/>
                <a:gd name="T41" fmla="*/ 46 h 74"/>
                <a:gd name="T42" fmla="*/ 16 w 95"/>
                <a:gd name="T43" fmla="*/ 40 h 74"/>
                <a:gd name="T44" fmla="*/ 19 w 95"/>
                <a:gd name="T45" fmla="*/ 34 h 74"/>
                <a:gd name="T46" fmla="*/ 9 w 95"/>
                <a:gd name="T47" fmla="*/ 27 h 74"/>
                <a:gd name="T48" fmla="*/ 11 w 95"/>
                <a:gd name="T49" fmla="*/ 22 h 74"/>
                <a:gd name="T50" fmla="*/ 4 w 95"/>
                <a:gd name="T51" fmla="*/ 18 h 74"/>
                <a:gd name="T52" fmla="*/ 0 w 95"/>
                <a:gd name="T53" fmla="*/ 13 h 74"/>
                <a:gd name="T54" fmla="*/ 3 w 95"/>
                <a:gd name="T55" fmla="*/ 9 h 74"/>
                <a:gd name="T56" fmla="*/ 17 w 95"/>
                <a:gd name="T57" fmla="*/ 15 h 74"/>
                <a:gd name="T58" fmla="*/ 26 w 95"/>
                <a:gd name="T59" fmla="*/ 17 h 74"/>
                <a:gd name="T60" fmla="*/ 28 w 95"/>
                <a:gd name="T61" fmla="*/ 14 h 74"/>
                <a:gd name="T62" fmla="*/ 18 w 95"/>
                <a:gd name="T63" fmla="*/ 3 h 74"/>
                <a:gd name="T64" fmla="*/ 21 w 95"/>
                <a:gd name="T65" fmla="*/ 0 h 74"/>
                <a:gd name="T66" fmla="*/ 26 w 95"/>
                <a:gd name="T67" fmla="*/ 1 h 74"/>
                <a:gd name="T68" fmla="*/ 40 w 95"/>
                <a:gd name="T69" fmla="*/ 1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 h="74">
                  <a:moveTo>
                    <a:pt x="40" y="13"/>
                  </a:moveTo>
                  <a:lnTo>
                    <a:pt x="48" y="15"/>
                  </a:lnTo>
                  <a:lnTo>
                    <a:pt x="50" y="9"/>
                  </a:lnTo>
                  <a:lnTo>
                    <a:pt x="58" y="1"/>
                  </a:lnTo>
                  <a:lnTo>
                    <a:pt x="69" y="12"/>
                  </a:lnTo>
                  <a:lnTo>
                    <a:pt x="81" y="27"/>
                  </a:lnTo>
                  <a:lnTo>
                    <a:pt x="89" y="28"/>
                  </a:lnTo>
                  <a:lnTo>
                    <a:pt x="95" y="33"/>
                  </a:lnTo>
                  <a:lnTo>
                    <a:pt x="82" y="35"/>
                  </a:lnTo>
                  <a:lnTo>
                    <a:pt x="82" y="51"/>
                  </a:lnTo>
                  <a:lnTo>
                    <a:pt x="80" y="58"/>
                  </a:lnTo>
                  <a:lnTo>
                    <a:pt x="75" y="63"/>
                  </a:lnTo>
                  <a:lnTo>
                    <a:pt x="77" y="73"/>
                  </a:lnTo>
                  <a:lnTo>
                    <a:pt x="73" y="74"/>
                  </a:lnTo>
                  <a:lnTo>
                    <a:pt x="61" y="63"/>
                  </a:lnTo>
                  <a:lnTo>
                    <a:pt x="65" y="53"/>
                  </a:lnTo>
                  <a:lnTo>
                    <a:pt x="59" y="47"/>
                  </a:lnTo>
                  <a:lnTo>
                    <a:pt x="52" y="49"/>
                  </a:lnTo>
                  <a:lnTo>
                    <a:pt x="35" y="64"/>
                  </a:lnTo>
                  <a:lnTo>
                    <a:pt x="32" y="49"/>
                  </a:lnTo>
                  <a:lnTo>
                    <a:pt x="24" y="46"/>
                  </a:lnTo>
                  <a:lnTo>
                    <a:pt x="16" y="40"/>
                  </a:lnTo>
                  <a:lnTo>
                    <a:pt x="19" y="34"/>
                  </a:lnTo>
                  <a:lnTo>
                    <a:pt x="9" y="27"/>
                  </a:lnTo>
                  <a:lnTo>
                    <a:pt x="11" y="22"/>
                  </a:lnTo>
                  <a:lnTo>
                    <a:pt x="4" y="18"/>
                  </a:lnTo>
                  <a:lnTo>
                    <a:pt x="0" y="13"/>
                  </a:lnTo>
                  <a:lnTo>
                    <a:pt x="3" y="9"/>
                  </a:lnTo>
                  <a:lnTo>
                    <a:pt x="17" y="15"/>
                  </a:lnTo>
                  <a:lnTo>
                    <a:pt x="26" y="17"/>
                  </a:lnTo>
                  <a:lnTo>
                    <a:pt x="28" y="14"/>
                  </a:lnTo>
                  <a:lnTo>
                    <a:pt x="18" y="3"/>
                  </a:lnTo>
                  <a:lnTo>
                    <a:pt x="21" y="0"/>
                  </a:lnTo>
                  <a:lnTo>
                    <a:pt x="26" y="1"/>
                  </a:lnTo>
                  <a:lnTo>
                    <a:pt x="40" y="13"/>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38" name="Freeform 17"/>
            <p:cNvSpPr>
              <a:spLocks/>
            </p:cNvSpPr>
            <p:nvPr/>
          </p:nvSpPr>
          <p:spPr bwMode="auto">
            <a:xfrm>
              <a:off x="5029200" y="3783017"/>
              <a:ext cx="49213" cy="71438"/>
            </a:xfrm>
            <a:custGeom>
              <a:avLst/>
              <a:gdLst>
                <a:gd name="T0" fmla="*/ 5 w 31"/>
                <a:gd name="T1" fmla="*/ 45 h 45"/>
                <a:gd name="T2" fmla="*/ 4 w 31"/>
                <a:gd name="T3" fmla="*/ 20 h 45"/>
                <a:gd name="T4" fmla="*/ 0 w 31"/>
                <a:gd name="T5" fmla="*/ 10 h 45"/>
                <a:gd name="T6" fmla="*/ 11 w 31"/>
                <a:gd name="T7" fmla="*/ 12 h 45"/>
                <a:gd name="T8" fmla="*/ 16 w 31"/>
                <a:gd name="T9" fmla="*/ 0 h 45"/>
                <a:gd name="T10" fmla="*/ 26 w 31"/>
                <a:gd name="T11" fmla="*/ 2 h 45"/>
                <a:gd name="T12" fmla="*/ 27 w 31"/>
                <a:gd name="T13" fmla="*/ 10 h 45"/>
                <a:gd name="T14" fmla="*/ 31 w 31"/>
                <a:gd name="T15" fmla="*/ 14 h 45"/>
                <a:gd name="T16" fmla="*/ 31 w 31"/>
                <a:gd name="T17" fmla="*/ 21 h 45"/>
                <a:gd name="T18" fmla="*/ 27 w 31"/>
                <a:gd name="T19" fmla="*/ 25 h 45"/>
                <a:gd name="T20" fmla="*/ 19 w 31"/>
                <a:gd name="T21" fmla="*/ 36 h 45"/>
                <a:gd name="T22" fmla="*/ 12 w 31"/>
                <a:gd name="T23" fmla="*/ 44 h 45"/>
                <a:gd name="T24" fmla="*/ 5 w 31"/>
                <a:gd name="T2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45">
                  <a:moveTo>
                    <a:pt x="5" y="45"/>
                  </a:moveTo>
                  <a:lnTo>
                    <a:pt x="4" y="20"/>
                  </a:lnTo>
                  <a:lnTo>
                    <a:pt x="0" y="10"/>
                  </a:lnTo>
                  <a:lnTo>
                    <a:pt x="11" y="12"/>
                  </a:lnTo>
                  <a:lnTo>
                    <a:pt x="16" y="0"/>
                  </a:lnTo>
                  <a:lnTo>
                    <a:pt x="26" y="2"/>
                  </a:lnTo>
                  <a:lnTo>
                    <a:pt x="27" y="10"/>
                  </a:lnTo>
                  <a:lnTo>
                    <a:pt x="31" y="14"/>
                  </a:lnTo>
                  <a:lnTo>
                    <a:pt x="31" y="21"/>
                  </a:lnTo>
                  <a:lnTo>
                    <a:pt x="27" y="25"/>
                  </a:lnTo>
                  <a:lnTo>
                    <a:pt x="19" y="36"/>
                  </a:lnTo>
                  <a:lnTo>
                    <a:pt x="12" y="44"/>
                  </a:lnTo>
                  <a:lnTo>
                    <a:pt x="5" y="45"/>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39" name="Freeform 18"/>
            <p:cNvSpPr>
              <a:spLocks/>
            </p:cNvSpPr>
            <p:nvPr/>
          </p:nvSpPr>
          <p:spPr bwMode="auto">
            <a:xfrm>
              <a:off x="4244975" y="2016129"/>
              <a:ext cx="92075" cy="63500"/>
            </a:xfrm>
            <a:custGeom>
              <a:avLst/>
              <a:gdLst>
                <a:gd name="T0" fmla="*/ 13 w 58"/>
                <a:gd name="T1" fmla="*/ 3 h 40"/>
                <a:gd name="T2" fmla="*/ 24 w 58"/>
                <a:gd name="T3" fmla="*/ 4 h 40"/>
                <a:gd name="T4" fmla="*/ 39 w 58"/>
                <a:gd name="T5" fmla="*/ 0 h 40"/>
                <a:gd name="T6" fmla="*/ 49 w 58"/>
                <a:gd name="T7" fmla="*/ 9 h 40"/>
                <a:gd name="T8" fmla="*/ 58 w 58"/>
                <a:gd name="T9" fmla="*/ 14 h 40"/>
                <a:gd name="T10" fmla="*/ 57 w 58"/>
                <a:gd name="T11" fmla="*/ 27 h 40"/>
                <a:gd name="T12" fmla="*/ 53 w 58"/>
                <a:gd name="T13" fmla="*/ 28 h 40"/>
                <a:gd name="T14" fmla="*/ 51 w 58"/>
                <a:gd name="T15" fmla="*/ 40 h 40"/>
                <a:gd name="T16" fmla="*/ 37 w 58"/>
                <a:gd name="T17" fmla="*/ 30 h 40"/>
                <a:gd name="T18" fmla="*/ 29 w 58"/>
                <a:gd name="T19" fmla="*/ 32 h 40"/>
                <a:gd name="T20" fmla="*/ 17 w 58"/>
                <a:gd name="T21" fmla="*/ 22 h 40"/>
                <a:gd name="T22" fmla="*/ 10 w 58"/>
                <a:gd name="T23" fmla="*/ 14 h 40"/>
                <a:gd name="T24" fmla="*/ 3 w 58"/>
                <a:gd name="T25" fmla="*/ 14 h 40"/>
                <a:gd name="T26" fmla="*/ 0 w 58"/>
                <a:gd name="T27" fmla="*/ 7 h 40"/>
                <a:gd name="T28" fmla="*/ 13 w 58"/>
                <a:gd name="T29"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40">
                  <a:moveTo>
                    <a:pt x="13" y="3"/>
                  </a:moveTo>
                  <a:lnTo>
                    <a:pt x="24" y="4"/>
                  </a:lnTo>
                  <a:lnTo>
                    <a:pt x="39" y="0"/>
                  </a:lnTo>
                  <a:lnTo>
                    <a:pt x="49" y="9"/>
                  </a:lnTo>
                  <a:lnTo>
                    <a:pt x="58" y="14"/>
                  </a:lnTo>
                  <a:lnTo>
                    <a:pt x="57" y="27"/>
                  </a:lnTo>
                  <a:lnTo>
                    <a:pt x="53" y="28"/>
                  </a:lnTo>
                  <a:lnTo>
                    <a:pt x="51" y="40"/>
                  </a:lnTo>
                  <a:lnTo>
                    <a:pt x="37" y="30"/>
                  </a:lnTo>
                  <a:lnTo>
                    <a:pt x="29" y="32"/>
                  </a:lnTo>
                  <a:lnTo>
                    <a:pt x="17" y="22"/>
                  </a:lnTo>
                  <a:lnTo>
                    <a:pt x="10" y="14"/>
                  </a:lnTo>
                  <a:lnTo>
                    <a:pt x="3" y="14"/>
                  </a:lnTo>
                  <a:lnTo>
                    <a:pt x="0" y="7"/>
                  </a:lnTo>
                  <a:lnTo>
                    <a:pt x="13" y="3"/>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40" name="Freeform 19"/>
            <p:cNvSpPr>
              <a:spLocks/>
            </p:cNvSpPr>
            <p:nvPr/>
          </p:nvSpPr>
          <p:spPr bwMode="auto">
            <a:xfrm>
              <a:off x="4203700" y="3302004"/>
              <a:ext cx="88900" cy="201613"/>
            </a:xfrm>
            <a:custGeom>
              <a:avLst/>
              <a:gdLst>
                <a:gd name="T0" fmla="*/ 36 w 56"/>
                <a:gd name="T1" fmla="*/ 124 h 127"/>
                <a:gd name="T2" fmla="*/ 20 w 56"/>
                <a:gd name="T3" fmla="*/ 127 h 127"/>
                <a:gd name="T4" fmla="*/ 16 w 56"/>
                <a:gd name="T5" fmla="*/ 113 h 127"/>
                <a:gd name="T6" fmla="*/ 17 w 56"/>
                <a:gd name="T7" fmla="*/ 65 h 127"/>
                <a:gd name="T8" fmla="*/ 13 w 56"/>
                <a:gd name="T9" fmla="*/ 61 h 127"/>
                <a:gd name="T10" fmla="*/ 12 w 56"/>
                <a:gd name="T11" fmla="*/ 50 h 127"/>
                <a:gd name="T12" fmla="*/ 6 w 56"/>
                <a:gd name="T13" fmla="*/ 43 h 127"/>
                <a:gd name="T14" fmla="*/ 0 w 56"/>
                <a:gd name="T15" fmla="*/ 37 h 127"/>
                <a:gd name="T16" fmla="*/ 3 w 56"/>
                <a:gd name="T17" fmla="*/ 26 h 127"/>
                <a:gd name="T18" fmla="*/ 9 w 56"/>
                <a:gd name="T19" fmla="*/ 23 h 127"/>
                <a:gd name="T20" fmla="*/ 13 w 56"/>
                <a:gd name="T21" fmla="*/ 14 h 127"/>
                <a:gd name="T22" fmla="*/ 22 w 56"/>
                <a:gd name="T23" fmla="*/ 13 h 127"/>
                <a:gd name="T24" fmla="*/ 26 w 56"/>
                <a:gd name="T25" fmla="*/ 6 h 127"/>
                <a:gd name="T26" fmla="*/ 32 w 56"/>
                <a:gd name="T27" fmla="*/ 0 h 127"/>
                <a:gd name="T28" fmla="*/ 38 w 56"/>
                <a:gd name="T29" fmla="*/ 0 h 127"/>
                <a:gd name="T30" fmla="*/ 52 w 56"/>
                <a:gd name="T31" fmla="*/ 12 h 127"/>
                <a:gd name="T32" fmla="*/ 52 w 56"/>
                <a:gd name="T33" fmla="*/ 19 h 127"/>
                <a:gd name="T34" fmla="*/ 56 w 56"/>
                <a:gd name="T35" fmla="*/ 31 h 127"/>
                <a:gd name="T36" fmla="*/ 52 w 56"/>
                <a:gd name="T37" fmla="*/ 40 h 127"/>
                <a:gd name="T38" fmla="*/ 54 w 56"/>
                <a:gd name="T39" fmla="*/ 45 h 127"/>
                <a:gd name="T40" fmla="*/ 45 w 56"/>
                <a:gd name="T41" fmla="*/ 58 h 127"/>
                <a:gd name="T42" fmla="*/ 40 w 56"/>
                <a:gd name="T43" fmla="*/ 64 h 127"/>
                <a:gd name="T44" fmla="*/ 36 w 56"/>
                <a:gd name="T45" fmla="*/ 78 h 127"/>
                <a:gd name="T46" fmla="*/ 37 w 56"/>
                <a:gd name="T47" fmla="*/ 91 h 127"/>
                <a:gd name="T48" fmla="*/ 36 w 56"/>
                <a:gd name="T49" fmla="*/ 12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127">
                  <a:moveTo>
                    <a:pt x="36" y="124"/>
                  </a:moveTo>
                  <a:lnTo>
                    <a:pt x="20" y="127"/>
                  </a:lnTo>
                  <a:lnTo>
                    <a:pt x="16" y="113"/>
                  </a:lnTo>
                  <a:lnTo>
                    <a:pt x="17" y="65"/>
                  </a:lnTo>
                  <a:lnTo>
                    <a:pt x="13" y="61"/>
                  </a:lnTo>
                  <a:lnTo>
                    <a:pt x="12" y="50"/>
                  </a:lnTo>
                  <a:lnTo>
                    <a:pt x="6" y="43"/>
                  </a:lnTo>
                  <a:lnTo>
                    <a:pt x="0" y="37"/>
                  </a:lnTo>
                  <a:lnTo>
                    <a:pt x="3" y="26"/>
                  </a:lnTo>
                  <a:lnTo>
                    <a:pt x="9" y="23"/>
                  </a:lnTo>
                  <a:lnTo>
                    <a:pt x="13" y="14"/>
                  </a:lnTo>
                  <a:lnTo>
                    <a:pt x="22" y="13"/>
                  </a:lnTo>
                  <a:lnTo>
                    <a:pt x="26" y="6"/>
                  </a:lnTo>
                  <a:lnTo>
                    <a:pt x="32" y="0"/>
                  </a:lnTo>
                  <a:lnTo>
                    <a:pt x="38" y="0"/>
                  </a:lnTo>
                  <a:lnTo>
                    <a:pt x="52" y="12"/>
                  </a:lnTo>
                  <a:lnTo>
                    <a:pt x="52" y="19"/>
                  </a:lnTo>
                  <a:lnTo>
                    <a:pt x="56" y="31"/>
                  </a:lnTo>
                  <a:lnTo>
                    <a:pt x="52" y="40"/>
                  </a:lnTo>
                  <a:lnTo>
                    <a:pt x="54" y="45"/>
                  </a:lnTo>
                  <a:lnTo>
                    <a:pt x="45" y="58"/>
                  </a:lnTo>
                  <a:lnTo>
                    <a:pt x="40" y="64"/>
                  </a:lnTo>
                  <a:lnTo>
                    <a:pt x="36" y="78"/>
                  </a:lnTo>
                  <a:lnTo>
                    <a:pt x="37" y="91"/>
                  </a:lnTo>
                  <a:lnTo>
                    <a:pt x="36" y="124"/>
                  </a:lnTo>
                  <a:close/>
                </a:path>
              </a:pathLst>
            </a:custGeom>
            <a:solidFill>
              <a:schemeClr val="accent2">
                <a:lumMod val="40000"/>
                <a:lumOff val="60000"/>
              </a:schemeClr>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41" name="Freeform 20"/>
            <p:cNvSpPr>
              <a:spLocks/>
            </p:cNvSpPr>
            <p:nvPr/>
          </p:nvSpPr>
          <p:spPr bwMode="auto">
            <a:xfrm>
              <a:off x="4022725" y="3206754"/>
              <a:ext cx="222250" cy="182563"/>
            </a:xfrm>
            <a:custGeom>
              <a:avLst/>
              <a:gdLst>
                <a:gd name="T0" fmla="*/ 49 w 140"/>
                <a:gd name="T1" fmla="*/ 114 h 115"/>
                <a:gd name="T2" fmla="*/ 36 w 140"/>
                <a:gd name="T3" fmla="*/ 109 h 115"/>
                <a:gd name="T4" fmla="*/ 28 w 140"/>
                <a:gd name="T5" fmla="*/ 110 h 115"/>
                <a:gd name="T6" fmla="*/ 21 w 140"/>
                <a:gd name="T7" fmla="*/ 115 h 115"/>
                <a:gd name="T8" fmla="*/ 13 w 140"/>
                <a:gd name="T9" fmla="*/ 110 h 115"/>
                <a:gd name="T10" fmla="*/ 10 w 140"/>
                <a:gd name="T11" fmla="*/ 103 h 115"/>
                <a:gd name="T12" fmla="*/ 1 w 140"/>
                <a:gd name="T13" fmla="*/ 99 h 115"/>
                <a:gd name="T14" fmla="*/ 0 w 140"/>
                <a:gd name="T15" fmla="*/ 87 h 115"/>
                <a:gd name="T16" fmla="*/ 5 w 140"/>
                <a:gd name="T17" fmla="*/ 78 h 115"/>
                <a:gd name="T18" fmla="*/ 5 w 140"/>
                <a:gd name="T19" fmla="*/ 71 h 115"/>
                <a:gd name="T20" fmla="*/ 19 w 140"/>
                <a:gd name="T21" fmla="*/ 54 h 115"/>
                <a:gd name="T22" fmla="*/ 22 w 140"/>
                <a:gd name="T23" fmla="*/ 40 h 115"/>
                <a:gd name="T24" fmla="*/ 27 w 140"/>
                <a:gd name="T25" fmla="*/ 34 h 115"/>
                <a:gd name="T26" fmla="*/ 36 w 140"/>
                <a:gd name="T27" fmla="*/ 37 h 115"/>
                <a:gd name="T28" fmla="*/ 44 w 140"/>
                <a:gd name="T29" fmla="*/ 33 h 115"/>
                <a:gd name="T30" fmla="*/ 46 w 140"/>
                <a:gd name="T31" fmla="*/ 28 h 115"/>
                <a:gd name="T32" fmla="*/ 61 w 140"/>
                <a:gd name="T33" fmla="*/ 18 h 115"/>
                <a:gd name="T34" fmla="*/ 64 w 140"/>
                <a:gd name="T35" fmla="*/ 12 h 115"/>
                <a:gd name="T36" fmla="*/ 81 w 140"/>
                <a:gd name="T37" fmla="*/ 3 h 115"/>
                <a:gd name="T38" fmla="*/ 91 w 140"/>
                <a:gd name="T39" fmla="*/ 0 h 115"/>
                <a:gd name="T40" fmla="*/ 95 w 140"/>
                <a:gd name="T41" fmla="*/ 4 h 115"/>
                <a:gd name="T42" fmla="*/ 107 w 140"/>
                <a:gd name="T43" fmla="*/ 4 h 115"/>
                <a:gd name="T44" fmla="*/ 106 w 140"/>
                <a:gd name="T45" fmla="*/ 14 h 115"/>
                <a:gd name="T46" fmla="*/ 108 w 140"/>
                <a:gd name="T47" fmla="*/ 24 h 115"/>
                <a:gd name="T48" fmla="*/ 118 w 140"/>
                <a:gd name="T49" fmla="*/ 37 h 115"/>
                <a:gd name="T50" fmla="*/ 119 w 140"/>
                <a:gd name="T51" fmla="*/ 47 h 115"/>
                <a:gd name="T52" fmla="*/ 140 w 140"/>
                <a:gd name="T53" fmla="*/ 52 h 115"/>
                <a:gd name="T54" fmla="*/ 140 w 140"/>
                <a:gd name="T55" fmla="*/ 66 h 115"/>
                <a:gd name="T56" fmla="*/ 136 w 140"/>
                <a:gd name="T57" fmla="*/ 73 h 115"/>
                <a:gd name="T58" fmla="*/ 127 w 140"/>
                <a:gd name="T59" fmla="*/ 74 h 115"/>
                <a:gd name="T60" fmla="*/ 123 w 140"/>
                <a:gd name="T61" fmla="*/ 83 h 115"/>
                <a:gd name="T62" fmla="*/ 117 w 140"/>
                <a:gd name="T63" fmla="*/ 86 h 115"/>
                <a:gd name="T64" fmla="*/ 101 w 140"/>
                <a:gd name="T65" fmla="*/ 85 h 115"/>
                <a:gd name="T66" fmla="*/ 92 w 140"/>
                <a:gd name="T67" fmla="*/ 84 h 115"/>
                <a:gd name="T68" fmla="*/ 86 w 140"/>
                <a:gd name="T69" fmla="*/ 87 h 115"/>
                <a:gd name="T70" fmla="*/ 78 w 140"/>
                <a:gd name="T71" fmla="*/ 86 h 115"/>
                <a:gd name="T72" fmla="*/ 47 w 140"/>
                <a:gd name="T73" fmla="*/ 87 h 115"/>
                <a:gd name="T74" fmla="*/ 46 w 140"/>
                <a:gd name="T75" fmla="*/ 98 h 115"/>
                <a:gd name="T76" fmla="*/ 49 w 140"/>
                <a:gd name="T77" fmla="*/ 1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 h="115">
                  <a:moveTo>
                    <a:pt x="49" y="114"/>
                  </a:moveTo>
                  <a:lnTo>
                    <a:pt x="36" y="109"/>
                  </a:lnTo>
                  <a:lnTo>
                    <a:pt x="28" y="110"/>
                  </a:lnTo>
                  <a:lnTo>
                    <a:pt x="21" y="115"/>
                  </a:lnTo>
                  <a:lnTo>
                    <a:pt x="13" y="110"/>
                  </a:lnTo>
                  <a:lnTo>
                    <a:pt x="10" y="103"/>
                  </a:lnTo>
                  <a:lnTo>
                    <a:pt x="1" y="99"/>
                  </a:lnTo>
                  <a:lnTo>
                    <a:pt x="0" y="87"/>
                  </a:lnTo>
                  <a:lnTo>
                    <a:pt x="5" y="78"/>
                  </a:lnTo>
                  <a:lnTo>
                    <a:pt x="5" y="71"/>
                  </a:lnTo>
                  <a:lnTo>
                    <a:pt x="19" y="54"/>
                  </a:lnTo>
                  <a:lnTo>
                    <a:pt x="22" y="40"/>
                  </a:lnTo>
                  <a:lnTo>
                    <a:pt x="27" y="34"/>
                  </a:lnTo>
                  <a:lnTo>
                    <a:pt x="36" y="37"/>
                  </a:lnTo>
                  <a:lnTo>
                    <a:pt x="44" y="33"/>
                  </a:lnTo>
                  <a:lnTo>
                    <a:pt x="46" y="28"/>
                  </a:lnTo>
                  <a:lnTo>
                    <a:pt x="61" y="18"/>
                  </a:lnTo>
                  <a:lnTo>
                    <a:pt x="64" y="12"/>
                  </a:lnTo>
                  <a:lnTo>
                    <a:pt x="81" y="3"/>
                  </a:lnTo>
                  <a:lnTo>
                    <a:pt x="91" y="0"/>
                  </a:lnTo>
                  <a:lnTo>
                    <a:pt x="95" y="4"/>
                  </a:lnTo>
                  <a:lnTo>
                    <a:pt x="107" y="4"/>
                  </a:lnTo>
                  <a:lnTo>
                    <a:pt x="106" y="14"/>
                  </a:lnTo>
                  <a:lnTo>
                    <a:pt x="108" y="24"/>
                  </a:lnTo>
                  <a:lnTo>
                    <a:pt x="118" y="37"/>
                  </a:lnTo>
                  <a:lnTo>
                    <a:pt x="119" y="47"/>
                  </a:lnTo>
                  <a:lnTo>
                    <a:pt x="140" y="52"/>
                  </a:lnTo>
                  <a:lnTo>
                    <a:pt x="140" y="66"/>
                  </a:lnTo>
                  <a:lnTo>
                    <a:pt x="136" y="73"/>
                  </a:lnTo>
                  <a:lnTo>
                    <a:pt x="127" y="74"/>
                  </a:lnTo>
                  <a:lnTo>
                    <a:pt x="123" y="83"/>
                  </a:lnTo>
                  <a:lnTo>
                    <a:pt x="117" y="86"/>
                  </a:lnTo>
                  <a:lnTo>
                    <a:pt x="101" y="85"/>
                  </a:lnTo>
                  <a:lnTo>
                    <a:pt x="92" y="84"/>
                  </a:lnTo>
                  <a:lnTo>
                    <a:pt x="86" y="87"/>
                  </a:lnTo>
                  <a:lnTo>
                    <a:pt x="78" y="86"/>
                  </a:lnTo>
                  <a:lnTo>
                    <a:pt x="47" y="87"/>
                  </a:lnTo>
                  <a:lnTo>
                    <a:pt x="46" y="98"/>
                  </a:lnTo>
                  <a:lnTo>
                    <a:pt x="49" y="114"/>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58" name="Freeform 21"/>
            <p:cNvSpPr>
              <a:spLocks/>
            </p:cNvSpPr>
            <p:nvPr/>
          </p:nvSpPr>
          <p:spPr bwMode="auto">
            <a:xfrm>
              <a:off x="6677025" y="2833691"/>
              <a:ext cx="153988" cy="190500"/>
            </a:xfrm>
            <a:custGeom>
              <a:avLst/>
              <a:gdLst>
                <a:gd name="T0" fmla="*/ 94 w 97"/>
                <a:gd name="T1" fmla="*/ 92 h 120"/>
                <a:gd name="T2" fmla="*/ 97 w 97"/>
                <a:gd name="T3" fmla="*/ 106 h 120"/>
                <a:gd name="T4" fmla="*/ 90 w 97"/>
                <a:gd name="T5" fmla="*/ 103 h 120"/>
                <a:gd name="T6" fmla="*/ 94 w 97"/>
                <a:gd name="T7" fmla="*/ 120 h 120"/>
                <a:gd name="T8" fmla="*/ 87 w 97"/>
                <a:gd name="T9" fmla="*/ 109 h 120"/>
                <a:gd name="T10" fmla="*/ 84 w 97"/>
                <a:gd name="T11" fmla="*/ 99 h 120"/>
                <a:gd name="T12" fmla="*/ 79 w 97"/>
                <a:gd name="T13" fmla="*/ 89 h 120"/>
                <a:gd name="T14" fmla="*/ 69 w 97"/>
                <a:gd name="T15" fmla="*/ 76 h 120"/>
                <a:gd name="T16" fmla="*/ 53 w 97"/>
                <a:gd name="T17" fmla="*/ 76 h 120"/>
                <a:gd name="T18" fmla="*/ 56 w 97"/>
                <a:gd name="T19" fmla="*/ 84 h 120"/>
                <a:gd name="T20" fmla="*/ 52 w 97"/>
                <a:gd name="T21" fmla="*/ 96 h 120"/>
                <a:gd name="T22" fmla="*/ 44 w 97"/>
                <a:gd name="T23" fmla="*/ 92 h 120"/>
                <a:gd name="T24" fmla="*/ 42 w 97"/>
                <a:gd name="T25" fmla="*/ 95 h 120"/>
                <a:gd name="T26" fmla="*/ 36 w 97"/>
                <a:gd name="T27" fmla="*/ 93 h 120"/>
                <a:gd name="T28" fmla="*/ 29 w 97"/>
                <a:gd name="T29" fmla="*/ 91 h 120"/>
                <a:gd name="T30" fmla="*/ 23 w 97"/>
                <a:gd name="T31" fmla="*/ 74 h 120"/>
                <a:gd name="T32" fmla="*/ 14 w 97"/>
                <a:gd name="T33" fmla="*/ 58 h 120"/>
                <a:gd name="T34" fmla="*/ 15 w 97"/>
                <a:gd name="T35" fmla="*/ 46 h 120"/>
                <a:gd name="T36" fmla="*/ 3 w 97"/>
                <a:gd name="T37" fmla="*/ 40 h 120"/>
                <a:gd name="T38" fmla="*/ 6 w 97"/>
                <a:gd name="T39" fmla="*/ 33 h 120"/>
                <a:gd name="T40" fmla="*/ 16 w 97"/>
                <a:gd name="T41" fmla="*/ 25 h 120"/>
                <a:gd name="T42" fmla="*/ 0 w 97"/>
                <a:gd name="T43" fmla="*/ 14 h 120"/>
                <a:gd name="T44" fmla="*/ 4 w 97"/>
                <a:gd name="T45" fmla="*/ 0 h 120"/>
                <a:gd name="T46" fmla="*/ 20 w 97"/>
                <a:gd name="T47" fmla="*/ 9 h 120"/>
                <a:gd name="T48" fmla="*/ 28 w 97"/>
                <a:gd name="T49" fmla="*/ 10 h 120"/>
                <a:gd name="T50" fmla="*/ 33 w 97"/>
                <a:gd name="T51" fmla="*/ 24 h 120"/>
                <a:gd name="T52" fmla="*/ 50 w 97"/>
                <a:gd name="T53" fmla="*/ 27 h 120"/>
                <a:gd name="T54" fmla="*/ 67 w 97"/>
                <a:gd name="T55" fmla="*/ 27 h 120"/>
                <a:gd name="T56" fmla="*/ 78 w 97"/>
                <a:gd name="T57" fmla="*/ 31 h 120"/>
                <a:gd name="T58" fmla="*/ 73 w 97"/>
                <a:gd name="T59" fmla="*/ 48 h 120"/>
                <a:gd name="T60" fmla="*/ 65 w 97"/>
                <a:gd name="T61" fmla="*/ 49 h 120"/>
                <a:gd name="T62" fmla="*/ 62 w 97"/>
                <a:gd name="T63" fmla="*/ 61 h 120"/>
                <a:gd name="T64" fmla="*/ 74 w 97"/>
                <a:gd name="T65" fmla="*/ 72 h 120"/>
                <a:gd name="T66" fmla="*/ 74 w 97"/>
                <a:gd name="T67" fmla="*/ 59 h 120"/>
                <a:gd name="T68" fmla="*/ 79 w 97"/>
                <a:gd name="T69" fmla="*/ 59 h 120"/>
                <a:gd name="T70" fmla="*/ 94 w 97"/>
                <a:gd name="T71" fmla="*/ 9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20">
                  <a:moveTo>
                    <a:pt x="94" y="92"/>
                  </a:moveTo>
                  <a:lnTo>
                    <a:pt x="97" y="106"/>
                  </a:lnTo>
                  <a:lnTo>
                    <a:pt x="90" y="103"/>
                  </a:lnTo>
                  <a:lnTo>
                    <a:pt x="94" y="120"/>
                  </a:lnTo>
                  <a:lnTo>
                    <a:pt x="87" y="109"/>
                  </a:lnTo>
                  <a:lnTo>
                    <a:pt x="84" y="99"/>
                  </a:lnTo>
                  <a:lnTo>
                    <a:pt x="79" y="89"/>
                  </a:lnTo>
                  <a:lnTo>
                    <a:pt x="69" y="76"/>
                  </a:lnTo>
                  <a:lnTo>
                    <a:pt x="53" y="76"/>
                  </a:lnTo>
                  <a:lnTo>
                    <a:pt x="56" y="84"/>
                  </a:lnTo>
                  <a:lnTo>
                    <a:pt x="52" y="96"/>
                  </a:lnTo>
                  <a:lnTo>
                    <a:pt x="44" y="92"/>
                  </a:lnTo>
                  <a:lnTo>
                    <a:pt x="42" y="95"/>
                  </a:lnTo>
                  <a:lnTo>
                    <a:pt x="36" y="93"/>
                  </a:lnTo>
                  <a:lnTo>
                    <a:pt x="29" y="91"/>
                  </a:lnTo>
                  <a:lnTo>
                    <a:pt x="23" y="74"/>
                  </a:lnTo>
                  <a:lnTo>
                    <a:pt x="14" y="58"/>
                  </a:lnTo>
                  <a:lnTo>
                    <a:pt x="15" y="46"/>
                  </a:lnTo>
                  <a:lnTo>
                    <a:pt x="3" y="40"/>
                  </a:lnTo>
                  <a:lnTo>
                    <a:pt x="6" y="33"/>
                  </a:lnTo>
                  <a:lnTo>
                    <a:pt x="16" y="25"/>
                  </a:lnTo>
                  <a:lnTo>
                    <a:pt x="0" y="14"/>
                  </a:lnTo>
                  <a:lnTo>
                    <a:pt x="4" y="0"/>
                  </a:lnTo>
                  <a:lnTo>
                    <a:pt x="20" y="9"/>
                  </a:lnTo>
                  <a:lnTo>
                    <a:pt x="28" y="10"/>
                  </a:lnTo>
                  <a:lnTo>
                    <a:pt x="33" y="24"/>
                  </a:lnTo>
                  <a:lnTo>
                    <a:pt x="50" y="27"/>
                  </a:lnTo>
                  <a:lnTo>
                    <a:pt x="67" y="27"/>
                  </a:lnTo>
                  <a:lnTo>
                    <a:pt x="78" y="31"/>
                  </a:lnTo>
                  <a:lnTo>
                    <a:pt x="73" y="48"/>
                  </a:lnTo>
                  <a:lnTo>
                    <a:pt x="65" y="49"/>
                  </a:lnTo>
                  <a:lnTo>
                    <a:pt x="62" y="61"/>
                  </a:lnTo>
                  <a:lnTo>
                    <a:pt x="74" y="72"/>
                  </a:lnTo>
                  <a:lnTo>
                    <a:pt x="74" y="59"/>
                  </a:lnTo>
                  <a:lnTo>
                    <a:pt x="79" y="59"/>
                  </a:lnTo>
                  <a:lnTo>
                    <a:pt x="94" y="92"/>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59" name="Freeform 22"/>
            <p:cNvSpPr>
              <a:spLocks/>
            </p:cNvSpPr>
            <p:nvPr/>
          </p:nvSpPr>
          <p:spPr bwMode="auto">
            <a:xfrm>
              <a:off x="4772025" y="2249491"/>
              <a:ext cx="161925" cy="98425"/>
            </a:xfrm>
            <a:custGeom>
              <a:avLst/>
              <a:gdLst>
                <a:gd name="T0" fmla="*/ 3 w 102"/>
                <a:gd name="T1" fmla="*/ 0 h 62"/>
                <a:gd name="T2" fmla="*/ 9 w 102"/>
                <a:gd name="T3" fmla="*/ 9 h 62"/>
                <a:gd name="T4" fmla="*/ 15 w 102"/>
                <a:gd name="T5" fmla="*/ 7 h 62"/>
                <a:gd name="T6" fmla="*/ 28 w 102"/>
                <a:gd name="T7" fmla="*/ 10 h 62"/>
                <a:gd name="T8" fmla="*/ 53 w 102"/>
                <a:gd name="T9" fmla="*/ 12 h 62"/>
                <a:gd name="T10" fmla="*/ 60 w 102"/>
                <a:gd name="T11" fmla="*/ 6 h 62"/>
                <a:gd name="T12" fmla="*/ 80 w 102"/>
                <a:gd name="T13" fmla="*/ 2 h 62"/>
                <a:gd name="T14" fmla="*/ 92 w 102"/>
                <a:gd name="T15" fmla="*/ 9 h 62"/>
                <a:gd name="T16" fmla="*/ 102 w 102"/>
                <a:gd name="T17" fmla="*/ 11 h 62"/>
                <a:gd name="T18" fmla="*/ 95 w 102"/>
                <a:gd name="T19" fmla="*/ 20 h 62"/>
                <a:gd name="T20" fmla="*/ 91 w 102"/>
                <a:gd name="T21" fmla="*/ 34 h 62"/>
                <a:gd name="T22" fmla="*/ 98 w 102"/>
                <a:gd name="T23" fmla="*/ 46 h 62"/>
                <a:gd name="T24" fmla="*/ 83 w 102"/>
                <a:gd name="T25" fmla="*/ 43 h 62"/>
                <a:gd name="T26" fmla="*/ 66 w 102"/>
                <a:gd name="T27" fmla="*/ 50 h 62"/>
                <a:gd name="T28" fmla="*/ 67 w 102"/>
                <a:gd name="T29" fmla="*/ 60 h 62"/>
                <a:gd name="T30" fmla="*/ 52 w 102"/>
                <a:gd name="T31" fmla="*/ 62 h 62"/>
                <a:gd name="T32" fmla="*/ 40 w 102"/>
                <a:gd name="T33" fmla="*/ 55 h 62"/>
                <a:gd name="T34" fmla="*/ 27 w 102"/>
                <a:gd name="T35" fmla="*/ 60 h 62"/>
                <a:gd name="T36" fmla="*/ 14 w 102"/>
                <a:gd name="T37" fmla="*/ 60 h 62"/>
                <a:gd name="T38" fmla="*/ 12 w 102"/>
                <a:gd name="T39" fmla="*/ 46 h 62"/>
                <a:gd name="T40" fmla="*/ 3 w 102"/>
                <a:gd name="T41" fmla="*/ 40 h 62"/>
                <a:gd name="T42" fmla="*/ 5 w 102"/>
                <a:gd name="T43" fmla="*/ 37 h 62"/>
                <a:gd name="T44" fmla="*/ 3 w 102"/>
                <a:gd name="T45" fmla="*/ 34 h 62"/>
                <a:gd name="T46" fmla="*/ 5 w 102"/>
                <a:gd name="T47" fmla="*/ 28 h 62"/>
                <a:gd name="T48" fmla="*/ 11 w 102"/>
                <a:gd name="T49" fmla="*/ 21 h 62"/>
                <a:gd name="T50" fmla="*/ 2 w 102"/>
                <a:gd name="T51" fmla="*/ 13 h 62"/>
                <a:gd name="T52" fmla="*/ 0 w 102"/>
                <a:gd name="T53" fmla="*/ 5 h 62"/>
                <a:gd name="T54" fmla="*/ 3 w 102"/>
                <a:gd name="T5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2">
                  <a:moveTo>
                    <a:pt x="3" y="0"/>
                  </a:moveTo>
                  <a:lnTo>
                    <a:pt x="9" y="9"/>
                  </a:lnTo>
                  <a:lnTo>
                    <a:pt x="15" y="7"/>
                  </a:lnTo>
                  <a:lnTo>
                    <a:pt x="28" y="10"/>
                  </a:lnTo>
                  <a:lnTo>
                    <a:pt x="53" y="12"/>
                  </a:lnTo>
                  <a:lnTo>
                    <a:pt x="60" y="6"/>
                  </a:lnTo>
                  <a:lnTo>
                    <a:pt x="80" y="2"/>
                  </a:lnTo>
                  <a:lnTo>
                    <a:pt x="92" y="9"/>
                  </a:lnTo>
                  <a:lnTo>
                    <a:pt x="102" y="11"/>
                  </a:lnTo>
                  <a:lnTo>
                    <a:pt x="95" y="20"/>
                  </a:lnTo>
                  <a:lnTo>
                    <a:pt x="91" y="34"/>
                  </a:lnTo>
                  <a:lnTo>
                    <a:pt x="98" y="46"/>
                  </a:lnTo>
                  <a:lnTo>
                    <a:pt x="83" y="43"/>
                  </a:lnTo>
                  <a:lnTo>
                    <a:pt x="66" y="50"/>
                  </a:lnTo>
                  <a:lnTo>
                    <a:pt x="67" y="60"/>
                  </a:lnTo>
                  <a:lnTo>
                    <a:pt x="52" y="62"/>
                  </a:lnTo>
                  <a:lnTo>
                    <a:pt x="40" y="55"/>
                  </a:lnTo>
                  <a:lnTo>
                    <a:pt x="27" y="60"/>
                  </a:lnTo>
                  <a:lnTo>
                    <a:pt x="14" y="60"/>
                  </a:lnTo>
                  <a:lnTo>
                    <a:pt x="12" y="46"/>
                  </a:lnTo>
                  <a:lnTo>
                    <a:pt x="3" y="40"/>
                  </a:lnTo>
                  <a:lnTo>
                    <a:pt x="5" y="37"/>
                  </a:lnTo>
                  <a:lnTo>
                    <a:pt x="3" y="34"/>
                  </a:lnTo>
                  <a:lnTo>
                    <a:pt x="5" y="28"/>
                  </a:lnTo>
                  <a:lnTo>
                    <a:pt x="11" y="21"/>
                  </a:lnTo>
                  <a:lnTo>
                    <a:pt x="2" y="13"/>
                  </a:lnTo>
                  <a:lnTo>
                    <a:pt x="0" y="5"/>
                  </a:lnTo>
                  <a:lnTo>
                    <a:pt x="3"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60" name="Freeform 23"/>
            <p:cNvSpPr>
              <a:spLocks/>
            </p:cNvSpPr>
            <p:nvPr/>
          </p:nvSpPr>
          <p:spPr bwMode="auto">
            <a:xfrm>
              <a:off x="1957387" y="2874966"/>
              <a:ext cx="23813" cy="49213"/>
            </a:xfrm>
            <a:custGeom>
              <a:avLst/>
              <a:gdLst>
                <a:gd name="T0" fmla="*/ 13 w 15"/>
                <a:gd name="T1" fmla="*/ 30 h 31"/>
                <a:gd name="T2" fmla="*/ 8 w 15"/>
                <a:gd name="T3" fmla="*/ 31 h 31"/>
                <a:gd name="T4" fmla="*/ 5 w 15"/>
                <a:gd name="T5" fmla="*/ 19 h 31"/>
                <a:gd name="T6" fmla="*/ 0 w 15"/>
                <a:gd name="T7" fmla="*/ 13 h 31"/>
                <a:gd name="T8" fmla="*/ 6 w 15"/>
                <a:gd name="T9" fmla="*/ 0 h 31"/>
                <a:gd name="T10" fmla="*/ 11 w 15"/>
                <a:gd name="T11" fmla="*/ 0 h 31"/>
                <a:gd name="T12" fmla="*/ 15 w 15"/>
                <a:gd name="T13" fmla="*/ 18 h 31"/>
                <a:gd name="T14" fmla="*/ 13 w 15"/>
                <a:gd name="T15" fmla="*/ 3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1">
                  <a:moveTo>
                    <a:pt x="13" y="30"/>
                  </a:moveTo>
                  <a:lnTo>
                    <a:pt x="8" y="31"/>
                  </a:lnTo>
                  <a:lnTo>
                    <a:pt x="5" y="19"/>
                  </a:lnTo>
                  <a:lnTo>
                    <a:pt x="0" y="13"/>
                  </a:lnTo>
                  <a:lnTo>
                    <a:pt x="6" y="0"/>
                  </a:lnTo>
                  <a:lnTo>
                    <a:pt x="11" y="0"/>
                  </a:lnTo>
                  <a:lnTo>
                    <a:pt x="15" y="18"/>
                  </a:lnTo>
                  <a:lnTo>
                    <a:pt x="13" y="3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61" name="Freeform 24"/>
            <p:cNvSpPr>
              <a:spLocks/>
            </p:cNvSpPr>
            <p:nvPr/>
          </p:nvSpPr>
          <p:spPr bwMode="auto">
            <a:xfrm>
              <a:off x="1952625" y="2819404"/>
              <a:ext cx="33338" cy="15875"/>
            </a:xfrm>
            <a:custGeom>
              <a:avLst/>
              <a:gdLst>
                <a:gd name="T0" fmla="*/ 20 w 21"/>
                <a:gd name="T1" fmla="*/ 6 h 10"/>
                <a:gd name="T2" fmla="*/ 0 w 21"/>
                <a:gd name="T3" fmla="*/ 10 h 10"/>
                <a:gd name="T4" fmla="*/ 0 w 21"/>
                <a:gd name="T5" fmla="*/ 2 h 10"/>
                <a:gd name="T6" fmla="*/ 9 w 21"/>
                <a:gd name="T7" fmla="*/ 0 h 10"/>
                <a:gd name="T8" fmla="*/ 21 w 21"/>
                <a:gd name="T9" fmla="*/ 1 h 10"/>
                <a:gd name="T10" fmla="*/ 20 w 21"/>
                <a:gd name="T11" fmla="*/ 6 h 10"/>
              </a:gdLst>
              <a:ahLst/>
              <a:cxnLst>
                <a:cxn ang="0">
                  <a:pos x="T0" y="T1"/>
                </a:cxn>
                <a:cxn ang="0">
                  <a:pos x="T2" y="T3"/>
                </a:cxn>
                <a:cxn ang="0">
                  <a:pos x="T4" y="T5"/>
                </a:cxn>
                <a:cxn ang="0">
                  <a:pos x="T6" y="T7"/>
                </a:cxn>
                <a:cxn ang="0">
                  <a:pos x="T8" y="T9"/>
                </a:cxn>
                <a:cxn ang="0">
                  <a:pos x="T10" y="T11"/>
                </a:cxn>
              </a:cxnLst>
              <a:rect l="0" t="0" r="r" b="b"/>
              <a:pathLst>
                <a:path w="21" h="10">
                  <a:moveTo>
                    <a:pt x="20" y="6"/>
                  </a:moveTo>
                  <a:lnTo>
                    <a:pt x="0" y="10"/>
                  </a:lnTo>
                  <a:lnTo>
                    <a:pt x="0" y="2"/>
                  </a:lnTo>
                  <a:lnTo>
                    <a:pt x="9" y="0"/>
                  </a:lnTo>
                  <a:lnTo>
                    <a:pt x="21" y="1"/>
                  </a:lnTo>
                  <a:lnTo>
                    <a:pt x="20" y="6"/>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62" name="Freeform 25"/>
            <p:cNvSpPr>
              <a:spLocks/>
            </p:cNvSpPr>
            <p:nvPr/>
          </p:nvSpPr>
          <p:spPr bwMode="auto">
            <a:xfrm>
              <a:off x="1987550" y="2814641"/>
              <a:ext cx="20638" cy="38100"/>
            </a:xfrm>
            <a:custGeom>
              <a:avLst/>
              <a:gdLst>
                <a:gd name="T0" fmla="*/ 13 w 13"/>
                <a:gd name="T1" fmla="*/ 9 h 24"/>
                <a:gd name="T2" fmla="*/ 7 w 13"/>
                <a:gd name="T3" fmla="*/ 24 h 24"/>
                <a:gd name="T4" fmla="*/ 5 w 13"/>
                <a:gd name="T5" fmla="*/ 21 h 24"/>
                <a:gd name="T6" fmla="*/ 7 w 13"/>
                <a:gd name="T7" fmla="*/ 10 h 24"/>
                <a:gd name="T8" fmla="*/ 0 w 13"/>
                <a:gd name="T9" fmla="*/ 2 h 24"/>
                <a:gd name="T10" fmla="*/ 1 w 13"/>
                <a:gd name="T11" fmla="*/ 0 h 24"/>
                <a:gd name="T12" fmla="*/ 13 w 13"/>
                <a:gd name="T13" fmla="*/ 9 h 24"/>
              </a:gdLst>
              <a:ahLst/>
              <a:cxnLst>
                <a:cxn ang="0">
                  <a:pos x="T0" y="T1"/>
                </a:cxn>
                <a:cxn ang="0">
                  <a:pos x="T2" y="T3"/>
                </a:cxn>
                <a:cxn ang="0">
                  <a:pos x="T4" y="T5"/>
                </a:cxn>
                <a:cxn ang="0">
                  <a:pos x="T6" y="T7"/>
                </a:cxn>
                <a:cxn ang="0">
                  <a:pos x="T8" y="T9"/>
                </a:cxn>
                <a:cxn ang="0">
                  <a:pos x="T10" y="T11"/>
                </a:cxn>
                <a:cxn ang="0">
                  <a:pos x="T12" y="T13"/>
                </a:cxn>
              </a:cxnLst>
              <a:rect l="0" t="0" r="r" b="b"/>
              <a:pathLst>
                <a:path w="13" h="24">
                  <a:moveTo>
                    <a:pt x="13" y="9"/>
                  </a:moveTo>
                  <a:lnTo>
                    <a:pt x="7" y="24"/>
                  </a:lnTo>
                  <a:lnTo>
                    <a:pt x="5" y="21"/>
                  </a:lnTo>
                  <a:lnTo>
                    <a:pt x="7" y="10"/>
                  </a:lnTo>
                  <a:lnTo>
                    <a:pt x="0" y="2"/>
                  </a:lnTo>
                  <a:lnTo>
                    <a:pt x="1" y="0"/>
                  </a:lnTo>
                  <a:lnTo>
                    <a:pt x="13" y="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63" name="Freeform 26"/>
            <p:cNvSpPr>
              <a:spLocks/>
            </p:cNvSpPr>
            <p:nvPr/>
          </p:nvSpPr>
          <p:spPr bwMode="auto">
            <a:xfrm>
              <a:off x="4594225" y="2217741"/>
              <a:ext cx="103188" cy="84138"/>
            </a:xfrm>
            <a:custGeom>
              <a:avLst/>
              <a:gdLst>
                <a:gd name="T0" fmla="*/ 54 w 65"/>
                <a:gd name="T1" fmla="*/ 7 h 53"/>
                <a:gd name="T2" fmla="*/ 60 w 65"/>
                <a:gd name="T3" fmla="*/ 7 h 53"/>
                <a:gd name="T4" fmla="*/ 56 w 65"/>
                <a:gd name="T5" fmla="*/ 16 h 53"/>
                <a:gd name="T6" fmla="*/ 65 w 65"/>
                <a:gd name="T7" fmla="*/ 24 h 53"/>
                <a:gd name="T8" fmla="*/ 64 w 65"/>
                <a:gd name="T9" fmla="*/ 34 h 53"/>
                <a:gd name="T10" fmla="*/ 60 w 65"/>
                <a:gd name="T11" fmla="*/ 35 h 53"/>
                <a:gd name="T12" fmla="*/ 57 w 65"/>
                <a:gd name="T13" fmla="*/ 37 h 53"/>
                <a:gd name="T14" fmla="*/ 52 w 65"/>
                <a:gd name="T15" fmla="*/ 42 h 53"/>
                <a:gd name="T16" fmla="*/ 50 w 65"/>
                <a:gd name="T17" fmla="*/ 53 h 53"/>
                <a:gd name="T18" fmla="*/ 35 w 65"/>
                <a:gd name="T19" fmla="*/ 45 h 53"/>
                <a:gd name="T20" fmla="*/ 28 w 65"/>
                <a:gd name="T21" fmla="*/ 37 h 53"/>
                <a:gd name="T22" fmla="*/ 21 w 65"/>
                <a:gd name="T23" fmla="*/ 32 h 53"/>
                <a:gd name="T24" fmla="*/ 13 w 65"/>
                <a:gd name="T25" fmla="*/ 24 h 53"/>
                <a:gd name="T26" fmla="*/ 9 w 65"/>
                <a:gd name="T27" fmla="*/ 18 h 53"/>
                <a:gd name="T28" fmla="*/ 0 w 65"/>
                <a:gd name="T29" fmla="*/ 8 h 53"/>
                <a:gd name="T30" fmla="*/ 3 w 65"/>
                <a:gd name="T31" fmla="*/ 0 h 53"/>
                <a:gd name="T32" fmla="*/ 9 w 65"/>
                <a:gd name="T33" fmla="*/ 5 h 53"/>
                <a:gd name="T34" fmla="*/ 13 w 65"/>
                <a:gd name="T35" fmla="*/ 0 h 53"/>
                <a:gd name="T36" fmla="*/ 20 w 65"/>
                <a:gd name="T37" fmla="*/ 0 h 53"/>
                <a:gd name="T38" fmla="*/ 35 w 65"/>
                <a:gd name="T39" fmla="*/ 3 h 53"/>
                <a:gd name="T40" fmla="*/ 46 w 65"/>
                <a:gd name="T41" fmla="*/ 3 h 53"/>
                <a:gd name="T42" fmla="*/ 54 w 65"/>
                <a:gd name="T43"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 h="53">
                  <a:moveTo>
                    <a:pt x="54" y="7"/>
                  </a:moveTo>
                  <a:lnTo>
                    <a:pt x="60" y="7"/>
                  </a:lnTo>
                  <a:lnTo>
                    <a:pt x="56" y="16"/>
                  </a:lnTo>
                  <a:lnTo>
                    <a:pt x="65" y="24"/>
                  </a:lnTo>
                  <a:lnTo>
                    <a:pt x="64" y="34"/>
                  </a:lnTo>
                  <a:lnTo>
                    <a:pt x="60" y="35"/>
                  </a:lnTo>
                  <a:lnTo>
                    <a:pt x="57" y="37"/>
                  </a:lnTo>
                  <a:lnTo>
                    <a:pt x="52" y="42"/>
                  </a:lnTo>
                  <a:lnTo>
                    <a:pt x="50" y="53"/>
                  </a:lnTo>
                  <a:lnTo>
                    <a:pt x="35" y="45"/>
                  </a:lnTo>
                  <a:lnTo>
                    <a:pt x="28" y="37"/>
                  </a:lnTo>
                  <a:lnTo>
                    <a:pt x="21" y="32"/>
                  </a:lnTo>
                  <a:lnTo>
                    <a:pt x="13" y="24"/>
                  </a:lnTo>
                  <a:lnTo>
                    <a:pt x="9" y="18"/>
                  </a:lnTo>
                  <a:lnTo>
                    <a:pt x="0" y="8"/>
                  </a:lnTo>
                  <a:lnTo>
                    <a:pt x="3" y="0"/>
                  </a:lnTo>
                  <a:lnTo>
                    <a:pt x="9" y="5"/>
                  </a:lnTo>
                  <a:lnTo>
                    <a:pt x="13" y="0"/>
                  </a:lnTo>
                  <a:lnTo>
                    <a:pt x="20" y="0"/>
                  </a:lnTo>
                  <a:lnTo>
                    <a:pt x="35" y="3"/>
                  </a:lnTo>
                  <a:lnTo>
                    <a:pt x="46" y="3"/>
                  </a:lnTo>
                  <a:lnTo>
                    <a:pt x="54" y="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64" name="Freeform 27"/>
            <p:cNvSpPr>
              <a:spLocks/>
            </p:cNvSpPr>
            <p:nvPr/>
          </p:nvSpPr>
          <p:spPr bwMode="auto">
            <a:xfrm>
              <a:off x="4759325" y="1868491"/>
              <a:ext cx="231775" cy="152400"/>
            </a:xfrm>
            <a:custGeom>
              <a:avLst/>
              <a:gdLst>
                <a:gd name="T0" fmla="*/ 1 w 146"/>
                <a:gd name="T1" fmla="*/ 44 h 96"/>
                <a:gd name="T2" fmla="*/ 15 w 146"/>
                <a:gd name="T3" fmla="*/ 44 h 96"/>
                <a:gd name="T4" fmla="*/ 31 w 146"/>
                <a:gd name="T5" fmla="*/ 37 h 96"/>
                <a:gd name="T6" fmla="*/ 33 w 146"/>
                <a:gd name="T7" fmla="*/ 26 h 96"/>
                <a:gd name="T8" fmla="*/ 45 w 146"/>
                <a:gd name="T9" fmla="*/ 20 h 96"/>
                <a:gd name="T10" fmla="*/ 42 w 146"/>
                <a:gd name="T11" fmla="*/ 11 h 96"/>
                <a:gd name="T12" fmla="*/ 50 w 146"/>
                <a:gd name="T13" fmla="*/ 7 h 96"/>
                <a:gd name="T14" fmla="*/ 65 w 146"/>
                <a:gd name="T15" fmla="*/ 0 h 96"/>
                <a:gd name="T16" fmla="*/ 82 w 146"/>
                <a:gd name="T17" fmla="*/ 5 h 96"/>
                <a:gd name="T18" fmla="*/ 85 w 146"/>
                <a:gd name="T19" fmla="*/ 10 h 96"/>
                <a:gd name="T20" fmla="*/ 93 w 146"/>
                <a:gd name="T21" fmla="*/ 7 h 96"/>
                <a:gd name="T22" fmla="*/ 109 w 146"/>
                <a:gd name="T23" fmla="*/ 12 h 96"/>
                <a:gd name="T24" fmla="*/ 112 w 146"/>
                <a:gd name="T25" fmla="*/ 21 h 96"/>
                <a:gd name="T26" fmla="*/ 110 w 146"/>
                <a:gd name="T27" fmla="*/ 27 h 96"/>
                <a:gd name="T28" fmla="*/ 122 w 146"/>
                <a:gd name="T29" fmla="*/ 40 h 96"/>
                <a:gd name="T30" fmla="*/ 129 w 146"/>
                <a:gd name="T31" fmla="*/ 43 h 96"/>
                <a:gd name="T32" fmla="*/ 129 w 146"/>
                <a:gd name="T33" fmla="*/ 47 h 96"/>
                <a:gd name="T34" fmla="*/ 140 w 146"/>
                <a:gd name="T35" fmla="*/ 50 h 96"/>
                <a:gd name="T36" fmla="*/ 146 w 146"/>
                <a:gd name="T37" fmla="*/ 56 h 96"/>
                <a:gd name="T38" fmla="*/ 140 w 146"/>
                <a:gd name="T39" fmla="*/ 60 h 96"/>
                <a:gd name="T40" fmla="*/ 128 w 146"/>
                <a:gd name="T41" fmla="*/ 59 h 96"/>
                <a:gd name="T42" fmla="*/ 125 w 146"/>
                <a:gd name="T43" fmla="*/ 61 h 96"/>
                <a:gd name="T44" fmla="*/ 130 w 146"/>
                <a:gd name="T45" fmla="*/ 68 h 96"/>
                <a:gd name="T46" fmla="*/ 136 w 146"/>
                <a:gd name="T47" fmla="*/ 81 h 96"/>
                <a:gd name="T48" fmla="*/ 123 w 146"/>
                <a:gd name="T49" fmla="*/ 82 h 96"/>
                <a:gd name="T50" fmla="*/ 119 w 146"/>
                <a:gd name="T51" fmla="*/ 86 h 96"/>
                <a:gd name="T52" fmla="*/ 119 w 146"/>
                <a:gd name="T53" fmla="*/ 96 h 96"/>
                <a:gd name="T54" fmla="*/ 113 w 146"/>
                <a:gd name="T55" fmla="*/ 95 h 96"/>
                <a:gd name="T56" fmla="*/ 99 w 146"/>
                <a:gd name="T57" fmla="*/ 95 h 96"/>
                <a:gd name="T58" fmla="*/ 94 w 146"/>
                <a:gd name="T59" fmla="*/ 91 h 96"/>
                <a:gd name="T60" fmla="*/ 88 w 146"/>
                <a:gd name="T61" fmla="*/ 94 h 96"/>
                <a:gd name="T62" fmla="*/ 82 w 146"/>
                <a:gd name="T63" fmla="*/ 91 h 96"/>
                <a:gd name="T64" fmla="*/ 70 w 146"/>
                <a:gd name="T65" fmla="*/ 91 h 96"/>
                <a:gd name="T66" fmla="*/ 51 w 146"/>
                <a:gd name="T67" fmla="*/ 86 h 96"/>
                <a:gd name="T68" fmla="*/ 35 w 146"/>
                <a:gd name="T69" fmla="*/ 84 h 96"/>
                <a:gd name="T70" fmla="*/ 23 w 146"/>
                <a:gd name="T71" fmla="*/ 85 h 96"/>
                <a:gd name="T72" fmla="*/ 15 w 146"/>
                <a:gd name="T73" fmla="*/ 90 h 96"/>
                <a:gd name="T74" fmla="*/ 8 w 146"/>
                <a:gd name="T75" fmla="*/ 91 h 96"/>
                <a:gd name="T76" fmla="*/ 6 w 146"/>
                <a:gd name="T77" fmla="*/ 82 h 96"/>
                <a:gd name="T78" fmla="*/ 0 w 146"/>
                <a:gd name="T79" fmla="*/ 73 h 96"/>
                <a:gd name="T80" fmla="*/ 9 w 146"/>
                <a:gd name="T81" fmla="*/ 69 h 96"/>
                <a:gd name="T82" fmla="*/ 8 w 146"/>
                <a:gd name="T83" fmla="*/ 61 h 96"/>
                <a:gd name="T84" fmla="*/ 3 w 146"/>
                <a:gd name="T85" fmla="*/ 53 h 96"/>
                <a:gd name="T86" fmla="*/ 1 w 146"/>
                <a:gd name="T8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6" h="96">
                  <a:moveTo>
                    <a:pt x="1" y="44"/>
                  </a:moveTo>
                  <a:lnTo>
                    <a:pt x="15" y="44"/>
                  </a:lnTo>
                  <a:lnTo>
                    <a:pt x="31" y="37"/>
                  </a:lnTo>
                  <a:lnTo>
                    <a:pt x="33" y="26"/>
                  </a:lnTo>
                  <a:lnTo>
                    <a:pt x="45" y="20"/>
                  </a:lnTo>
                  <a:lnTo>
                    <a:pt x="42" y="11"/>
                  </a:lnTo>
                  <a:lnTo>
                    <a:pt x="50" y="7"/>
                  </a:lnTo>
                  <a:lnTo>
                    <a:pt x="65" y="0"/>
                  </a:lnTo>
                  <a:lnTo>
                    <a:pt x="82" y="5"/>
                  </a:lnTo>
                  <a:lnTo>
                    <a:pt x="85" y="10"/>
                  </a:lnTo>
                  <a:lnTo>
                    <a:pt x="93" y="7"/>
                  </a:lnTo>
                  <a:lnTo>
                    <a:pt x="109" y="12"/>
                  </a:lnTo>
                  <a:lnTo>
                    <a:pt x="112" y="21"/>
                  </a:lnTo>
                  <a:lnTo>
                    <a:pt x="110" y="27"/>
                  </a:lnTo>
                  <a:lnTo>
                    <a:pt x="122" y="40"/>
                  </a:lnTo>
                  <a:lnTo>
                    <a:pt x="129" y="43"/>
                  </a:lnTo>
                  <a:lnTo>
                    <a:pt x="129" y="47"/>
                  </a:lnTo>
                  <a:lnTo>
                    <a:pt x="140" y="50"/>
                  </a:lnTo>
                  <a:lnTo>
                    <a:pt x="146" y="56"/>
                  </a:lnTo>
                  <a:lnTo>
                    <a:pt x="140" y="60"/>
                  </a:lnTo>
                  <a:lnTo>
                    <a:pt x="128" y="59"/>
                  </a:lnTo>
                  <a:lnTo>
                    <a:pt x="125" y="61"/>
                  </a:lnTo>
                  <a:lnTo>
                    <a:pt x="130" y="68"/>
                  </a:lnTo>
                  <a:lnTo>
                    <a:pt x="136" y="81"/>
                  </a:lnTo>
                  <a:lnTo>
                    <a:pt x="123" y="82"/>
                  </a:lnTo>
                  <a:lnTo>
                    <a:pt x="119" y="86"/>
                  </a:lnTo>
                  <a:lnTo>
                    <a:pt x="119" y="96"/>
                  </a:lnTo>
                  <a:lnTo>
                    <a:pt x="113" y="95"/>
                  </a:lnTo>
                  <a:lnTo>
                    <a:pt x="99" y="95"/>
                  </a:lnTo>
                  <a:lnTo>
                    <a:pt x="94" y="91"/>
                  </a:lnTo>
                  <a:lnTo>
                    <a:pt x="88" y="94"/>
                  </a:lnTo>
                  <a:lnTo>
                    <a:pt x="82" y="91"/>
                  </a:lnTo>
                  <a:lnTo>
                    <a:pt x="70" y="91"/>
                  </a:lnTo>
                  <a:lnTo>
                    <a:pt x="51" y="86"/>
                  </a:lnTo>
                  <a:lnTo>
                    <a:pt x="35" y="84"/>
                  </a:lnTo>
                  <a:lnTo>
                    <a:pt x="23" y="85"/>
                  </a:lnTo>
                  <a:lnTo>
                    <a:pt x="15" y="90"/>
                  </a:lnTo>
                  <a:lnTo>
                    <a:pt x="8" y="91"/>
                  </a:lnTo>
                  <a:lnTo>
                    <a:pt x="6" y="82"/>
                  </a:lnTo>
                  <a:lnTo>
                    <a:pt x="0" y="73"/>
                  </a:lnTo>
                  <a:lnTo>
                    <a:pt x="9" y="69"/>
                  </a:lnTo>
                  <a:lnTo>
                    <a:pt x="8" y="61"/>
                  </a:lnTo>
                  <a:lnTo>
                    <a:pt x="3" y="53"/>
                  </a:lnTo>
                  <a:lnTo>
                    <a:pt x="1" y="44"/>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65" name="Freeform 28"/>
            <p:cNvSpPr>
              <a:spLocks/>
            </p:cNvSpPr>
            <p:nvPr/>
          </p:nvSpPr>
          <p:spPr bwMode="auto">
            <a:xfrm>
              <a:off x="1608137" y="3095629"/>
              <a:ext cx="41275" cy="85725"/>
            </a:xfrm>
            <a:custGeom>
              <a:avLst/>
              <a:gdLst>
                <a:gd name="T0" fmla="*/ 6 w 26"/>
                <a:gd name="T1" fmla="*/ 14 h 54"/>
                <a:gd name="T2" fmla="*/ 6 w 26"/>
                <a:gd name="T3" fmla="*/ 11 h 54"/>
                <a:gd name="T4" fmla="*/ 9 w 26"/>
                <a:gd name="T5" fmla="*/ 11 h 54"/>
                <a:gd name="T6" fmla="*/ 12 w 26"/>
                <a:gd name="T7" fmla="*/ 13 h 54"/>
                <a:gd name="T8" fmla="*/ 20 w 26"/>
                <a:gd name="T9" fmla="*/ 0 h 54"/>
                <a:gd name="T10" fmla="*/ 23 w 26"/>
                <a:gd name="T11" fmla="*/ 0 h 54"/>
                <a:gd name="T12" fmla="*/ 23 w 26"/>
                <a:gd name="T13" fmla="*/ 3 h 54"/>
                <a:gd name="T14" fmla="*/ 26 w 26"/>
                <a:gd name="T15" fmla="*/ 3 h 54"/>
                <a:gd name="T16" fmla="*/ 25 w 26"/>
                <a:gd name="T17" fmla="*/ 9 h 54"/>
                <a:gd name="T18" fmla="*/ 21 w 26"/>
                <a:gd name="T19" fmla="*/ 18 h 54"/>
                <a:gd name="T20" fmla="*/ 22 w 26"/>
                <a:gd name="T21" fmla="*/ 21 h 54"/>
                <a:gd name="T22" fmla="*/ 19 w 26"/>
                <a:gd name="T23" fmla="*/ 29 h 54"/>
                <a:gd name="T24" fmla="*/ 20 w 26"/>
                <a:gd name="T25" fmla="*/ 31 h 54"/>
                <a:gd name="T26" fmla="*/ 17 w 26"/>
                <a:gd name="T27" fmla="*/ 41 h 54"/>
                <a:gd name="T28" fmla="*/ 13 w 26"/>
                <a:gd name="T29" fmla="*/ 46 h 54"/>
                <a:gd name="T30" fmla="*/ 10 w 26"/>
                <a:gd name="T31" fmla="*/ 47 h 54"/>
                <a:gd name="T32" fmla="*/ 5 w 26"/>
                <a:gd name="T33" fmla="*/ 54 h 54"/>
                <a:gd name="T34" fmla="*/ 0 w 26"/>
                <a:gd name="T35" fmla="*/ 54 h 54"/>
                <a:gd name="T36" fmla="*/ 4 w 26"/>
                <a:gd name="T37" fmla="*/ 31 h 54"/>
                <a:gd name="T38" fmla="*/ 6 w 26"/>
                <a:gd name="T39"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54">
                  <a:moveTo>
                    <a:pt x="6" y="14"/>
                  </a:moveTo>
                  <a:lnTo>
                    <a:pt x="6" y="11"/>
                  </a:lnTo>
                  <a:lnTo>
                    <a:pt x="9" y="11"/>
                  </a:lnTo>
                  <a:lnTo>
                    <a:pt x="12" y="13"/>
                  </a:lnTo>
                  <a:lnTo>
                    <a:pt x="20" y="0"/>
                  </a:lnTo>
                  <a:lnTo>
                    <a:pt x="23" y="0"/>
                  </a:lnTo>
                  <a:lnTo>
                    <a:pt x="23" y="3"/>
                  </a:lnTo>
                  <a:lnTo>
                    <a:pt x="26" y="3"/>
                  </a:lnTo>
                  <a:lnTo>
                    <a:pt x="25" y="9"/>
                  </a:lnTo>
                  <a:lnTo>
                    <a:pt x="21" y="18"/>
                  </a:lnTo>
                  <a:lnTo>
                    <a:pt x="22" y="21"/>
                  </a:lnTo>
                  <a:lnTo>
                    <a:pt x="19" y="29"/>
                  </a:lnTo>
                  <a:lnTo>
                    <a:pt x="20" y="31"/>
                  </a:lnTo>
                  <a:lnTo>
                    <a:pt x="17" y="41"/>
                  </a:lnTo>
                  <a:lnTo>
                    <a:pt x="13" y="46"/>
                  </a:lnTo>
                  <a:lnTo>
                    <a:pt x="10" y="47"/>
                  </a:lnTo>
                  <a:lnTo>
                    <a:pt x="5" y="54"/>
                  </a:lnTo>
                  <a:lnTo>
                    <a:pt x="0" y="54"/>
                  </a:lnTo>
                  <a:lnTo>
                    <a:pt x="4" y="31"/>
                  </a:lnTo>
                  <a:lnTo>
                    <a:pt x="6" y="14"/>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66" name="Freeform 29"/>
            <p:cNvSpPr>
              <a:spLocks/>
            </p:cNvSpPr>
            <p:nvPr/>
          </p:nvSpPr>
          <p:spPr bwMode="auto">
            <a:xfrm>
              <a:off x="2163762" y="4027492"/>
              <a:ext cx="365125" cy="433388"/>
            </a:xfrm>
            <a:custGeom>
              <a:avLst/>
              <a:gdLst>
                <a:gd name="T0" fmla="*/ 141 w 230"/>
                <a:gd name="T1" fmla="*/ 255 h 273"/>
                <a:gd name="T2" fmla="*/ 121 w 230"/>
                <a:gd name="T3" fmla="*/ 254 h 273"/>
                <a:gd name="T4" fmla="*/ 116 w 230"/>
                <a:gd name="T5" fmla="*/ 271 h 273"/>
                <a:gd name="T6" fmla="*/ 104 w 230"/>
                <a:gd name="T7" fmla="*/ 256 h 273"/>
                <a:gd name="T8" fmla="*/ 79 w 230"/>
                <a:gd name="T9" fmla="*/ 251 h 273"/>
                <a:gd name="T10" fmla="*/ 67 w 230"/>
                <a:gd name="T11" fmla="*/ 270 h 273"/>
                <a:gd name="T12" fmla="*/ 54 w 230"/>
                <a:gd name="T13" fmla="*/ 273 h 273"/>
                <a:gd name="T14" fmla="*/ 43 w 230"/>
                <a:gd name="T15" fmla="*/ 244 h 273"/>
                <a:gd name="T16" fmla="*/ 31 w 230"/>
                <a:gd name="T17" fmla="*/ 221 h 273"/>
                <a:gd name="T18" fmla="*/ 34 w 230"/>
                <a:gd name="T19" fmla="*/ 201 h 273"/>
                <a:gd name="T20" fmla="*/ 24 w 230"/>
                <a:gd name="T21" fmla="*/ 192 h 273"/>
                <a:gd name="T22" fmla="*/ 20 w 230"/>
                <a:gd name="T23" fmla="*/ 177 h 273"/>
                <a:gd name="T24" fmla="*/ 10 w 230"/>
                <a:gd name="T25" fmla="*/ 163 h 273"/>
                <a:gd name="T26" fmla="*/ 19 w 230"/>
                <a:gd name="T27" fmla="*/ 140 h 273"/>
                <a:gd name="T28" fmla="*/ 10 w 230"/>
                <a:gd name="T29" fmla="*/ 123 h 273"/>
                <a:gd name="T30" fmla="*/ 13 w 230"/>
                <a:gd name="T31" fmla="*/ 116 h 273"/>
                <a:gd name="T32" fmla="*/ 10 w 230"/>
                <a:gd name="T33" fmla="*/ 108 h 273"/>
                <a:gd name="T34" fmla="*/ 16 w 230"/>
                <a:gd name="T35" fmla="*/ 98 h 273"/>
                <a:gd name="T36" fmla="*/ 15 w 230"/>
                <a:gd name="T37" fmla="*/ 80 h 273"/>
                <a:gd name="T38" fmla="*/ 15 w 230"/>
                <a:gd name="T39" fmla="*/ 65 h 273"/>
                <a:gd name="T40" fmla="*/ 18 w 230"/>
                <a:gd name="T41" fmla="*/ 58 h 273"/>
                <a:gd name="T42" fmla="*/ 0 w 230"/>
                <a:gd name="T43" fmla="*/ 25 h 273"/>
                <a:gd name="T44" fmla="*/ 14 w 230"/>
                <a:gd name="T45" fmla="*/ 27 h 273"/>
                <a:gd name="T46" fmla="*/ 23 w 230"/>
                <a:gd name="T47" fmla="*/ 26 h 273"/>
                <a:gd name="T48" fmla="*/ 27 w 230"/>
                <a:gd name="T49" fmla="*/ 20 h 273"/>
                <a:gd name="T50" fmla="*/ 43 w 230"/>
                <a:gd name="T51" fmla="*/ 12 h 273"/>
                <a:gd name="T52" fmla="*/ 52 w 230"/>
                <a:gd name="T53" fmla="*/ 4 h 273"/>
                <a:gd name="T54" fmla="*/ 76 w 230"/>
                <a:gd name="T55" fmla="*/ 0 h 273"/>
                <a:gd name="T56" fmla="*/ 74 w 230"/>
                <a:gd name="T57" fmla="*/ 16 h 273"/>
                <a:gd name="T58" fmla="*/ 77 w 230"/>
                <a:gd name="T59" fmla="*/ 24 h 273"/>
                <a:gd name="T60" fmla="*/ 76 w 230"/>
                <a:gd name="T61" fmla="*/ 38 h 273"/>
                <a:gd name="T62" fmla="*/ 97 w 230"/>
                <a:gd name="T63" fmla="*/ 56 h 273"/>
                <a:gd name="T64" fmla="*/ 118 w 230"/>
                <a:gd name="T65" fmla="*/ 60 h 273"/>
                <a:gd name="T66" fmla="*/ 126 w 230"/>
                <a:gd name="T67" fmla="*/ 68 h 273"/>
                <a:gd name="T68" fmla="*/ 138 w 230"/>
                <a:gd name="T69" fmla="*/ 72 h 273"/>
                <a:gd name="T70" fmla="*/ 146 w 230"/>
                <a:gd name="T71" fmla="*/ 78 h 273"/>
                <a:gd name="T72" fmla="*/ 158 w 230"/>
                <a:gd name="T73" fmla="*/ 77 h 273"/>
                <a:gd name="T74" fmla="*/ 169 w 230"/>
                <a:gd name="T75" fmla="*/ 84 h 273"/>
                <a:gd name="T76" fmla="*/ 170 w 230"/>
                <a:gd name="T77" fmla="*/ 96 h 273"/>
                <a:gd name="T78" fmla="*/ 174 w 230"/>
                <a:gd name="T79" fmla="*/ 102 h 273"/>
                <a:gd name="T80" fmla="*/ 175 w 230"/>
                <a:gd name="T81" fmla="*/ 111 h 273"/>
                <a:gd name="T82" fmla="*/ 170 w 230"/>
                <a:gd name="T83" fmla="*/ 111 h 273"/>
                <a:gd name="T84" fmla="*/ 179 w 230"/>
                <a:gd name="T85" fmla="*/ 135 h 273"/>
                <a:gd name="T86" fmla="*/ 213 w 230"/>
                <a:gd name="T87" fmla="*/ 136 h 273"/>
                <a:gd name="T88" fmla="*/ 212 w 230"/>
                <a:gd name="T89" fmla="*/ 148 h 273"/>
                <a:gd name="T90" fmla="*/ 214 w 230"/>
                <a:gd name="T91" fmla="*/ 156 h 273"/>
                <a:gd name="T92" fmla="*/ 225 w 230"/>
                <a:gd name="T93" fmla="*/ 162 h 273"/>
                <a:gd name="T94" fmla="*/ 230 w 230"/>
                <a:gd name="T95" fmla="*/ 175 h 273"/>
                <a:gd name="T96" fmla="*/ 228 w 230"/>
                <a:gd name="T97" fmla="*/ 191 h 273"/>
                <a:gd name="T98" fmla="*/ 224 w 230"/>
                <a:gd name="T99" fmla="*/ 201 h 273"/>
                <a:gd name="T100" fmla="*/ 227 w 230"/>
                <a:gd name="T101" fmla="*/ 212 h 273"/>
                <a:gd name="T102" fmla="*/ 222 w 230"/>
                <a:gd name="T103" fmla="*/ 217 h 273"/>
                <a:gd name="T104" fmla="*/ 221 w 230"/>
                <a:gd name="T105" fmla="*/ 210 h 273"/>
                <a:gd name="T106" fmla="*/ 203 w 230"/>
                <a:gd name="T107" fmla="*/ 200 h 273"/>
                <a:gd name="T108" fmla="*/ 186 w 230"/>
                <a:gd name="T109" fmla="*/ 199 h 273"/>
                <a:gd name="T110" fmla="*/ 155 w 230"/>
                <a:gd name="T111" fmla="*/ 205 h 273"/>
                <a:gd name="T112" fmla="*/ 148 w 230"/>
                <a:gd name="T113" fmla="*/ 224 h 273"/>
                <a:gd name="T114" fmla="*/ 149 w 230"/>
                <a:gd name="T115" fmla="*/ 235 h 273"/>
                <a:gd name="T116" fmla="*/ 145 w 230"/>
                <a:gd name="T117" fmla="*/ 260 h 273"/>
                <a:gd name="T118" fmla="*/ 141 w 230"/>
                <a:gd name="T119" fmla="*/ 25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0" h="273">
                  <a:moveTo>
                    <a:pt x="141" y="255"/>
                  </a:moveTo>
                  <a:lnTo>
                    <a:pt x="121" y="254"/>
                  </a:lnTo>
                  <a:lnTo>
                    <a:pt x="116" y="271"/>
                  </a:lnTo>
                  <a:lnTo>
                    <a:pt x="104" y="256"/>
                  </a:lnTo>
                  <a:lnTo>
                    <a:pt x="79" y="251"/>
                  </a:lnTo>
                  <a:lnTo>
                    <a:pt x="67" y="270"/>
                  </a:lnTo>
                  <a:lnTo>
                    <a:pt x="54" y="273"/>
                  </a:lnTo>
                  <a:lnTo>
                    <a:pt x="43" y="244"/>
                  </a:lnTo>
                  <a:lnTo>
                    <a:pt x="31" y="221"/>
                  </a:lnTo>
                  <a:lnTo>
                    <a:pt x="34" y="201"/>
                  </a:lnTo>
                  <a:lnTo>
                    <a:pt x="24" y="192"/>
                  </a:lnTo>
                  <a:lnTo>
                    <a:pt x="20" y="177"/>
                  </a:lnTo>
                  <a:lnTo>
                    <a:pt x="10" y="163"/>
                  </a:lnTo>
                  <a:lnTo>
                    <a:pt x="19" y="140"/>
                  </a:lnTo>
                  <a:lnTo>
                    <a:pt x="10" y="123"/>
                  </a:lnTo>
                  <a:lnTo>
                    <a:pt x="13" y="116"/>
                  </a:lnTo>
                  <a:lnTo>
                    <a:pt x="10" y="108"/>
                  </a:lnTo>
                  <a:lnTo>
                    <a:pt x="16" y="98"/>
                  </a:lnTo>
                  <a:lnTo>
                    <a:pt x="15" y="80"/>
                  </a:lnTo>
                  <a:lnTo>
                    <a:pt x="15" y="65"/>
                  </a:lnTo>
                  <a:lnTo>
                    <a:pt x="18" y="58"/>
                  </a:lnTo>
                  <a:lnTo>
                    <a:pt x="0" y="25"/>
                  </a:lnTo>
                  <a:lnTo>
                    <a:pt x="14" y="27"/>
                  </a:lnTo>
                  <a:lnTo>
                    <a:pt x="23" y="26"/>
                  </a:lnTo>
                  <a:lnTo>
                    <a:pt x="27" y="20"/>
                  </a:lnTo>
                  <a:lnTo>
                    <a:pt x="43" y="12"/>
                  </a:lnTo>
                  <a:lnTo>
                    <a:pt x="52" y="4"/>
                  </a:lnTo>
                  <a:lnTo>
                    <a:pt x="76" y="0"/>
                  </a:lnTo>
                  <a:lnTo>
                    <a:pt x="74" y="16"/>
                  </a:lnTo>
                  <a:lnTo>
                    <a:pt x="77" y="24"/>
                  </a:lnTo>
                  <a:lnTo>
                    <a:pt x="76" y="38"/>
                  </a:lnTo>
                  <a:lnTo>
                    <a:pt x="97" y="56"/>
                  </a:lnTo>
                  <a:lnTo>
                    <a:pt x="118" y="60"/>
                  </a:lnTo>
                  <a:lnTo>
                    <a:pt x="126" y="68"/>
                  </a:lnTo>
                  <a:lnTo>
                    <a:pt x="138" y="72"/>
                  </a:lnTo>
                  <a:lnTo>
                    <a:pt x="146" y="78"/>
                  </a:lnTo>
                  <a:lnTo>
                    <a:pt x="158" y="77"/>
                  </a:lnTo>
                  <a:lnTo>
                    <a:pt x="169" y="84"/>
                  </a:lnTo>
                  <a:lnTo>
                    <a:pt x="170" y="96"/>
                  </a:lnTo>
                  <a:lnTo>
                    <a:pt x="174" y="102"/>
                  </a:lnTo>
                  <a:lnTo>
                    <a:pt x="175" y="111"/>
                  </a:lnTo>
                  <a:lnTo>
                    <a:pt x="170" y="111"/>
                  </a:lnTo>
                  <a:lnTo>
                    <a:pt x="179" y="135"/>
                  </a:lnTo>
                  <a:lnTo>
                    <a:pt x="213" y="136"/>
                  </a:lnTo>
                  <a:lnTo>
                    <a:pt x="212" y="148"/>
                  </a:lnTo>
                  <a:lnTo>
                    <a:pt x="214" y="156"/>
                  </a:lnTo>
                  <a:lnTo>
                    <a:pt x="225" y="162"/>
                  </a:lnTo>
                  <a:lnTo>
                    <a:pt x="230" y="175"/>
                  </a:lnTo>
                  <a:lnTo>
                    <a:pt x="228" y="191"/>
                  </a:lnTo>
                  <a:lnTo>
                    <a:pt x="224" y="201"/>
                  </a:lnTo>
                  <a:lnTo>
                    <a:pt x="227" y="212"/>
                  </a:lnTo>
                  <a:lnTo>
                    <a:pt x="222" y="217"/>
                  </a:lnTo>
                  <a:lnTo>
                    <a:pt x="221" y="210"/>
                  </a:lnTo>
                  <a:lnTo>
                    <a:pt x="203" y="200"/>
                  </a:lnTo>
                  <a:lnTo>
                    <a:pt x="186" y="199"/>
                  </a:lnTo>
                  <a:lnTo>
                    <a:pt x="155" y="205"/>
                  </a:lnTo>
                  <a:lnTo>
                    <a:pt x="148" y="224"/>
                  </a:lnTo>
                  <a:lnTo>
                    <a:pt x="149" y="235"/>
                  </a:lnTo>
                  <a:lnTo>
                    <a:pt x="145" y="260"/>
                  </a:lnTo>
                  <a:lnTo>
                    <a:pt x="141" y="255"/>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67" name="Freeform 30"/>
            <p:cNvSpPr>
              <a:spLocks/>
            </p:cNvSpPr>
            <p:nvPr/>
          </p:nvSpPr>
          <p:spPr bwMode="auto">
            <a:xfrm>
              <a:off x="2028825" y="3532192"/>
              <a:ext cx="1143000" cy="1287463"/>
            </a:xfrm>
            <a:custGeom>
              <a:avLst/>
              <a:gdLst>
                <a:gd name="T0" fmla="*/ 390 w 720"/>
                <a:gd name="T1" fmla="*/ 680 h 811"/>
                <a:gd name="T2" fmla="*/ 383 w 720"/>
                <a:gd name="T3" fmla="*/ 644 h 811"/>
                <a:gd name="T4" fmla="*/ 378 w 720"/>
                <a:gd name="T5" fmla="*/ 605 h 811"/>
                <a:gd name="T6" fmla="*/ 358 w 720"/>
                <a:gd name="T7" fmla="*/ 580 h 811"/>
                <a:gd name="T8" fmla="*/ 315 w 720"/>
                <a:gd name="T9" fmla="*/ 568 h 811"/>
                <a:gd name="T10" fmla="*/ 309 w 720"/>
                <a:gd name="T11" fmla="*/ 513 h 811"/>
                <a:gd name="T12" fmla="*/ 299 w 720"/>
                <a:gd name="T13" fmla="*/ 468 h 811"/>
                <a:gd name="T14" fmla="*/ 255 w 720"/>
                <a:gd name="T15" fmla="*/ 423 h 811"/>
                <a:gd name="T16" fmla="*/ 254 w 720"/>
                <a:gd name="T17" fmla="*/ 396 h 811"/>
                <a:gd name="T18" fmla="*/ 211 w 720"/>
                <a:gd name="T19" fmla="*/ 380 h 811"/>
                <a:gd name="T20" fmla="*/ 162 w 720"/>
                <a:gd name="T21" fmla="*/ 336 h 811"/>
                <a:gd name="T22" fmla="*/ 128 w 720"/>
                <a:gd name="T23" fmla="*/ 324 h 811"/>
                <a:gd name="T24" fmla="*/ 85 w 720"/>
                <a:gd name="T25" fmla="*/ 337 h 811"/>
                <a:gd name="T26" fmla="*/ 52 w 720"/>
                <a:gd name="T27" fmla="*/ 319 h 811"/>
                <a:gd name="T28" fmla="*/ 19 w 720"/>
                <a:gd name="T29" fmla="*/ 297 h 811"/>
                <a:gd name="T30" fmla="*/ 4 w 720"/>
                <a:gd name="T31" fmla="*/ 253 h 811"/>
                <a:gd name="T32" fmla="*/ 19 w 720"/>
                <a:gd name="T33" fmla="*/ 219 h 811"/>
                <a:gd name="T34" fmla="*/ 73 w 720"/>
                <a:gd name="T35" fmla="*/ 199 h 811"/>
                <a:gd name="T36" fmla="*/ 70 w 720"/>
                <a:gd name="T37" fmla="*/ 113 h 811"/>
                <a:gd name="T38" fmla="*/ 85 w 720"/>
                <a:gd name="T39" fmla="*/ 89 h 811"/>
                <a:gd name="T40" fmla="*/ 116 w 720"/>
                <a:gd name="T41" fmla="*/ 67 h 811"/>
                <a:gd name="T42" fmla="*/ 138 w 720"/>
                <a:gd name="T43" fmla="*/ 94 h 811"/>
                <a:gd name="T44" fmla="*/ 177 w 720"/>
                <a:gd name="T45" fmla="*/ 78 h 811"/>
                <a:gd name="T46" fmla="*/ 176 w 720"/>
                <a:gd name="T47" fmla="*/ 58 h 811"/>
                <a:gd name="T48" fmla="*/ 170 w 720"/>
                <a:gd name="T49" fmla="*/ 23 h 811"/>
                <a:gd name="T50" fmla="*/ 216 w 720"/>
                <a:gd name="T51" fmla="*/ 23 h 811"/>
                <a:gd name="T52" fmla="*/ 251 w 720"/>
                <a:gd name="T53" fmla="*/ 0 h 811"/>
                <a:gd name="T54" fmla="*/ 263 w 720"/>
                <a:gd name="T55" fmla="*/ 27 h 811"/>
                <a:gd name="T56" fmla="*/ 261 w 720"/>
                <a:gd name="T57" fmla="*/ 72 h 811"/>
                <a:gd name="T58" fmla="*/ 289 w 720"/>
                <a:gd name="T59" fmla="*/ 78 h 811"/>
                <a:gd name="T60" fmla="*/ 318 w 720"/>
                <a:gd name="T61" fmla="*/ 70 h 811"/>
                <a:gd name="T62" fmla="*/ 328 w 720"/>
                <a:gd name="T63" fmla="*/ 57 h 811"/>
                <a:gd name="T64" fmla="*/ 363 w 720"/>
                <a:gd name="T65" fmla="*/ 66 h 811"/>
                <a:gd name="T66" fmla="*/ 384 w 720"/>
                <a:gd name="T67" fmla="*/ 65 h 811"/>
                <a:gd name="T68" fmla="*/ 414 w 720"/>
                <a:gd name="T69" fmla="*/ 22 h 811"/>
                <a:gd name="T70" fmla="*/ 439 w 720"/>
                <a:gd name="T71" fmla="*/ 88 h 811"/>
                <a:gd name="T72" fmla="*/ 464 w 720"/>
                <a:gd name="T73" fmla="*/ 135 h 811"/>
                <a:gd name="T74" fmla="*/ 540 w 720"/>
                <a:gd name="T75" fmla="*/ 154 h 811"/>
                <a:gd name="T76" fmla="*/ 622 w 720"/>
                <a:gd name="T77" fmla="*/ 169 h 811"/>
                <a:gd name="T78" fmla="*/ 703 w 720"/>
                <a:gd name="T79" fmla="*/ 216 h 811"/>
                <a:gd name="T80" fmla="*/ 713 w 720"/>
                <a:gd name="T81" fmla="*/ 296 h 811"/>
                <a:gd name="T82" fmla="*/ 656 w 720"/>
                <a:gd name="T83" fmla="*/ 380 h 811"/>
                <a:gd name="T84" fmla="*/ 646 w 720"/>
                <a:gd name="T85" fmla="*/ 467 h 811"/>
                <a:gd name="T86" fmla="*/ 622 w 720"/>
                <a:gd name="T87" fmla="*/ 544 h 811"/>
                <a:gd name="T88" fmla="*/ 584 w 720"/>
                <a:gd name="T89" fmla="*/ 587 h 811"/>
                <a:gd name="T90" fmla="*/ 505 w 720"/>
                <a:gd name="T91" fmla="*/ 626 h 811"/>
                <a:gd name="T92" fmla="*/ 495 w 720"/>
                <a:gd name="T93" fmla="*/ 695 h 811"/>
                <a:gd name="T94" fmla="*/ 453 w 720"/>
                <a:gd name="T95" fmla="*/ 770 h 811"/>
                <a:gd name="T96" fmla="*/ 422 w 720"/>
                <a:gd name="T97" fmla="*/ 799 h 811"/>
                <a:gd name="T98" fmla="*/ 380 w 720"/>
                <a:gd name="T99" fmla="*/ 75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0" h="811">
                  <a:moveTo>
                    <a:pt x="342" y="737"/>
                  </a:moveTo>
                  <a:lnTo>
                    <a:pt x="362" y="709"/>
                  </a:lnTo>
                  <a:lnTo>
                    <a:pt x="379" y="689"/>
                  </a:lnTo>
                  <a:lnTo>
                    <a:pt x="390" y="680"/>
                  </a:lnTo>
                  <a:lnTo>
                    <a:pt x="403" y="669"/>
                  </a:lnTo>
                  <a:lnTo>
                    <a:pt x="401" y="652"/>
                  </a:lnTo>
                  <a:lnTo>
                    <a:pt x="391" y="640"/>
                  </a:lnTo>
                  <a:lnTo>
                    <a:pt x="383" y="644"/>
                  </a:lnTo>
                  <a:lnTo>
                    <a:pt x="385" y="632"/>
                  </a:lnTo>
                  <a:lnTo>
                    <a:pt x="386" y="620"/>
                  </a:lnTo>
                  <a:lnTo>
                    <a:pt x="385" y="608"/>
                  </a:lnTo>
                  <a:lnTo>
                    <a:pt x="378" y="605"/>
                  </a:lnTo>
                  <a:lnTo>
                    <a:pt x="371" y="608"/>
                  </a:lnTo>
                  <a:lnTo>
                    <a:pt x="365" y="607"/>
                  </a:lnTo>
                  <a:lnTo>
                    <a:pt x="362" y="599"/>
                  </a:lnTo>
                  <a:lnTo>
                    <a:pt x="358" y="580"/>
                  </a:lnTo>
                  <a:lnTo>
                    <a:pt x="354" y="574"/>
                  </a:lnTo>
                  <a:lnTo>
                    <a:pt x="341" y="568"/>
                  </a:lnTo>
                  <a:lnTo>
                    <a:pt x="334" y="572"/>
                  </a:lnTo>
                  <a:lnTo>
                    <a:pt x="315" y="568"/>
                  </a:lnTo>
                  <a:lnTo>
                    <a:pt x="313" y="540"/>
                  </a:lnTo>
                  <a:lnTo>
                    <a:pt x="307" y="529"/>
                  </a:lnTo>
                  <a:lnTo>
                    <a:pt x="312" y="524"/>
                  </a:lnTo>
                  <a:lnTo>
                    <a:pt x="309" y="513"/>
                  </a:lnTo>
                  <a:lnTo>
                    <a:pt x="313" y="503"/>
                  </a:lnTo>
                  <a:lnTo>
                    <a:pt x="315" y="487"/>
                  </a:lnTo>
                  <a:lnTo>
                    <a:pt x="310" y="474"/>
                  </a:lnTo>
                  <a:lnTo>
                    <a:pt x="299" y="468"/>
                  </a:lnTo>
                  <a:lnTo>
                    <a:pt x="297" y="460"/>
                  </a:lnTo>
                  <a:lnTo>
                    <a:pt x="298" y="448"/>
                  </a:lnTo>
                  <a:lnTo>
                    <a:pt x="264" y="447"/>
                  </a:lnTo>
                  <a:lnTo>
                    <a:pt x="255" y="423"/>
                  </a:lnTo>
                  <a:lnTo>
                    <a:pt x="260" y="423"/>
                  </a:lnTo>
                  <a:lnTo>
                    <a:pt x="259" y="414"/>
                  </a:lnTo>
                  <a:lnTo>
                    <a:pt x="255" y="408"/>
                  </a:lnTo>
                  <a:lnTo>
                    <a:pt x="254" y="396"/>
                  </a:lnTo>
                  <a:lnTo>
                    <a:pt x="243" y="389"/>
                  </a:lnTo>
                  <a:lnTo>
                    <a:pt x="231" y="390"/>
                  </a:lnTo>
                  <a:lnTo>
                    <a:pt x="223" y="384"/>
                  </a:lnTo>
                  <a:lnTo>
                    <a:pt x="211" y="380"/>
                  </a:lnTo>
                  <a:lnTo>
                    <a:pt x="203" y="372"/>
                  </a:lnTo>
                  <a:lnTo>
                    <a:pt x="182" y="368"/>
                  </a:lnTo>
                  <a:lnTo>
                    <a:pt x="161" y="350"/>
                  </a:lnTo>
                  <a:lnTo>
                    <a:pt x="162" y="336"/>
                  </a:lnTo>
                  <a:lnTo>
                    <a:pt x="159" y="328"/>
                  </a:lnTo>
                  <a:lnTo>
                    <a:pt x="161" y="312"/>
                  </a:lnTo>
                  <a:lnTo>
                    <a:pt x="137" y="316"/>
                  </a:lnTo>
                  <a:lnTo>
                    <a:pt x="128" y="324"/>
                  </a:lnTo>
                  <a:lnTo>
                    <a:pt x="112" y="332"/>
                  </a:lnTo>
                  <a:lnTo>
                    <a:pt x="108" y="338"/>
                  </a:lnTo>
                  <a:lnTo>
                    <a:pt x="99" y="339"/>
                  </a:lnTo>
                  <a:lnTo>
                    <a:pt x="85" y="337"/>
                  </a:lnTo>
                  <a:lnTo>
                    <a:pt x="75" y="341"/>
                  </a:lnTo>
                  <a:lnTo>
                    <a:pt x="67" y="338"/>
                  </a:lnTo>
                  <a:lnTo>
                    <a:pt x="66" y="307"/>
                  </a:lnTo>
                  <a:lnTo>
                    <a:pt x="52" y="319"/>
                  </a:lnTo>
                  <a:lnTo>
                    <a:pt x="36" y="318"/>
                  </a:lnTo>
                  <a:lnTo>
                    <a:pt x="28" y="307"/>
                  </a:lnTo>
                  <a:lnTo>
                    <a:pt x="16" y="306"/>
                  </a:lnTo>
                  <a:lnTo>
                    <a:pt x="19" y="297"/>
                  </a:lnTo>
                  <a:lnTo>
                    <a:pt x="9" y="284"/>
                  </a:lnTo>
                  <a:lnTo>
                    <a:pt x="0" y="266"/>
                  </a:lnTo>
                  <a:lnTo>
                    <a:pt x="5" y="262"/>
                  </a:lnTo>
                  <a:lnTo>
                    <a:pt x="4" y="253"/>
                  </a:lnTo>
                  <a:lnTo>
                    <a:pt x="15" y="247"/>
                  </a:lnTo>
                  <a:lnTo>
                    <a:pt x="13" y="236"/>
                  </a:lnTo>
                  <a:lnTo>
                    <a:pt x="18" y="229"/>
                  </a:lnTo>
                  <a:lnTo>
                    <a:pt x="19" y="219"/>
                  </a:lnTo>
                  <a:lnTo>
                    <a:pt x="39" y="205"/>
                  </a:lnTo>
                  <a:lnTo>
                    <a:pt x="54" y="201"/>
                  </a:lnTo>
                  <a:lnTo>
                    <a:pt x="56" y="198"/>
                  </a:lnTo>
                  <a:lnTo>
                    <a:pt x="73" y="199"/>
                  </a:lnTo>
                  <a:lnTo>
                    <a:pt x="80" y="142"/>
                  </a:lnTo>
                  <a:lnTo>
                    <a:pt x="81" y="133"/>
                  </a:lnTo>
                  <a:lnTo>
                    <a:pt x="78" y="121"/>
                  </a:lnTo>
                  <a:lnTo>
                    <a:pt x="70" y="113"/>
                  </a:lnTo>
                  <a:lnTo>
                    <a:pt x="70" y="98"/>
                  </a:lnTo>
                  <a:lnTo>
                    <a:pt x="80" y="95"/>
                  </a:lnTo>
                  <a:lnTo>
                    <a:pt x="84" y="97"/>
                  </a:lnTo>
                  <a:lnTo>
                    <a:pt x="85" y="89"/>
                  </a:lnTo>
                  <a:lnTo>
                    <a:pt x="74" y="87"/>
                  </a:lnTo>
                  <a:lnTo>
                    <a:pt x="74" y="74"/>
                  </a:lnTo>
                  <a:lnTo>
                    <a:pt x="109" y="74"/>
                  </a:lnTo>
                  <a:lnTo>
                    <a:pt x="116" y="67"/>
                  </a:lnTo>
                  <a:lnTo>
                    <a:pt x="121" y="74"/>
                  </a:lnTo>
                  <a:lnTo>
                    <a:pt x="124" y="86"/>
                  </a:lnTo>
                  <a:lnTo>
                    <a:pt x="128" y="83"/>
                  </a:lnTo>
                  <a:lnTo>
                    <a:pt x="138" y="94"/>
                  </a:lnTo>
                  <a:lnTo>
                    <a:pt x="152" y="93"/>
                  </a:lnTo>
                  <a:lnTo>
                    <a:pt x="156" y="87"/>
                  </a:lnTo>
                  <a:lnTo>
                    <a:pt x="169" y="82"/>
                  </a:lnTo>
                  <a:lnTo>
                    <a:pt x="177" y="78"/>
                  </a:lnTo>
                  <a:lnTo>
                    <a:pt x="179" y="70"/>
                  </a:lnTo>
                  <a:lnTo>
                    <a:pt x="192" y="64"/>
                  </a:lnTo>
                  <a:lnTo>
                    <a:pt x="191" y="59"/>
                  </a:lnTo>
                  <a:lnTo>
                    <a:pt x="176" y="58"/>
                  </a:lnTo>
                  <a:lnTo>
                    <a:pt x="173" y="44"/>
                  </a:lnTo>
                  <a:lnTo>
                    <a:pt x="174" y="30"/>
                  </a:lnTo>
                  <a:lnTo>
                    <a:pt x="166" y="25"/>
                  </a:lnTo>
                  <a:lnTo>
                    <a:pt x="170" y="23"/>
                  </a:lnTo>
                  <a:lnTo>
                    <a:pt x="183" y="26"/>
                  </a:lnTo>
                  <a:lnTo>
                    <a:pt x="198" y="31"/>
                  </a:lnTo>
                  <a:lnTo>
                    <a:pt x="203" y="26"/>
                  </a:lnTo>
                  <a:lnTo>
                    <a:pt x="216" y="23"/>
                  </a:lnTo>
                  <a:lnTo>
                    <a:pt x="237" y="15"/>
                  </a:lnTo>
                  <a:lnTo>
                    <a:pt x="244" y="7"/>
                  </a:lnTo>
                  <a:lnTo>
                    <a:pt x="242" y="1"/>
                  </a:lnTo>
                  <a:lnTo>
                    <a:pt x="251" y="0"/>
                  </a:lnTo>
                  <a:lnTo>
                    <a:pt x="255" y="5"/>
                  </a:lnTo>
                  <a:lnTo>
                    <a:pt x="253" y="14"/>
                  </a:lnTo>
                  <a:lnTo>
                    <a:pt x="259" y="18"/>
                  </a:lnTo>
                  <a:lnTo>
                    <a:pt x="263" y="27"/>
                  </a:lnTo>
                  <a:lnTo>
                    <a:pt x="258" y="34"/>
                  </a:lnTo>
                  <a:lnTo>
                    <a:pt x="255" y="52"/>
                  </a:lnTo>
                  <a:lnTo>
                    <a:pt x="259" y="63"/>
                  </a:lnTo>
                  <a:lnTo>
                    <a:pt x="261" y="72"/>
                  </a:lnTo>
                  <a:lnTo>
                    <a:pt x="272" y="82"/>
                  </a:lnTo>
                  <a:lnTo>
                    <a:pt x="281" y="83"/>
                  </a:lnTo>
                  <a:lnTo>
                    <a:pt x="283" y="79"/>
                  </a:lnTo>
                  <a:lnTo>
                    <a:pt x="289" y="78"/>
                  </a:lnTo>
                  <a:lnTo>
                    <a:pt x="297" y="74"/>
                  </a:lnTo>
                  <a:lnTo>
                    <a:pt x="303" y="69"/>
                  </a:lnTo>
                  <a:lnTo>
                    <a:pt x="313" y="71"/>
                  </a:lnTo>
                  <a:lnTo>
                    <a:pt x="318" y="70"/>
                  </a:lnTo>
                  <a:lnTo>
                    <a:pt x="328" y="72"/>
                  </a:lnTo>
                  <a:lnTo>
                    <a:pt x="329" y="67"/>
                  </a:lnTo>
                  <a:lnTo>
                    <a:pt x="326" y="63"/>
                  </a:lnTo>
                  <a:lnTo>
                    <a:pt x="328" y="57"/>
                  </a:lnTo>
                  <a:lnTo>
                    <a:pt x="336" y="59"/>
                  </a:lnTo>
                  <a:lnTo>
                    <a:pt x="344" y="57"/>
                  </a:lnTo>
                  <a:lnTo>
                    <a:pt x="355" y="61"/>
                  </a:lnTo>
                  <a:lnTo>
                    <a:pt x="363" y="66"/>
                  </a:lnTo>
                  <a:lnTo>
                    <a:pt x="368" y="60"/>
                  </a:lnTo>
                  <a:lnTo>
                    <a:pt x="373" y="61"/>
                  </a:lnTo>
                  <a:lnTo>
                    <a:pt x="375" y="67"/>
                  </a:lnTo>
                  <a:lnTo>
                    <a:pt x="384" y="65"/>
                  </a:lnTo>
                  <a:lnTo>
                    <a:pt x="391" y="57"/>
                  </a:lnTo>
                  <a:lnTo>
                    <a:pt x="397" y="42"/>
                  </a:lnTo>
                  <a:lnTo>
                    <a:pt x="408" y="23"/>
                  </a:lnTo>
                  <a:lnTo>
                    <a:pt x="414" y="22"/>
                  </a:lnTo>
                  <a:lnTo>
                    <a:pt x="419" y="34"/>
                  </a:lnTo>
                  <a:lnTo>
                    <a:pt x="429" y="70"/>
                  </a:lnTo>
                  <a:lnTo>
                    <a:pt x="438" y="73"/>
                  </a:lnTo>
                  <a:lnTo>
                    <a:pt x="439" y="88"/>
                  </a:lnTo>
                  <a:lnTo>
                    <a:pt x="425" y="105"/>
                  </a:lnTo>
                  <a:lnTo>
                    <a:pt x="430" y="111"/>
                  </a:lnTo>
                  <a:lnTo>
                    <a:pt x="463" y="114"/>
                  </a:lnTo>
                  <a:lnTo>
                    <a:pt x="464" y="135"/>
                  </a:lnTo>
                  <a:lnTo>
                    <a:pt x="478" y="121"/>
                  </a:lnTo>
                  <a:lnTo>
                    <a:pt x="501" y="129"/>
                  </a:lnTo>
                  <a:lnTo>
                    <a:pt x="531" y="142"/>
                  </a:lnTo>
                  <a:lnTo>
                    <a:pt x="540" y="154"/>
                  </a:lnTo>
                  <a:lnTo>
                    <a:pt x="537" y="165"/>
                  </a:lnTo>
                  <a:lnTo>
                    <a:pt x="559" y="159"/>
                  </a:lnTo>
                  <a:lnTo>
                    <a:pt x="595" y="170"/>
                  </a:lnTo>
                  <a:lnTo>
                    <a:pt x="622" y="169"/>
                  </a:lnTo>
                  <a:lnTo>
                    <a:pt x="649" y="186"/>
                  </a:lnTo>
                  <a:lnTo>
                    <a:pt x="673" y="210"/>
                  </a:lnTo>
                  <a:lnTo>
                    <a:pt x="687" y="216"/>
                  </a:lnTo>
                  <a:lnTo>
                    <a:pt x="703" y="216"/>
                  </a:lnTo>
                  <a:lnTo>
                    <a:pt x="710" y="223"/>
                  </a:lnTo>
                  <a:lnTo>
                    <a:pt x="716" y="249"/>
                  </a:lnTo>
                  <a:lnTo>
                    <a:pt x="720" y="262"/>
                  </a:lnTo>
                  <a:lnTo>
                    <a:pt x="713" y="296"/>
                  </a:lnTo>
                  <a:lnTo>
                    <a:pt x="704" y="310"/>
                  </a:lnTo>
                  <a:lnTo>
                    <a:pt x="679" y="339"/>
                  </a:lnTo>
                  <a:lnTo>
                    <a:pt x="668" y="362"/>
                  </a:lnTo>
                  <a:lnTo>
                    <a:pt x="656" y="380"/>
                  </a:lnTo>
                  <a:lnTo>
                    <a:pt x="651" y="381"/>
                  </a:lnTo>
                  <a:lnTo>
                    <a:pt x="647" y="396"/>
                  </a:lnTo>
                  <a:lnTo>
                    <a:pt x="649" y="435"/>
                  </a:lnTo>
                  <a:lnTo>
                    <a:pt x="646" y="467"/>
                  </a:lnTo>
                  <a:lnTo>
                    <a:pt x="645" y="481"/>
                  </a:lnTo>
                  <a:lnTo>
                    <a:pt x="640" y="489"/>
                  </a:lnTo>
                  <a:lnTo>
                    <a:pt x="638" y="516"/>
                  </a:lnTo>
                  <a:lnTo>
                    <a:pt x="622" y="544"/>
                  </a:lnTo>
                  <a:lnTo>
                    <a:pt x="620" y="565"/>
                  </a:lnTo>
                  <a:lnTo>
                    <a:pt x="606" y="574"/>
                  </a:lnTo>
                  <a:lnTo>
                    <a:pt x="603" y="587"/>
                  </a:lnTo>
                  <a:lnTo>
                    <a:pt x="584" y="587"/>
                  </a:lnTo>
                  <a:lnTo>
                    <a:pt x="556" y="595"/>
                  </a:lnTo>
                  <a:lnTo>
                    <a:pt x="544" y="604"/>
                  </a:lnTo>
                  <a:lnTo>
                    <a:pt x="525" y="610"/>
                  </a:lnTo>
                  <a:lnTo>
                    <a:pt x="505" y="626"/>
                  </a:lnTo>
                  <a:lnTo>
                    <a:pt x="492" y="647"/>
                  </a:lnTo>
                  <a:lnTo>
                    <a:pt x="491" y="662"/>
                  </a:lnTo>
                  <a:lnTo>
                    <a:pt x="496" y="674"/>
                  </a:lnTo>
                  <a:lnTo>
                    <a:pt x="495" y="695"/>
                  </a:lnTo>
                  <a:lnTo>
                    <a:pt x="492" y="705"/>
                  </a:lnTo>
                  <a:lnTo>
                    <a:pt x="481" y="717"/>
                  </a:lnTo>
                  <a:lnTo>
                    <a:pt x="466" y="753"/>
                  </a:lnTo>
                  <a:lnTo>
                    <a:pt x="453" y="770"/>
                  </a:lnTo>
                  <a:lnTo>
                    <a:pt x="443" y="779"/>
                  </a:lnTo>
                  <a:lnTo>
                    <a:pt x="438" y="799"/>
                  </a:lnTo>
                  <a:lnTo>
                    <a:pt x="429" y="811"/>
                  </a:lnTo>
                  <a:lnTo>
                    <a:pt x="422" y="799"/>
                  </a:lnTo>
                  <a:lnTo>
                    <a:pt x="428" y="789"/>
                  </a:lnTo>
                  <a:lnTo>
                    <a:pt x="416" y="775"/>
                  </a:lnTo>
                  <a:lnTo>
                    <a:pt x="400" y="764"/>
                  </a:lnTo>
                  <a:lnTo>
                    <a:pt x="380" y="750"/>
                  </a:lnTo>
                  <a:lnTo>
                    <a:pt x="374" y="751"/>
                  </a:lnTo>
                  <a:lnTo>
                    <a:pt x="353" y="735"/>
                  </a:lnTo>
                  <a:lnTo>
                    <a:pt x="342" y="737"/>
                  </a:lnTo>
                  <a:close/>
                </a:path>
              </a:pathLst>
            </a:custGeom>
            <a:solidFill>
              <a:schemeClr val="accent1"/>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68" name="Freeform 31"/>
            <p:cNvSpPr>
              <a:spLocks/>
            </p:cNvSpPr>
            <p:nvPr/>
          </p:nvSpPr>
          <p:spPr bwMode="auto">
            <a:xfrm>
              <a:off x="7510462" y="3525842"/>
              <a:ext cx="34925" cy="47625"/>
            </a:xfrm>
            <a:custGeom>
              <a:avLst/>
              <a:gdLst>
                <a:gd name="T0" fmla="*/ 0 w 22"/>
                <a:gd name="T1" fmla="*/ 19 h 30"/>
                <a:gd name="T2" fmla="*/ 7 w 22"/>
                <a:gd name="T3" fmla="*/ 12 h 30"/>
                <a:gd name="T4" fmla="*/ 22 w 22"/>
                <a:gd name="T5" fmla="*/ 0 h 30"/>
                <a:gd name="T6" fmla="*/ 22 w 22"/>
                <a:gd name="T7" fmla="*/ 11 h 30"/>
                <a:gd name="T8" fmla="*/ 21 w 22"/>
                <a:gd name="T9" fmla="*/ 24 h 30"/>
                <a:gd name="T10" fmla="*/ 12 w 22"/>
                <a:gd name="T11" fmla="*/ 23 h 30"/>
                <a:gd name="T12" fmla="*/ 9 w 22"/>
                <a:gd name="T13" fmla="*/ 30 h 30"/>
                <a:gd name="T14" fmla="*/ 0 w 22"/>
                <a:gd name="T15" fmla="*/ 1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0">
                  <a:moveTo>
                    <a:pt x="0" y="19"/>
                  </a:moveTo>
                  <a:lnTo>
                    <a:pt x="7" y="12"/>
                  </a:lnTo>
                  <a:lnTo>
                    <a:pt x="22" y="0"/>
                  </a:lnTo>
                  <a:lnTo>
                    <a:pt x="22" y="11"/>
                  </a:lnTo>
                  <a:lnTo>
                    <a:pt x="21" y="24"/>
                  </a:lnTo>
                  <a:lnTo>
                    <a:pt x="12" y="23"/>
                  </a:lnTo>
                  <a:lnTo>
                    <a:pt x="9" y="30"/>
                  </a:lnTo>
                  <a:lnTo>
                    <a:pt x="0" y="1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69" name="Freeform 32"/>
            <p:cNvSpPr>
              <a:spLocks/>
            </p:cNvSpPr>
            <p:nvPr/>
          </p:nvSpPr>
          <p:spPr bwMode="auto">
            <a:xfrm>
              <a:off x="6684962" y="2773366"/>
              <a:ext cx="93663" cy="50800"/>
            </a:xfrm>
            <a:custGeom>
              <a:avLst/>
              <a:gdLst>
                <a:gd name="T0" fmla="*/ 49 w 59"/>
                <a:gd name="T1" fmla="*/ 11 h 32"/>
                <a:gd name="T2" fmla="*/ 57 w 59"/>
                <a:gd name="T3" fmla="*/ 17 h 32"/>
                <a:gd name="T4" fmla="*/ 59 w 59"/>
                <a:gd name="T5" fmla="*/ 30 h 32"/>
                <a:gd name="T6" fmla="*/ 45 w 59"/>
                <a:gd name="T7" fmla="*/ 31 h 32"/>
                <a:gd name="T8" fmla="*/ 29 w 59"/>
                <a:gd name="T9" fmla="*/ 29 h 32"/>
                <a:gd name="T10" fmla="*/ 19 w 59"/>
                <a:gd name="T11" fmla="*/ 32 h 32"/>
                <a:gd name="T12" fmla="*/ 1 w 59"/>
                <a:gd name="T13" fmla="*/ 24 h 32"/>
                <a:gd name="T14" fmla="*/ 0 w 59"/>
                <a:gd name="T15" fmla="*/ 20 h 32"/>
                <a:gd name="T16" fmla="*/ 8 w 59"/>
                <a:gd name="T17" fmla="*/ 5 h 32"/>
                <a:gd name="T18" fmla="*/ 17 w 59"/>
                <a:gd name="T19" fmla="*/ 0 h 32"/>
                <a:gd name="T20" fmla="*/ 30 w 59"/>
                <a:gd name="T21" fmla="*/ 4 h 32"/>
                <a:gd name="T22" fmla="*/ 40 w 59"/>
                <a:gd name="T23" fmla="*/ 5 h 32"/>
                <a:gd name="T24" fmla="*/ 49 w 59"/>
                <a:gd name="T25"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32">
                  <a:moveTo>
                    <a:pt x="49" y="11"/>
                  </a:moveTo>
                  <a:lnTo>
                    <a:pt x="57" y="17"/>
                  </a:lnTo>
                  <a:lnTo>
                    <a:pt x="59" y="30"/>
                  </a:lnTo>
                  <a:lnTo>
                    <a:pt x="45" y="31"/>
                  </a:lnTo>
                  <a:lnTo>
                    <a:pt x="29" y="29"/>
                  </a:lnTo>
                  <a:lnTo>
                    <a:pt x="19" y="32"/>
                  </a:lnTo>
                  <a:lnTo>
                    <a:pt x="1" y="24"/>
                  </a:lnTo>
                  <a:lnTo>
                    <a:pt x="0" y="20"/>
                  </a:lnTo>
                  <a:lnTo>
                    <a:pt x="8" y="5"/>
                  </a:lnTo>
                  <a:lnTo>
                    <a:pt x="17" y="0"/>
                  </a:lnTo>
                  <a:lnTo>
                    <a:pt x="30" y="4"/>
                  </a:lnTo>
                  <a:lnTo>
                    <a:pt x="40" y="5"/>
                  </a:lnTo>
                  <a:lnTo>
                    <a:pt x="49" y="11"/>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70" name="Freeform 33"/>
            <p:cNvSpPr>
              <a:spLocks/>
            </p:cNvSpPr>
            <p:nvPr/>
          </p:nvSpPr>
          <p:spPr bwMode="auto">
            <a:xfrm>
              <a:off x="4746625" y="4287842"/>
              <a:ext cx="274638" cy="303213"/>
            </a:xfrm>
            <a:custGeom>
              <a:avLst/>
              <a:gdLst>
                <a:gd name="T0" fmla="*/ 108 w 173"/>
                <a:gd name="T1" fmla="*/ 19 h 191"/>
                <a:gd name="T2" fmla="*/ 112 w 173"/>
                <a:gd name="T3" fmla="*/ 22 h 191"/>
                <a:gd name="T4" fmla="*/ 117 w 173"/>
                <a:gd name="T5" fmla="*/ 34 h 191"/>
                <a:gd name="T6" fmla="*/ 137 w 173"/>
                <a:gd name="T7" fmla="*/ 57 h 191"/>
                <a:gd name="T8" fmla="*/ 144 w 173"/>
                <a:gd name="T9" fmla="*/ 59 h 191"/>
                <a:gd name="T10" fmla="*/ 144 w 173"/>
                <a:gd name="T11" fmla="*/ 67 h 191"/>
                <a:gd name="T12" fmla="*/ 149 w 173"/>
                <a:gd name="T13" fmla="*/ 80 h 191"/>
                <a:gd name="T14" fmla="*/ 162 w 173"/>
                <a:gd name="T15" fmla="*/ 83 h 191"/>
                <a:gd name="T16" fmla="*/ 173 w 173"/>
                <a:gd name="T17" fmla="*/ 92 h 191"/>
                <a:gd name="T18" fmla="*/ 147 w 173"/>
                <a:gd name="T19" fmla="*/ 108 h 191"/>
                <a:gd name="T20" fmla="*/ 130 w 173"/>
                <a:gd name="T21" fmla="*/ 123 h 191"/>
                <a:gd name="T22" fmla="*/ 124 w 173"/>
                <a:gd name="T23" fmla="*/ 137 h 191"/>
                <a:gd name="T24" fmla="*/ 118 w 173"/>
                <a:gd name="T25" fmla="*/ 145 h 191"/>
                <a:gd name="T26" fmla="*/ 108 w 173"/>
                <a:gd name="T27" fmla="*/ 146 h 191"/>
                <a:gd name="T28" fmla="*/ 104 w 173"/>
                <a:gd name="T29" fmla="*/ 156 h 191"/>
                <a:gd name="T30" fmla="*/ 102 w 173"/>
                <a:gd name="T31" fmla="*/ 163 h 191"/>
                <a:gd name="T32" fmla="*/ 90 w 173"/>
                <a:gd name="T33" fmla="*/ 168 h 191"/>
                <a:gd name="T34" fmla="*/ 76 w 173"/>
                <a:gd name="T35" fmla="*/ 167 h 191"/>
                <a:gd name="T36" fmla="*/ 68 w 173"/>
                <a:gd name="T37" fmla="*/ 161 h 191"/>
                <a:gd name="T38" fmla="*/ 60 w 173"/>
                <a:gd name="T39" fmla="*/ 158 h 191"/>
                <a:gd name="T40" fmla="*/ 51 w 173"/>
                <a:gd name="T41" fmla="*/ 163 h 191"/>
                <a:gd name="T42" fmla="*/ 47 w 173"/>
                <a:gd name="T43" fmla="*/ 173 h 191"/>
                <a:gd name="T44" fmla="*/ 38 w 173"/>
                <a:gd name="T45" fmla="*/ 179 h 191"/>
                <a:gd name="T46" fmla="*/ 28 w 173"/>
                <a:gd name="T47" fmla="*/ 189 h 191"/>
                <a:gd name="T48" fmla="*/ 16 w 173"/>
                <a:gd name="T49" fmla="*/ 191 h 191"/>
                <a:gd name="T50" fmla="*/ 12 w 173"/>
                <a:gd name="T51" fmla="*/ 183 h 191"/>
                <a:gd name="T52" fmla="*/ 14 w 173"/>
                <a:gd name="T53" fmla="*/ 171 h 191"/>
                <a:gd name="T54" fmla="*/ 4 w 173"/>
                <a:gd name="T55" fmla="*/ 151 h 191"/>
                <a:gd name="T56" fmla="*/ 0 w 173"/>
                <a:gd name="T57" fmla="*/ 148 h 191"/>
                <a:gd name="T58" fmla="*/ 2 w 173"/>
                <a:gd name="T59" fmla="*/ 87 h 191"/>
                <a:gd name="T60" fmla="*/ 20 w 173"/>
                <a:gd name="T61" fmla="*/ 87 h 191"/>
                <a:gd name="T62" fmla="*/ 23 w 173"/>
                <a:gd name="T63" fmla="*/ 13 h 191"/>
                <a:gd name="T64" fmla="*/ 36 w 173"/>
                <a:gd name="T65" fmla="*/ 12 h 191"/>
                <a:gd name="T66" fmla="*/ 65 w 173"/>
                <a:gd name="T67" fmla="*/ 5 h 191"/>
                <a:gd name="T68" fmla="*/ 71 w 173"/>
                <a:gd name="T69" fmla="*/ 13 h 191"/>
                <a:gd name="T70" fmla="*/ 83 w 173"/>
                <a:gd name="T71" fmla="*/ 5 h 191"/>
                <a:gd name="T72" fmla="*/ 89 w 173"/>
                <a:gd name="T73" fmla="*/ 5 h 191"/>
                <a:gd name="T74" fmla="*/ 99 w 173"/>
                <a:gd name="T75" fmla="*/ 0 h 191"/>
                <a:gd name="T76" fmla="*/ 102 w 173"/>
                <a:gd name="T77" fmla="*/ 2 h 191"/>
                <a:gd name="T78" fmla="*/ 108 w 173"/>
                <a:gd name="T79" fmla="*/ 1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91">
                  <a:moveTo>
                    <a:pt x="108" y="19"/>
                  </a:moveTo>
                  <a:lnTo>
                    <a:pt x="112" y="22"/>
                  </a:lnTo>
                  <a:lnTo>
                    <a:pt x="117" y="34"/>
                  </a:lnTo>
                  <a:lnTo>
                    <a:pt x="137" y="57"/>
                  </a:lnTo>
                  <a:lnTo>
                    <a:pt x="144" y="59"/>
                  </a:lnTo>
                  <a:lnTo>
                    <a:pt x="144" y="67"/>
                  </a:lnTo>
                  <a:lnTo>
                    <a:pt x="149" y="80"/>
                  </a:lnTo>
                  <a:lnTo>
                    <a:pt x="162" y="83"/>
                  </a:lnTo>
                  <a:lnTo>
                    <a:pt x="173" y="92"/>
                  </a:lnTo>
                  <a:lnTo>
                    <a:pt x="147" y="108"/>
                  </a:lnTo>
                  <a:lnTo>
                    <a:pt x="130" y="123"/>
                  </a:lnTo>
                  <a:lnTo>
                    <a:pt x="124" y="137"/>
                  </a:lnTo>
                  <a:lnTo>
                    <a:pt x="118" y="145"/>
                  </a:lnTo>
                  <a:lnTo>
                    <a:pt x="108" y="146"/>
                  </a:lnTo>
                  <a:lnTo>
                    <a:pt x="104" y="156"/>
                  </a:lnTo>
                  <a:lnTo>
                    <a:pt x="102" y="163"/>
                  </a:lnTo>
                  <a:lnTo>
                    <a:pt x="90" y="168"/>
                  </a:lnTo>
                  <a:lnTo>
                    <a:pt x="76" y="167"/>
                  </a:lnTo>
                  <a:lnTo>
                    <a:pt x="68" y="161"/>
                  </a:lnTo>
                  <a:lnTo>
                    <a:pt x="60" y="158"/>
                  </a:lnTo>
                  <a:lnTo>
                    <a:pt x="51" y="163"/>
                  </a:lnTo>
                  <a:lnTo>
                    <a:pt x="47" y="173"/>
                  </a:lnTo>
                  <a:lnTo>
                    <a:pt x="38" y="179"/>
                  </a:lnTo>
                  <a:lnTo>
                    <a:pt x="28" y="189"/>
                  </a:lnTo>
                  <a:lnTo>
                    <a:pt x="16" y="191"/>
                  </a:lnTo>
                  <a:lnTo>
                    <a:pt x="12" y="183"/>
                  </a:lnTo>
                  <a:lnTo>
                    <a:pt x="14" y="171"/>
                  </a:lnTo>
                  <a:lnTo>
                    <a:pt x="4" y="151"/>
                  </a:lnTo>
                  <a:lnTo>
                    <a:pt x="0" y="148"/>
                  </a:lnTo>
                  <a:lnTo>
                    <a:pt x="2" y="87"/>
                  </a:lnTo>
                  <a:lnTo>
                    <a:pt x="20" y="87"/>
                  </a:lnTo>
                  <a:lnTo>
                    <a:pt x="23" y="13"/>
                  </a:lnTo>
                  <a:lnTo>
                    <a:pt x="36" y="12"/>
                  </a:lnTo>
                  <a:lnTo>
                    <a:pt x="65" y="5"/>
                  </a:lnTo>
                  <a:lnTo>
                    <a:pt x="71" y="13"/>
                  </a:lnTo>
                  <a:lnTo>
                    <a:pt x="83" y="5"/>
                  </a:lnTo>
                  <a:lnTo>
                    <a:pt x="89" y="5"/>
                  </a:lnTo>
                  <a:lnTo>
                    <a:pt x="99" y="0"/>
                  </a:lnTo>
                  <a:lnTo>
                    <a:pt x="102" y="2"/>
                  </a:lnTo>
                  <a:lnTo>
                    <a:pt x="108" y="19"/>
                  </a:lnTo>
                  <a:close/>
                </a:path>
              </a:pathLst>
            </a:custGeom>
            <a:solidFill>
              <a:srgbClr val="4F81BD"/>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71" name="Freeform 34"/>
            <p:cNvSpPr>
              <a:spLocks/>
            </p:cNvSpPr>
            <p:nvPr/>
          </p:nvSpPr>
          <p:spPr bwMode="auto">
            <a:xfrm>
              <a:off x="4603750" y="3338517"/>
              <a:ext cx="376238" cy="292100"/>
            </a:xfrm>
            <a:custGeom>
              <a:avLst/>
              <a:gdLst>
                <a:gd name="T0" fmla="*/ 14 w 237"/>
                <a:gd name="T1" fmla="*/ 77 h 184"/>
                <a:gd name="T2" fmla="*/ 29 w 237"/>
                <a:gd name="T3" fmla="*/ 76 h 184"/>
                <a:gd name="T4" fmla="*/ 33 w 237"/>
                <a:gd name="T5" fmla="*/ 70 h 184"/>
                <a:gd name="T6" fmla="*/ 36 w 237"/>
                <a:gd name="T7" fmla="*/ 71 h 184"/>
                <a:gd name="T8" fmla="*/ 40 w 237"/>
                <a:gd name="T9" fmla="*/ 75 h 184"/>
                <a:gd name="T10" fmla="*/ 64 w 237"/>
                <a:gd name="T11" fmla="*/ 68 h 184"/>
                <a:gd name="T12" fmla="*/ 71 w 237"/>
                <a:gd name="T13" fmla="*/ 59 h 184"/>
                <a:gd name="T14" fmla="*/ 81 w 237"/>
                <a:gd name="T15" fmla="*/ 52 h 184"/>
                <a:gd name="T16" fmla="*/ 79 w 237"/>
                <a:gd name="T17" fmla="*/ 45 h 184"/>
                <a:gd name="T18" fmla="*/ 84 w 237"/>
                <a:gd name="T19" fmla="*/ 43 h 184"/>
                <a:gd name="T20" fmla="*/ 102 w 237"/>
                <a:gd name="T21" fmla="*/ 44 h 184"/>
                <a:gd name="T22" fmla="*/ 119 w 237"/>
                <a:gd name="T23" fmla="*/ 35 h 184"/>
                <a:gd name="T24" fmla="*/ 132 w 237"/>
                <a:gd name="T25" fmla="*/ 12 h 184"/>
                <a:gd name="T26" fmla="*/ 141 w 237"/>
                <a:gd name="T27" fmla="*/ 3 h 184"/>
                <a:gd name="T28" fmla="*/ 152 w 237"/>
                <a:gd name="T29" fmla="*/ 0 h 184"/>
                <a:gd name="T30" fmla="*/ 155 w 237"/>
                <a:gd name="T31" fmla="*/ 9 h 184"/>
                <a:gd name="T32" fmla="*/ 165 w 237"/>
                <a:gd name="T33" fmla="*/ 22 h 184"/>
                <a:gd name="T34" fmla="*/ 165 w 237"/>
                <a:gd name="T35" fmla="*/ 30 h 184"/>
                <a:gd name="T36" fmla="*/ 163 w 237"/>
                <a:gd name="T37" fmla="*/ 39 h 184"/>
                <a:gd name="T38" fmla="*/ 164 w 237"/>
                <a:gd name="T39" fmla="*/ 45 h 184"/>
                <a:gd name="T40" fmla="*/ 170 w 237"/>
                <a:gd name="T41" fmla="*/ 51 h 184"/>
                <a:gd name="T42" fmla="*/ 185 w 237"/>
                <a:gd name="T43" fmla="*/ 61 h 184"/>
                <a:gd name="T44" fmla="*/ 195 w 237"/>
                <a:gd name="T45" fmla="*/ 69 h 184"/>
                <a:gd name="T46" fmla="*/ 195 w 237"/>
                <a:gd name="T47" fmla="*/ 76 h 184"/>
                <a:gd name="T48" fmla="*/ 207 w 237"/>
                <a:gd name="T49" fmla="*/ 86 h 184"/>
                <a:gd name="T50" fmla="*/ 215 w 237"/>
                <a:gd name="T51" fmla="*/ 95 h 184"/>
                <a:gd name="T52" fmla="*/ 220 w 237"/>
                <a:gd name="T53" fmla="*/ 108 h 184"/>
                <a:gd name="T54" fmla="*/ 234 w 237"/>
                <a:gd name="T55" fmla="*/ 116 h 184"/>
                <a:gd name="T56" fmla="*/ 237 w 237"/>
                <a:gd name="T57" fmla="*/ 123 h 184"/>
                <a:gd name="T58" fmla="*/ 231 w 237"/>
                <a:gd name="T59" fmla="*/ 125 h 184"/>
                <a:gd name="T60" fmla="*/ 219 w 237"/>
                <a:gd name="T61" fmla="*/ 124 h 184"/>
                <a:gd name="T62" fmla="*/ 205 w 237"/>
                <a:gd name="T63" fmla="*/ 122 h 184"/>
                <a:gd name="T64" fmla="*/ 198 w 237"/>
                <a:gd name="T65" fmla="*/ 124 h 184"/>
                <a:gd name="T66" fmla="*/ 196 w 237"/>
                <a:gd name="T67" fmla="*/ 129 h 184"/>
                <a:gd name="T68" fmla="*/ 190 w 237"/>
                <a:gd name="T69" fmla="*/ 130 h 184"/>
                <a:gd name="T70" fmla="*/ 182 w 237"/>
                <a:gd name="T71" fmla="*/ 125 h 184"/>
                <a:gd name="T72" fmla="*/ 162 w 237"/>
                <a:gd name="T73" fmla="*/ 136 h 184"/>
                <a:gd name="T74" fmla="*/ 154 w 237"/>
                <a:gd name="T75" fmla="*/ 133 h 184"/>
                <a:gd name="T76" fmla="*/ 151 w 237"/>
                <a:gd name="T77" fmla="*/ 135 h 184"/>
                <a:gd name="T78" fmla="*/ 146 w 237"/>
                <a:gd name="T79" fmla="*/ 148 h 184"/>
                <a:gd name="T80" fmla="*/ 132 w 237"/>
                <a:gd name="T81" fmla="*/ 144 h 184"/>
                <a:gd name="T82" fmla="*/ 119 w 237"/>
                <a:gd name="T83" fmla="*/ 142 h 184"/>
                <a:gd name="T84" fmla="*/ 107 w 237"/>
                <a:gd name="T85" fmla="*/ 134 h 184"/>
                <a:gd name="T86" fmla="*/ 92 w 237"/>
                <a:gd name="T87" fmla="*/ 127 h 184"/>
                <a:gd name="T88" fmla="*/ 82 w 237"/>
                <a:gd name="T89" fmla="*/ 133 h 184"/>
                <a:gd name="T90" fmla="*/ 75 w 237"/>
                <a:gd name="T91" fmla="*/ 144 h 184"/>
                <a:gd name="T92" fmla="*/ 73 w 237"/>
                <a:gd name="T93" fmla="*/ 159 h 184"/>
                <a:gd name="T94" fmla="*/ 61 w 237"/>
                <a:gd name="T95" fmla="*/ 157 h 184"/>
                <a:gd name="T96" fmla="*/ 49 w 237"/>
                <a:gd name="T97" fmla="*/ 154 h 184"/>
                <a:gd name="T98" fmla="*/ 38 w 237"/>
                <a:gd name="T99" fmla="*/ 165 h 184"/>
                <a:gd name="T100" fmla="*/ 29 w 237"/>
                <a:gd name="T101" fmla="*/ 184 h 184"/>
                <a:gd name="T102" fmla="*/ 27 w 237"/>
                <a:gd name="T103" fmla="*/ 178 h 184"/>
                <a:gd name="T104" fmla="*/ 26 w 237"/>
                <a:gd name="T105" fmla="*/ 169 h 184"/>
                <a:gd name="T106" fmla="*/ 17 w 237"/>
                <a:gd name="T107" fmla="*/ 162 h 184"/>
                <a:gd name="T108" fmla="*/ 10 w 237"/>
                <a:gd name="T109" fmla="*/ 152 h 184"/>
                <a:gd name="T110" fmla="*/ 9 w 237"/>
                <a:gd name="T111" fmla="*/ 144 h 184"/>
                <a:gd name="T112" fmla="*/ 0 w 237"/>
                <a:gd name="T113" fmla="*/ 133 h 184"/>
                <a:gd name="T114" fmla="*/ 2 w 237"/>
                <a:gd name="T115" fmla="*/ 127 h 184"/>
                <a:gd name="T116" fmla="*/ 0 w 237"/>
                <a:gd name="T117" fmla="*/ 118 h 184"/>
                <a:gd name="T118" fmla="*/ 1 w 237"/>
                <a:gd name="T119" fmla="*/ 102 h 184"/>
                <a:gd name="T120" fmla="*/ 5 w 237"/>
                <a:gd name="T121" fmla="*/ 98 h 184"/>
                <a:gd name="T122" fmla="*/ 14 w 237"/>
                <a:gd name="T123" fmla="*/ 7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7" h="184">
                  <a:moveTo>
                    <a:pt x="14" y="77"/>
                  </a:moveTo>
                  <a:lnTo>
                    <a:pt x="29" y="76"/>
                  </a:lnTo>
                  <a:lnTo>
                    <a:pt x="33" y="70"/>
                  </a:lnTo>
                  <a:lnTo>
                    <a:pt x="36" y="71"/>
                  </a:lnTo>
                  <a:lnTo>
                    <a:pt x="40" y="75"/>
                  </a:lnTo>
                  <a:lnTo>
                    <a:pt x="64" y="68"/>
                  </a:lnTo>
                  <a:lnTo>
                    <a:pt x="71" y="59"/>
                  </a:lnTo>
                  <a:lnTo>
                    <a:pt x="81" y="52"/>
                  </a:lnTo>
                  <a:lnTo>
                    <a:pt x="79" y="45"/>
                  </a:lnTo>
                  <a:lnTo>
                    <a:pt x="84" y="43"/>
                  </a:lnTo>
                  <a:lnTo>
                    <a:pt x="102" y="44"/>
                  </a:lnTo>
                  <a:lnTo>
                    <a:pt x="119" y="35"/>
                  </a:lnTo>
                  <a:lnTo>
                    <a:pt x="132" y="12"/>
                  </a:lnTo>
                  <a:lnTo>
                    <a:pt x="141" y="3"/>
                  </a:lnTo>
                  <a:lnTo>
                    <a:pt x="152" y="0"/>
                  </a:lnTo>
                  <a:lnTo>
                    <a:pt x="155" y="9"/>
                  </a:lnTo>
                  <a:lnTo>
                    <a:pt x="165" y="22"/>
                  </a:lnTo>
                  <a:lnTo>
                    <a:pt x="165" y="30"/>
                  </a:lnTo>
                  <a:lnTo>
                    <a:pt x="163" y="39"/>
                  </a:lnTo>
                  <a:lnTo>
                    <a:pt x="164" y="45"/>
                  </a:lnTo>
                  <a:lnTo>
                    <a:pt x="170" y="51"/>
                  </a:lnTo>
                  <a:lnTo>
                    <a:pt x="185" y="61"/>
                  </a:lnTo>
                  <a:lnTo>
                    <a:pt x="195" y="69"/>
                  </a:lnTo>
                  <a:lnTo>
                    <a:pt x="195" y="76"/>
                  </a:lnTo>
                  <a:lnTo>
                    <a:pt x="207" y="86"/>
                  </a:lnTo>
                  <a:lnTo>
                    <a:pt x="215" y="95"/>
                  </a:lnTo>
                  <a:lnTo>
                    <a:pt x="220" y="108"/>
                  </a:lnTo>
                  <a:lnTo>
                    <a:pt x="234" y="116"/>
                  </a:lnTo>
                  <a:lnTo>
                    <a:pt x="237" y="123"/>
                  </a:lnTo>
                  <a:lnTo>
                    <a:pt x="231" y="125"/>
                  </a:lnTo>
                  <a:lnTo>
                    <a:pt x="219" y="124"/>
                  </a:lnTo>
                  <a:lnTo>
                    <a:pt x="205" y="122"/>
                  </a:lnTo>
                  <a:lnTo>
                    <a:pt x="198" y="124"/>
                  </a:lnTo>
                  <a:lnTo>
                    <a:pt x="196" y="129"/>
                  </a:lnTo>
                  <a:lnTo>
                    <a:pt x="190" y="130"/>
                  </a:lnTo>
                  <a:lnTo>
                    <a:pt x="182" y="125"/>
                  </a:lnTo>
                  <a:lnTo>
                    <a:pt x="162" y="136"/>
                  </a:lnTo>
                  <a:lnTo>
                    <a:pt x="154" y="133"/>
                  </a:lnTo>
                  <a:lnTo>
                    <a:pt x="151" y="135"/>
                  </a:lnTo>
                  <a:lnTo>
                    <a:pt x="146" y="148"/>
                  </a:lnTo>
                  <a:lnTo>
                    <a:pt x="132" y="144"/>
                  </a:lnTo>
                  <a:lnTo>
                    <a:pt x="119" y="142"/>
                  </a:lnTo>
                  <a:lnTo>
                    <a:pt x="107" y="134"/>
                  </a:lnTo>
                  <a:lnTo>
                    <a:pt x="92" y="127"/>
                  </a:lnTo>
                  <a:lnTo>
                    <a:pt x="82" y="133"/>
                  </a:lnTo>
                  <a:lnTo>
                    <a:pt x="75" y="144"/>
                  </a:lnTo>
                  <a:lnTo>
                    <a:pt x="73" y="159"/>
                  </a:lnTo>
                  <a:lnTo>
                    <a:pt x="61" y="157"/>
                  </a:lnTo>
                  <a:lnTo>
                    <a:pt x="49" y="154"/>
                  </a:lnTo>
                  <a:lnTo>
                    <a:pt x="38" y="165"/>
                  </a:lnTo>
                  <a:lnTo>
                    <a:pt x="29" y="184"/>
                  </a:lnTo>
                  <a:lnTo>
                    <a:pt x="27" y="178"/>
                  </a:lnTo>
                  <a:lnTo>
                    <a:pt x="26" y="169"/>
                  </a:lnTo>
                  <a:lnTo>
                    <a:pt x="17" y="162"/>
                  </a:lnTo>
                  <a:lnTo>
                    <a:pt x="10" y="152"/>
                  </a:lnTo>
                  <a:lnTo>
                    <a:pt x="9" y="144"/>
                  </a:lnTo>
                  <a:lnTo>
                    <a:pt x="0" y="133"/>
                  </a:lnTo>
                  <a:lnTo>
                    <a:pt x="2" y="127"/>
                  </a:lnTo>
                  <a:lnTo>
                    <a:pt x="0" y="118"/>
                  </a:lnTo>
                  <a:lnTo>
                    <a:pt x="1" y="102"/>
                  </a:lnTo>
                  <a:lnTo>
                    <a:pt x="5" y="98"/>
                  </a:lnTo>
                  <a:lnTo>
                    <a:pt x="14" y="7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72" name="Freeform 35"/>
            <p:cNvSpPr>
              <a:spLocks/>
            </p:cNvSpPr>
            <p:nvPr/>
          </p:nvSpPr>
          <p:spPr bwMode="auto">
            <a:xfrm>
              <a:off x="2514600" y="2159004"/>
              <a:ext cx="58738" cy="34925"/>
            </a:xfrm>
            <a:custGeom>
              <a:avLst/>
              <a:gdLst>
                <a:gd name="T0" fmla="*/ 11 w 37"/>
                <a:gd name="T1" fmla="*/ 10 h 22"/>
                <a:gd name="T2" fmla="*/ 22 w 37"/>
                <a:gd name="T3" fmla="*/ 13 h 22"/>
                <a:gd name="T4" fmla="*/ 37 w 37"/>
                <a:gd name="T5" fmla="*/ 12 h 22"/>
                <a:gd name="T6" fmla="*/ 26 w 37"/>
                <a:gd name="T7" fmla="*/ 21 h 22"/>
                <a:gd name="T8" fmla="*/ 20 w 37"/>
                <a:gd name="T9" fmla="*/ 22 h 22"/>
                <a:gd name="T10" fmla="*/ 2 w 37"/>
                <a:gd name="T11" fmla="*/ 13 h 22"/>
                <a:gd name="T12" fmla="*/ 0 w 37"/>
                <a:gd name="T13" fmla="*/ 6 h 22"/>
                <a:gd name="T14" fmla="*/ 8 w 37"/>
                <a:gd name="T15" fmla="*/ 0 h 22"/>
                <a:gd name="T16" fmla="*/ 11 w 37"/>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2">
                  <a:moveTo>
                    <a:pt x="11" y="10"/>
                  </a:moveTo>
                  <a:lnTo>
                    <a:pt x="22" y="13"/>
                  </a:lnTo>
                  <a:lnTo>
                    <a:pt x="37" y="12"/>
                  </a:lnTo>
                  <a:lnTo>
                    <a:pt x="26" y="21"/>
                  </a:lnTo>
                  <a:lnTo>
                    <a:pt x="20" y="22"/>
                  </a:lnTo>
                  <a:lnTo>
                    <a:pt x="2" y="13"/>
                  </a:lnTo>
                  <a:lnTo>
                    <a:pt x="0" y="6"/>
                  </a:lnTo>
                  <a:lnTo>
                    <a:pt x="8" y="0"/>
                  </a:lnTo>
                  <a:lnTo>
                    <a:pt x="11" y="1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73" name="Freeform 36"/>
            <p:cNvSpPr>
              <a:spLocks noEditPoints="1"/>
            </p:cNvSpPr>
            <p:nvPr/>
          </p:nvSpPr>
          <p:spPr bwMode="auto">
            <a:xfrm>
              <a:off x="893762" y="1144591"/>
              <a:ext cx="2208213" cy="1189038"/>
            </a:xfrm>
            <a:custGeom>
              <a:avLst/>
              <a:gdLst>
                <a:gd name="T0" fmla="*/ 5030 w 5699"/>
                <a:gd name="T1" fmla="*/ 189 h 3068"/>
                <a:gd name="T2" fmla="*/ 4486 w 5699"/>
                <a:gd name="T3" fmla="*/ 395 h 3068"/>
                <a:gd name="T4" fmla="*/ 4419 w 5699"/>
                <a:gd name="T5" fmla="*/ 225 h 3068"/>
                <a:gd name="T6" fmla="*/ 4392 w 5699"/>
                <a:gd name="T7" fmla="*/ 58 h 3068"/>
                <a:gd name="T8" fmla="*/ 5423 w 5699"/>
                <a:gd name="T9" fmla="*/ 7 h 3068"/>
                <a:gd name="T10" fmla="*/ 4022 w 5699"/>
                <a:gd name="T11" fmla="*/ 136 h 3068"/>
                <a:gd name="T12" fmla="*/ 3430 w 5699"/>
                <a:gd name="T13" fmla="*/ 261 h 3068"/>
                <a:gd name="T14" fmla="*/ 3861 w 5699"/>
                <a:gd name="T15" fmla="*/ 239 h 3068"/>
                <a:gd name="T16" fmla="*/ 3040 w 5699"/>
                <a:gd name="T17" fmla="*/ 281 h 3068"/>
                <a:gd name="T18" fmla="*/ 2702 w 5699"/>
                <a:gd name="T19" fmla="*/ 373 h 3068"/>
                <a:gd name="T20" fmla="*/ 3998 w 5699"/>
                <a:gd name="T21" fmla="*/ 378 h 3068"/>
                <a:gd name="T22" fmla="*/ 4259 w 5699"/>
                <a:gd name="T23" fmla="*/ 497 h 3068"/>
                <a:gd name="T24" fmla="*/ 3108 w 5699"/>
                <a:gd name="T25" fmla="*/ 415 h 3068"/>
                <a:gd name="T26" fmla="*/ 2781 w 5699"/>
                <a:gd name="T27" fmla="*/ 376 h 3068"/>
                <a:gd name="T28" fmla="*/ 3397 w 5699"/>
                <a:gd name="T29" fmla="*/ 466 h 3068"/>
                <a:gd name="T30" fmla="*/ 3741 w 5699"/>
                <a:gd name="T31" fmla="*/ 428 h 3068"/>
                <a:gd name="T32" fmla="*/ 2485 w 5699"/>
                <a:gd name="T33" fmla="*/ 522 h 3068"/>
                <a:gd name="T34" fmla="*/ 3658 w 5699"/>
                <a:gd name="T35" fmla="*/ 525 h 3068"/>
                <a:gd name="T36" fmla="*/ 3220 w 5699"/>
                <a:gd name="T37" fmla="*/ 713 h 3068"/>
                <a:gd name="T38" fmla="*/ 4363 w 5699"/>
                <a:gd name="T39" fmla="*/ 644 h 3068"/>
                <a:gd name="T40" fmla="*/ 4935 w 5699"/>
                <a:gd name="T41" fmla="*/ 1030 h 3068"/>
                <a:gd name="T42" fmla="*/ 4609 w 5699"/>
                <a:gd name="T43" fmla="*/ 1331 h 3068"/>
                <a:gd name="T44" fmla="*/ 3970 w 5699"/>
                <a:gd name="T45" fmla="*/ 1206 h 3068"/>
                <a:gd name="T46" fmla="*/ 4260 w 5699"/>
                <a:gd name="T47" fmla="*/ 820 h 3068"/>
                <a:gd name="T48" fmla="*/ 4081 w 5699"/>
                <a:gd name="T49" fmla="*/ 547 h 3068"/>
                <a:gd name="T50" fmla="*/ 3095 w 5699"/>
                <a:gd name="T51" fmla="*/ 573 h 3068"/>
                <a:gd name="T52" fmla="*/ 2829 w 5699"/>
                <a:gd name="T53" fmla="*/ 664 h 3068"/>
                <a:gd name="T54" fmla="*/ 2787 w 5699"/>
                <a:gd name="T55" fmla="*/ 885 h 3068"/>
                <a:gd name="T56" fmla="*/ 2450 w 5699"/>
                <a:gd name="T57" fmla="*/ 782 h 3068"/>
                <a:gd name="T58" fmla="*/ 3509 w 5699"/>
                <a:gd name="T59" fmla="*/ 917 h 3068"/>
                <a:gd name="T60" fmla="*/ 3972 w 5699"/>
                <a:gd name="T61" fmla="*/ 981 h 3068"/>
                <a:gd name="T62" fmla="*/ 2985 w 5699"/>
                <a:gd name="T63" fmla="*/ 1402 h 3068"/>
                <a:gd name="T64" fmla="*/ 3247 w 5699"/>
                <a:gd name="T65" fmla="*/ 1941 h 3068"/>
                <a:gd name="T66" fmla="*/ 3750 w 5699"/>
                <a:gd name="T67" fmla="*/ 1783 h 3068"/>
                <a:gd name="T68" fmla="*/ 4337 w 5699"/>
                <a:gd name="T69" fmla="*/ 1477 h 3068"/>
                <a:gd name="T70" fmla="*/ 4740 w 5699"/>
                <a:gd name="T71" fmla="*/ 1945 h 3068"/>
                <a:gd name="T72" fmla="*/ 4219 w 5699"/>
                <a:gd name="T73" fmla="*/ 2347 h 3068"/>
                <a:gd name="T74" fmla="*/ 4164 w 5699"/>
                <a:gd name="T75" fmla="*/ 2685 h 3068"/>
                <a:gd name="T76" fmla="*/ 4034 w 5699"/>
                <a:gd name="T77" fmla="*/ 2767 h 3068"/>
                <a:gd name="T78" fmla="*/ 3533 w 5699"/>
                <a:gd name="T79" fmla="*/ 2788 h 3068"/>
                <a:gd name="T80" fmla="*/ 2912 w 5699"/>
                <a:gd name="T81" fmla="*/ 3023 h 3068"/>
                <a:gd name="T82" fmla="*/ 2877 w 5699"/>
                <a:gd name="T83" fmla="*/ 2695 h 3068"/>
                <a:gd name="T84" fmla="*/ 2569 w 5699"/>
                <a:gd name="T85" fmla="*/ 2536 h 3068"/>
                <a:gd name="T86" fmla="*/ 1634 w 5699"/>
                <a:gd name="T87" fmla="*/ 2455 h 3068"/>
                <a:gd name="T88" fmla="*/ 264 w 5699"/>
                <a:gd name="T89" fmla="*/ 2180 h 3068"/>
                <a:gd name="T90" fmla="*/ 224 w 5699"/>
                <a:gd name="T91" fmla="*/ 1603 h 3068"/>
                <a:gd name="T92" fmla="*/ 1272 w 5699"/>
                <a:gd name="T93" fmla="*/ 843 h 3068"/>
                <a:gd name="T94" fmla="*/ 1966 w 5699"/>
                <a:gd name="T95" fmla="*/ 852 h 3068"/>
                <a:gd name="T96" fmla="*/ 2624 w 5699"/>
                <a:gd name="T97" fmla="*/ 901 h 3068"/>
                <a:gd name="T98" fmla="*/ 3256 w 5699"/>
                <a:gd name="T99" fmla="*/ 947 h 3068"/>
                <a:gd name="T100" fmla="*/ 3159 w 5699"/>
                <a:gd name="T101" fmla="*/ 875 h 3068"/>
                <a:gd name="T102" fmla="*/ 4305 w 5699"/>
                <a:gd name="T103" fmla="*/ 930 h 3068"/>
                <a:gd name="T104" fmla="*/ 3839 w 5699"/>
                <a:gd name="T105" fmla="*/ 1271 h 3068"/>
                <a:gd name="T106" fmla="*/ 3588 w 5699"/>
                <a:gd name="T107" fmla="*/ 1392 h 3068"/>
                <a:gd name="T108" fmla="*/ 3812 w 5699"/>
                <a:gd name="T109" fmla="*/ 1392 h 3068"/>
                <a:gd name="T110" fmla="*/ 4766 w 5699"/>
                <a:gd name="T111" fmla="*/ 2387 h 3068"/>
                <a:gd name="T112" fmla="*/ 4866 w 5699"/>
                <a:gd name="T113" fmla="*/ 2637 h 3068"/>
                <a:gd name="T114" fmla="*/ 4753 w 5699"/>
                <a:gd name="T115" fmla="*/ 2312 h 3068"/>
                <a:gd name="T116" fmla="*/ 117 w 5699"/>
                <a:gd name="T117" fmla="*/ 2327 h 3068"/>
                <a:gd name="T118" fmla="*/ 4287 w 5699"/>
                <a:gd name="T119" fmla="*/ 2375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99" h="3068">
                  <a:moveTo>
                    <a:pt x="5423" y="7"/>
                  </a:moveTo>
                  <a:lnTo>
                    <a:pt x="5539" y="10"/>
                  </a:lnTo>
                  <a:lnTo>
                    <a:pt x="5629" y="17"/>
                  </a:lnTo>
                  <a:lnTo>
                    <a:pt x="5699" y="30"/>
                  </a:lnTo>
                  <a:lnTo>
                    <a:pt x="5686" y="44"/>
                  </a:lnTo>
                  <a:lnTo>
                    <a:pt x="5555" y="66"/>
                  </a:lnTo>
                  <a:lnTo>
                    <a:pt x="5436" y="76"/>
                  </a:lnTo>
                  <a:lnTo>
                    <a:pt x="5383" y="88"/>
                  </a:lnTo>
                  <a:lnTo>
                    <a:pt x="5484" y="87"/>
                  </a:lnTo>
                  <a:lnTo>
                    <a:pt x="5346" y="120"/>
                  </a:lnTo>
                  <a:lnTo>
                    <a:pt x="5257" y="135"/>
                  </a:lnTo>
                  <a:lnTo>
                    <a:pt x="5136" y="180"/>
                  </a:lnTo>
                  <a:lnTo>
                    <a:pt x="5030" y="189"/>
                  </a:lnTo>
                  <a:lnTo>
                    <a:pt x="4989" y="201"/>
                  </a:lnTo>
                  <a:lnTo>
                    <a:pt x="4840" y="207"/>
                  </a:lnTo>
                  <a:lnTo>
                    <a:pt x="4898" y="214"/>
                  </a:lnTo>
                  <a:lnTo>
                    <a:pt x="4856" y="224"/>
                  </a:lnTo>
                  <a:lnTo>
                    <a:pt x="4869" y="253"/>
                  </a:lnTo>
                  <a:lnTo>
                    <a:pt x="4804" y="273"/>
                  </a:lnTo>
                  <a:lnTo>
                    <a:pt x="4714" y="290"/>
                  </a:lnTo>
                  <a:lnTo>
                    <a:pt x="4669" y="313"/>
                  </a:lnTo>
                  <a:lnTo>
                    <a:pt x="4584" y="331"/>
                  </a:lnTo>
                  <a:lnTo>
                    <a:pt x="4578" y="345"/>
                  </a:lnTo>
                  <a:lnTo>
                    <a:pt x="4664" y="343"/>
                  </a:lnTo>
                  <a:lnTo>
                    <a:pt x="4652" y="357"/>
                  </a:lnTo>
                  <a:lnTo>
                    <a:pt x="4486" y="395"/>
                  </a:lnTo>
                  <a:lnTo>
                    <a:pt x="4373" y="377"/>
                  </a:lnTo>
                  <a:lnTo>
                    <a:pt x="4218" y="387"/>
                  </a:lnTo>
                  <a:lnTo>
                    <a:pt x="4152" y="380"/>
                  </a:lnTo>
                  <a:lnTo>
                    <a:pt x="4062" y="376"/>
                  </a:lnTo>
                  <a:lnTo>
                    <a:pt x="4086" y="347"/>
                  </a:lnTo>
                  <a:lnTo>
                    <a:pt x="4191" y="333"/>
                  </a:lnTo>
                  <a:lnTo>
                    <a:pt x="4212" y="290"/>
                  </a:lnTo>
                  <a:lnTo>
                    <a:pt x="4246" y="285"/>
                  </a:lnTo>
                  <a:lnTo>
                    <a:pt x="4349" y="311"/>
                  </a:lnTo>
                  <a:lnTo>
                    <a:pt x="4322" y="273"/>
                  </a:lnTo>
                  <a:lnTo>
                    <a:pt x="4256" y="262"/>
                  </a:lnTo>
                  <a:lnTo>
                    <a:pt x="4319" y="239"/>
                  </a:lnTo>
                  <a:lnTo>
                    <a:pt x="4419" y="225"/>
                  </a:lnTo>
                  <a:lnTo>
                    <a:pt x="4453" y="206"/>
                  </a:lnTo>
                  <a:lnTo>
                    <a:pt x="4411" y="184"/>
                  </a:lnTo>
                  <a:lnTo>
                    <a:pt x="4423" y="155"/>
                  </a:lnTo>
                  <a:lnTo>
                    <a:pt x="4548" y="157"/>
                  </a:lnTo>
                  <a:lnTo>
                    <a:pt x="4578" y="163"/>
                  </a:lnTo>
                  <a:lnTo>
                    <a:pt x="4673" y="143"/>
                  </a:lnTo>
                  <a:lnTo>
                    <a:pt x="4575" y="137"/>
                  </a:lnTo>
                  <a:lnTo>
                    <a:pt x="4408" y="140"/>
                  </a:lnTo>
                  <a:lnTo>
                    <a:pt x="4347" y="122"/>
                  </a:lnTo>
                  <a:lnTo>
                    <a:pt x="4335" y="100"/>
                  </a:lnTo>
                  <a:lnTo>
                    <a:pt x="4300" y="85"/>
                  </a:lnTo>
                  <a:lnTo>
                    <a:pt x="4312" y="67"/>
                  </a:lnTo>
                  <a:lnTo>
                    <a:pt x="4392" y="58"/>
                  </a:lnTo>
                  <a:lnTo>
                    <a:pt x="4447" y="56"/>
                  </a:lnTo>
                  <a:lnTo>
                    <a:pt x="4547" y="48"/>
                  </a:lnTo>
                  <a:lnTo>
                    <a:pt x="4636" y="29"/>
                  </a:lnTo>
                  <a:lnTo>
                    <a:pt x="4688" y="32"/>
                  </a:lnTo>
                  <a:lnTo>
                    <a:pt x="4721" y="46"/>
                  </a:lnTo>
                  <a:lnTo>
                    <a:pt x="4787" y="19"/>
                  </a:lnTo>
                  <a:lnTo>
                    <a:pt x="4855" y="11"/>
                  </a:lnTo>
                  <a:lnTo>
                    <a:pt x="4941" y="5"/>
                  </a:lnTo>
                  <a:lnTo>
                    <a:pt x="5080" y="3"/>
                  </a:lnTo>
                  <a:lnTo>
                    <a:pt x="5098" y="9"/>
                  </a:lnTo>
                  <a:lnTo>
                    <a:pt x="5236" y="0"/>
                  </a:lnTo>
                  <a:lnTo>
                    <a:pt x="5329" y="3"/>
                  </a:lnTo>
                  <a:lnTo>
                    <a:pt x="5423" y="7"/>
                  </a:lnTo>
                  <a:moveTo>
                    <a:pt x="4382" y="188"/>
                  </a:moveTo>
                  <a:lnTo>
                    <a:pt x="4419" y="206"/>
                  </a:lnTo>
                  <a:lnTo>
                    <a:pt x="4335" y="223"/>
                  </a:lnTo>
                  <a:lnTo>
                    <a:pt x="4199" y="267"/>
                  </a:lnTo>
                  <a:lnTo>
                    <a:pt x="4110" y="271"/>
                  </a:lnTo>
                  <a:lnTo>
                    <a:pt x="4018" y="263"/>
                  </a:lnTo>
                  <a:lnTo>
                    <a:pt x="3994" y="240"/>
                  </a:lnTo>
                  <a:lnTo>
                    <a:pt x="4019" y="219"/>
                  </a:lnTo>
                  <a:lnTo>
                    <a:pt x="4074" y="204"/>
                  </a:lnTo>
                  <a:lnTo>
                    <a:pt x="3987" y="204"/>
                  </a:lnTo>
                  <a:lnTo>
                    <a:pt x="3958" y="185"/>
                  </a:lnTo>
                  <a:lnTo>
                    <a:pt x="3959" y="160"/>
                  </a:lnTo>
                  <a:lnTo>
                    <a:pt x="4022" y="136"/>
                  </a:lnTo>
                  <a:lnTo>
                    <a:pt x="4075" y="119"/>
                  </a:lnTo>
                  <a:lnTo>
                    <a:pt x="4127" y="116"/>
                  </a:lnTo>
                  <a:lnTo>
                    <a:pt x="4123" y="103"/>
                  </a:lnTo>
                  <a:lnTo>
                    <a:pt x="4233" y="101"/>
                  </a:lnTo>
                  <a:lnTo>
                    <a:pt x="4257" y="129"/>
                  </a:lnTo>
                  <a:lnTo>
                    <a:pt x="4321" y="141"/>
                  </a:lnTo>
                  <a:lnTo>
                    <a:pt x="4386" y="151"/>
                  </a:lnTo>
                  <a:lnTo>
                    <a:pt x="4382" y="188"/>
                  </a:lnTo>
                  <a:moveTo>
                    <a:pt x="3671" y="265"/>
                  </a:moveTo>
                  <a:lnTo>
                    <a:pt x="3660" y="289"/>
                  </a:lnTo>
                  <a:lnTo>
                    <a:pt x="3589" y="283"/>
                  </a:lnTo>
                  <a:lnTo>
                    <a:pt x="3534" y="263"/>
                  </a:lnTo>
                  <a:lnTo>
                    <a:pt x="3430" y="261"/>
                  </a:lnTo>
                  <a:lnTo>
                    <a:pt x="3498" y="244"/>
                  </a:lnTo>
                  <a:lnTo>
                    <a:pt x="3458" y="230"/>
                  </a:lnTo>
                  <a:lnTo>
                    <a:pt x="3484" y="208"/>
                  </a:lnTo>
                  <a:lnTo>
                    <a:pt x="3567" y="216"/>
                  </a:lnTo>
                  <a:lnTo>
                    <a:pt x="3669" y="237"/>
                  </a:lnTo>
                  <a:lnTo>
                    <a:pt x="3671" y="265"/>
                  </a:lnTo>
                  <a:moveTo>
                    <a:pt x="3857" y="280"/>
                  </a:moveTo>
                  <a:lnTo>
                    <a:pt x="3771" y="293"/>
                  </a:lnTo>
                  <a:lnTo>
                    <a:pt x="3748" y="279"/>
                  </a:lnTo>
                  <a:lnTo>
                    <a:pt x="3753" y="257"/>
                  </a:lnTo>
                  <a:lnTo>
                    <a:pt x="3779" y="233"/>
                  </a:lnTo>
                  <a:lnTo>
                    <a:pt x="3838" y="235"/>
                  </a:lnTo>
                  <a:lnTo>
                    <a:pt x="3861" y="239"/>
                  </a:lnTo>
                  <a:lnTo>
                    <a:pt x="3894" y="259"/>
                  </a:lnTo>
                  <a:lnTo>
                    <a:pt x="3857" y="280"/>
                  </a:lnTo>
                  <a:moveTo>
                    <a:pt x="3231" y="248"/>
                  </a:moveTo>
                  <a:lnTo>
                    <a:pt x="3157" y="260"/>
                  </a:lnTo>
                  <a:lnTo>
                    <a:pt x="3078" y="260"/>
                  </a:lnTo>
                  <a:lnTo>
                    <a:pt x="3090" y="251"/>
                  </a:lnTo>
                  <a:lnTo>
                    <a:pt x="3163" y="234"/>
                  </a:lnTo>
                  <a:lnTo>
                    <a:pt x="3185" y="237"/>
                  </a:lnTo>
                  <a:lnTo>
                    <a:pt x="3231" y="248"/>
                  </a:lnTo>
                  <a:moveTo>
                    <a:pt x="3135" y="302"/>
                  </a:moveTo>
                  <a:lnTo>
                    <a:pt x="3021" y="319"/>
                  </a:lnTo>
                  <a:lnTo>
                    <a:pt x="2975" y="300"/>
                  </a:lnTo>
                  <a:lnTo>
                    <a:pt x="3040" y="281"/>
                  </a:lnTo>
                  <a:lnTo>
                    <a:pt x="3119" y="275"/>
                  </a:lnTo>
                  <a:lnTo>
                    <a:pt x="3175" y="284"/>
                  </a:lnTo>
                  <a:lnTo>
                    <a:pt x="3135" y="302"/>
                  </a:lnTo>
                  <a:moveTo>
                    <a:pt x="3917" y="312"/>
                  </a:moveTo>
                  <a:lnTo>
                    <a:pt x="3893" y="314"/>
                  </a:lnTo>
                  <a:lnTo>
                    <a:pt x="3806" y="310"/>
                  </a:lnTo>
                  <a:lnTo>
                    <a:pt x="3812" y="294"/>
                  </a:lnTo>
                  <a:lnTo>
                    <a:pt x="3909" y="294"/>
                  </a:lnTo>
                  <a:lnTo>
                    <a:pt x="3930" y="305"/>
                  </a:lnTo>
                  <a:lnTo>
                    <a:pt x="3917" y="312"/>
                  </a:lnTo>
                  <a:moveTo>
                    <a:pt x="2839" y="305"/>
                  </a:moveTo>
                  <a:lnTo>
                    <a:pt x="2768" y="351"/>
                  </a:lnTo>
                  <a:lnTo>
                    <a:pt x="2702" y="373"/>
                  </a:lnTo>
                  <a:lnTo>
                    <a:pt x="2651" y="376"/>
                  </a:lnTo>
                  <a:lnTo>
                    <a:pt x="2523" y="402"/>
                  </a:lnTo>
                  <a:lnTo>
                    <a:pt x="2430" y="412"/>
                  </a:lnTo>
                  <a:lnTo>
                    <a:pt x="2382" y="398"/>
                  </a:lnTo>
                  <a:lnTo>
                    <a:pt x="2382" y="398"/>
                  </a:lnTo>
                  <a:lnTo>
                    <a:pt x="2530" y="352"/>
                  </a:lnTo>
                  <a:lnTo>
                    <a:pt x="2686" y="313"/>
                  </a:lnTo>
                  <a:lnTo>
                    <a:pt x="2760" y="314"/>
                  </a:lnTo>
                  <a:lnTo>
                    <a:pt x="2839" y="305"/>
                  </a:lnTo>
                  <a:moveTo>
                    <a:pt x="3847" y="338"/>
                  </a:moveTo>
                  <a:lnTo>
                    <a:pt x="3880" y="358"/>
                  </a:lnTo>
                  <a:lnTo>
                    <a:pt x="3977" y="357"/>
                  </a:lnTo>
                  <a:lnTo>
                    <a:pt x="3998" y="378"/>
                  </a:lnTo>
                  <a:lnTo>
                    <a:pt x="3963" y="401"/>
                  </a:lnTo>
                  <a:lnTo>
                    <a:pt x="4005" y="415"/>
                  </a:lnTo>
                  <a:lnTo>
                    <a:pt x="4022" y="430"/>
                  </a:lnTo>
                  <a:lnTo>
                    <a:pt x="4087" y="433"/>
                  </a:lnTo>
                  <a:lnTo>
                    <a:pt x="4155" y="438"/>
                  </a:lnTo>
                  <a:lnTo>
                    <a:pt x="4247" y="425"/>
                  </a:lnTo>
                  <a:lnTo>
                    <a:pt x="4354" y="419"/>
                  </a:lnTo>
                  <a:lnTo>
                    <a:pt x="4431" y="424"/>
                  </a:lnTo>
                  <a:lnTo>
                    <a:pt x="4463" y="448"/>
                  </a:lnTo>
                  <a:lnTo>
                    <a:pt x="4451" y="474"/>
                  </a:lnTo>
                  <a:lnTo>
                    <a:pt x="4405" y="491"/>
                  </a:lnTo>
                  <a:lnTo>
                    <a:pt x="4317" y="505"/>
                  </a:lnTo>
                  <a:lnTo>
                    <a:pt x="4259" y="497"/>
                  </a:lnTo>
                  <a:lnTo>
                    <a:pt x="4104" y="507"/>
                  </a:lnTo>
                  <a:lnTo>
                    <a:pt x="3998" y="509"/>
                  </a:lnTo>
                  <a:lnTo>
                    <a:pt x="3924" y="501"/>
                  </a:lnTo>
                  <a:lnTo>
                    <a:pt x="3810" y="480"/>
                  </a:lnTo>
                  <a:lnTo>
                    <a:pt x="3828" y="444"/>
                  </a:lnTo>
                  <a:lnTo>
                    <a:pt x="3855" y="413"/>
                  </a:lnTo>
                  <a:lnTo>
                    <a:pt x="3834" y="386"/>
                  </a:lnTo>
                  <a:lnTo>
                    <a:pt x="3740" y="378"/>
                  </a:lnTo>
                  <a:lnTo>
                    <a:pt x="3704" y="359"/>
                  </a:lnTo>
                  <a:lnTo>
                    <a:pt x="3751" y="334"/>
                  </a:lnTo>
                  <a:lnTo>
                    <a:pt x="3847" y="338"/>
                  </a:lnTo>
                  <a:moveTo>
                    <a:pt x="3116" y="393"/>
                  </a:moveTo>
                  <a:lnTo>
                    <a:pt x="3108" y="415"/>
                  </a:lnTo>
                  <a:lnTo>
                    <a:pt x="3165" y="405"/>
                  </a:lnTo>
                  <a:lnTo>
                    <a:pt x="3214" y="408"/>
                  </a:lnTo>
                  <a:lnTo>
                    <a:pt x="3186" y="439"/>
                  </a:lnTo>
                  <a:lnTo>
                    <a:pt x="3120" y="469"/>
                  </a:lnTo>
                  <a:lnTo>
                    <a:pt x="2937" y="479"/>
                  </a:lnTo>
                  <a:lnTo>
                    <a:pt x="2775" y="507"/>
                  </a:lnTo>
                  <a:lnTo>
                    <a:pt x="2696" y="508"/>
                  </a:lnTo>
                  <a:lnTo>
                    <a:pt x="2716" y="487"/>
                  </a:lnTo>
                  <a:lnTo>
                    <a:pt x="2856" y="459"/>
                  </a:lnTo>
                  <a:lnTo>
                    <a:pt x="2618" y="466"/>
                  </a:lnTo>
                  <a:lnTo>
                    <a:pt x="2563" y="455"/>
                  </a:lnTo>
                  <a:lnTo>
                    <a:pt x="2712" y="393"/>
                  </a:lnTo>
                  <a:lnTo>
                    <a:pt x="2781" y="376"/>
                  </a:lnTo>
                  <a:lnTo>
                    <a:pt x="2894" y="397"/>
                  </a:lnTo>
                  <a:lnTo>
                    <a:pt x="2935" y="434"/>
                  </a:lnTo>
                  <a:lnTo>
                    <a:pt x="3017" y="439"/>
                  </a:lnTo>
                  <a:lnTo>
                    <a:pt x="3020" y="379"/>
                  </a:lnTo>
                  <a:lnTo>
                    <a:pt x="3094" y="356"/>
                  </a:lnTo>
                  <a:lnTo>
                    <a:pt x="3136" y="364"/>
                  </a:lnTo>
                  <a:lnTo>
                    <a:pt x="3116" y="393"/>
                  </a:lnTo>
                  <a:moveTo>
                    <a:pt x="3634" y="361"/>
                  </a:moveTo>
                  <a:lnTo>
                    <a:pt x="3639" y="390"/>
                  </a:lnTo>
                  <a:lnTo>
                    <a:pt x="3605" y="422"/>
                  </a:lnTo>
                  <a:lnTo>
                    <a:pt x="3531" y="469"/>
                  </a:lnTo>
                  <a:lnTo>
                    <a:pt x="3440" y="476"/>
                  </a:lnTo>
                  <a:lnTo>
                    <a:pt x="3397" y="466"/>
                  </a:lnTo>
                  <a:lnTo>
                    <a:pt x="3440" y="428"/>
                  </a:lnTo>
                  <a:lnTo>
                    <a:pt x="3353" y="433"/>
                  </a:lnTo>
                  <a:lnTo>
                    <a:pt x="3406" y="385"/>
                  </a:lnTo>
                  <a:lnTo>
                    <a:pt x="3457" y="387"/>
                  </a:lnTo>
                  <a:lnTo>
                    <a:pt x="3555" y="366"/>
                  </a:lnTo>
                  <a:lnTo>
                    <a:pt x="3621" y="369"/>
                  </a:lnTo>
                  <a:lnTo>
                    <a:pt x="3634" y="361"/>
                  </a:lnTo>
                  <a:moveTo>
                    <a:pt x="3759" y="471"/>
                  </a:moveTo>
                  <a:lnTo>
                    <a:pt x="3706" y="496"/>
                  </a:lnTo>
                  <a:lnTo>
                    <a:pt x="3637" y="491"/>
                  </a:lnTo>
                  <a:lnTo>
                    <a:pt x="3593" y="474"/>
                  </a:lnTo>
                  <a:lnTo>
                    <a:pt x="3651" y="445"/>
                  </a:lnTo>
                  <a:lnTo>
                    <a:pt x="3741" y="428"/>
                  </a:lnTo>
                  <a:lnTo>
                    <a:pt x="3762" y="450"/>
                  </a:lnTo>
                  <a:lnTo>
                    <a:pt x="3759" y="471"/>
                  </a:lnTo>
                  <a:moveTo>
                    <a:pt x="2102" y="711"/>
                  </a:moveTo>
                  <a:lnTo>
                    <a:pt x="1922" y="744"/>
                  </a:lnTo>
                  <a:lnTo>
                    <a:pt x="1931" y="714"/>
                  </a:lnTo>
                  <a:lnTo>
                    <a:pt x="1854" y="677"/>
                  </a:lnTo>
                  <a:lnTo>
                    <a:pt x="1914" y="648"/>
                  </a:lnTo>
                  <a:lnTo>
                    <a:pt x="2013" y="599"/>
                  </a:lnTo>
                  <a:lnTo>
                    <a:pt x="2115" y="555"/>
                  </a:lnTo>
                  <a:lnTo>
                    <a:pt x="2118" y="515"/>
                  </a:lnTo>
                  <a:lnTo>
                    <a:pt x="2304" y="505"/>
                  </a:lnTo>
                  <a:lnTo>
                    <a:pt x="2359" y="518"/>
                  </a:lnTo>
                  <a:lnTo>
                    <a:pt x="2485" y="522"/>
                  </a:lnTo>
                  <a:lnTo>
                    <a:pt x="2511" y="541"/>
                  </a:lnTo>
                  <a:lnTo>
                    <a:pt x="2532" y="569"/>
                  </a:lnTo>
                  <a:lnTo>
                    <a:pt x="2446" y="586"/>
                  </a:lnTo>
                  <a:lnTo>
                    <a:pt x="2261" y="633"/>
                  </a:lnTo>
                  <a:lnTo>
                    <a:pt x="2138" y="681"/>
                  </a:lnTo>
                  <a:lnTo>
                    <a:pt x="2102" y="711"/>
                  </a:lnTo>
                  <a:moveTo>
                    <a:pt x="3636" y="616"/>
                  </a:moveTo>
                  <a:lnTo>
                    <a:pt x="3531" y="667"/>
                  </a:lnTo>
                  <a:lnTo>
                    <a:pt x="3474" y="664"/>
                  </a:lnTo>
                  <a:lnTo>
                    <a:pt x="3499" y="605"/>
                  </a:lnTo>
                  <a:lnTo>
                    <a:pt x="3534" y="571"/>
                  </a:lnTo>
                  <a:lnTo>
                    <a:pt x="3589" y="543"/>
                  </a:lnTo>
                  <a:lnTo>
                    <a:pt x="3658" y="525"/>
                  </a:lnTo>
                  <a:lnTo>
                    <a:pt x="3762" y="528"/>
                  </a:lnTo>
                  <a:lnTo>
                    <a:pt x="3844" y="544"/>
                  </a:lnTo>
                  <a:lnTo>
                    <a:pt x="3710" y="603"/>
                  </a:lnTo>
                  <a:lnTo>
                    <a:pt x="3636" y="616"/>
                  </a:lnTo>
                  <a:moveTo>
                    <a:pt x="3338" y="545"/>
                  </a:moveTo>
                  <a:lnTo>
                    <a:pt x="3385" y="558"/>
                  </a:lnTo>
                  <a:lnTo>
                    <a:pt x="3485" y="550"/>
                  </a:lnTo>
                  <a:lnTo>
                    <a:pt x="3479" y="569"/>
                  </a:lnTo>
                  <a:lnTo>
                    <a:pt x="3398" y="601"/>
                  </a:lnTo>
                  <a:lnTo>
                    <a:pt x="3448" y="630"/>
                  </a:lnTo>
                  <a:lnTo>
                    <a:pt x="3378" y="692"/>
                  </a:lnTo>
                  <a:lnTo>
                    <a:pt x="3265" y="718"/>
                  </a:lnTo>
                  <a:lnTo>
                    <a:pt x="3220" y="713"/>
                  </a:lnTo>
                  <a:lnTo>
                    <a:pt x="3210" y="686"/>
                  </a:lnTo>
                  <a:lnTo>
                    <a:pt x="3133" y="634"/>
                  </a:lnTo>
                  <a:lnTo>
                    <a:pt x="3157" y="612"/>
                  </a:lnTo>
                  <a:lnTo>
                    <a:pt x="3254" y="620"/>
                  </a:lnTo>
                  <a:lnTo>
                    <a:pt x="3243" y="577"/>
                  </a:lnTo>
                  <a:lnTo>
                    <a:pt x="3338" y="545"/>
                  </a:lnTo>
                  <a:moveTo>
                    <a:pt x="4004" y="590"/>
                  </a:moveTo>
                  <a:lnTo>
                    <a:pt x="4008" y="632"/>
                  </a:lnTo>
                  <a:lnTo>
                    <a:pt x="4104" y="578"/>
                  </a:lnTo>
                  <a:lnTo>
                    <a:pt x="4258" y="551"/>
                  </a:lnTo>
                  <a:lnTo>
                    <a:pt x="4288" y="620"/>
                  </a:lnTo>
                  <a:lnTo>
                    <a:pt x="4244" y="664"/>
                  </a:lnTo>
                  <a:lnTo>
                    <a:pt x="4363" y="644"/>
                  </a:lnTo>
                  <a:lnTo>
                    <a:pt x="4434" y="618"/>
                  </a:lnTo>
                  <a:lnTo>
                    <a:pt x="4523" y="652"/>
                  </a:lnTo>
                  <a:lnTo>
                    <a:pt x="4571" y="684"/>
                  </a:lnTo>
                  <a:lnTo>
                    <a:pt x="4556" y="714"/>
                  </a:lnTo>
                  <a:lnTo>
                    <a:pt x="4665" y="699"/>
                  </a:lnTo>
                  <a:lnTo>
                    <a:pt x="4689" y="743"/>
                  </a:lnTo>
                  <a:lnTo>
                    <a:pt x="4799" y="771"/>
                  </a:lnTo>
                  <a:lnTo>
                    <a:pt x="4828" y="799"/>
                  </a:lnTo>
                  <a:lnTo>
                    <a:pt x="4836" y="866"/>
                  </a:lnTo>
                  <a:lnTo>
                    <a:pt x="4715" y="899"/>
                  </a:lnTo>
                  <a:lnTo>
                    <a:pt x="4815" y="946"/>
                  </a:lnTo>
                  <a:lnTo>
                    <a:pt x="4893" y="962"/>
                  </a:lnTo>
                  <a:lnTo>
                    <a:pt x="4935" y="1030"/>
                  </a:lnTo>
                  <a:lnTo>
                    <a:pt x="5020" y="1035"/>
                  </a:lnTo>
                  <a:lnTo>
                    <a:pt x="4975" y="1087"/>
                  </a:lnTo>
                  <a:lnTo>
                    <a:pt x="4828" y="1174"/>
                  </a:lnTo>
                  <a:lnTo>
                    <a:pt x="4776" y="1142"/>
                  </a:lnTo>
                  <a:lnTo>
                    <a:pt x="4727" y="1070"/>
                  </a:lnTo>
                  <a:lnTo>
                    <a:pt x="4649" y="1079"/>
                  </a:lnTo>
                  <a:lnTo>
                    <a:pt x="4617" y="1122"/>
                  </a:lnTo>
                  <a:lnTo>
                    <a:pt x="4652" y="1166"/>
                  </a:lnTo>
                  <a:lnTo>
                    <a:pt x="4710" y="1201"/>
                  </a:lnTo>
                  <a:lnTo>
                    <a:pt x="4723" y="1221"/>
                  </a:lnTo>
                  <a:lnTo>
                    <a:pt x="4721" y="1296"/>
                  </a:lnTo>
                  <a:lnTo>
                    <a:pt x="4672" y="1352"/>
                  </a:lnTo>
                  <a:lnTo>
                    <a:pt x="4609" y="1331"/>
                  </a:lnTo>
                  <a:lnTo>
                    <a:pt x="4496" y="1269"/>
                  </a:lnTo>
                  <a:lnTo>
                    <a:pt x="4542" y="1335"/>
                  </a:lnTo>
                  <a:lnTo>
                    <a:pt x="4579" y="1382"/>
                  </a:lnTo>
                  <a:lnTo>
                    <a:pt x="4575" y="1409"/>
                  </a:lnTo>
                  <a:lnTo>
                    <a:pt x="4431" y="1378"/>
                  </a:lnTo>
                  <a:lnTo>
                    <a:pt x="4330" y="1333"/>
                  </a:lnTo>
                  <a:lnTo>
                    <a:pt x="4281" y="1296"/>
                  </a:lnTo>
                  <a:lnTo>
                    <a:pt x="4313" y="1274"/>
                  </a:lnTo>
                  <a:lnTo>
                    <a:pt x="4250" y="1235"/>
                  </a:lnTo>
                  <a:lnTo>
                    <a:pt x="4189" y="1198"/>
                  </a:lnTo>
                  <a:lnTo>
                    <a:pt x="4176" y="1220"/>
                  </a:lnTo>
                  <a:lnTo>
                    <a:pt x="4002" y="1232"/>
                  </a:lnTo>
                  <a:lnTo>
                    <a:pt x="3970" y="1206"/>
                  </a:lnTo>
                  <a:lnTo>
                    <a:pt x="4044" y="1151"/>
                  </a:lnTo>
                  <a:lnTo>
                    <a:pt x="4152" y="1149"/>
                  </a:lnTo>
                  <a:lnTo>
                    <a:pt x="4275" y="1140"/>
                  </a:lnTo>
                  <a:lnTo>
                    <a:pt x="4273" y="1113"/>
                  </a:lnTo>
                  <a:lnTo>
                    <a:pt x="4317" y="1076"/>
                  </a:lnTo>
                  <a:lnTo>
                    <a:pt x="4435" y="1004"/>
                  </a:lnTo>
                  <a:lnTo>
                    <a:pt x="4441" y="971"/>
                  </a:lnTo>
                  <a:lnTo>
                    <a:pt x="4436" y="946"/>
                  </a:lnTo>
                  <a:lnTo>
                    <a:pt x="4376" y="911"/>
                  </a:lnTo>
                  <a:lnTo>
                    <a:pt x="4282" y="887"/>
                  </a:lnTo>
                  <a:lnTo>
                    <a:pt x="4330" y="868"/>
                  </a:lnTo>
                  <a:lnTo>
                    <a:pt x="4305" y="824"/>
                  </a:lnTo>
                  <a:lnTo>
                    <a:pt x="4260" y="820"/>
                  </a:lnTo>
                  <a:lnTo>
                    <a:pt x="4235" y="796"/>
                  </a:lnTo>
                  <a:lnTo>
                    <a:pt x="4191" y="817"/>
                  </a:lnTo>
                  <a:lnTo>
                    <a:pt x="4086" y="826"/>
                  </a:lnTo>
                  <a:lnTo>
                    <a:pt x="3902" y="810"/>
                  </a:lnTo>
                  <a:lnTo>
                    <a:pt x="3805" y="789"/>
                  </a:lnTo>
                  <a:lnTo>
                    <a:pt x="3727" y="779"/>
                  </a:lnTo>
                  <a:lnTo>
                    <a:pt x="3704" y="754"/>
                  </a:lnTo>
                  <a:lnTo>
                    <a:pt x="3787" y="722"/>
                  </a:lnTo>
                  <a:lnTo>
                    <a:pt x="3712" y="722"/>
                  </a:lnTo>
                  <a:lnTo>
                    <a:pt x="3758" y="652"/>
                  </a:lnTo>
                  <a:lnTo>
                    <a:pt x="3854" y="592"/>
                  </a:lnTo>
                  <a:lnTo>
                    <a:pt x="3932" y="565"/>
                  </a:lnTo>
                  <a:lnTo>
                    <a:pt x="4081" y="547"/>
                  </a:lnTo>
                  <a:lnTo>
                    <a:pt x="4004" y="590"/>
                  </a:lnTo>
                  <a:moveTo>
                    <a:pt x="4530" y="594"/>
                  </a:moveTo>
                  <a:lnTo>
                    <a:pt x="4520" y="612"/>
                  </a:lnTo>
                  <a:lnTo>
                    <a:pt x="4467" y="610"/>
                  </a:lnTo>
                  <a:lnTo>
                    <a:pt x="4412" y="609"/>
                  </a:lnTo>
                  <a:lnTo>
                    <a:pt x="4347" y="618"/>
                  </a:lnTo>
                  <a:lnTo>
                    <a:pt x="4336" y="614"/>
                  </a:lnTo>
                  <a:lnTo>
                    <a:pt x="4308" y="578"/>
                  </a:lnTo>
                  <a:lnTo>
                    <a:pt x="4331" y="554"/>
                  </a:lnTo>
                  <a:lnTo>
                    <a:pt x="4359" y="550"/>
                  </a:lnTo>
                  <a:lnTo>
                    <a:pt x="4471" y="557"/>
                  </a:lnTo>
                  <a:lnTo>
                    <a:pt x="4530" y="594"/>
                  </a:lnTo>
                  <a:moveTo>
                    <a:pt x="3095" y="573"/>
                  </a:moveTo>
                  <a:lnTo>
                    <a:pt x="3001" y="617"/>
                  </a:lnTo>
                  <a:lnTo>
                    <a:pt x="2972" y="570"/>
                  </a:lnTo>
                  <a:lnTo>
                    <a:pt x="3000" y="561"/>
                  </a:lnTo>
                  <a:lnTo>
                    <a:pt x="3072" y="558"/>
                  </a:lnTo>
                  <a:lnTo>
                    <a:pt x="3095" y="573"/>
                  </a:lnTo>
                  <a:moveTo>
                    <a:pt x="2573" y="593"/>
                  </a:moveTo>
                  <a:lnTo>
                    <a:pt x="2509" y="624"/>
                  </a:lnTo>
                  <a:lnTo>
                    <a:pt x="2649" y="604"/>
                  </a:lnTo>
                  <a:lnTo>
                    <a:pt x="2682" y="638"/>
                  </a:lnTo>
                  <a:lnTo>
                    <a:pt x="2780" y="603"/>
                  </a:lnTo>
                  <a:lnTo>
                    <a:pt x="2803" y="625"/>
                  </a:lnTo>
                  <a:lnTo>
                    <a:pt x="2772" y="692"/>
                  </a:lnTo>
                  <a:lnTo>
                    <a:pt x="2829" y="664"/>
                  </a:lnTo>
                  <a:lnTo>
                    <a:pt x="2869" y="595"/>
                  </a:lnTo>
                  <a:lnTo>
                    <a:pt x="2926" y="585"/>
                  </a:lnTo>
                  <a:lnTo>
                    <a:pt x="2965" y="596"/>
                  </a:lnTo>
                  <a:lnTo>
                    <a:pt x="2994" y="623"/>
                  </a:lnTo>
                  <a:lnTo>
                    <a:pt x="2956" y="689"/>
                  </a:lnTo>
                  <a:lnTo>
                    <a:pt x="2922" y="738"/>
                  </a:lnTo>
                  <a:lnTo>
                    <a:pt x="2976" y="773"/>
                  </a:lnTo>
                  <a:lnTo>
                    <a:pt x="3041" y="806"/>
                  </a:lnTo>
                  <a:lnTo>
                    <a:pt x="3005" y="837"/>
                  </a:lnTo>
                  <a:lnTo>
                    <a:pt x="2910" y="843"/>
                  </a:lnTo>
                  <a:lnTo>
                    <a:pt x="2919" y="870"/>
                  </a:lnTo>
                  <a:lnTo>
                    <a:pt x="2875" y="897"/>
                  </a:lnTo>
                  <a:lnTo>
                    <a:pt x="2787" y="885"/>
                  </a:lnTo>
                  <a:lnTo>
                    <a:pt x="2712" y="866"/>
                  </a:lnTo>
                  <a:lnTo>
                    <a:pt x="2644" y="870"/>
                  </a:lnTo>
                  <a:lnTo>
                    <a:pt x="2517" y="895"/>
                  </a:lnTo>
                  <a:lnTo>
                    <a:pt x="2367" y="906"/>
                  </a:lnTo>
                  <a:lnTo>
                    <a:pt x="2263" y="912"/>
                  </a:lnTo>
                  <a:lnTo>
                    <a:pt x="2269" y="878"/>
                  </a:lnTo>
                  <a:lnTo>
                    <a:pt x="2215" y="859"/>
                  </a:lnTo>
                  <a:lnTo>
                    <a:pt x="2158" y="867"/>
                  </a:lnTo>
                  <a:lnTo>
                    <a:pt x="2154" y="810"/>
                  </a:lnTo>
                  <a:lnTo>
                    <a:pt x="2198" y="803"/>
                  </a:lnTo>
                  <a:lnTo>
                    <a:pt x="2294" y="791"/>
                  </a:lnTo>
                  <a:lnTo>
                    <a:pt x="2367" y="794"/>
                  </a:lnTo>
                  <a:lnTo>
                    <a:pt x="2450" y="782"/>
                  </a:lnTo>
                  <a:lnTo>
                    <a:pt x="2365" y="765"/>
                  </a:lnTo>
                  <a:lnTo>
                    <a:pt x="2244" y="771"/>
                  </a:lnTo>
                  <a:lnTo>
                    <a:pt x="2170" y="770"/>
                  </a:lnTo>
                  <a:lnTo>
                    <a:pt x="2171" y="744"/>
                  </a:lnTo>
                  <a:lnTo>
                    <a:pt x="2326" y="716"/>
                  </a:lnTo>
                  <a:lnTo>
                    <a:pt x="2244" y="717"/>
                  </a:lnTo>
                  <a:lnTo>
                    <a:pt x="2172" y="699"/>
                  </a:lnTo>
                  <a:lnTo>
                    <a:pt x="2278" y="647"/>
                  </a:lnTo>
                  <a:lnTo>
                    <a:pt x="2347" y="620"/>
                  </a:lnTo>
                  <a:lnTo>
                    <a:pt x="2535" y="580"/>
                  </a:lnTo>
                  <a:lnTo>
                    <a:pt x="2573" y="593"/>
                  </a:lnTo>
                  <a:moveTo>
                    <a:pt x="3571" y="843"/>
                  </a:moveTo>
                  <a:lnTo>
                    <a:pt x="3509" y="917"/>
                  </a:lnTo>
                  <a:lnTo>
                    <a:pt x="3629" y="860"/>
                  </a:lnTo>
                  <a:lnTo>
                    <a:pt x="3656" y="907"/>
                  </a:lnTo>
                  <a:lnTo>
                    <a:pt x="3596" y="961"/>
                  </a:lnTo>
                  <a:lnTo>
                    <a:pt x="3611" y="1010"/>
                  </a:lnTo>
                  <a:lnTo>
                    <a:pt x="3711" y="957"/>
                  </a:lnTo>
                  <a:lnTo>
                    <a:pt x="3800" y="894"/>
                  </a:lnTo>
                  <a:lnTo>
                    <a:pt x="3866" y="816"/>
                  </a:lnTo>
                  <a:lnTo>
                    <a:pt x="3938" y="821"/>
                  </a:lnTo>
                  <a:lnTo>
                    <a:pt x="4010" y="832"/>
                  </a:lnTo>
                  <a:lnTo>
                    <a:pt x="4055" y="867"/>
                  </a:lnTo>
                  <a:lnTo>
                    <a:pt x="4032" y="903"/>
                  </a:lnTo>
                  <a:lnTo>
                    <a:pt x="3962" y="942"/>
                  </a:lnTo>
                  <a:lnTo>
                    <a:pt x="3972" y="981"/>
                  </a:lnTo>
                  <a:lnTo>
                    <a:pt x="3939" y="1016"/>
                  </a:lnTo>
                  <a:lnTo>
                    <a:pt x="3792" y="1068"/>
                  </a:lnTo>
                  <a:lnTo>
                    <a:pt x="3706" y="1080"/>
                  </a:lnTo>
                  <a:lnTo>
                    <a:pt x="3664" y="1057"/>
                  </a:lnTo>
                  <a:lnTo>
                    <a:pt x="3619" y="1095"/>
                  </a:lnTo>
                  <a:lnTo>
                    <a:pt x="3518" y="1158"/>
                  </a:lnTo>
                  <a:lnTo>
                    <a:pt x="3477" y="1191"/>
                  </a:lnTo>
                  <a:lnTo>
                    <a:pt x="3373" y="1242"/>
                  </a:lnTo>
                  <a:lnTo>
                    <a:pt x="3287" y="1247"/>
                  </a:lnTo>
                  <a:lnTo>
                    <a:pt x="3218" y="1280"/>
                  </a:lnTo>
                  <a:lnTo>
                    <a:pt x="3178" y="1330"/>
                  </a:lnTo>
                  <a:lnTo>
                    <a:pt x="3103" y="1339"/>
                  </a:lnTo>
                  <a:lnTo>
                    <a:pt x="2985" y="1402"/>
                  </a:lnTo>
                  <a:lnTo>
                    <a:pt x="2858" y="1490"/>
                  </a:lnTo>
                  <a:lnTo>
                    <a:pt x="2792" y="1552"/>
                  </a:lnTo>
                  <a:lnTo>
                    <a:pt x="2726" y="1644"/>
                  </a:lnTo>
                  <a:lnTo>
                    <a:pt x="2806" y="1657"/>
                  </a:lnTo>
                  <a:lnTo>
                    <a:pt x="2785" y="1732"/>
                  </a:lnTo>
                  <a:lnTo>
                    <a:pt x="2776" y="1793"/>
                  </a:lnTo>
                  <a:lnTo>
                    <a:pt x="2872" y="1777"/>
                  </a:lnTo>
                  <a:lnTo>
                    <a:pt x="2966" y="1812"/>
                  </a:lnTo>
                  <a:lnTo>
                    <a:pt x="3010" y="1842"/>
                  </a:lnTo>
                  <a:lnTo>
                    <a:pt x="3032" y="1880"/>
                  </a:lnTo>
                  <a:lnTo>
                    <a:pt x="3098" y="1903"/>
                  </a:lnTo>
                  <a:lnTo>
                    <a:pt x="3146" y="1937"/>
                  </a:lnTo>
                  <a:lnTo>
                    <a:pt x="3247" y="1941"/>
                  </a:lnTo>
                  <a:lnTo>
                    <a:pt x="3311" y="1949"/>
                  </a:lnTo>
                  <a:lnTo>
                    <a:pt x="3264" y="2020"/>
                  </a:lnTo>
                  <a:lnTo>
                    <a:pt x="3242" y="2102"/>
                  </a:lnTo>
                  <a:lnTo>
                    <a:pt x="3244" y="2194"/>
                  </a:lnTo>
                  <a:lnTo>
                    <a:pt x="3304" y="2272"/>
                  </a:lnTo>
                  <a:lnTo>
                    <a:pt x="3366" y="2245"/>
                  </a:lnTo>
                  <a:lnTo>
                    <a:pt x="3439" y="2160"/>
                  </a:lnTo>
                  <a:lnTo>
                    <a:pt x="3468" y="2031"/>
                  </a:lnTo>
                  <a:lnTo>
                    <a:pt x="3445" y="1988"/>
                  </a:lnTo>
                  <a:lnTo>
                    <a:pt x="3565" y="1950"/>
                  </a:lnTo>
                  <a:lnTo>
                    <a:pt x="3664" y="1893"/>
                  </a:lnTo>
                  <a:lnTo>
                    <a:pt x="3727" y="1837"/>
                  </a:lnTo>
                  <a:lnTo>
                    <a:pt x="3750" y="1783"/>
                  </a:lnTo>
                  <a:lnTo>
                    <a:pt x="3744" y="1715"/>
                  </a:lnTo>
                  <a:lnTo>
                    <a:pt x="3702" y="1655"/>
                  </a:lnTo>
                  <a:lnTo>
                    <a:pt x="3820" y="1572"/>
                  </a:lnTo>
                  <a:lnTo>
                    <a:pt x="3835" y="1501"/>
                  </a:lnTo>
                  <a:lnTo>
                    <a:pt x="3888" y="1379"/>
                  </a:lnTo>
                  <a:lnTo>
                    <a:pt x="3939" y="1361"/>
                  </a:lnTo>
                  <a:lnTo>
                    <a:pt x="4028" y="1382"/>
                  </a:lnTo>
                  <a:lnTo>
                    <a:pt x="4084" y="1390"/>
                  </a:lnTo>
                  <a:lnTo>
                    <a:pt x="4144" y="1370"/>
                  </a:lnTo>
                  <a:lnTo>
                    <a:pt x="4184" y="1396"/>
                  </a:lnTo>
                  <a:lnTo>
                    <a:pt x="4232" y="1441"/>
                  </a:lnTo>
                  <a:lnTo>
                    <a:pt x="4233" y="1471"/>
                  </a:lnTo>
                  <a:lnTo>
                    <a:pt x="4337" y="1477"/>
                  </a:lnTo>
                  <a:lnTo>
                    <a:pt x="4301" y="1543"/>
                  </a:lnTo>
                  <a:lnTo>
                    <a:pt x="4270" y="1643"/>
                  </a:lnTo>
                  <a:lnTo>
                    <a:pt x="4320" y="1656"/>
                  </a:lnTo>
                  <a:lnTo>
                    <a:pt x="4342" y="1702"/>
                  </a:lnTo>
                  <a:lnTo>
                    <a:pt x="4451" y="1658"/>
                  </a:lnTo>
                  <a:lnTo>
                    <a:pt x="4550" y="1571"/>
                  </a:lnTo>
                  <a:lnTo>
                    <a:pt x="4608" y="1534"/>
                  </a:lnTo>
                  <a:lnTo>
                    <a:pt x="4621" y="1605"/>
                  </a:lnTo>
                  <a:lnTo>
                    <a:pt x="4655" y="1706"/>
                  </a:lnTo>
                  <a:lnTo>
                    <a:pt x="4683" y="1802"/>
                  </a:lnTo>
                  <a:lnTo>
                    <a:pt x="4637" y="1853"/>
                  </a:lnTo>
                  <a:lnTo>
                    <a:pt x="4702" y="1898"/>
                  </a:lnTo>
                  <a:lnTo>
                    <a:pt x="4740" y="1945"/>
                  </a:lnTo>
                  <a:lnTo>
                    <a:pt x="4833" y="1966"/>
                  </a:lnTo>
                  <a:lnTo>
                    <a:pt x="4864" y="1992"/>
                  </a:lnTo>
                  <a:lnTo>
                    <a:pt x="4864" y="2061"/>
                  </a:lnTo>
                  <a:lnTo>
                    <a:pt x="4910" y="2072"/>
                  </a:lnTo>
                  <a:lnTo>
                    <a:pt x="4925" y="2102"/>
                  </a:lnTo>
                  <a:lnTo>
                    <a:pt x="4899" y="2195"/>
                  </a:lnTo>
                  <a:lnTo>
                    <a:pt x="4842" y="2226"/>
                  </a:lnTo>
                  <a:lnTo>
                    <a:pt x="4786" y="2254"/>
                  </a:lnTo>
                  <a:lnTo>
                    <a:pt x="4670" y="2284"/>
                  </a:lnTo>
                  <a:lnTo>
                    <a:pt x="4565" y="2352"/>
                  </a:lnTo>
                  <a:lnTo>
                    <a:pt x="4450" y="2365"/>
                  </a:lnTo>
                  <a:lnTo>
                    <a:pt x="4317" y="2348"/>
                  </a:lnTo>
                  <a:lnTo>
                    <a:pt x="4219" y="2347"/>
                  </a:lnTo>
                  <a:lnTo>
                    <a:pt x="4149" y="2353"/>
                  </a:lnTo>
                  <a:lnTo>
                    <a:pt x="4073" y="2412"/>
                  </a:lnTo>
                  <a:lnTo>
                    <a:pt x="3976" y="2449"/>
                  </a:lnTo>
                  <a:lnTo>
                    <a:pt x="3840" y="2559"/>
                  </a:lnTo>
                  <a:lnTo>
                    <a:pt x="3736" y="2636"/>
                  </a:lnTo>
                  <a:lnTo>
                    <a:pt x="3798" y="2622"/>
                  </a:lnTo>
                  <a:lnTo>
                    <a:pt x="3943" y="2513"/>
                  </a:lnTo>
                  <a:lnTo>
                    <a:pt x="4107" y="2444"/>
                  </a:lnTo>
                  <a:lnTo>
                    <a:pt x="4208" y="2435"/>
                  </a:lnTo>
                  <a:lnTo>
                    <a:pt x="4252" y="2476"/>
                  </a:lnTo>
                  <a:lnTo>
                    <a:pt x="4171" y="2532"/>
                  </a:lnTo>
                  <a:lnTo>
                    <a:pt x="4162" y="2622"/>
                  </a:lnTo>
                  <a:lnTo>
                    <a:pt x="4164" y="2685"/>
                  </a:lnTo>
                  <a:lnTo>
                    <a:pt x="4238" y="2727"/>
                  </a:lnTo>
                  <a:lnTo>
                    <a:pt x="4353" y="2715"/>
                  </a:lnTo>
                  <a:lnTo>
                    <a:pt x="4448" y="2621"/>
                  </a:lnTo>
                  <a:lnTo>
                    <a:pt x="4434" y="2681"/>
                  </a:lnTo>
                  <a:lnTo>
                    <a:pt x="4469" y="2712"/>
                  </a:lnTo>
                  <a:lnTo>
                    <a:pt x="4370" y="2766"/>
                  </a:lnTo>
                  <a:lnTo>
                    <a:pt x="4206" y="2816"/>
                  </a:lnTo>
                  <a:lnTo>
                    <a:pt x="4129" y="2850"/>
                  </a:lnTo>
                  <a:lnTo>
                    <a:pt x="4035" y="2911"/>
                  </a:lnTo>
                  <a:lnTo>
                    <a:pt x="3985" y="2905"/>
                  </a:lnTo>
                  <a:lnTo>
                    <a:pt x="4004" y="2834"/>
                  </a:lnTo>
                  <a:lnTo>
                    <a:pt x="4142" y="2764"/>
                  </a:lnTo>
                  <a:lnTo>
                    <a:pt x="4034" y="2767"/>
                  </a:lnTo>
                  <a:lnTo>
                    <a:pt x="3955" y="2777"/>
                  </a:lnTo>
                  <a:lnTo>
                    <a:pt x="3927" y="2730"/>
                  </a:lnTo>
                  <a:lnTo>
                    <a:pt x="3965" y="2616"/>
                  </a:lnTo>
                  <a:lnTo>
                    <a:pt x="3943" y="2592"/>
                  </a:lnTo>
                  <a:lnTo>
                    <a:pt x="3894" y="2606"/>
                  </a:lnTo>
                  <a:lnTo>
                    <a:pt x="3879" y="2584"/>
                  </a:lnTo>
                  <a:lnTo>
                    <a:pt x="3806" y="2647"/>
                  </a:lnTo>
                  <a:lnTo>
                    <a:pt x="3764" y="2712"/>
                  </a:lnTo>
                  <a:lnTo>
                    <a:pt x="3727" y="2750"/>
                  </a:lnTo>
                  <a:lnTo>
                    <a:pt x="3694" y="2763"/>
                  </a:lnTo>
                  <a:lnTo>
                    <a:pt x="3671" y="2767"/>
                  </a:lnTo>
                  <a:lnTo>
                    <a:pt x="3657" y="2788"/>
                  </a:lnTo>
                  <a:lnTo>
                    <a:pt x="3533" y="2788"/>
                  </a:lnTo>
                  <a:lnTo>
                    <a:pt x="3430" y="2789"/>
                  </a:lnTo>
                  <a:lnTo>
                    <a:pt x="3394" y="2804"/>
                  </a:lnTo>
                  <a:lnTo>
                    <a:pt x="3301" y="2864"/>
                  </a:lnTo>
                  <a:lnTo>
                    <a:pt x="3291" y="2871"/>
                  </a:lnTo>
                  <a:lnTo>
                    <a:pt x="3258" y="2904"/>
                  </a:lnTo>
                  <a:lnTo>
                    <a:pt x="3195" y="2904"/>
                  </a:lnTo>
                  <a:lnTo>
                    <a:pt x="3128" y="2904"/>
                  </a:lnTo>
                  <a:lnTo>
                    <a:pt x="3093" y="2917"/>
                  </a:lnTo>
                  <a:lnTo>
                    <a:pt x="3098" y="2934"/>
                  </a:lnTo>
                  <a:lnTo>
                    <a:pt x="3095" y="2960"/>
                  </a:lnTo>
                  <a:lnTo>
                    <a:pt x="3091" y="2968"/>
                  </a:lnTo>
                  <a:lnTo>
                    <a:pt x="2987" y="3010"/>
                  </a:lnTo>
                  <a:lnTo>
                    <a:pt x="2912" y="3023"/>
                  </a:lnTo>
                  <a:lnTo>
                    <a:pt x="2816" y="3068"/>
                  </a:lnTo>
                  <a:lnTo>
                    <a:pt x="2799" y="3068"/>
                  </a:lnTo>
                  <a:lnTo>
                    <a:pt x="2780" y="3055"/>
                  </a:lnTo>
                  <a:lnTo>
                    <a:pt x="2777" y="3043"/>
                  </a:lnTo>
                  <a:lnTo>
                    <a:pt x="2782" y="3034"/>
                  </a:lnTo>
                  <a:lnTo>
                    <a:pt x="2807" y="3005"/>
                  </a:lnTo>
                  <a:lnTo>
                    <a:pt x="2856" y="2958"/>
                  </a:lnTo>
                  <a:lnTo>
                    <a:pt x="2894" y="2909"/>
                  </a:lnTo>
                  <a:lnTo>
                    <a:pt x="2908" y="2836"/>
                  </a:lnTo>
                  <a:lnTo>
                    <a:pt x="2923" y="2760"/>
                  </a:lnTo>
                  <a:lnTo>
                    <a:pt x="2868" y="2720"/>
                  </a:lnTo>
                  <a:lnTo>
                    <a:pt x="2882" y="2705"/>
                  </a:lnTo>
                  <a:lnTo>
                    <a:pt x="2877" y="2695"/>
                  </a:lnTo>
                  <a:lnTo>
                    <a:pt x="2858" y="2695"/>
                  </a:lnTo>
                  <a:lnTo>
                    <a:pt x="2850" y="2682"/>
                  </a:lnTo>
                  <a:lnTo>
                    <a:pt x="2855" y="2662"/>
                  </a:lnTo>
                  <a:lnTo>
                    <a:pt x="2838" y="2671"/>
                  </a:lnTo>
                  <a:lnTo>
                    <a:pt x="2822" y="2668"/>
                  </a:lnTo>
                  <a:lnTo>
                    <a:pt x="2829" y="2660"/>
                  </a:lnTo>
                  <a:lnTo>
                    <a:pt x="2817" y="2652"/>
                  </a:lnTo>
                  <a:lnTo>
                    <a:pt x="2820" y="2630"/>
                  </a:lnTo>
                  <a:lnTo>
                    <a:pt x="2779" y="2603"/>
                  </a:lnTo>
                  <a:lnTo>
                    <a:pt x="2738" y="2575"/>
                  </a:lnTo>
                  <a:lnTo>
                    <a:pt x="2687" y="2543"/>
                  </a:lnTo>
                  <a:lnTo>
                    <a:pt x="2639" y="2513"/>
                  </a:lnTo>
                  <a:lnTo>
                    <a:pt x="2569" y="2536"/>
                  </a:lnTo>
                  <a:lnTo>
                    <a:pt x="2547" y="2537"/>
                  </a:lnTo>
                  <a:lnTo>
                    <a:pt x="2475" y="2515"/>
                  </a:lnTo>
                  <a:lnTo>
                    <a:pt x="2416" y="2526"/>
                  </a:lnTo>
                  <a:lnTo>
                    <a:pt x="2365" y="2500"/>
                  </a:lnTo>
                  <a:lnTo>
                    <a:pt x="2304" y="2487"/>
                  </a:lnTo>
                  <a:lnTo>
                    <a:pt x="2260" y="2482"/>
                  </a:lnTo>
                  <a:lnTo>
                    <a:pt x="2247" y="2468"/>
                  </a:lnTo>
                  <a:lnTo>
                    <a:pt x="2258" y="2422"/>
                  </a:lnTo>
                  <a:lnTo>
                    <a:pt x="2236" y="2423"/>
                  </a:lnTo>
                  <a:lnTo>
                    <a:pt x="2219" y="2455"/>
                  </a:lnTo>
                  <a:lnTo>
                    <a:pt x="2083" y="2455"/>
                  </a:lnTo>
                  <a:lnTo>
                    <a:pt x="1858" y="2455"/>
                  </a:lnTo>
                  <a:lnTo>
                    <a:pt x="1634" y="2455"/>
                  </a:lnTo>
                  <a:lnTo>
                    <a:pt x="1436" y="2455"/>
                  </a:lnTo>
                  <a:lnTo>
                    <a:pt x="1239" y="2455"/>
                  </a:lnTo>
                  <a:lnTo>
                    <a:pt x="1045" y="2455"/>
                  </a:lnTo>
                  <a:lnTo>
                    <a:pt x="844" y="2455"/>
                  </a:lnTo>
                  <a:lnTo>
                    <a:pt x="779" y="2455"/>
                  </a:lnTo>
                  <a:lnTo>
                    <a:pt x="584" y="2455"/>
                  </a:lnTo>
                  <a:lnTo>
                    <a:pt x="397" y="2455"/>
                  </a:lnTo>
                  <a:lnTo>
                    <a:pt x="388" y="2455"/>
                  </a:lnTo>
                  <a:lnTo>
                    <a:pt x="316" y="2373"/>
                  </a:lnTo>
                  <a:lnTo>
                    <a:pt x="294" y="2337"/>
                  </a:lnTo>
                  <a:lnTo>
                    <a:pt x="200" y="2303"/>
                  </a:lnTo>
                  <a:lnTo>
                    <a:pt x="217" y="2230"/>
                  </a:lnTo>
                  <a:lnTo>
                    <a:pt x="264" y="2180"/>
                  </a:lnTo>
                  <a:lnTo>
                    <a:pt x="209" y="2145"/>
                  </a:lnTo>
                  <a:lnTo>
                    <a:pt x="249" y="2079"/>
                  </a:lnTo>
                  <a:lnTo>
                    <a:pt x="220" y="2019"/>
                  </a:lnTo>
                  <a:lnTo>
                    <a:pt x="253" y="1977"/>
                  </a:lnTo>
                  <a:lnTo>
                    <a:pt x="320" y="1938"/>
                  </a:lnTo>
                  <a:lnTo>
                    <a:pt x="362" y="1887"/>
                  </a:lnTo>
                  <a:lnTo>
                    <a:pt x="300" y="1836"/>
                  </a:lnTo>
                  <a:lnTo>
                    <a:pt x="319" y="1744"/>
                  </a:lnTo>
                  <a:lnTo>
                    <a:pt x="333" y="1687"/>
                  </a:lnTo>
                  <a:lnTo>
                    <a:pt x="311" y="1651"/>
                  </a:lnTo>
                  <a:lnTo>
                    <a:pt x="302" y="1618"/>
                  </a:lnTo>
                  <a:lnTo>
                    <a:pt x="309" y="1577"/>
                  </a:lnTo>
                  <a:lnTo>
                    <a:pt x="224" y="1603"/>
                  </a:lnTo>
                  <a:lnTo>
                    <a:pt x="121" y="1647"/>
                  </a:lnTo>
                  <a:lnTo>
                    <a:pt x="119" y="1595"/>
                  </a:lnTo>
                  <a:lnTo>
                    <a:pt x="111" y="1561"/>
                  </a:lnTo>
                  <a:lnTo>
                    <a:pt x="75" y="1539"/>
                  </a:lnTo>
                  <a:lnTo>
                    <a:pt x="18" y="1536"/>
                  </a:lnTo>
                  <a:lnTo>
                    <a:pt x="510" y="1099"/>
                  </a:lnTo>
                  <a:lnTo>
                    <a:pt x="854" y="828"/>
                  </a:lnTo>
                  <a:lnTo>
                    <a:pt x="933" y="845"/>
                  </a:lnTo>
                  <a:lnTo>
                    <a:pt x="974" y="880"/>
                  </a:lnTo>
                  <a:lnTo>
                    <a:pt x="1022" y="886"/>
                  </a:lnTo>
                  <a:lnTo>
                    <a:pt x="1108" y="856"/>
                  </a:lnTo>
                  <a:lnTo>
                    <a:pt x="1202" y="834"/>
                  </a:lnTo>
                  <a:lnTo>
                    <a:pt x="1272" y="843"/>
                  </a:lnTo>
                  <a:lnTo>
                    <a:pt x="1392" y="812"/>
                  </a:lnTo>
                  <a:lnTo>
                    <a:pt x="1502" y="794"/>
                  </a:lnTo>
                  <a:lnTo>
                    <a:pt x="1503" y="823"/>
                  </a:lnTo>
                  <a:lnTo>
                    <a:pt x="1564" y="807"/>
                  </a:lnTo>
                  <a:lnTo>
                    <a:pt x="1617" y="774"/>
                  </a:lnTo>
                  <a:lnTo>
                    <a:pt x="1644" y="781"/>
                  </a:lnTo>
                  <a:lnTo>
                    <a:pt x="1659" y="845"/>
                  </a:lnTo>
                  <a:lnTo>
                    <a:pt x="1788" y="796"/>
                  </a:lnTo>
                  <a:lnTo>
                    <a:pt x="1732" y="850"/>
                  </a:lnTo>
                  <a:lnTo>
                    <a:pt x="1812" y="839"/>
                  </a:lnTo>
                  <a:lnTo>
                    <a:pt x="1857" y="818"/>
                  </a:lnTo>
                  <a:lnTo>
                    <a:pt x="1917" y="822"/>
                  </a:lnTo>
                  <a:lnTo>
                    <a:pt x="1966" y="852"/>
                  </a:lnTo>
                  <a:lnTo>
                    <a:pt x="2065" y="878"/>
                  </a:lnTo>
                  <a:lnTo>
                    <a:pt x="2127" y="890"/>
                  </a:lnTo>
                  <a:lnTo>
                    <a:pt x="2185" y="886"/>
                  </a:lnTo>
                  <a:lnTo>
                    <a:pt x="2220" y="922"/>
                  </a:lnTo>
                  <a:lnTo>
                    <a:pt x="2105" y="958"/>
                  </a:lnTo>
                  <a:lnTo>
                    <a:pt x="2189" y="974"/>
                  </a:lnTo>
                  <a:lnTo>
                    <a:pt x="2347" y="965"/>
                  </a:lnTo>
                  <a:lnTo>
                    <a:pt x="2407" y="953"/>
                  </a:lnTo>
                  <a:lnTo>
                    <a:pt x="2423" y="997"/>
                  </a:lnTo>
                  <a:lnTo>
                    <a:pt x="2520" y="960"/>
                  </a:lnTo>
                  <a:lnTo>
                    <a:pt x="2494" y="929"/>
                  </a:lnTo>
                  <a:lnTo>
                    <a:pt x="2554" y="904"/>
                  </a:lnTo>
                  <a:lnTo>
                    <a:pt x="2624" y="901"/>
                  </a:lnTo>
                  <a:lnTo>
                    <a:pt x="2675" y="893"/>
                  </a:lnTo>
                  <a:lnTo>
                    <a:pt x="2702" y="911"/>
                  </a:lnTo>
                  <a:lnTo>
                    <a:pt x="2720" y="950"/>
                  </a:lnTo>
                  <a:lnTo>
                    <a:pt x="2787" y="944"/>
                  </a:lnTo>
                  <a:lnTo>
                    <a:pt x="2854" y="977"/>
                  </a:lnTo>
                  <a:lnTo>
                    <a:pt x="2951" y="965"/>
                  </a:lnTo>
                  <a:lnTo>
                    <a:pt x="3030" y="967"/>
                  </a:lnTo>
                  <a:lnTo>
                    <a:pt x="3064" y="922"/>
                  </a:lnTo>
                  <a:lnTo>
                    <a:pt x="3124" y="909"/>
                  </a:lnTo>
                  <a:lnTo>
                    <a:pt x="3188" y="934"/>
                  </a:lnTo>
                  <a:lnTo>
                    <a:pt x="3128" y="1003"/>
                  </a:lnTo>
                  <a:lnTo>
                    <a:pt x="3213" y="945"/>
                  </a:lnTo>
                  <a:lnTo>
                    <a:pt x="3256" y="947"/>
                  </a:lnTo>
                  <a:lnTo>
                    <a:pt x="3344" y="874"/>
                  </a:lnTo>
                  <a:lnTo>
                    <a:pt x="3325" y="830"/>
                  </a:lnTo>
                  <a:lnTo>
                    <a:pt x="3288" y="801"/>
                  </a:lnTo>
                  <a:lnTo>
                    <a:pt x="3365" y="724"/>
                  </a:lnTo>
                  <a:lnTo>
                    <a:pt x="3475" y="674"/>
                  </a:lnTo>
                  <a:lnTo>
                    <a:pt x="3534" y="685"/>
                  </a:lnTo>
                  <a:lnTo>
                    <a:pt x="3559" y="715"/>
                  </a:lnTo>
                  <a:lnTo>
                    <a:pt x="3561" y="794"/>
                  </a:lnTo>
                  <a:lnTo>
                    <a:pt x="3483" y="829"/>
                  </a:lnTo>
                  <a:lnTo>
                    <a:pt x="3571" y="843"/>
                  </a:lnTo>
                  <a:moveTo>
                    <a:pt x="3269" y="871"/>
                  </a:moveTo>
                  <a:lnTo>
                    <a:pt x="3213" y="896"/>
                  </a:lnTo>
                  <a:lnTo>
                    <a:pt x="3159" y="875"/>
                  </a:lnTo>
                  <a:lnTo>
                    <a:pt x="3107" y="882"/>
                  </a:lnTo>
                  <a:lnTo>
                    <a:pt x="3062" y="850"/>
                  </a:lnTo>
                  <a:lnTo>
                    <a:pt x="3131" y="828"/>
                  </a:lnTo>
                  <a:lnTo>
                    <a:pt x="3197" y="797"/>
                  </a:lnTo>
                  <a:lnTo>
                    <a:pt x="3236" y="818"/>
                  </a:lnTo>
                  <a:lnTo>
                    <a:pt x="3257" y="830"/>
                  </a:lnTo>
                  <a:lnTo>
                    <a:pt x="3261" y="844"/>
                  </a:lnTo>
                  <a:lnTo>
                    <a:pt x="3269" y="871"/>
                  </a:lnTo>
                  <a:moveTo>
                    <a:pt x="4250" y="1014"/>
                  </a:moveTo>
                  <a:lnTo>
                    <a:pt x="4184" y="1017"/>
                  </a:lnTo>
                  <a:lnTo>
                    <a:pt x="4195" y="981"/>
                  </a:lnTo>
                  <a:lnTo>
                    <a:pt x="4247" y="940"/>
                  </a:lnTo>
                  <a:lnTo>
                    <a:pt x="4305" y="930"/>
                  </a:lnTo>
                  <a:lnTo>
                    <a:pt x="4334" y="951"/>
                  </a:lnTo>
                  <a:lnTo>
                    <a:pt x="4313" y="982"/>
                  </a:lnTo>
                  <a:lnTo>
                    <a:pt x="4300" y="992"/>
                  </a:lnTo>
                  <a:lnTo>
                    <a:pt x="4250" y="1014"/>
                  </a:lnTo>
                  <a:moveTo>
                    <a:pt x="3649" y="1125"/>
                  </a:moveTo>
                  <a:lnTo>
                    <a:pt x="3636" y="1158"/>
                  </a:lnTo>
                  <a:lnTo>
                    <a:pt x="3673" y="1146"/>
                  </a:lnTo>
                  <a:lnTo>
                    <a:pt x="3692" y="1166"/>
                  </a:lnTo>
                  <a:lnTo>
                    <a:pt x="3737" y="1192"/>
                  </a:lnTo>
                  <a:lnTo>
                    <a:pt x="3787" y="1215"/>
                  </a:lnTo>
                  <a:lnTo>
                    <a:pt x="3768" y="1251"/>
                  </a:lnTo>
                  <a:lnTo>
                    <a:pt x="3814" y="1246"/>
                  </a:lnTo>
                  <a:lnTo>
                    <a:pt x="3839" y="1271"/>
                  </a:lnTo>
                  <a:lnTo>
                    <a:pt x="3772" y="1295"/>
                  </a:lnTo>
                  <a:lnTo>
                    <a:pt x="3693" y="1277"/>
                  </a:lnTo>
                  <a:lnTo>
                    <a:pt x="3684" y="1242"/>
                  </a:lnTo>
                  <a:lnTo>
                    <a:pt x="3599" y="1283"/>
                  </a:lnTo>
                  <a:lnTo>
                    <a:pt x="3489" y="1323"/>
                  </a:lnTo>
                  <a:lnTo>
                    <a:pt x="3500" y="1278"/>
                  </a:lnTo>
                  <a:lnTo>
                    <a:pt x="3416" y="1285"/>
                  </a:lnTo>
                  <a:lnTo>
                    <a:pt x="3493" y="1247"/>
                  </a:lnTo>
                  <a:lnTo>
                    <a:pt x="3543" y="1187"/>
                  </a:lnTo>
                  <a:lnTo>
                    <a:pt x="3612" y="1118"/>
                  </a:lnTo>
                  <a:lnTo>
                    <a:pt x="3649" y="1125"/>
                  </a:lnTo>
                  <a:moveTo>
                    <a:pt x="3684" y="1349"/>
                  </a:moveTo>
                  <a:lnTo>
                    <a:pt x="3588" y="1392"/>
                  </a:lnTo>
                  <a:lnTo>
                    <a:pt x="3547" y="1390"/>
                  </a:lnTo>
                  <a:lnTo>
                    <a:pt x="3548" y="1369"/>
                  </a:lnTo>
                  <a:lnTo>
                    <a:pt x="3615" y="1333"/>
                  </a:lnTo>
                  <a:lnTo>
                    <a:pt x="3695" y="1334"/>
                  </a:lnTo>
                  <a:lnTo>
                    <a:pt x="3684" y="1349"/>
                  </a:lnTo>
                  <a:moveTo>
                    <a:pt x="3812" y="1392"/>
                  </a:moveTo>
                  <a:lnTo>
                    <a:pt x="3764" y="1432"/>
                  </a:lnTo>
                  <a:lnTo>
                    <a:pt x="3741" y="1426"/>
                  </a:lnTo>
                  <a:lnTo>
                    <a:pt x="3740" y="1403"/>
                  </a:lnTo>
                  <a:lnTo>
                    <a:pt x="3746" y="1397"/>
                  </a:lnTo>
                  <a:lnTo>
                    <a:pt x="3783" y="1374"/>
                  </a:lnTo>
                  <a:lnTo>
                    <a:pt x="3807" y="1376"/>
                  </a:lnTo>
                  <a:lnTo>
                    <a:pt x="3812" y="1392"/>
                  </a:lnTo>
                  <a:moveTo>
                    <a:pt x="43" y="2029"/>
                  </a:moveTo>
                  <a:lnTo>
                    <a:pt x="64" y="2040"/>
                  </a:lnTo>
                  <a:lnTo>
                    <a:pt x="130" y="2033"/>
                  </a:lnTo>
                  <a:lnTo>
                    <a:pt x="37" y="2126"/>
                  </a:lnTo>
                  <a:lnTo>
                    <a:pt x="41" y="2192"/>
                  </a:lnTo>
                  <a:lnTo>
                    <a:pt x="15" y="2192"/>
                  </a:lnTo>
                  <a:lnTo>
                    <a:pt x="6" y="2154"/>
                  </a:lnTo>
                  <a:lnTo>
                    <a:pt x="12" y="2116"/>
                  </a:lnTo>
                  <a:lnTo>
                    <a:pt x="0" y="2091"/>
                  </a:lnTo>
                  <a:lnTo>
                    <a:pt x="18" y="2055"/>
                  </a:lnTo>
                  <a:lnTo>
                    <a:pt x="43" y="2029"/>
                  </a:lnTo>
                  <a:moveTo>
                    <a:pt x="4831" y="2315"/>
                  </a:moveTo>
                  <a:lnTo>
                    <a:pt x="4766" y="2387"/>
                  </a:lnTo>
                  <a:lnTo>
                    <a:pt x="4817" y="2359"/>
                  </a:lnTo>
                  <a:lnTo>
                    <a:pt x="4855" y="2377"/>
                  </a:lnTo>
                  <a:lnTo>
                    <a:pt x="4824" y="2406"/>
                  </a:lnTo>
                  <a:lnTo>
                    <a:pt x="4875" y="2429"/>
                  </a:lnTo>
                  <a:lnTo>
                    <a:pt x="4911" y="2409"/>
                  </a:lnTo>
                  <a:lnTo>
                    <a:pt x="4969" y="2434"/>
                  </a:lnTo>
                  <a:lnTo>
                    <a:pt x="4932" y="2495"/>
                  </a:lnTo>
                  <a:lnTo>
                    <a:pt x="4982" y="2481"/>
                  </a:lnTo>
                  <a:lnTo>
                    <a:pt x="4978" y="2525"/>
                  </a:lnTo>
                  <a:lnTo>
                    <a:pt x="4985" y="2577"/>
                  </a:lnTo>
                  <a:lnTo>
                    <a:pt x="4937" y="2650"/>
                  </a:lnTo>
                  <a:lnTo>
                    <a:pt x="4906" y="2653"/>
                  </a:lnTo>
                  <a:lnTo>
                    <a:pt x="4866" y="2637"/>
                  </a:lnTo>
                  <a:lnTo>
                    <a:pt x="4899" y="2569"/>
                  </a:lnTo>
                  <a:lnTo>
                    <a:pt x="4884" y="2559"/>
                  </a:lnTo>
                  <a:lnTo>
                    <a:pt x="4786" y="2631"/>
                  </a:lnTo>
                  <a:lnTo>
                    <a:pt x="4747" y="2628"/>
                  </a:lnTo>
                  <a:lnTo>
                    <a:pt x="4805" y="2589"/>
                  </a:lnTo>
                  <a:lnTo>
                    <a:pt x="4747" y="2569"/>
                  </a:lnTo>
                  <a:lnTo>
                    <a:pt x="4675" y="2574"/>
                  </a:lnTo>
                  <a:lnTo>
                    <a:pt x="4546" y="2571"/>
                  </a:lnTo>
                  <a:lnTo>
                    <a:pt x="4544" y="2546"/>
                  </a:lnTo>
                  <a:lnTo>
                    <a:pt x="4594" y="2517"/>
                  </a:lnTo>
                  <a:lnTo>
                    <a:pt x="4572" y="2494"/>
                  </a:lnTo>
                  <a:lnTo>
                    <a:pt x="4643" y="2444"/>
                  </a:lnTo>
                  <a:lnTo>
                    <a:pt x="4753" y="2312"/>
                  </a:lnTo>
                  <a:lnTo>
                    <a:pt x="4808" y="2265"/>
                  </a:lnTo>
                  <a:lnTo>
                    <a:pt x="4873" y="2237"/>
                  </a:lnTo>
                  <a:lnTo>
                    <a:pt x="4902" y="2241"/>
                  </a:lnTo>
                  <a:lnTo>
                    <a:pt x="4883" y="2263"/>
                  </a:lnTo>
                  <a:lnTo>
                    <a:pt x="4831" y="2315"/>
                  </a:lnTo>
                  <a:moveTo>
                    <a:pt x="326" y="2496"/>
                  </a:moveTo>
                  <a:lnTo>
                    <a:pt x="285" y="2507"/>
                  </a:lnTo>
                  <a:lnTo>
                    <a:pt x="202" y="2469"/>
                  </a:lnTo>
                  <a:lnTo>
                    <a:pt x="202" y="2440"/>
                  </a:lnTo>
                  <a:lnTo>
                    <a:pt x="163" y="2411"/>
                  </a:lnTo>
                  <a:lnTo>
                    <a:pt x="167" y="2387"/>
                  </a:lnTo>
                  <a:lnTo>
                    <a:pt x="110" y="2372"/>
                  </a:lnTo>
                  <a:lnTo>
                    <a:pt x="117" y="2327"/>
                  </a:lnTo>
                  <a:lnTo>
                    <a:pt x="137" y="2308"/>
                  </a:lnTo>
                  <a:lnTo>
                    <a:pt x="192" y="2326"/>
                  </a:lnTo>
                  <a:lnTo>
                    <a:pt x="223" y="2339"/>
                  </a:lnTo>
                  <a:lnTo>
                    <a:pt x="278" y="2347"/>
                  </a:lnTo>
                  <a:lnTo>
                    <a:pt x="281" y="2376"/>
                  </a:lnTo>
                  <a:lnTo>
                    <a:pt x="286" y="2415"/>
                  </a:lnTo>
                  <a:lnTo>
                    <a:pt x="329" y="2450"/>
                  </a:lnTo>
                  <a:lnTo>
                    <a:pt x="326" y="2496"/>
                  </a:lnTo>
                  <a:moveTo>
                    <a:pt x="4418" y="2446"/>
                  </a:moveTo>
                  <a:lnTo>
                    <a:pt x="4385" y="2448"/>
                  </a:lnTo>
                  <a:lnTo>
                    <a:pt x="4309" y="2422"/>
                  </a:lnTo>
                  <a:lnTo>
                    <a:pt x="4262" y="2382"/>
                  </a:lnTo>
                  <a:lnTo>
                    <a:pt x="4287" y="2375"/>
                  </a:lnTo>
                  <a:lnTo>
                    <a:pt x="4366" y="2396"/>
                  </a:lnTo>
                  <a:lnTo>
                    <a:pt x="4421" y="2431"/>
                  </a:lnTo>
                  <a:lnTo>
                    <a:pt x="4418" y="2446"/>
                  </a:lnTo>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74" name="Freeform 37"/>
            <p:cNvSpPr>
              <a:spLocks/>
            </p:cNvSpPr>
            <p:nvPr/>
          </p:nvSpPr>
          <p:spPr bwMode="auto">
            <a:xfrm>
              <a:off x="4338637" y="2133604"/>
              <a:ext cx="112713" cy="66675"/>
            </a:xfrm>
            <a:custGeom>
              <a:avLst/>
              <a:gdLst>
                <a:gd name="T0" fmla="*/ 57 w 71"/>
                <a:gd name="T1" fmla="*/ 6 h 42"/>
                <a:gd name="T2" fmla="*/ 58 w 71"/>
                <a:gd name="T3" fmla="*/ 10 h 42"/>
                <a:gd name="T4" fmla="*/ 56 w 71"/>
                <a:gd name="T5" fmla="*/ 15 h 42"/>
                <a:gd name="T6" fmla="*/ 63 w 71"/>
                <a:gd name="T7" fmla="*/ 19 h 42"/>
                <a:gd name="T8" fmla="*/ 71 w 71"/>
                <a:gd name="T9" fmla="*/ 19 h 42"/>
                <a:gd name="T10" fmla="*/ 71 w 71"/>
                <a:gd name="T11" fmla="*/ 27 h 42"/>
                <a:gd name="T12" fmla="*/ 64 w 71"/>
                <a:gd name="T13" fmla="*/ 31 h 42"/>
                <a:gd name="T14" fmla="*/ 51 w 71"/>
                <a:gd name="T15" fmla="*/ 28 h 42"/>
                <a:gd name="T16" fmla="*/ 48 w 71"/>
                <a:gd name="T17" fmla="*/ 37 h 42"/>
                <a:gd name="T18" fmla="*/ 40 w 71"/>
                <a:gd name="T19" fmla="*/ 37 h 42"/>
                <a:gd name="T20" fmla="*/ 38 w 71"/>
                <a:gd name="T21" fmla="*/ 34 h 42"/>
                <a:gd name="T22" fmla="*/ 29 w 71"/>
                <a:gd name="T23" fmla="*/ 41 h 42"/>
                <a:gd name="T24" fmla="*/ 21 w 71"/>
                <a:gd name="T25" fmla="*/ 42 h 42"/>
                <a:gd name="T26" fmla="*/ 13 w 71"/>
                <a:gd name="T27" fmla="*/ 38 h 42"/>
                <a:gd name="T28" fmla="*/ 8 w 71"/>
                <a:gd name="T29" fmla="*/ 29 h 42"/>
                <a:gd name="T30" fmla="*/ 0 w 71"/>
                <a:gd name="T31" fmla="*/ 32 h 42"/>
                <a:gd name="T32" fmla="*/ 0 w 71"/>
                <a:gd name="T33" fmla="*/ 22 h 42"/>
                <a:gd name="T34" fmla="*/ 11 w 71"/>
                <a:gd name="T35" fmla="*/ 11 h 42"/>
                <a:gd name="T36" fmla="*/ 11 w 71"/>
                <a:gd name="T37" fmla="*/ 6 h 42"/>
                <a:gd name="T38" fmla="*/ 18 w 71"/>
                <a:gd name="T39" fmla="*/ 8 h 42"/>
                <a:gd name="T40" fmla="*/ 22 w 71"/>
                <a:gd name="T41" fmla="*/ 4 h 42"/>
                <a:gd name="T42" fmla="*/ 36 w 71"/>
                <a:gd name="T43" fmla="*/ 4 h 42"/>
                <a:gd name="T44" fmla="*/ 40 w 71"/>
                <a:gd name="T45" fmla="*/ 0 h 42"/>
                <a:gd name="T46" fmla="*/ 57 w 71"/>
                <a:gd name="T4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42">
                  <a:moveTo>
                    <a:pt x="57" y="6"/>
                  </a:moveTo>
                  <a:lnTo>
                    <a:pt x="58" y="10"/>
                  </a:lnTo>
                  <a:lnTo>
                    <a:pt x="56" y="15"/>
                  </a:lnTo>
                  <a:lnTo>
                    <a:pt x="63" y="19"/>
                  </a:lnTo>
                  <a:lnTo>
                    <a:pt x="71" y="19"/>
                  </a:lnTo>
                  <a:lnTo>
                    <a:pt x="71" y="27"/>
                  </a:lnTo>
                  <a:lnTo>
                    <a:pt x="64" y="31"/>
                  </a:lnTo>
                  <a:lnTo>
                    <a:pt x="51" y="28"/>
                  </a:lnTo>
                  <a:lnTo>
                    <a:pt x="48" y="37"/>
                  </a:lnTo>
                  <a:lnTo>
                    <a:pt x="40" y="37"/>
                  </a:lnTo>
                  <a:lnTo>
                    <a:pt x="38" y="34"/>
                  </a:lnTo>
                  <a:lnTo>
                    <a:pt x="29" y="41"/>
                  </a:lnTo>
                  <a:lnTo>
                    <a:pt x="21" y="42"/>
                  </a:lnTo>
                  <a:lnTo>
                    <a:pt x="13" y="38"/>
                  </a:lnTo>
                  <a:lnTo>
                    <a:pt x="8" y="29"/>
                  </a:lnTo>
                  <a:lnTo>
                    <a:pt x="0" y="32"/>
                  </a:lnTo>
                  <a:lnTo>
                    <a:pt x="0" y="22"/>
                  </a:lnTo>
                  <a:lnTo>
                    <a:pt x="11" y="11"/>
                  </a:lnTo>
                  <a:lnTo>
                    <a:pt x="11" y="6"/>
                  </a:lnTo>
                  <a:lnTo>
                    <a:pt x="18" y="8"/>
                  </a:lnTo>
                  <a:lnTo>
                    <a:pt x="22" y="4"/>
                  </a:lnTo>
                  <a:lnTo>
                    <a:pt x="36" y="4"/>
                  </a:lnTo>
                  <a:lnTo>
                    <a:pt x="40" y="0"/>
                  </a:lnTo>
                  <a:lnTo>
                    <a:pt x="57" y="6"/>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75" name="Freeform 38"/>
            <p:cNvSpPr>
              <a:spLocks noEditPoints="1"/>
            </p:cNvSpPr>
            <p:nvPr/>
          </p:nvSpPr>
          <p:spPr bwMode="auto">
            <a:xfrm>
              <a:off x="2159000" y="4286254"/>
              <a:ext cx="387350" cy="1239838"/>
            </a:xfrm>
            <a:custGeom>
              <a:avLst/>
              <a:gdLst>
                <a:gd name="T0" fmla="*/ 233 w 999"/>
                <a:gd name="T1" fmla="*/ 450 h 3202"/>
                <a:gd name="T2" fmla="*/ 296 w 999"/>
                <a:gd name="T3" fmla="*/ 460 h 3202"/>
                <a:gd name="T4" fmla="*/ 208 w 999"/>
                <a:gd name="T5" fmla="*/ 590 h 3202"/>
                <a:gd name="T6" fmla="*/ 221 w 999"/>
                <a:gd name="T7" fmla="*/ 759 h 3202"/>
                <a:gd name="T8" fmla="*/ 205 w 999"/>
                <a:gd name="T9" fmla="*/ 846 h 3202"/>
                <a:gd name="T10" fmla="*/ 159 w 999"/>
                <a:gd name="T11" fmla="*/ 1003 h 3202"/>
                <a:gd name="T12" fmla="*/ 154 w 999"/>
                <a:gd name="T13" fmla="*/ 1173 h 3202"/>
                <a:gd name="T14" fmla="*/ 239 w 999"/>
                <a:gd name="T15" fmla="*/ 1335 h 3202"/>
                <a:gd name="T16" fmla="*/ 234 w 999"/>
                <a:gd name="T17" fmla="*/ 1496 h 3202"/>
                <a:gd name="T18" fmla="*/ 212 w 999"/>
                <a:gd name="T19" fmla="*/ 1622 h 3202"/>
                <a:gd name="T20" fmla="*/ 275 w 999"/>
                <a:gd name="T21" fmla="*/ 1782 h 3202"/>
                <a:gd name="T22" fmla="*/ 244 w 999"/>
                <a:gd name="T23" fmla="*/ 1888 h 3202"/>
                <a:gd name="T24" fmla="*/ 295 w 999"/>
                <a:gd name="T25" fmla="*/ 2078 h 3202"/>
                <a:gd name="T26" fmla="*/ 319 w 999"/>
                <a:gd name="T27" fmla="*/ 2192 h 3202"/>
                <a:gd name="T28" fmla="*/ 349 w 999"/>
                <a:gd name="T29" fmla="*/ 2259 h 3202"/>
                <a:gd name="T30" fmla="*/ 404 w 999"/>
                <a:gd name="T31" fmla="*/ 2307 h 3202"/>
                <a:gd name="T32" fmla="*/ 404 w 999"/>
                <a:gd name="T33" fmla="*/ 2372 h 3202"/>
                <a:gd name="T34" fmla="*/ 409 w 999"/>
                <a:gd name="T35" fmla="*/ 2554 h 3202"/>
                <a:gd name="T36" fmla="*/ 431 w 999"/>
                <a:gd name="T37" fmla="*/ 2649 h 3202"/>
                <a:gd name="T38" fmla="*/ 436 w 999"/>
                <a:gd name="T39" fmla="*/ 2774 h 3202"/>
                <a:gd name="T40" fmla="*/ 513 w 999"/>
                <a:gd name="T41" fmla="*/ 2798 h 3202"/>
                <a:gd name="T42" fmla="*/ 583 w 999"/>
                <a:gd name="T43" fmla="*/ 2908 h 3202"/>
                <a:gd name="T44" fmla="*/ 808 w 999"/>
                <a:gd name="T45" fmla="*/ 2932 h 3202"/>
                <a:gd name="T46" fmla="*/ 728 w 999"/>
                <a:gd name="T47" fmla="*/ 2952 h 3202"/>
                <a:gd name="T48" fmla="*/ 706 w 999"/>
                <a:gd name="T49" fmla="*/ 3058 h 3202"/>
                <a:gd name="T50" fmla="*/ 596 w 999"/>
                <a:gd name="T51" fmla="*/ 3033 h 3202"/>
                <a:gd name="T52" fmla="*/ 498 w 999"/>
                <a:gd name="T53" fmla="*/ 2976 h 3202"/>
                <a:gd name="T54" fmla="*/ 354 w 999"/>
                <a:gd name="T55" fmla="*/ 2877 h 3202"/>
                <a:gd name="T56" fmla="*/ 296 w 999"/>
                <a:gd name="T57" fmla="*/ 2774 h 3202"/>
                <a:gd name="T58" fmla="*/ 226 w 999"/>
                <a:gd name="T59" fmla="*/ 2552 h 3202"/>
                <a:gd name="T60" fmla="*/ 162 w 999"/>
                <a:gd name="T61" fmla="*/ 2463 h 3202"/>
                <a:gd name="T62" fmla="*/ 173 w 999"/>
                <a:gd name="T63" fmla="*/ 2250 h 3202"/>
                <a:gd name="T64" fmla="*/ 237 w 999"/>
                <a:gd name="T65" fmla="*/ 2105 h 3202"/>
                <a:gd name="T66" fmla="*/ 196 w 999"/>
                <a:gd name="T67" fmla="*/ 2188 h 3202"/>
                <a:gd name="T68" fmla="*/ 132 w 999"/>
                <a:gd name="T69" fmla="*/ 2056 h 3202"/>
                <a:gd name="T70" fmla="*/ 124 w 999"/>
                <a:gd name="T71" fmla="*/ 1842 h 3202"/>
                <a:gd name="T72" fmla="*/ 50 w 999"/>
                <a:gd name="T73" fmla="*/ 1664 h 3202"/>
                <a:gd name="T74" fmla="*/ 88 w 999"/>
                <a:gd name="T75" fmla="*/ 1524 h 3202"/>
                <a:gd name="T76" fmla="*/ 107 w 999"/>
                <a:gd name="T77" fmla="*/ 1262 h 3202"/>
                <a:gd name="T78" fmla="*/ 72 w 999"/>
                <a:gd name="T79" fmla="*/ 1065 h 3202"/>
                <a:gd name="T80" fmla="*/ 68 w 999"/>
                <a:gd name="T81" fmla="*/ 856 h 3202"/>
                <a:gd name="T82" fmla="*/ 52 w 999"/>
                <a:gd name="T83" fmla="*/ 515 h 3202"/>
                <a:gd name="T84" fmla="*/ 28 w 999"/>
                <a:gd name="T85" fmla="*/ 185 h 3202"/>
                <a:gd name="T86" fmla="*/ 36 w 999"/>
                <a:gd name="T87" fmla="*/ 43 h 3202"/>
                <a:gd name="T88" fmla="*/ 93 w 999"/>
                <a:gd name="T89" fmla="*/ 57 h 3202"/>
                <a:gd name="T90" fmla="*/ 152 w 999"/>
                <a:gd name="T91" fmla="*/ 155 h 3202"/>
                <a:gd name="T92" fmla="*/ 189 w 999"/>
                <a:gd name="T93" fmla="*/ 333 h 3202"/>
                <a:gd name="T94" fmla="*/ 893 w 999"/>
                <a:gd name="T95" fmla="*/ 3142 h 3202"/>
                <a:gd name="T96" fmla="*/ 999 w 999"/>
                <a:gd name="T97" fmla="*/ 3144 h 3202"/>
                <a:gd name="T98" fmla="*/ 950 w 999"/>
                <a:gd name="T99" fmla="*/ 3202 h 3202"/>
                <a:gd name="T100" fmla="*/ 878 w 999"/>
                <a:gd name="T101" fmla="*/ 3193 h 3202"/>
                <a:gd name="T102" fmla="*/ 750 w 999"/>
                <a:gd name="T103" fmla="*/ 3157 h 3202"/>
                <a:gd name="T104" fmla="*/ 565 w 999"/>
                <a:gd name="T105" fmla="*/ 3068 h 3202"/>
                <a:gd name="T106" fmla="*/ 497 w 999"/>
                <a:gd name="T107" fmla="*/ 2993 h 3202"/>
                <a:gd name="T108" fmla="*/ 708 w 999"/>
                <a:gd name="T109" fmla="*/ 3077 h 3202"/>
                <a:gd name="T110" fmla="*/ 721 w 999"/>
                <a:gd name="T111" fmla="*/ 2984 h 3202"/>
                <a:gd name="T112" fmla="*/ 816 w 999"/>
                <a:gd name="T113" fmla="*/ 2960 h 3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99" h="3202">
                  <a:moveTo>
                    <a:pt x="189" y="333"/>
                  </a:moveTo>
                  <a:lnTo>
                    <a:pt x="233" y="450"/>
                  </a:lnTo>
                  <a:lnTo>
                    <a:pt x="284" y="439"/>
                  </a:lnTo>
                  <a:lnTo>
                    <a:pt x="296" y="460"/>
                  </a:lnTo>
                  <a:lnTo>
                    <a:pt x="282" y="548"/>
                  </a:lnTo>
                  <a:lnTo>
                    <a:pt x="208" y="590"/>
                  </a:lnTo>
                  <a:lnTo>
                    <a:pt x="231" y="732"/>
                  </a:lnTo>
                  <a:lnTo>
                    <a:pt x="221" y="759"/>
                  </a:lnTo>
                  <a:lnTo>
                    <a:pt x="248" y="793"/>
                  </a:lnTo>
                  <a:lnTo>
                    <a:pt x="205" y="846"/>
                  </a:lnTo>
                  <a:lnTo>
                    <a:pt x="171" y="926"/>
                  </a:lnTo>
                  <a:lnTo>
                    <a:pt x="159" y="1003"/>
                  </a:lnTo>
                  <a:lnTo>
                    <a:pt x="181" y="1085"/>
                  </a:lnTo>
                  <a:lnTo>
                    <a:pt x="154" y="1173"/>
                  </a:lnTo>
                  <a:lnTo>
                    <a:pt x="217" y="1319"/>
                  </a:lnTo>
                  <a:lnTo>
                    <a:pt x="239" y="1335"/>
                  </a:lnTo>
                  <a:lnTo>
                    <a:pt x="256" y="1413"/>
                  </a:lnTo>
                  <a:lnTo>
                    <a:pt x="234" y="1496"/>
                  </a:lnTo>
                  <a:lnTo>
                    <a:pt x="252" y="1566"/>
                  </a:lnTo>
                  <a:lnTo>
                    <a:pt x="212" y="1622"/>
                  </a:lnTo>
                  <a:lnTo>
                    <a:pt x="232" y="1700"/>
                  </a:lnTo>
                  <a:lnTo>
                    <a:pt x="275" y="1782"/>
                  </a:lnTo>
                  <a:lnTo>
                    <a:pt x="242" y="1813"/>
                  </a:lnTo>
                  <a:lnTo>
                    <a:pt x="244" y="1888"/>
                  </a:lnTo>
                  <a:lnTo>
                    <a:pt x="253" y="1975"/>
                  </a:lnTo>
                  <a:lnTo>
                    <a:pt x="295" y="2078"/>
                  </a:lnTo>
                  <a:lnTo>
                    <a:pt x="273" y="2095"/>
                  </a:lnTo>
                  <a:lnTo>
                    <a:pt x="319" y="2192"/>
                  </a:lnTo>
                  <a:lnTo>
                    <a:pt x="360" y="2224"/>
                  </a:lnTo>
                  <a:lnTo>
                    <a:pt x="349" y="2259"/>
                  </a:lnTo>
                  <a:lnTo>
                    <a:pt x="386" y="2276"/>
                  </a:lnTo>
                  <a:lnTo>
                    <a:pt x="404" y="2307"/>
                  </a:lnTo>
                  <a:lnTo>
                    <a:pt x="380" y="2323"/>
                  </a:lnTo>
                  <a:lnTo>
                    <a:pt x="404" y="2372"/>
                  </a:lnTo>
                  <a:lnTo>
                    <a:pt x="418" y="2483"/>
                  </a:lnTo>
                  <a:lnTo>
                    <a:pt x="409" y="2554"/>
                  </a:lnTo>
                  <a:lnTo>
                    <a:pt x="432" y="2596"/>
                  </a:lnTo>
                  <a:lnTo>
                    <a:pt x="431" y="2649"/>
                  </a:lnTo>
                  <a:lnTo>
                    <a:pt x="395" y="2686"/>
                  </a:lnTo>
                  <a:lnTo>
                    <a:pt x="436" y="2774"/>
                  </a:lnTo>
                  <a:lnTo>
                    <a:pt x="471" y="2804"/>
                  </a:lnTo>
                  <a:lnTo>
                    <a:pt x="513" y="2798"/>
                  </a:lnTo>
                  <a:lnTo>
                    <a:pt x="537" y="2860"/>
                  </a:lnTo>
                  <a:lnTo>
                    <a:pt x="583" y="2908"/>
                  </a:lnTo>
                  <a:lnTo>
                    <a:pt x="744" y="2919"/>
                  </a:lnTo>
                  <a:lnTo>
                    <a:pt x="808" y="2932"/>
                  </a:lnTo>
                  <a:lnTo>
                    <a:pt x="751" y="2931"/>
                  </a:lnTo>
                  <a:lnTo>
                    <a:pt x="728" y="2952"/>
                  </a:lnTo>
                  <a:lnTo>
                    <a:pt x="683" y="2981"/>
                  </a:lnTo>
                  <a:lnTo>
                    <a:pt x="706" y="3058"/>
                  </a:lnTo>
                  <a:lnTo>
                    <a:pt x="680" y="3060"/>
                  </a:lnTo>
                  <a:lnTo>
                    <a:pt x="596" y="3033"/>
                  </a:lnTo>
                  <a:lnTo>
                    <a:pt x="498" y="2976"/>
                  </a:lnTo>
                  <a:lnTo>
                    <a:pt x="498" y="2976"/>
                  </a:lnTo>
                  <a:lnTo>
                    <a:pt x="397" y="2929"/>
                  </a:lnTo>
                  <a:lnTo>
                    <a:pt x="354" y="2877"/>
                  </a:lnTo>
                  <a:lnTo>
                    <a:pt x="352" y="2829"/>
                  </a:lnTo>
                  <a:lnTo>
                    <a:pt x="296" y="2774"/>
                  </a:lnTo>
                  <a:lnTo>
                    <a:pt x="230" y="2632"/>
                  </a:lnTo>
                  <a:lnTo>
                    <a:pt x="226" y="2552"/>
                  </a:lnTo>
                  <a:lnTo>
                    <a:pt x="272" y="2488"/>
                  </a:lnTo>
                  <a:lnTo>
                    <a:pt x="162" y="2463"/>
                  </a:lnTo>
                  <a:lnTo>
                    <a:pt x="199" y="2389"/>
                  </a:lnTo>
                  <a:lnTo>
                    <a:pt x="173" y="2250"/>
                  </a:lnTo>
                  <a:lnTo>
                    <a:pt x="258" y="2280"/>
                  </a:lnTo>
                  <a:lnTo>
                    <a:pt x="237" y="2105"/>
                  </a:lnTo>
                  <a:lnTo>
                    <a:pt x="184" y="2083"/>
                  </a:lnTo>
                  <a:lnTo>
                    <a:pt x="196" y="2188"/>
                  </a:lnTo>
                  <a:lnTo>
                    <a:pt x="150" y="2176"/>
                  </a:lnTo>
                  <a:lnTo>
                    <a:pt x="132" y="2056"/>
                  </a:lnTo>
                  <a:lnTo>
                    <a:pt x="109" y="1900"/>
                  </a:lnTo>
                  <a:lnTo>
                    <a:pt x="124" y="1842"/>
                  </a:lnTo>
                  <a:lnTo>
                    <a:pt x="81" y="1759"/>
                  </a:lnTo>
                  <a:lnTo>
                    <a:pt x="50" y="1664"/>
                  </a:lnTo>
                  <a:lnTo>
                    <a:pt x="79" y="1661"/>
                  </a:lnTo>
                  <a:lnTo>
                    <a:pt x="88" y="1524"/>
                  </a:lnTo>
                  <a:lnTo>
                    <a:pt x="105" y="1389"/>
                  </a:lnTo>
                  <a:lnTo>
                    <a:pt x="107" y="1262"/>
                  </a:lnTo>
                  <a:lnTo>
                    <a:pt x="65" y="1135"/>
                  </a:lnTo>
                  <a:lnTo>
                    <a:pt x="72" y="1065"/>
                  </a:lnTo>
                  <a:lnTo>
                    <a:pt x="44" y="960"/>
                  </a:lnTo>
                  <a:lnTo>
                    <a:pt x="68" y="856"/>
                  </a:lnTo>
                  <a:lnTo>
                    <a:pt x="55" y="691"/>
                  </a:lnTo>
                  <a:lnTo>
                    <a:pt x="52" y="515"/>
                  </a:lnTo>
                  <a:lnTo>
                    <a:pt x="50" y="324"/>
                  </a:lnTo>
                  <a:lnTo>
                    <a:pt x="28" y="185"/>
                  </a:lnTo>
                  <a:lnTo>
                    <a:pt x="0" y="65"/>
                  </a:lnTo>
                  <a:lnTo>
                    <a:pt x="36" y="43"/>
                  </a:lnTo>
                  <a:lnTo>
                    <a:pt x="51" y="0"/>
                  </a:lnTo>
                  <a:lnTo>
                    <a:pt x="93" y="57"/>
                  </a:lnTo>
                  <a:lnTo>
                    <a:pt x="110" y="119"/>
                  </a:lnTo>
                  <a:lnTo>
                    <a:pt x="152" y="155"/>
                  </a:lnTo>
                  <a:lnTo>
                    <a:pt x="138" y="237"/>
                  </a:lnTo>
                  <a:lnTo>
                    <a:pt x="189" y="333"/>
                  </a:lnTo>
                  <a:moveTo>
                    <a:pt x="816" y="2960"/>
                  </a:moveTo>
                  <a:lnTo>
                    <a:pt x="893" y="3142"/>
                  </a:lnTo>
                  <a:lnTo>
                    <a:pt x="960" y="3142"/>
                  </a:lnTo>
                  <a:lnTo>
                    <a:pt x="999" y="3144"/>
                  </a:lnTo>
                  <a:lnTo>
                    <a:pt x="992" y="3177"/>
                  </a:lnTo>
                  <a:lnTo>
                    <a:pt x="950" y="3202"/>
                  </a:lnTo>
                  <a:lnTo>
                    <a:pt x="918" y="3200"/>
                  </a:lnTo>
                  <a:lnTo>
                    <a:pt x="878" y="3193"/>
                  </a:lnTo>
                  <a:lnTo>
                    <a:pt x="821" y="3169"/>
                  </a:lnTo>
                  <a:lnTo>
                    <a:pt x="750" y="3157"/>
                  </a:lnTo>
                  <a:lnTo>
                    <a:pt x="650" y="3112"/>
                  </a:lnTo>
                  <a:lnTo>
                    <a:pt x="565" y="3068"/>
                  </a:lnTo>
                  <a:lnTo>
                    <a:pt x="436" y="2976"/>
                  </a:lnTo>
                  <a:lnTo>
                    <a:pt x="497" y="2993"/>
                  </a:lnTo>
                  <a:lnTo>
                    <a:pt x="611" y="3048"/>
                  </a:lnTo>
                  <a:lnTo>
                    <a:pt x="708" y="3077"/>
                  </a:lnTo>
                  <a:lnTo>
                    <a:pt x="724" y="3040"/>
                  </a:lnTo>
                  <a:lnTo>
                    <a:pt x="721" y="2984"/>
                  </a:lnTo>
                  <a:lnTo>
                    <a:pt x="766" y="2950"/>
                  </a:lnTo>
                  <a:lnTo>
                    <a:pt x="816" y="2960"/>
                  </a:lnTo>
                </a:path>
              </a:pathLst>
            </a:custGeom>
            <a:solidFill>
              <a:srgbClr val="4F81BD"/>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76" name="Freeform 39"/>
            <p:cNvSpPr>
              <a:spLocks/>
            </p:cNvSpPr>
            <p:nvPr/>
          </p:nvSpPr>
          <p:spPr bwMode="auto">
            <a:xfrm>
              <a:off x="7299325" y="3043241"/>
              <a:ext cx="65088" cy="61913"/>
            </a:xfrm>
            <a:custGeom>
              <a:avLst/>
              <a:gdLst>
                <a:gd name="T0" fmla="*/ 33 w 41"/>
                <a:gd name="T1" fmla="*/ 29 h 39"/>
                <a:gd name="T2" fmla="*/ 19 w 41"/>
                <a:gd name="T3" fmla="*/ 39 h 39"/>
                <a:gd name="T4" fmla="*/ 3 w 41"/>
                <a:gd name="T5" fmla="*/ 33 h 39"/>
                <a:gd name="T6" fmla="*/ 0 w 41"/>
                <a:gd name="T7" fmla="*/ 15 h 39"/>
                <a:gd name="T8" fmla="*/ 7 w 41"/>
                <a:gd name="T9" fmla="*/ 6 h 39"/>
                <a:gd name="T10" fmla="*/ 25 w 41"/>
                <a:gd name="T11" fmla="*/ 0 h 39"/>
                <a:gd name="T12" fmla="*/ 36 w 41"/>
                <a:gd name="T13" fmla="*/ 0 h 39"/>
                <a:gd name="T14" fmla="*/ 41 w 41"/>
                <a:gd name="T15" fmla="*/ 8 h 39"/>
                <a:gd name="T16" fmla="*/ 35 w 41"/>
                <a:gd name="T17" fmla="*/ 17 h 39"/>
                <a:gd name="T18" fmla="*/ 33 w 41"/>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9">
                  <a:moveTo>
                    <a:pt x="33" y="29"/>
                  </a:moveTo>
                  <a:lnTo>
                    <a:pt x="19" y="39"/>
                  </a:lnTo>
                  <a:lnTo>
                    <a:pt x="3" y="33"/>
                  </a:lnTo>
                  <a:lnTo>
                    <a:pt x="0" y="15"/>
                  </a:lnTo>
                  <a:lnTo>
                    <a:pt x="7" y="6"/>
                  </a:lnTo>
                  <a:lnTo>
                    <a:pt x="25" y="0"/>
                  </a:lnTo>
                  <a:lnTo>
                    <a:pt x="36" y="0"/>
                  </a:lnTo>
                  <a:lnTo>
                    <a:pt x="41" y="8"/>
                  </a:lnTo>
                  <a:lnTo>
                    <a:pt x="35" y="17"/>
                  </a:lnTo>
                  <a:lnTo>
                    <a:pt x="33" y="2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77" name="Freeform 40"/>
            <p:cNvSpPr>
              <a:spLocks/>
            </p:cNvSpPr>
            <p:nvPr/>
          </p:nvSpPr>
          <p:spPr bwMode="auto">
            <a:xfrm>
              <a:off x="6167437" y="1954216"/>
              <a:ext cx="1493838" cy="1082675"/>
            </a:xfrm>
            <a:custGeom>
              <a:avLst/>
              <a:gdLst>
                <a:gd name="T0" fmla="*/ 872 w 941"/>
                <a:gd name="T1" fmla="*/ 114 h 682"/>
                <a:gd name="T2" fmla="*/ 932 w 941"/>
                <a:gd name="T3" fmla="*/ 118 h 682"/>
                <a:gd name="T4" fmla="*/ 919 w 941"/>
                <a:gd name="T5" fmla="*/ 164 h 682"/>
                <a:gd name="T6" fmla="*/ 928 w 941"/>
                <a:gd name="T7" fmla="*/ 214 h 682"/>
                <a:gd name="T8" fmla="*/ 895 w 941"/>
                <a:gd name="T9" fmla="*/ 232 h 682"/>
                <a:gd name="T10" fmla="*/ 873 w 941"/>
                <a:gd name="T11" fmla="*/ 251 h 682"/>
                <a:gd name="T12" fmla="*/ 825 w 941"/>
                <a:gd name="T13" fmla="*/ 291 h 682"/>
                <a:gd name="T14" fmla="*/ 813 w 941"/>
                <a:gd name="T15" fmla="*/ 265 h 682"/>
                <a:gd name="T16" fmla="*/ 771 w 941"/>
                <a:gd name="T17" fmla="*/ 289 h 682"/>
                <a:gd name="T18" fmla="*/ 781 w 941"/>
                <a:gd name="T19" fmla="*/ 317 h 682"/>
                <a:gd name="T20" fmla="*/ 833 w 941"/>
                <a:gd name="T21" fmla="*/ 325 h 682"/>
                <a:gd name="T22" fmla="*/ 827 w 941"/>
                <a:gd name="T23" fmla="*/ 354 h 682"/>
                <a:gd name="T24" fmla="*/ 849 w 941"/>
                <a:gd name="T25" fmla="*/ 410 h 682"/>
                <a:gd name="T26" fmla="*/ 880 w 941"/>
                <a:gd name="T27" fmla="*/ 466 h 682"/>
                <a:gd name="T28" fmla="*/ 903 w 941"/>
                <a:gd name="T29" fmla="*/ 517 h 682"/>
                <a:gd name="T30" fmla="*/ 871 w 941"/>
                <a:gd name="T31" fmla="*/ 593 h 682"/>
                <a:gd name="T32" fmla="*/ 801 w 941"/>
                <a:gd name="T33" fmla="*/ 642 h 682"/>
                <a:gd name="T34" fmla="*/ 744 w 941"/>
                <a:gd name="T35" fmla="*/ 659 h 682"/>
                <a:gd name="T36" fmla="*/ 727 w 941"/>
                <a:gd name="T37" fmla="*/ 659 h 682"/>
                <a:gd name="T38" fmla="*/ 664 w 941"/>
                <a:gd name="T39" fmla="*/ 642 h 682"/>
                <a:gd name="T40" fmla="*/ 624 w 941"/>
                <a:gd name="T41" fmla="*/ 629 h 682"/>
                <a:gd name="T42" fmla="*/ 576 w 941"/>
                <a:gd name="T43" fmla="*/ 640 h 682"/>
                <a:gd name="T44" fmla="*/ 569 w 941"/>
                <a:gd name="T45" fmla="*/ 649 h 682"/>
                <a:gd name="T46" fmla="*/ 535 w 941"/>
                <a:gd name="T47" fmla="*/ 627 h 682"/>
                <a:gd name="T48" fmla="*/ 494 w 941"/>
                <a:gd name="T49" fmla="*/ 582 h 682"/>
                <a:gd name="T50" fmla="*/ 491 w 941"/>
                <a:gd name="T51" fmla="*/ 527 h 682"/>
                <a:gd name="T52" fmla="*/ 456 w 941"/>
                <a:gd name="T53" fmla="*/ 505 h 682"/>
                <a:gd name="T54" fmla="*/ 401 w 941"/>
                <a:gd name="T55" fmla="*/ 508 h 682"/>
                <a:gd name="T56" fmla="*/ 356 w 941"/>
                <a:gd name="T57" fmla="*/ 520 h 682"/>
                <a:gd name="T58" fmla="*/ 321 w 941"/>
                <a:gd name="T59" fmla="*/ 520 h 682"/>
                <a:gd name="T60" fmla="*/ 253 w 941"/>
                <a:gd name="T61" fmla="*/ 508 h 682"/>
                <a:gd name="T62" fmla="*/ 199 w 941"/>
                <a:gd name="T63" fmla="*/ 478 h 682"/>
                <a:gd name="T64" fmla="*/ 129 w 941"/>
                <a:gd name="T65" fmla="*/ 449 h 682"/>
                <a:gd name="T66" fmla="*/ 120 w 941"/>
                <a:gd name="T67" fmla="*/ 408 h 682"/>
                <a:gd name="T68" fmla="*/ 54 w 941"/>
                <a:gd name="T69" fmla="*/ 342 h 682"/>
                <a:gd name="T70" fmla="*/ 26 w 941"/>
                <a:gd name="T71" fmla="*/ 307 h 682"/>
                <a:gd name="T72" fmla="*/ 3 w 941"/>
                <a:gd name="T73" fmla="*/ 280 h 682"/>
                <a:gd name="T74" fmla="*/ 42 w 941"/>
                <a:gd name="T75" fmla="*/ 264 h 682"/>
                <a:gd name="T76" fmla="*/ 91 w 941"/>
                <a:gd name="T77" fmla="*/ 230 h 682"/>
                <a:gd name="T78" fmla="*/ 68 w 941"/>
                <a:gd name="T79" fmla="*/ 172 h 682"/>
                <a:gd name="T80" fmla="*/ 136 w 941"/>
                <a:gd name="T81" fmla="*/ 130 h 682"/>
                <a:gd name="T82" fmla="*/ 151 w 941"/>
                <a:gd name="T83" fmla="*/ 85 h 682"/>
                <a:gd name="T84" fmla="*/ 213 w 941"/>
                <a:gd name="T85" fmla="*/ 116 h 682"/>
                <a:gd name="T86" fmla="*/ 267 w 941"/>
                <a:gd name="T87" fmla="*/ 168 h 682"/>
                <a:gd name="T88" fmla="*/ 343 w 941"/>
                <a:gd name="T89" fmla="*/ 205 h 682"/>
                <a:gd name="T90" fmla="*/ 433 w 941"/>
                <a:gd name="T91" fmla="*/ 219 h 682"/>
                <a:gd name="T92" fmla="*/ 512 w 941"/>
                <a:gd name="T93" fmla="*/ 241 h 682"/>
                <a:gd name="T94" fmla="*/ 591 w 941"/>
                <a:gd name="T95" fmla="*/ 214 h 682"/>
                <a:gd name="T96" fmla="*/ 590 w 941"/>
                <a:gd name="T97" fmla="*/ 182 h 682"/>
                <a:gd name="T98" fmla="*/ 632 w 941"/>
                <a:gd name="T99" fmla="*/ 164 h 682"/>
                <a:gd name="T100" fmla="*/ 687 w 941"/>
                <a:gd name="T101" fmla="*/ 134 h 682"/>
                <a:gd name="T102" fmla="*/ 659 w 941"/>
                <a:gd name="T103" fmla="*/ 108 h 682"/>
                <a:gd name="T104" fmla="*/ 616 w 941"/>
                <a:gd name="T105" fmla="*/ 107 h 682"/>
                <a:gd name="T106" fmla="*/ 652 w 941"/>
                <a:gd name="T107" fmla="*/ 66 h 682"/>
                <a:gd name="T108" fmla="*/ 642 w 941"/>
                <a:gd name="T109" fmla="*/ 18 h 682"/>
                <a:gd name="T110" fmla="*/ 672 w 941"/>
                <a:gd name="T111" fmla="*/ 0 h 682"/>
                <a:gd name="T112" fmla="*/ 757 w 941"/>
                <a:gd name="T113" fmla="*/ 4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1" h="682">
                  <a:moveTo>
                    <a:pt x="791" y="74"/>
                  </a:moveTo>
                  <a:lnTo>
                    <a:pt x="823" y="80"/>
                  </a:lnTo>
                  <a:lnTo>
                    <a:pt x="852" y="95"/>
                  </a:lnTo>
                  <a:lnTo>
                    <a:pt x="872" y="114"/>
                  </a:lnTo>
                  <a:lnTo>
                    <a:pt x="896" y="114"/>
                  </a:lnTo>
                  <a:lnTo>
                    <a:pt x="905" y="106"/>
                  </a:lnTo>
                  <a:lnTo>
                    <a:pt x="927" y="100"/>
                  </a:lnTo>
                  <a:lnTo>
                    <a:pt x="932" y="118"/>
                  </a:lnTo>
                  <a:lnTo>
                    <a:pt x="930" y="126"/>
                  </a:lnTo>
                  <a:lnTo>
                    <a:pt x="940" y="148"/>
                  </a:lnTo>
                  <a:lnTo>
                    <a:pt x="941" y="168"/>
                  </a:lnTo>
                  <a:lnTo>
                    <a:pt x="919" y="164"/>
                  </a:lnTo>
                  <a:lnTo>
                    <a:pt x="909" y="171"/>
                  </a:lnTo>
                  <a:lnTo>
                    <a:pt x="924" y="189"/>
                  </a:lnTo>
                  <a:lnTo>
                    <a:pt x="936" y="213"/>
                  </a:lnTo>
                  <a:lnTo>
                    <a:pt x="928" y="214"/>
                  </a:lnTo>
                  <a:lnTo>
                    <a:pt x="934" y="224"/>
                  </a:lnTo>
                  <a:lnTo>
                    <a:pt x="916" y="212"/>
                  </a:lnTo>
                  <a:lnTo>
                    <a:pt x="916" y="223"/>
                  </a:lnTo>
                  <a:lnTo>
                    <a:pt x="895" y="232"/>
                  </a:lnTo>
                  <a:lnTo>
                    <a:pt x="904" y="243"/>
                  </a:lnTo>
                  <a:lnTo>
                    <a:pt x="889" y="243"/>
                  </a:lnTo>
                  <a:lnTo>
                    <a:pt x="877" y="236"/>
                  </a:lnTo>
                  <a:lnTo>
                    <a:pt x="873" y="251"/>
                  </a:lnTo>
                  <a:lnTo>
                    <a:pt x="861" y="262"/>
                  </a:lnTo>
                  <a:lnTo>
                    <a:pt x="853" y="275"/>
                  </a:lnTo>
                  <a:lnTo>
                    <a:pt x="833" y="281"/>
                  </a:lnTo>
                  <a:lnTo>
                    <a:pt x="825" y="291"/>
                  </a:lnTo>
                  <a:lnTo>
                    <a:pt x="809" y="296"/>
                  </a:lnTo>
                  <a:lnTo>
                    <a:pt x="814" y="287"/>
                  </a:lnTo>
                  <a:lnTo>
                    <a:pt x="806" y="279"/>
                  </a:lnTo>
                  <a:lnTo>
                    <a:pt x="813" y="265"/>
                  </a:lnTo>
                  <a:lnTo>
                    <a:pt x="799" y="254"/>
                  </a:lnTo>
                  <a:lnTo>
                    <a:pt x="788" y="261"/>
                  </a:lnTo>
                  <a:lnTo>
                    <a:pt x="776" y="275"/>
                  </a:lnTo>
                  <a:lnTo>
                    <a:pt x="771" y="289"/>
                  </a:lnTo>
                  <a:lnTo>
                    <a:pt x="755" y="290"/>
                  </a:lnTo>
                  <a:lnTo>
                    <a:pt x="751" y="299"/>
                  </a:lnTo>
                  <a:lnTo>
                    <a:pt x="766" y="313"/>
                  </a:lnTo>
                  <a:lnTo>
                    <a:pt x="781" y="317"/>
                  </a:lnTo>
                  <a:lnTo>
                    <a:pt x="786" y="326"/>
                  </a:lnTo>
                  <a:lnTo>
                    <a:pt x="802" y="332"/>
                  </a:lnTo>
                  <a:lnTo>
                    <a:pt x="815" y="317"/>
                  </a:lnTo>
                  <a:lnTo>
                    <a:pt x="833" y="325"/>
                  </a:lnTo>
                  <a:lnTo>
                    <a:pt x="845" y="326"/>
                  </a:lnTo>
                  <a:lnTo>
                    <a:pt x="852" y="337"/>
                  </a:lnTo>
                  <a:lnTo>
                    <a:pt x="830" y="343"/>
                  </a:lnTo>
                  <a:lnTo>
                    <a:pt x="827" y="354"/>
                  </a:lnTo>
                  <a:lnTo>
                    <a:pt x="815" y="364"/>
                  </a:lnTo>
                  <a:lnTo>
                    <a:pt x="811" y="378"/>
                  </a:lnTo>
                  <a:lnTo>
                    <a:pt x="834" y="390"/>
                  </a:lnTo>
                  <a:lnTo>
                    <a:pt x="849" y="410"/>
                  </a:lnTo>
                  <a:lnTo>
                    <a:pt x="867" y="429"/>
                  </a:lnTo>
                  <a:lnTo>
                    <a:pt x="884" y="445"/>
                  </a:lnTo>
                  <a:lnTo>
                    <a:pt x="889" y="461"/>
                  </a:lnTo>
                  <a:lnTo>
                    <a:pt x="880" y="466"/>
                  </a:lnTo>
                  <a:lnTo>
                    <a:pt x="888" y="477"/>
                  </a:lnTo>
                  <a:lnTo>
                    <a:pt x="900" y="484"/>
                  </a:lnTo>
                  <a:lnTo>
                    <a:pt x="903" y="501"/>
                  </a:lnTo>
                  <a:lnTo>
                    <a:pt x="903" y="517"/>
                  </a:lnTo>
                  <a:lnTo>
                    <a:pt x="894" y="519"/>
                  </a:lnTo>
                  <a:lnTo>
                    <a:pt x="888" y="541"/>
                  </a:lnTo>
                  <a:lnTo>
                    <a:pt x="881" y="569"/>
                  </a:lnTo>
                  <a:lnTo>
                    <a:pt x="871" y="593"/>
                  </a:lnTo>
                  <a:lnTo>
                    <a:pt x="851" y="613"/>
                  </a:lnTo>
                  <a:lnTo>
                    <a:pt x="830" y="630"/>
                  </a:lnTo>
                  <a:lnTo>
                    <a:pt x="810" y="632"/>
                  </a:lnTo>
                  <a:lnTo>
                    <a:pt x="801" y="642"/>
                  </a:lnTo>
                  <a:lnTo>
                    <a:pt x="793" y="635"/>
                  </a:lnTo>
                  <a:lnTo>
                    <a:pt x="785" y="645"/>
                  </a:lnTo>
                  <a:lnTo>
                    <a:pt x="762" y="656"/>
                  </a:lnTo>
                  <a:lnTo>
                    <a:pt x="744" y="659"/>
                  </a:lnTo>
                  <a:lnTo>
                    <a:pt x="742" y="681"/>
                  </a:lnTo>
                  <a:lnTo>
                    <a:pt x="732" y="682"/>
                  </a:lnTo>
                  <a:lnTo>
                    <a:pt x="725" y="667"/>
                  </a:lnTo>
                  <a:lnTo>
                    <a:pt x="727" y="659"/>
                  </a:lnTo>
                  <a:lnTo>
                    <a:pt x="702" y="652"/>
                  </a:lnTo>
                  <a:lnTo>
                    <a:pt x="694" y="656"/>
                  </a:lnTo>
                  <a:lnTo>
                    <a:pt x="675" y="650"/>
                  </a:lnTo>
                  <a:lnTo>
                    <a:pt x="664" y="642"/>
                  </a:lnTo>
                  <a:lnTo>
                    <a:pt x="665" y="630"/>
                  </a:lnTo>
                  <a:lnTo>
                    <a:pt x="648" y="626"/>
                  </a:lnTo>
                  <a:lnTo>
                    <a:pt x="638" y="618"/>
                  </a:lnTo>
                  <a:lnTo>
                    <a:pt x="624" y="629"/>
                  </a:lnTo>
                  <a:lnTo>
                    <a:pt x="608" y="632"/>
                  </a:lnTo>
                  <a:lnTo>
                    <a:pt x="593" y="632"/>
                  </a:lnTo>
                  <a:lnTo>
                    <a:pt x="585" y="637"/>
                  </a:lnTo>
                  <a:lnTo>
                    <a:pt x="576" y="640"/>
                  </a:lnTo>
                  <a:lnTo>
                    <a:pt x="583" y="663"/>
                  </a:lnTo>
                  <a:lnTo>
                    <a:pt x="573" y="663"/>
                  </a:lnTo>
                  <a:lnTo>
                    <a:pt x="571" y="658"/>
                  </a:lnTo>
                  <a:lnTo>
                    <a:pt x="569" y="649"/>
                  </a:lnTo>
                  <a:lnTo>
                    <a:pt x="557" y="656"/>
                  </a:lnTo>
                  <a:lnTo>
                    <a:pt x="548" y="652"/>
                  </a:lnTo>
                  <a:lnTo>
                    <a:pt x="533" y="644"/>
                  </a:lnTo>
                  <a:lnTo>
                    <a:pt x="535" y="627"/>
                  </a:lnTo>
                  <a:lnTo>
                    <a:pt x="523" y="623"/>
                  </a:lnTo>
                  <a:lnTo>
                    <a:pt x="515" y="604"/>
                  </a:lnTo>
                  <a:lnTo>
                    <a:pt x="497" y="607"/>
                  </a:lnTo>
                  <a:lnTo>
                    <a:pt x="494" y="582"/>
                  </a:lnTo>
                  <a:lnTo>
                    <a:pt x="507" y="565"/>
                  </a:lnTo>
                  <a:lnTo>
                    <a:pt x="504" y="548"/>
                  </a:lnTo>
                  <a:lnTo>
                    <a:pt x="500" y="532"/>
                  </a:lnTo>
                  <a:lnTo>
                    <a:pt x="491" y="527"/>
                  </a:lnTo>
                  <a:lnTo>
                    <a:pt x="482" y="515"/>
                  </a:lnTo>
                  <a:lnTo>
                    <a:pt x="472" y="516"/>
                  </a:lnTo>
                  <a:lnTo>
                    <a:pt x="452" y="513"/>
                  </a:lnTo>
                  <a:lnTo>
                    <a:pt x="456" y="505"/>
                  </a:lnTo>
                  <a:lnTo>
                    <a:pt x="445" y="492"/>
                  </a:lnTo>
                  <a:lnTo>
                    <a:pt x="434" y="500"/>
                  </a:lnTo>
                  <a:lnTo>
                    <a:pt x="418" y="495"/>
                  </a:lnTo>
                  <a:lnTo>
                    <a:pt x="401" y="508"/>
                  </a:lnTo>
                  <a:lnTo>
                    <a:pt x="389" y="524"/>
                  </a:lnTo>
                  <a:lnTo>
                    <a:pt x="375" y="527"/>
                  </a:lnTo>
                  <a:lnTo>
                    <a:pt x="366" y="521"/>
                  </a:lnTo>
                  <a:lnTo>
                    <a:pt x="356" y="520"/>
                  </a:lnTo>
                  <a:lnTo>
                    <a:pt x="343" y="516"/>
                  </a:lnTo>
                  <a:lnTo>
                    <a:pt x="334" y="521"/>
                  </a:lnTo>
                  <a:lnTo>
                    <a:pt x="326" y="536"/>
                  </a:lnTo>
                  <a:lnTo>
                    <a:pt x="321" y="520"/>
                  </a:lnTo>
                  <a:lnTo>
                    <a:pt x="311" y="524"/>
                  </a:lnTo>
                  <a:lnTo>
                    <a:pt x="290" y="522"/>
                  </a:lnTo>
                  <a:lnTo>
                    <a:pt x="269" y="517"/>
                  </a:lnTo>
                  <a:lnTo>
                    <a:pt x="253" y="508"/>
                  </a:lnTo>
                  <a:lnTo>
                    <a:pt x="238" y="504"/>
                  </a:lnTo>
                  <a:lnTo>
                    <a:pt x="230" y="494"/>
                  </a:lnTo>
                  <a:lnTo>
                    <a:pt x="219" y="491"/>
                  </a:lnTo>
                  <a:lnTo>
                    <a:pt x="199" y="478"/>
                  </a:lnTo>
                  <a:lnTo>
                    <a:pt x="183" y="472"/>
                  </a:lnTo>
                  <a:lnTo>
                    <a:pt x="177" y="476"/>
                  </a:lnTo>
                  <a:lnTo>
                    <a:pt x="149" y="462"/>
                  </a:lnTo>
                  <a:lnTo>
                    <a:pt x="129" y="449"/>
                  </a:lnTo>
                  <a:lnTo>
                    <a:pt x="119" y="426"/>
                  </a:lnTo>
                  <a:lnTo>
                    <a:pt x="132" y="429"/>
                  </a:lnTo>
                  <a:lnTo>
                    <a:pt x="130" y="418"/>
                  </a:lnTo>
                  <a:lnTo>
                    <a:pt x="120" y="408"/>
                  </a:lnTo>
                  <a:lnTo>
                    <a:pt x="118" y="391"/>
                  </a:lnTo>
                  <a:lnTo>
                    <a:pt x="93" y="366"/>
                  </a:lnTo>
                  <a:lnTo>
                    <a:pt x="63" y="358"/>
                  </a:lnTo>
                  <a:lnTo>
                    <a:pt x="54" y="342"/>
                  </a:lnTo>
                  <a:lnTo>
                    <a:pt x="38" y="333"/>
                  </a:lnTo>
                  <a:lnTo>
                    <a:pt x="34" y="327"/>
                  </a:lnTo>
                  <a:lnTo>
                    <a:pt x="28" y="315"/>
                  </a:lnTo>
                  <a:lnTo>
                    <a:pt x="26" y="307"/>
                  </a:lnTo>
                  <a:lnTo>
                    <a:pt x="15" y="302"/>
                  </a:lnTo>
                  <a:lnTo>
                    <a:pt x="9" y="304"/>
                  </a:lnTo>
                  <a:lnTo>
                    <a:pt x="0" y="285"/>
                  </a:lnTo>
                  <a:lnTo>
                    <a:pt x="3" y="280"/>
                  </a:lnTo>
                  <a:lnTo>
                    <a:pt x="0" y="276"/>
                  </a:lnTo>
                  <a:lnTo>
                    <a:pt x="13" y="266"/>
                  </a:lnTo>
                  <a:lnTo>
                    <a:pt x="23" y="262"/>
                  </a:lnTo>
                  <a:lnTo>
                    <a:pt x="42" y="264"/>
                  </a:lnTo>
                  <a:lnTo>
                    <a:pt x="44" y="252"/>
                  </a:lnTo>
                  <a:lnTo>
                    <a:pt x="65" y="249"/>
                  </a:lnTo>
                  <a:lnTo>
                    <a:pt x="68" y="241"/>
                  </a:lnTo>
                  <a:lnTo>
                    <a:pt x="91" y="230"/>
                  </a:lnTo>
                  <a:lnTo>
                    <a:pt x="92" y="225"/>
                  </a:lnTo>
                  <a:lnTo>
                    <a:pt x="87" y="213"/>
                  </a:lnTo>
                  <a:lnTo>
                    <a:pt x="96" y="208"/>
                  </a:lnTo>
                  <a:lnTo>
                    <a:pt x="68" y="172"/>
                  </a:lnTo>
                  <a:lnTo>
                    <a:pt x="98" y="164"/>
                  </a:lnTo>
                  <a:lnTo>
                    <a:pt x="104" y="160"/>
                  </a:lnTo>
                  <a:lnTo>
                    <a:pt x="101" y="123"/>
                  </a:lnTo>
                  <a:lnTo>
                    <a:pt x="136" y="130"/>
                  </a:lnTo>
                  <a:lnTo>
                    <a:pt x="141" y="121"/>
                  </a:lnTo>
                  <a:lnTo>
                    <a:pt x="133" y="100"/>
                  </a:lnTo>
                  <a:lnTo>
                    <a:pt x="146" y="98"/>
                  </a:lnTo>
                  <a:lnTo>
                    <a:pt x="151" y="85"/>
                  </a:lnTo>
                  <a:lnTo>
                    <a:pt x="157" y="83"/>
                  </a:lnTo>
                  <a:lnTo>
                    <a:pt x="168" y="97"/>
                  </a:lnTo>
                  <a:lnTo>
                    <a:pt x="186" y="108"/>
                  </a:lnTo>
                  <a:lnTo>
                    <a:pt x="213" y="116"/>
                  </a:lnTo>
                  <a:lnTo>
                    <a:pt x="232" y="132"/>
                  </a:lnTo>
                  <a:lnTo>
                    <a:pt x="236" y="156"/>
                  </a:lnTo>
                  <a:lnTo>
                    <a:pt x="246" y="165"/>
                  </a:lnTo>
                  <a:lnTo>
                    <a:pt x="267" y="168"/>
                  </a:lnTo>
                  <a:lnTo>
                    <a:pt x="290" y="171"/>
                  </a:lnTo>
                  <a:lnTo>
                    <a:pt x="316" y="184"/>
                  </a:lnTo>
                  <a:lnTo>
                    <a:pt x="327" y="186"/>
                  </a:lnTo>
                  <a:lnTo>
                    <a:pt x="343" y="205"/>
                  </a:lnTo>
                  <a:lnTo>
                    <a:pt x="358" y="217"/>
                  </a:lnTo>
                  <a:lnTo>
                    <a:pt x="376" y="217"/>
                  </a:lnTo>
                  <a:lnTo>
                    <a:pt x="412" y="222"/>
                  </a:lnTo>
                  <a:lnTo>
                    <a:pt x="433" y="219"/>
                  </a:lnTo>
                  <a:lnTo>
                    <a:pt x="451" y="222"/>
                  </a:lnTo>
                  <a:lnTo>
                    <a:pt x="481" y="234"/>
                  </a:lnTo>
                  <a:lnTo>
                    <a:pt x="502" y="234"/>
                  </a:lnTo>
                  <a:lnTo>
                    <a:pt x="512" y="241"/>
                  </a:lnTo>
                  <a:lnTo>
                    <a:pt x="527" y="230"/>
                  </a:lnTo>
                  <a:lnTo>
                    <a:pt x="550" y="222"/>
                  </a:lnTo>
                  <a:lnTo>
                    <a:pt x="575" y="222"/>
                  </a:lnTo>
                  <a:lnTo>
                    <a:pt x="591" y="214"/>
                  </a:lnTo>
                  <a:lnTo>
                    <a:pt x="598" y="203"/>
                  </a:lnTo>
                  <a:lnTo>
                    <a:pt x="606" y="196"/>
                  </a:lnTo>
                  <a:lnTo>
                    <a:pt x="600" y="190"/>
                  </a:lnTo>
                  <a:lnTo>
                    <a:pt x="590" y="182"/>
                  </a:lnTo>
                  <a:lnTo>
                    <a:pt x="592" y="169"/>
                  </a:lnTo>
                  <a:lnTo>
                    <a:pt x="602" y="171"/>
                  </a:lnTo>
                  <a:lnTo>
                    <a:pt x="621" y="175"/>
                  </a:lnTo>
                  <a:lnTo>
                    <a:pt x="632" y="164"/>
                  </a:lnTo>
                  <a:lnTo>
                    <a:pt x="653" y="156"/>
                  </a:lnTo>
                  <a:lnTo>
                    <a:pt x="657" y="142"/>
                  </a:lnTo>
                  <a:lnTo>
                    <a:pt x="665" y="137"/>
                  </a:lnTo>
                  <a:lnTo>
                    <a:pt x="687" y="134"/>
                  </a:lnTo>
                  <a:lnTo>
                    <a:pt x="702" y="136"/>
                  </a:lnTo>
                  <a:lnTo>
                    <a:pt x="699" y="129"/>
                  </a:lnTo>
                  <a:lnTo>
                    <a:pt x="676" y="115"/>
                  </a:lnTo>
                  <a:lnTo>
                    <a:pt x="659" y="108"/>
                  </a:lnTo>
                  <a:lnTo>
                    <a:pt x="651" y="116"/>
                  </a:lnTo>
                  <a:lnTo>
                    <a:pt x="633" y="112"/>
                  </a:lnTo>
                  <a:lnTo>
                    <a:pt x="625" y="115"/>
                  </a:lnTo>
                  <a:lnTo>
                    <a:pt x="616" y="107"/>
                  </a:lnTo>
                  <a:lnTo>
                    <a:pt x="615" y="87"/>
                  </a:lnTo>
                  <a:lnTo>
                    <a:pt x="613" y="71"/>
                  </a:lnTo>
                  <a:lnTo>
                    <a:pt x="638" y="79"/>
                  </a:lnTo>
                  <a:lnTo>
                    <a:pt x="652" y="66"/>
                  </a:lnTo>
                  <a:lnTo>
                    <a:pt x="646" y="57"/>
                  </a:lnTo>
                  <a:lnTo>
                    <a:pt x="646" y="36"/>
                  </a:lnTo>
                  <a:lnTo>
                    <a:pt x="650" y="30"/>
                  </a:lnTo>
                  <a:lnTo>
                    <a:pt x="642" y="18"/>
                  </a:lnTo>
                  <a:lnTo>
                    <a:pt x="630" y="14"/>
                  </a:lnTo>
                  <a:lnTo>
                    <a:pt x="635" y="4"/>
                  </a:lnTo>
                  <a:lnTo>
                    <a:pt x="652" y="0"/>
                  </a:lnTo>
                  <a:lnTo>
                    <a:pt x="672" y="0"/>
                  </a:lnTo>
                  <a:lnTo>
                    <a:pt x="700" y="5"/>
                  </a:lnTo>
                  <a:lnTo>
                    <a:pt x="719" y="13"/>
                  </a:lnTo>
                  <a:lnTo>
                    <a:pt x="744" y="33"/>
                  </a:lnTo>
                  <a:lnTo>
                    <a:pt x="757" y="42"/>
                  </a:lnTo>
                  <a:lnTo>
                    <a:pt x="771" y="54"/>
                  </a:lnTo>
                  <a:lnTo>
                    <a:pt x="791" y="74"/>
                  </a:lnTo>
                  <a:close/>
                </a:path>
              </a:pathLst>
            </a:custGeom>
            <a:solidFill>
              <a:srgbClr val="4F81BD"/>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78" name="Freeform 41"/>
            <p:cNvSpPr>
              <a:spLocks/>
            </p:cNvSpPr>
            <p:nvPr/>
          </p:nvSpPr>
          <p:spPr bwMode="auto">
            <a:xfrm>
              <a:off x="3932237" y="3359154"/>
              <a:ext cx="174625" cy="203200"/>
            </a:xfrm>
            <a:custGeom>
              <a:avLst/>
              <a:gdLst>
                <a:gd name="T0" fmla="*/ 105 w 110"/>
                <a:gd name="T1" fmla="*/ 115 h 128"/>
                <a:gd name="T2" fmla="*/ 97 w 110"/>
                <a:gd name="T3" fmla="*/ 115 h 128"/>
                <a:gd name="T4" fmla="*/ 84 w 110"/>
                <a:gd name="T5" fmla="*/ 111 h 128"/>
                <a:gd name="T6" fmla="*/ 72 w 110"/>
                <a:gd name="T7" fmla="*/ 111 h 128"/>
                <a:gd name="T8" fmla="*/ 50 w 110"/>
                <a:gd name="T9" fmla="*/ 115 h 128"/>
                <a:gd name="T10" fmla="*/ 37 w 110"/>
                <a:gd name="T11" fmla="*/ 121 h 128"/>
                <a:gd name="T12" fmla="*/ 19 w 110"/>
                <a:gd name="T13" fmla="*/ 128 h 128"/>
                <a:gd name="T14" fmla="*/ 16 w 110"/>
                <a:gd name="T15" fmla="*/ 128 h 128"/>
                <a:gd name="T16" fmla="*/ 17 w 110"/>
                <a:gd name="T17" fmla="*/ 111 h 128"/>
                <a:gd name="T18" fmla="*/ 19 w 110"/>
                <a:gd name="T19" fmla="*/ 108 h 128"/>
                <a:gd name="T20" fmla="*/ 18 w 110"/>
                <a:gd name="T21" fmla="*/ 100 h 128"/>
                <a:gd name="T22" fmla="*/ 11 w 110"/>
                <a:gd name="T23" fmla="*/ 91 h 128"/>
                <a:gd name="T24" fmla="*/ 5 w 110"/>
                <a:gd name="T25" fmla="*/ 90 h 128"/>
                <a:gd name="T26" fmla="*/ 0 w 110"/>
                <a:gd name="T27" fmla="*/ 84 h 128"/>
                <a:gd name="T28" fmla="*/ 3 w 110"/>
                <a:gd name="T29" fmla="*/ 75 h 128"/>
                <a:gd name="T30" fmla="*/ 2 w 110"/>
                <a:gd name="T31" fmla="*/ 65 h 128"/>
                <a:gd name="T32" fmla="*/ 3 w 110"/>
                <a:gd name="T33" fmla="*/ 59 h 128"/>
                <a:gd name="T34" fmla="*/ 6 w 110"/>
                <a:gd name="T35" fmla="*/ 59 h 128"/>
                <a:gd name="T36" fmla="*/ 7 w 110"/>
                <a:gd name="T37" fmla="*/ 50 h 128"/>
                <a:gd name="T38" fmla="*/ 5 w 110"/>
                <a:gd name="T39" fmla="*/ 46 h 128"/>
                <a:gd name="T40" fmla="*/ 7 w 110"/>
                <a:gd name="T41" fmla="*/ 43 h 128"/>
                <a:gd name="T42" fmla="*/ 14 w 110"/>
                <a:gd name="T43" fmla="*/ 40 h 128"/>
                <a:gd name="T44" fmla="*/ 9 w 110"/>
                <a:gd name="T45" fmla="*/ 24 h 128"/>
                <a:gd name="T46" fmla="*/ 5 w 110"/>
                <a:gd name="T47" fmla="*/ 15 h 128"/>
                <a:gd name="T48" fmla="*/ 7 w 110"/>
                <a:gd name="T49" fmla="*/ 8 h 128"/>
                <a:gd name="T50" fmla="*/ 11 w 110"/>
                <a:gd name="T51" fmla="*/ 6 h 128"/>
                <a:gd name="T52" fmla="*/ 13 w 110"/>
                <a:gd name="T53" fmla="*/ 5 h 128"/>
                <a:gd name="T54" fmla="*/ 18 w 110"/>
                <a:gd name="T55" fmla="*/ 7 h 128"/>
                <a:gd name="T56" fmla="*/ 32 w 110"/>
                <a:gd name="T57" fmla="*/ 8 h 128"/>
                <a:gd name="T58" fmla="*/ 35 w 110"/>
                <a:gd name="T59" fmla="*/ 2 h 128"/>
                <a:gd name="T60" fmla="*/ 39 w 110"/>
                <a:gd name="T61" fmla="*/ 2 h 128"/>
                <a:gd name="T62" fmla="*/ 44 w 110"/>
                <a:gd name="T63" fmla="*/ 0 h 128"/>
                <a:gd name="T64" fmla="*/ 47 w 110"/>
                <a:gd name="T65" fmla="*/ 9 h 128"/>
                <a:gd name="T66" fmla="*/ 51 w 110"/>
                <a:gd name="T67" fmla="*/ 6 h 128"/>
                <a:gd name="T68" fmla="*/ 58 w 110"/>
                <a:gd name="T69" fmla="*/ 3 h 128"/>
                <a:gd name="T70" fmla="*/ 67 w 110"/>
                <a:gd name="T71" fmla="*/ 7 h 128"/>
                <a:gd name="T72" fmla="*/ 70 w 110"/>
                <a:gd name="T73" fmla="*/ 14 h 128"/>
                <a:gd name="T74" fmla="*/ 78 w 110"/>
                <a:gd name="T75" fmla="*/ 19 h 128"/>
                <a:gd name="T76" fmla="*/ 85 w 110"/>
                <a:gd name="T77" fmla="*/ 14 h 128"/>
                <a:gd name="T78" fmla="*/ 93 w 110"/>
                <a:gd name="T79" fmla="*/ 13 h 128"/>
                <a:gd name="T80" fmla="*/ 106 w 110"/>
                <a:gd name="T81" fmla="*/ 18 h 128"/>
                <a:gd name="T82" fmla="*/ 110 w 110"/>
                <a:gd name="T83" fmla="*/ 48 h 128"/>
                <a:gd name="T84" fmla="*/ 103 w 110"/>
                <a:gd name="T85" fmla="*/ 65 h 128"/>
                <a:gd name="T86" fmla="*/ 98 w 110"/>
                <a:gd name="T87" fmla="*/ 88 h 128"/>
                <a:gd name="T88" fmla="*/ 106 w 110"/>
                <a:gd name="T89" fmla="*/ 107 h 128"/>
                <a:gd name="T90" fmla="*/ 105 w 110"/>
                <a:gd name="T91" fmla="*/ 11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0" h="128">
                  <a:moveTo>
                    <a:pt x="105" y="115"/>
                  </a:moveTo>
                  <a:lnTo>
                    <a:pt x="97" y="115"/>
                  </a:lnTo>
                  <a:lnTo>
                    <a:pt x="84" y="111"/>
                  </a:lnTo>
                  <a:lnTo>
                    <a:pt x="72" y="111"/>
                  </a:lnTo>
                  <a:lnTo>
                    <a:pt x="50" y="115"/>
                  </a:lnTo>
                  <a:lnTo>
                    <a:pt x="37" y="121"/>
                  </a:lnTo>
                  <a:lnTo>
                    <a:pt x="19" y="128"/>
                  </a:lnTo>
                  <a:lnTo>
                    <a:pt x="16" y="128"/>
                  </a:lnTo>
                  <a:lnTo>
                    <a:pt x="17" y="111"/>
                  </a:lnTo>
                  <a:lnTo>
                    <a:pt x="19" y="108"/>
                  </a:lnTo>
                  <a:lnTo>
                    <a:pt x="18" y="100"/>
                  </a:lnTo>
                  <a:lnTo>
                    <a:pt x="11" y="91"/>
                  </a:lnTo>
                  <a:lnTo>
                    <a:pt x="5" y="90"/>
                  </a:lnTo>
                  <a:lnTo>
                    <a:pt x="0" y="84"/>
                  </a:lnTo>
                  <a:lnTo>
                    <a:pt x="3" y="75"/>
                  </a:lnTo>
                  <a:lnTo>
                    <a:pt x="2" y="65"/>
                  </a:lnTo>
                  <a:lnTo>
                    <a:pt x="3" y="59"/>
                  </a:lnTo>
                  <a:lnTo>
                    <a:pt x="6" y="59"/>
                  </a:lnTo>
                  <a:lnTo>
                    <a:pt x="7" y="50"/>
                  </a:lnTo>
                  <a:lnTo>
                    <a:pt x="5" y="46"/>
                  </a:lnTo>
                  <a:lnTo>
                    <a:pt x="7" y="43"/>
                  </a:lnTo>
                  <a:lnTo>
                    <a:pt x="14" y="40"/>
                  </a:lnTo>
                  <a:lnTo>
                    <a:pt x="9" y="24"/>
                  </a:lnTo>
                  <a:lnTo>
                    <a:pt x="5" y="15"/>
                  </a:lnTo>
                  <a:lnTo>
                    <a:pt x="7" y="8"/>
                  </a:lnTo>
                  <a:lnTo>
                    <a:pt x="11" y="6"/>
                  </a:lnTo>
                  <a:lnTo>
                    <a:pt x="13" y="5"/>
                  </a:lnTo>
                  <a:lnTo>
                    <a:pt x="18" y="7"/>
                  </a:lnTo>
                  <a:lnTo>
                    <a:pt x="32" y="8"/>
                  </a:lnTo>
                  <a:lnTo>
                    <a:pt x="35" y="2"/>
                  </a:lnTo>
                  <a:lnTo>
                    <a:pt x="39" y="2"/>
                  </a:lnTo>
                  <a:lnTo>
                    <a:pt x="44" y="0"/>
                  </a:lnTo>
                  <a:lnTo>
                    <a:pt x="47" y="9"/>
                  </a:lnTo>
                  <a:lnTo>
                    <a:pt x="51" y="6"/>
                  </a:lnTo>
                  <a:lnTo>
                    <a:pt x="58" y="3"/>
                  </a:lnTo>
                  <a:lnTo>
                    <a:pt x="67" y="7"/>
                  </a:lnTo>
                  <a:lnTo>
                    <a:pt x="70" y="14"/>
                  </a:lnTo>
                  <a:lnTo>
                    <a:pt x="78" y="19"/>
                  </a:lnTo>
                  <a:lnTo>
                    <a:pt x="85" y="14"/>
                  </a:lnTo>
                  <a:lnTo>
                    <a:pt x="93" y="13"/>
                  </a:lnTo>
                  <a:lnTo>
                    <a:pt x="106" y="18"/>
                  </a:lnTo>
                  <a:lnTo>
                    <a:pt x="110" y="48"/>
                  </a:lnTo>
                  <a:lnTo>
                    <a:pt x="103" y="65"/>
                  </a:lnTo>
                  <a:lnTo>
                    <a:pt x="98" y="88"/>
                  </a:lnTo>
                  <a:lnTo>
                    <a:pt x="106" y="107"/>
                  </a:lnTo>
                  <a:lnTo>
                    <a:pt x="105" y="115"/>
                  </a:lnTo>
                  <a:close/>
                </a:path>
              </a:pathLst>
            </a:custGeom>
            <a:solidFill>
              <a:schemeClr val="accent2">
                <a:lumMod val="40000"/>
                <a:lumOff val="60000"/>
              </a:schemeClr>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79" name="Freeform 42"/>
            <p:cNvSpPr>
              <a:spLocks/>
            </p:cNvSpPr>
            <p:nvPr/>
          </p:nvSpPr>
          <p:spPr bwMode="auto">
            <a:xfrm>
              <a:off x="4429125" y="3281366"/>
              <a:ext cx="220663" cy="366713"/>
            </a:xfrm>
            <a:custGeom>
              <a:avLst/>
              <a:gdLst>
                <a:gd name="T0" fmla="*/ 85 w 139"/>
                <a:gd name="T1" fmla="*/ 220 h 231"/>
                <a:gd name="T2" fmla="*/ 82 w 139"/>
                <a:gd name="T3" fmla="*/ 219 h 231"/>
                <a:gd name="T4" fmla="*/ 71 w 139"/>
                <a:gd name="T5" fmla="*/ 222 h 231"/>
                <a:gd name="T6" fmla="*/ 60 w 139"/>
                <a:gd name="T7" fmla="*/ 219 h 231"/>
                <a:gd name="T8" fmla="*/ 52 w 139"/>
                <a:gd name="T9" fmla="*/ 220 h 231"/>
                <a:gd name="T10" fmla="*/ 22 w 139"/>
                <a:gd name="T11" fmla="*/ 220 h 231"/>
                <a:gd name="T12" fmla="*/ 24 w 139"/>
                <a:gd name="T13" fmla="*/ 204 h 231"/>
                <a:gd name="T14" fmla="*/ 17 w 139"/>
                <a:gd name="T15" fmla="*/ 190 h 231"/>
                <a:gd name="T16" fmla="*/ 9 w 139"/>
                <a:gd name="T17" fmla="*/ 186 h 231"/>
                <a:gd name="T18" fmla="*/ 5 w 139"/>
                <a:gd name="T19" fmla="*/ 177 h 231"/>
                <a:gd name="T20" fmla="*/ 0 w 139"/>
                <a:gd name="T21" fmla="*/ 174 h 231"/>
                <a:gd name="T22" fmla="*/ 0 w 139"/>
                <a:gd name="T23" fmla="*/ 168 h 231"/>
                <a:gd name="T24" fmla="*/ 5 w 139"/>
                <a:gd name="T25" fmla="*/ 154 h 231"/>
                <a:gd name="T26" fmla="*/ 14 w 139"/>
                <a:gd name="T27" fmla="*/ 134 h 231"/>
                <a:gd name="T28" fmla="*/ 19 w 139"/>
                <a:gd name="T29" fmla="*/ 133 h 231"/>
                <a:gd name="T30" fmla="*/ 30 w 139"/>
                <a:gd name="T31" fmla="*/ 121 h 231"/>
                <a:gd name="T32" fmla="*/ 37 w 139"/>
                <a:gd name="T33" fmla="*/ 121 h 231"/>
                <a:gd name="T34" fmla="*/ 47 w 139"/>
                <a:gd name="T35" fmla="*/ 129 h 231"/>
                <a:gd name="T36" fmla="*/ 60 w 139"/>
                <a:gd name="T37" fmla="*/ 122 h 231"/>
                <a:gd name="T38" fmla="*/ 61 w 139"/>
                <a:gd name="T39" fmla="*/ 114 h 231"/>
                <a:gd name="T40" fmla="*/ 66 w 139"/>
                <a:gd name="T41" fmla="*/ 105 h 231"/>
                <a:gd name="T42" fmla="*/ 68 w 139"/>
                <a:gd name="T43" fmla="*/ 95 h 231"/>
                <a:gd name="T44" fmla="*/ 78 w 139"/>
                <a:gd name="T45" fmla="*/ 86 h 231"/>
                <a:gd name="T46" fmla="*/ 81 w 139"/>
                <a:gd name="T47" fmla="*/ 72 h 231"/>
                <a:gd name="T48" fmla="*/ 85 w 139"/>
                <a:gd name="T49" fmla="*/ 67 h 231"/>
                <a:gd name="T50" fmla="*/ 88 w 139"/>
                <a:gd name="T51" fmla="*/ 56 h 231"/>
                <a:gd name="T52" fmla="*/ 93 w 139"/>
                <a:gd name="T53" fmla="*/ 43 h 231"/>
                <a:gd name="T54" fmla="*/ 108 w 139"/>
                <a:gd name="T55" fmla="*/ 27 h 231"/>
                <a:gd name="T56" fmla="*/ 108 w 139"/>
                <a:gd name="T57" fmla="*/ 20 h 231"/>
                <a:gd name="T58" fmla="*/ 110 w 139"/>
                <a:gd name="T59" fmla="*/ 16 h 231"/>
                <a:gd name="T60" fmla="*/ 103 w 139"/>
                <a:gd name="T61" fmla="*/ 8 h 231"/>
                <a:gd name="T62" fmla="*/ 104 w 139"/>
                <a:gd name="T63" fmla="*/ 1 h 231"/>
                <a:gd name="T64" fmla="*/ 109 w 139"/>
                <a:gd name="T65" fmla="*/ 0 h 231"/>
                <a:gd name="T66" fmla="*/ 116 w 139"/>
                <a:gd name="T67" fmla="*/ 14 h 231"/>
                <a:gd name="T68" fmla="*/ 118 w 139"/>
                <a:gd name="T69" fmla="*/ 27 h 231"/>
                <a:gd name="T70" fmla="*/ 117 w 139"/>
                <a:gd name="T71" fmla="*/ 41 h 231"/>
                <a:gd name="T72" fmla="*/ 127 w 139"/>
                <a:gd name="T73" fmla="*/ 60 h 231"/>
                <a:gd name="T74" fmla="*/ 117 w 139"/>
                <a:gd name="T75" fmla="*/ 60 h 231"/>
                <a:gd name="T76" fmla="*/ 112 w 139"/>
                <a:gd name="T77" fmla="*/ 61 h 231"/>
                <a:gd name="T78" fmla="*/ 104 w 139"/>
                <a:gd name="T79" fmla="*/ 59 h 231"/>
                <a:gd name="T80" fmla="*/ 100 w 139"/>
                <a:gd name="T81" fmla="*/ 69 h 231"/>
                <a:gd name="T82" fmla="*/ 111 w 139"/>
                <a:gd name="T83" fmla="*/ 81 h 231"/>
                <a:gd name="T84" fmla="*/ 119 w 139"/>
                <a:gd name="T85" fmla="*/ 85 h 231"/>
                <a:gd name="T86" fmla="*/ 121 w 139"/>
                <a:gd name="T87" fmla="*/ 93 h 231"/>
                <a:gd name="T88" fmla="*/ 127 w 139"/>
                <a:gd name="T89" fmla="*/ 107 h 231"/>
                <a:gd name="T90" fmla="*/ 124 w 139"/>
                <a:gd name="T91" fmla="*/ 113 h 231"/>
                <a:gd name="T92" fmla="*/ 115 w 139"/>
                <a:gd name="T93" fmla="*/ 134 h 231"/>
                <a:gd name="T94" fmla="*/ 111 w 139"/>
                <a:gd name="T95" fmla="*/ 138 h 231"/>
                <a:gd name="T96" fmla="*/ 110 w 139"/>
                <a:gd name="T97" fmla="*/ 154 h 231"/>
                <a:gd name="T98" fmla="*/ 112 w 139"/>
                <a:gd name="T99" fmla="*/ 163 h 231"/>
                <a:gd name="T100" fmla="*/ 110 w 139"/>
                <a:gd name="T101" fmla="*/ 169 h 231"/>
                <a:gd name="T102" fmla="*/ 119 w 139"/>
                <a:gd name="T103" fmla="*/ 180 h 231"/>
                <a:gd name="T104" fmla="*/ 120 w 139"/>
                <a:gd name="T105" fmla="*/ 188 h 231"/>
                <a:gd name="T106" fmla="*/ 127 w 139"/>
                <a:gd name="T107" fmla="*/ 198 h 231"/>
                <a:gd name="T108" fmla="*/ 136 w 139"/>
                <a:gd name="T109" fmla="*/ 205 h 231"/>
                <a:gd name="T110" fmla="*/ 137 w 139"/>
                <a:gd name="T111" fmla="*/ 214 h 231"/>
                <a:gd name="T112" fmla="*/ 139 w 139"/>
                <a:gd name="T113" fmla="*/ 220 h 231"/>
                <a:gd name="T114" fmla="*/ 137 w 139"/>
                <a:gd name="T115" fmla="*/ 231 h 231"/>
                <a:gd name="T116" fmla="*/ 123 w 139"/>
                <a:gd name="T117" fmla="*/ 227 h 231"/>
                <a:gd name="T118" fmla="*/ 108 w 139"/>
                <a:gd name="T119" fmla="*/ 221 h 231"/>
                <a:gd name="T120" fmla="*/ 85 w 139"/>
                <a:gd name="T121" fmla="*/ 22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 h="231">
                  <a:moveTo>
                    <a:pt x="85" y="220"/>
                  </a:moveTo>
                  <a:lnTo>
                    <a:pt x="82" y="219"/>
                  </a:lnTo>
                  <a:lnTo>
                    <a:pt x="71" y="222"/>
                  </a:lnTo>
                  <a:lnTo>
                    <a:pt x="60" y="219"/>
                  </a:lnTo>
                  <a:lnTo>
                    <a:pt x="52" y="220"/>
                  </a:lnTo>
                  <a:lnTo>
                    <a:pt x="22" y="220"/>
                  </a:lnTo>
                  <a:lnTo>
                    <a:pt x="24" y="204"/>
                  </a:lnTo>
                  <a:lnTo>
                    <a:pt x="17" y="190"/>
                  </a:lnTo>
                  <a:lnTo>
                    <a:pt x="9" y="186"/>
                  </a:lnTo>
                  <a:lnTo>
                    <a:pt x="5" y="177"/>
                  </a:lnTo>
                  <a:lnTo>
                    <a:pt x="0" y="174"/>
                  </a:lnTo>
                  <a:lnTo>
                    <a:pt x="0" y="168"/>
                  </a:lnTo>
                  <a:lnTo>
                    <a:pt x="5" y="154"/>
                  </a:lnTo>
                  <a:lnTo>
                    <a:pt x="14" y="134"/>
                  </a:lnTo>
                  <a:lnTo>
                    <a:pt x="19" y="133"/>
                  </a:lnTo>
                  <a:lnTo>
                    <a:pt x="30" y="121"/>
                  </a:lnTo>
                  <a:lnTo>
                    <a:pt x="37" y="121"/>
                  </a:lnTo>
                  <a:lnTo>
                    <a:pt x="47" y="129"/>
                  </a:lnTo>
                  <a:lnTo>
                    <a:pt x="60" y="122"/>
                  </a:lnTo>
                  <a:lnTo>
                    <a:pt x="61" y="114"/>
                  </a:lnTo>
                  <a:lnTo>
                    <a:pt x="66" y="105"/>
                  </a:lnTo>
                  <a:lnTo>
                    <a:pt x="68" y="95"/>
                  </a:lnTo>
                  <a:lnTo>
                    <a:pt x="78" y="86"/>
                  </a:lnTo>
                  <a:lnTo>
                    <a:pt x="81" y="72"/>
                  </a:lnTo>
                  <a:lnTo>
                    <a:pt x="85" y="67"/>
                  </a:lnTo>
                  <a:lnTo>
                    <a:pt x="88" y="56"/>
                  </a:lnTo>
                  <a:lnTo>
                    <a:pt x="93" y="43"/>
                  </a:lnTo>
                  <a:lnTo>
                    <a:pt x="108" y="27"/>
                  </a:lnTo>
                  <a:lnTo>
                    <a:pt x="108" y="20"/>
                  </a:lnTo>
                  <a:lnTo>
                    <a:pt x="110" y="16"/>
                  </a:lnTo>
                  <a:lnTo>
                    <a:pt x="103" y="8"/>
                  </a:lnTo>
                  <a:lnTo>
                    <a:pt x="104" y="1"/>
                  </a:lnTo>
                  <a:lnTo>
                    <a:pt x="109" y="0"/>
                  </a:lnTo>
                  <a:lnTo>
                    <a:pt x="116" y="14"/>
                  </a:lnTo>
                  <a:lnTo>
                    <a:pt x="118" y="27"/>
                  </a:lnTo>
                  <a:lnTo>
                    <a:pt x="117" y="41"/>
                  </a:lnTo>
                  <a:lnTo>
                    <a:pt x="127" y="60"/>
                  </a:lnTo>
                  <a:lnTo>
                    <a:pt x="117" y="60"/>
                  </a:lnTo>
                  <a:lnTo>
                    <a:pt x="112" y="61"/>
                  </a:lnTo>
                  <a:lnTo>
                    <a:pt x="104" y="59"/>
                  </a:lnTo>
                  <a:lnTo>
                    <a:pt x="100" y="69"/>
                  </a:lnTo>
                  <a:lnTo>
                    <a:pt x="111" y="81"/>
                  </a:lnTo>
                  <a:lnTo>
                    <a:pt x="119" y="85"/>
                  </a:lnTo>
                  <a:lnTo>
                    <a:pt x="121" y="93"/>
                  </a:lnTo>
                  <a:lnTo>
                    <a:pt x="127" y="107"/>
                  </a:lnTo>
                  <a:lnTo>
                    <a:pt x="124" y="113"/>
                  </a:lnTo>
                  <a:lnTo>
                    <a:pt x="115" y="134"/>
                  </a:lnTo>
                  <a:lnTo>
                    <a:pt x="111" y="138"/>
                  </a:lnTo>
                  <a:lnTo>
                    <a:pt x="110" y="154"/>
                  </a:lnTo>
                  <a:lnTo>
                    <a:pt x="112" y="163"/>
                  </a:lnTo>
                  <a:lnTo>
                    <a:pt x="110" y="169"/>
                  </a:lnTo>
                  <a:lnTo>
                    <a:pt x="119" y="180"/>
                  </a:lnTo>
                  <a:lnTo>
                    <a:pt x="120" y="188"/>
                  </a:lnTo>
                  <a:lnTo>
                    <a:pt x="127" y="198"/>
                  </a:lnTo>
                  <a:lnTo>
                    <a:pt x="136" y="205"/>
                  </a:lnTo>
                  <a:lnTo>
                    <a:pt x="137" y="214"/>
                  </a:lnTo>
                  <a:lnTo>
                    <a:pt x="139" y="220"/>
                  </a:lnTo>
                  <a:lnTo>
                    <a:pt x="137" y="231"/>
                  </a:lnTo>
                  <a:lnTo>
                    <a:pt x="123" y="227"/>
                  </a:lnTo>
                  <a:lnTo>
                    <a:pt x="108" y="221"/>
                  </a:lnTo>
                  <a:lnTo>
                    <a:pt x="85" y="220"/>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80" name="Freeform 43"/>
            <p:cNvSpPr>
              <a:spLocks/>
            </p:cNvSpPr>
            <p:nvPr/>
          </p:nvSpPr>
          <p:spPr bwMode="auto">
            <a:xfrm>
              <a:off x="4537075" y="3532192"/>
              <a:ext cx="554038" cy="611188"/>
            </a:xfrm>
            <a:custGeom>
              <a:avLst/>
              <a:gdLst>
                <a:gd name="T0" fmla="*/ 342 w 349"/>
                <a:gd name="T1" fmla="*/ 61 h 385"/>
                <a:gd name="T2" fmla="*/ 343 w 349"/>
                <a:gd name="T3" fmla="*/ 71 h 385"/>
                <a:gd name="T4" fmla="*/ 329 w 349"/>
                <a:gd name="T5" fmla="*/ 87 h 385"/>
                <a:gd name="T6" fmla="*/ 324 w 349"/>
                <a:gd name="T7" fmla="*/ 114 h 385"/>
                <a:gd name="T8" fmla="*/ 320 w 349"/>
                <a:gd name="T9" fmla="*/ 137 h 385"/>
                <a:gd name="T10" fmla="*/ 314 w 349"/>
                <a:gd name="T11" fmla="*/ 155 h 385"/>
                <a:gd name="T12" fmla="*/ 310 w 349"/>
                <a:gd name="T13" fmla="*/ 168 h 385"/>
                <a:gd name="T14" fmla="*/ 315 w 349"/>
                <a:gd name="T15" fmla="*/ 203 h 385"/>
                <a:gd name="T16" fmla="*/ 316 w 349"/>
                <a:gd name="T17" fmla="*/ 233 h 385"/>
                <a:gd name="T18" fmla="*/ 330 w 349"/>
                <a:gd name="T19" fmla="*/ 256 h 385"/>
                <a:gd name="T20" fmla="*/ 332 w 349"/>
                <a:gd name="T21" fmla="*/ 281 h 385"/>
                <a:gd name="T22" fmla="*/ 303 w 349"/>
                <a:gd name="T23" fmla="*/ 287 h 385"/>
                <a:gd name="T24" fmla="*/ 301 w 349"/>
                <a:gd name="T25" fmla="*/ 309 h 385"/>
                <a:gd name="T26" fmla="*/ 295 w 349"/>
                <a:gd name="T27" fmla="*/ 354 h 385"/>
                <a:gd name="T28" fmla="*/ 312 w 349"/>
                <a:gd name="T29" fmla="*/ 366 h 385"/>
                <a:gd name="T30" fmla="*/ 318 w 349"/>
                <a:gd name="T31" fmla="*/ 385 h 385"/>
                <a:gd name="T32" fmla="*/ 297 w 349"/>
                <a:gd name="T33" fmla="*/ 373 h 385"/>
                <a:gd name="T34" fmla="*/ 276 w 349"/>
                <a:gd name="T35" fmla="*/ 362 h 385"/>
                <a:gd name="T36" fmla="*/ 261 w 349"/>
                <a:gd name="T37" fmla="*/ 357 h 385"/>
                <a:gd name="T38" fmla="*/ 241 w 349"/>
                <a:gd name="T39" fmla="*/ 345 h 385"/>
                <a:gd name="T40" fmla="*/ 221 w 349"/>
                <a:gd name="T41" fmla="*/ 344 h 385"/>
                <a:gd name="T42" fmla="*/ 214 w 349"/>
                <a:gd name="T43" fmla="*/ 336 h 385"/>
                <a:gd name="T44" fmla="*/ 194 w 349"/>
                <a:gd name="T45" fmla="*/ 338 h 385"/>
                <a:gd name="T46" fmla="*/ 181 w 349"/>
                <a:gd name="T47" fmla="*/ 340 h 385"/>
                <a:gd name="T48" fmla="*/ 177 w 349"/>
                <a:gd name="T49" fmla="*/ 307 h 385"/>
                <a:gd name="T50" fmla="*/ 178 w 349"/>
                <a:gd name="T51" fmla="*/ 282 h 385"/>
                <a:gd name="T52" fmla="*/ 175 w 349"/>
                <a:gd name="T53" fmla="*/ 261 h 385"/>
                <a:gd name="T54" fmla="*/ 154 w 349"/>
                <a:gd name="T55" fmla="*/ 253 h 385"/>
                <a:gd name="T56" fmla="*/ 144 w 349"/>
                <a:gd name="T57" fmla="*/ 257 h 385"/>
                <a:gd name="T58" fmla="*/ 128 w 349"/>
                <a:gd name="T59" fmla="*/ 270 h 385"/>
                <a:gd name="T60" fmla="*/ 115 w 349"/>
                <a:gd name="T61" fmla="*/ 273 h 385"/>
                <a:gd name="T62" fmla="*/ 97 w 349"/>
                <a:gd name="T63" fmla="*/ 277 h 385"/>
                <a:gd name="T64" fmla="*/ 85 w 349"/>
                <a:gd name="T65" fmla="*/ 260 h 385"/>
                <a:gd name="T66" fmla="*/ 76 w 349"/>
                <a:gd name="T67" fmla="*/ 232 h 385"/>
                <a:gd name="T68" fmla="*/ 15 w 349"/>
                <a:gd name="T69" fmla="*/ 234 h 385"/>
                <a:gd name="T70" fmla="*/ 2 w 349"/>
                <a:gd name="T71" fmla="*/ 236 h 385"/>
                <a:gd name="T72" fmla="*/ 5 w 349"/>
                <a:gd name="T73" fmla="*/ 228 h 385"/>
                <a:gd name="T74" fmla="*/ 8 w 349"/>
                <a:gd name="T75" fmla="*/ 213 h 385"/>
                <a:gd name="T76" fmla="*/ 20 w 349"/>
                <a:gd name="T77" fmla="*/ 211 h 385"/>
                <a:gd name="T78" fmla="*/ 36 w 349"/>
                <a:gd name="T79" fmla="*/ 203 h 385"/>
                <a:gd name="T80" fmla="*/ 44 w 349"/>
                <a:gd name="T81" fmla="*/ 213 h 385"/>
                <a:gd name="T82" fmla="*/ 66 w 349"/>
                <a:gd name="T83" fmla="*/ 190 h 385"/>
                <a:gd name="T84" fmla="*/ 70 w 349"/>
                <a:gd name="T85" fmla="*/ 166 h 385"/>
                <a:gd name="T86" fmla="*/ 86 w 349"/>
                <a:gd name="T87" fmla="*/ 135 h 385"/>
                <a:gd name="T88" fmla="*/ 101 w 349"/>
                <a:gd name="T89" fmla="*/ 118 h 385"/>
                <a:gd name="T90" fmla="*/ 104 w 349"/>
                <a:gd name="T91" fmla="*/ 103 h 385"/>
                <a:gd name="T92" fmla="*/ 105 w 349"/>
                <a:gd name="T93" fmla="*/ 73 h 385"/>
                <a:gd name="T94" fmla="*/ 114 w 349"/>
                <a:gd name="T95" fmla="*/ 49 h 385"/>
                <a:gd name="T96" fmla="*/ 117 w 349"/>
                <a:gd name="T97" fmla="*/ 22 h 385"/>
                <a:gd name="T98" fmla="*/ 134 w 349"/>
                <a:gd name="T99" fmla="*/ 5 h 385"/>
                <a:gd name="T100" fmla="*/ 161 w 349"/>
                <a:gd name="T101" fmla="*/ 20 h 385"/>
                <a:gd name="T102" fmla="*/ 188 w 349"/>
                <a:gd name="T103" fmla="*/ 26 h 385"/>
                <a:gd name="T104" fmla="*/ 196 w 349"/>
                <a:gd name="T105" fmla="*/ 11 h 385"/>
                <a:gd name="T106" fmla="*/ 224 w 349"/>
                <a:gd name="T107" fmla="*/ 3 h 385"/>
                <a:gd name="T108" fmla="*/ 238 w 349"/>
                <a:gd name="T109" fmla="*/ 7 h 385"/>
                <a:gd name="T110" fmla="*/ 247 w 349"/>
                <a:gd name="T111" fmla="*/ 0 h 385"/>
                <a:gd name="T112" fmla="*/ 273 w 349"/>
                <a:gd name="T113" fmla="*/ 3 h 385"/>
                <a:gd name="T114" fmla="*/ 290 w 349"/>
                <a:gd name="T115" fmla="*/ 18 h 385"/>
                <a:gd name="T116" fmla="*/ 303 w 349"/>
                <a:gd name="T117" fmla="*/ 17 h 385"/>
                <a:gd name="T118" fmla="*/ 322 w 349"/>
                <a:gd name="T119" fmla="*/ 14 h 385"/>
                <a:gd name="T120" fmla="*/ 343 w 349"/>
                <a:gd name="T121" fmla="*/ 37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9" h="385">
                  <a:moveTo>
                    <a:pt x="343" y="37"/>
                  </a:moveTo>
                  <a:lnTo>
                    <a:pt x="342" y="61"/>
                  </a:lnTo>
                  <a:lnTo>
                    <a:pt x="349" y="64"/>
                  </a:lnTo>
                  <a:lnTo>
                    <a:pt x="343" y="71"/>
                  </a:lnTo>
                  <a:lnTo>
                    <a:pt x="336" y="77"/>
                  </a:lnTo>
                  <a:lnTo>
                    <a:pt x="329" y="87"/>
                  </a:lnTo>
                  <a:lnTo>
                    <a:pt x="325" y="97"/>
                  </a:lnTo>
                  <a:lnTo>
                    <a:pt x="324" y="114"/>
                  </a:lnTo>
                  <a:lnTo>
                    <a:pt x="320" y="122"/>
                  </a:lnTo>
                  <a:lnTo>
                    <a:pt x="320" y="137"/>
                  </a:lnTo>
                  <a:lnTo>
                    <a:pt x="314" y="143"/>
                  </a:lnTo>
                  <a:lnTo>
                    <a:pt x="314" y="155"/>
                  </a:lnTo>
                  <a:lnTo>
                    <a:pt x="311" y="157"/>
                  </a:lnTo>
                  <a:lnTo>
                    <a:pt x="310" y="168"/>
                  </a:lnTo>
                  <a:lnTo>
                    <a:pt x="314" y="178"/>
                  </a:lnTo>
                  <a:lnTo>
                    <a:pt x="315" y="203"/>
                  </a:lnTo>
                  <a:lnTo>
                    <a:pt x="318" y="222"/>
                  </a:lnTo>
                  <a:lnTo>
                    <a:pt x="316" y="233"/>
                  </a:lnTo>
                  <a:lnTo>
                    <a:pt x="320" y="245"/>
                  </a:lnTo>
                  <a:lnTo>
                    <a:pt x="330" y="256"/>
                  </a:lnTo>
                  <a:lnTo>
                    <a:pt x="340" y="283"/>
                  </a:lnTo>
                  <a:lnTo>
                    <a:pt x="332" y="281"/>
                  </a:lnTo>
                  <a:lnTo>
                    <a:pt x="308" y="284"/>
                  </a:lnTo>
                  <a:lnTo>
                    <a:pt x="303" y="287"/>
                  </a:lnTo>
                  <a:lnTo>
                    <a:pt x="297" y="300"/>
                  </a:lnTo>
                  <a:lnTo>
                    <a:pt x="301" y="309"/>
                  </a:lnTo>
                  <a:lnTo>
                    <a:pt x="297" y="334"/>
                  </a:lnTo>
                  <a:lnTo>
                    <a:pt x="295" y="354"/>
                  </a:lnTo>
                  <a:lnTo>
                    <a:pt x="300" y="358"/>
                  </a:lnTo>
                  <a:lnTo>
                    <a:pt x="312" y="366"/>
                  </a:lnTo>
                  <a:lnTo>
                    <a:pt x="317" y="363"/>
                  </a:lnTo>
                  <a:lnTo>
                    <a:pt x="318" y="385"/>
                  </a:lnTo>
                  <a:lnTo>
                    <a:pt x="304" y="385"/>
                  </a:lnTo>
                  <a:lnTo>
                    <a:pt x="297" y="373"/>
                  </a:lnTo>
                  <a:lnTo>
                    <a:pt x="290" y="364"/>
                  </a:lnTo>
                  <a:lnTo>
                    <a:pt x="276" y="362"/>
                  </a:lnTo>
                  <a:lnTo>
                    <a:pt x="273" y="351"/>
                  </a:lnTo>
                  <a:lnTo>
                    <a:pt x="261" y="357"/>
                  </a:lnTo>
                  <a:lnTo>
                    <a:pt x="247" y="354"/>
                  </a:lnTo>
                  <a:lnTo>
                    <a:pt x="241" y="345"/>
                  </a:lnTo>
                  <a:lnTo>
                    <a:pt x="229" y="343"/>
                  </a:lnTo>
                  <a:lnTo>
                    <a:pt x="221" y="344"/>
                  </a:lnTo>
                  <a:lnTo>
                    <a:pt x="220" y="337"/>
                  </a:lnTo>
                  <a:lnTo>
                    <a:pt x="214" y="336"/>
                  </a:lnTo>
                  <a:lnTo>
                    <a:pt x="205" y="335"/>
                  </a:lnTo>
                  <a:lnTo>
                    <a:pt x="194" y="338"/>
                  </a:lnTo>
                  <a:lnTo>
                    <a:pt x="186" y="338"/>
                  </a:lnTo>
                  <a:lnTo>
                    <a:pt x="181" y="340"/>
                  </a:lnTo>
                  <a:lnTo>
                    <a:pt x="183" y="315"/>
                  </a:lnTo>
                  <a:lnTo>
                    <a:pt x="177" y="307"/>
                  </a:lnTo>
                  <a:lnTo>
                    <a:pt x="176" y="294"/>
                  </a:lnTo>
                  <a:lnTo>
                    <a:pt x="178" y="282"/>
                  </a:lnTo>
                  <a:lnTo>
                    <a:pt x="175" y="274"/>
                  </a:lnTo>
                  <a:lnTo>
                    <a:pt x="175" y="261"/>
                  </a:lnTo>
                  <a:lnTo>
                    <a:pt x="153" y="261"/>
                  </a:lnTo>
                  <a:lnTo>
                    <a:pt x="154" y="253"/>
                  </a:lnTo>
                  <a:lnTo>
                    <a:pt x="145" y="254"/>
                  </a:lnTo>
                  <a:lnTo>
                    <a:pt x="144" y="257"/>
                  </a:lnTo>
                  <a:lnTo>
                    <a:pt x="132" y="258"/>
                  </a:lnTo>
                  <a:lnTo>
                    <a:pt x="128" y="270"/>
                  </a:lnTo>
                  <a:lnTo>
                    <a:pt x="125" y="275"/>
                  </a:lnTo>
                  <a:lnTo>
                    <a:pt x="115" y="273"/>
                  </a:lnTo>
                  <a:lnTo>
                    <a:pt x="109" y="275"/>
                  </a:lnTo>
                  <a:lnTo>
                    <a:pt x="97" y="277"/>
                  </a:lnTo>
                  <a:lnTo>
                    <a:pt x="90" y="266"/>
                  </a:lnTo>
                  <a:lnTo>
                    <a:pt x="85" y="260"/>
                  </a:lnTo>
                  <a:lnTo>
                    <a:pt x="80" y="247"/>
                  </a:lnTo>
                  <a:lnTo>
                    <a:pt x="76" y="232"/>
                  </a:lnTo>
                  <a:lnTo>
                    <a:pt x="22" y="231"/>
                  </a:lnTo>
                  <a:lnTo>
                    <a:pt x="15" y="234"/>
                  </a:lnTo>
                  <a:lnTo>
                    <a:pt x="10" y="233"/>
                  </a:lnTo>
                  <a:lnTo>
                    <a:pt x="2" y="236"/>
                  </a:lnTo>
                  <a:lnTo>
                    <a:pt x="0" y="230"/>
                  </a:lnTo>
                  <a:lnTo>
                    <a:pt x="5" y="228"/>
                  </a:lnTo>
                  <a:lnTo>
                    <a:pt x="5" y="218"/>
                  </a:lnTo>
                  <a:lnTo>
                    <a:pt x="8" y="213"/>
                  </a:lnTo>
                  <a:lnTo>
                    <a:pt x="15" y="209"/>
                  </a:lnTo>
                  <a:lnTo>
                    <a:pt x="20" y="211"/>
                  </a:lnTo>
                  <a:lnTo>
                    <a:pt x="26" y="203"/>
                  </a:lnTo>
                  <a:lnTo>
                    <a:pt x="36" y="203"/>
                  </a:lnTo>
                  <a:lnTo>
                    <a:pt x="37" y="209"/>
                  </a:lnTo>
                  <a:lnTo>
                    <a:pt x="44" y="213"/>
                  </a:lnTo>
                  <a:lnTo>
                    <a:pt x="55" y="200"/>
                  </a:lnTo>
                  <a:lnTo>
                    <a:pt x="66" y="190"/>
                  </a:lnTo>
                  <a:lnTo>
                    <a:pt x="70" y="183"/>
                  </a:lnTo>
                  <a:lnTo>
                    <a:pt x="70" y="166"/>
                  </a:lnTo>
                  <a:lnTo>
                    <a:pt x="78" y="146"/>
                  </a:lnTo>
                  <a:lnTo>
                    <a:pt x="86" y="135"/>
                  </a:lnTo>
                  <a:lnTo>
                    <a:pt x="98" y="125"/>
                  </a:lnTo>
                  <a:lnTo>
                    <a:pt x="101" y="118"/>
                  </a:lnTo>
                  <a:lnTo>
                    <a:pt x="101" y="111"/>
                  </a:lnTo>
                  <a:lnTo>
                    <a:pt x="104" y="103"/>
                  </a:lnTo>
                  <a:lnTo>
                    <a:pt x="103" y="92"/>
                  </a:lnTo>
                  <a:lnTo>
                    <a:pt x="105" y="73"/>
                  </a:lnTo>
                  <a:lnTo>
                    <a:pt x="109" y="60"/>
                  </a:lnTo>
                  <a:lnTo>
                    <a:pt x="114" y="49"/>
                  </a:lnTo>
                  <a:lnTo>
                    <a:pt x="115" y="37"/>
                  </a:lnTo>
                  <a:lnTo>
                    <a:pt x="117" y="22"/>
                  </a:lnTo>
                  <a:lnTo>
                    <a:pt x="124" y="11"/>
                  </a:lnTo>
                  <a:lnTo>
                    <a:pt x="134" y="5"/>
                  </a:lnTo>
                  <a:lnTo>
                    <a:pt x="149" y="12"/>
                  </a:lnTo>
                  <a:lnTo>
                    <a:pt x="161" y="20"/>
                  </a:lnTo>
                  <a:lnTo>
                    <a:pt x="174" y="22"/>
                  </a:lnTo>
                  <a:lnTo>
                    <a:pt x="188" y="26"/>
                  </a:lnTo>
                  <a:lnTo>
                    <a:pt x="193" y="13"/>
                  </a:lnTo>
                  <a:lnTo>
                    <a:pt x="196" y="11"/>
                  </a:lnTo>
                  <a:lnTo>
                    <a:pt x="204" y="14"/>
                  </a:lnTo>
                  <a:lnTo>
                    <a:pt x="224" y="3"/>
                  </a:lnTo>
                  <a:lnTo>
                    <a:pt x="232" y="8"/>
                  </a:lnTo>
                  <a:lnTo>
                    <a:pt x="238" y="7"/>
                  </a:lnTo>
                  <a:lnTo>
                    <a:pt x="240" y="2"/>
                  </a:lnTo>
                  <a:lnTo>
                    <a:pt x="247" y="0"/>
                  </a:lnTo>
                  <a:lnTo>
                    <a:pt x="261" y="2"/>
                  </a:lnTo>
                  <a:lnTo>
                    <a:pt x="273" y="3"/>
                  </a:lnTo>
                  <a:lnTo>
                    <a:pt x="279" y="1"/>
                  </a:lnTo>
                  <a:lnTo>
                    <a:pt x="290" y="18"/>
                  </a:lnTo>
                  <a:lnTo>
                    <a:pt x="298" y="20"/>
                  </a:lnTo>
                  <a:lnTo>
                    <a:pt x="303" y="17"/>
                  </a:lnTo>
                  <a:lnTo>
                    <a:pt x="312" y="18"/>
                  </a:lnTo>
                  <a:lnTo>
                    <a:pt x="322" y="14"/>
                  </a:lnTo>
                  <a:lnTo>
                    <a:pt x="326" y="23"/>
                  </a:lnTo>
                  <a:lnTo>
                    <a:pt x="343" y="37"/>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81" name="Freeform 44"/>
            <p:cNvSpPr>
              <a:spLocks/>
            </p:cNvSpPr>
            <p:nvPr/>
          </p:nvSpPr>
          <p:spPr bwMode="auto">
            <a:xfrm>
              <a:off x="4505325" y="3582992"/>
              <a:ext cx="214313" cy="288925"/>
            </a:xfrm>
            <a:custGeom>
              <a:avLst/>
              <a:gdLst>
                <a:gd name="T0" fmla="*/ 35 w 135"/>
                <a:gd name="T1" fmla="*/ 177 h 182"/>
                <a:gd name="T2" fmla="*/ 28 w 135"/>
                <a:gd name="T3" fmla="*/ 170 h 182"/>
                <a:gd name="T4" fmla="*/ 22 w 135"/>
                <a:gd name="T5" fmla="*/ 173 h 182"/>
                <a:gd name="T6" fmla="*/ 15 w 135"/>
                <a:gd name="T7" fmla="*/ 182 h 182"/>
                <a:gd name="T8" fmla="*/ 0 w 135"/>
                <a:gd name="T9" fmla="*/ 160 h 182"/>
                <a:gd name="T10" fmla="*/ 14 w 135"/>
                <a:gd name="T11" fmla="*/ 149 h 182"/>
                <a:gd name="T12" fmla="*/ 7 w 135"/>
                <a:gd name="T13" fmla="*/ 135 h 182"/>
                <a:gd name="T14" fmla="*/ 14 w 135"/>
                <a:gd name="T15" fmla="*/ 130 h 182"/>
                <a:gd name="T16" fmla="*/ 26 w 135"/>
                <a:gd name="T17" fmla="*/ 127 h 182"/>
                <a:gd name="T18" fmla="*/ 27 w 135"/>
                <a:gd name="T19" fmla="*/ 118 h 182"/>
                <a:gd name="T20" fmla="*/ 37 w 135"/>
                <a:gd name="T21" fmla="*/ 128 h 182"/>
                <a:gd name="T22" fmla="*/ 53 w 135"/>
                <a:gd name="T23" fmla="*/ 129 h 182"/>
                <a:gd name="T24" fmla="*/ 59 w 135"/>
                <a:gd name="T25" fmla="*/ 119 h 182"/>
                <a:gd name="T26" fmla="*/ 61 w 135"/>
                <a:gd name="T27" fmla="*/ 105 h 182"/>
                <a:gd name="T28" fmla="*/ 60 w 135"/>
                <a:gd name="T29" fmla="*/ 89 h 182"/>
                <a:gd name="T30" fmla="*/ 51 w 135"/>
                <a:gd name="T31" fmla="*/ 77 h 182"/>
                <a:gd name="T32" fmla="*/ 59 w 135"/>
                <a:gd name="T33" fmla="*/ 53 h 182"/>
                <a:gd name="T34" fmla="*/ 54 w 135"/>
                <a:gd name="T35" fmla="*/ 48 h 182"/>
                <a:gd name="T36" fmla="*/ 40 w 135"/>
                <a:gd name="T37" fmla="*/ 50 h 182"/>
                <a:gd name="T38" fmla="*/ 35 w 135"/>
                <a:gd name="T39" fmla="*/ 39 h 182"/>
                <a:gd name="T40" fmla="*/ 37 w 135"/>
                <a:gd name="T41" fmla="*/ 30 h 182"/>
                <a:gd name="T42" fmla="*/ 60 w 135"/>
                <a:gd name="T43" fmla="*/ 31 h 182"/>
                <a:gd name="T44" fmla="*/ 75 w 135"/>
                <a:gd name="T45" fmla="*/ 37 h 182"/>
                <a:gd name="T46" fmla="*/ 89 w 135"/>
                <a:gd name="T47" fmla="*/ 41 h 182"/>
                <a:gd name="T48" fmla="*/ 91 w 135"/>
                <a:gd name="T49" fmla="*/ 30 h 182"/>
                <a:gd name="T50" fmla="*/ 100 w 135"/>
                <a:gd name="T51" fmla="*/ 11 h 182"/>
                <a:gd name="T52" fmla="*/ 111 w 135"/>
                <a:gd name="T53" fmla="*/ 0 h 182"/>
                <a:gd name="T54" fmla="*/ 123 w 135"/>
                <a:gd name="T55" fmla="*/ 3 h 182"/>
                <a:gd name="T56" fmla="*/ 135 w 135"/>
                <a:gd name="T57" fmla="*/ 5 h 182"/>
                <a:gd name="T58" fmla="*/ 134 w 135"/>
                <a:gd name="T59" fmla="*/ 17 h 182"/>
                <a:gd name="T60" fmla="*/ 129 w 135"/>
                <a:gd name="T61" fmla="*/ 28 h 182"/>
                <a:gd name="T62" fmla="*/ 125 w 135"/>
                <a:gd name="T63" fmla="*/ 41 h 182"/>
                <a:gd name="T64" fmla="*/ 123 w 135"/>
                <a:gd name="T65" fmla="*/ 60 h 182"/>
                <a:gd name="T66" fmla="*/ 124 w 135"/>
                <a:gd name="T67" fmla="*/ 71 h 182"/>
                <a:gd name="T68" fmla="*/ 121 w 135"/>
                <a:gd name="T69" fmla="*/ 79 h 182"/>
                <a:gd name="T70" fmla="*/ 121 w 135"/>
                <a:gd name="T71" fmla="*/ 86 h 182"/>
                <a:gd name="T72" fmla="*/ 118 w 135"/>
                <a:gd name="T73" fmla="*/ 93 h 182"/>
                <a:gd name="T74" fmla="*/ 106 w 135"/>
                <a:gd name="T75" fmla="*/ 103 h 182"/>
                <a:gd name="T76" fmla="*/ 98 w 135"/>
                <a:gd name="T77" fmla="*/ 114 h 182"/>
                <a:gd name="T78" fmla="*/ 90 w 135"/>
                <a:gd name="T79" fmla="*/ 134 h 182"/>
                <a:gd name="T80" fmla="*/ 90 w 135"/>
                <a:gd name="T81" fmla="*/ 151 h 182"/>
                <a:gd name="T82" fmla="*/ 86 w 135"/>
                <a:gd name="T83" fmla="*/ 158 h 182"/>
                <a:gd name="T84" fmla="*/ 75 w 135"/>
                <a:gd name="T85" fmla="*/ 168 h 182"/>
                <a:gd name="T86" fmla="*/ 64 w 135"/>
                <a:gd name="T87" fmla="*/ 181 h 182"/>
                <a:gd name="T88" fmla="*/ 57 w 135"/>
                <a:gd name="T89" fmla="*/ 177 h 182"/>
                <a:gd name="T90" fmla="*/ 56 w 135"/>
                <a:gd name="T91" fmla="*/ 171 h 182"/>
                <a:gd name="T92" fmla="*/ 46 w 135"/>
                <a:gd name="T93" fmla="*/ 171 h 182"/>
                <a:gd name="T94" fmla="*/ 40 w 135"/>
                <a:gd name="T95" fmla="*/ 179 h 182"/>
                <a:gd name="T96" fmla="*/ 35 w 135"/>
                <a:gd name="T97"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 h="182">
                  <a:moveTo>
                    <a:pt x="35" y="177"/>
                  </a:moveTo>
                  <a:lnTo>
                    <a:pt x="28" y="170"/>
                  </a:lnTo>
                  <a:lnTo>
                    <a:pt x="22" y="173"/>
                  </a:lnTo>
                  <a:lnTo>
                    <a:pt x="15" y="182"/>
                  </a:lnTo>
                  <a:lnTo>
                    <a:pt x="0" y="160"/>
                  </a:lnTo>
                  <a:lnTo>
                    <a:pt x="14" y="149"/>
                  </a:lnTo>
                  <a:lnTo>
                    <a:pt x="7" y="135"/>
                  </a:lnTo>
                  <a:lnTo>
                    <a:pt x="14" y="130"/>
                  </a:lnTo>
                  <a:lnTo>
                    <a:pt x="26" y="127"/>
                  </a:lnTo>
                  <a:lnTo>
                    <a:pt x="27" y="118"/>
                  </a:lnTo>
                  <a:lnTo>
                    <a:pt x="37" y="128"/>
                  </a:lnTo>
                  <a:lnTo>
                    <a:pt x="53" y="129"/>
                  </a:lnTo>
                  <a:lnTo>
                    <a:pt x="59" y="119"/>
                  </a:lnTo>
                  <a:lnTo>
                    <a:pt x="61" y="105"/>
                  </a:lnTo>
                  <a:lnTo>
                    <a:pt x="60" y="89"/>
                  </a:lnTo>
                  <a:lnTo>
                    <a:pt x="51" y="77"/>
                  </a:lnTo>
                  <a:lnTo>
                    <a:pt x="59" y="53"/>
                  </a:lnTo>
                  <a:lnTo>
                    <a:pt x="54" y="48"/>
                  </a:lnTo>
                  <a:lnTo>
                    <a:pt x="40" y="50"/>
                  </a:lnTo>
                  <a:lnTo>
                    <a:pt x="35" y="39"/>
                  </a:lnTo>
                  <a:lnTo>
                    <a:pt x="37" y="30"/>
                  </a:lnTo>
                  <a:lnTo>
                    <a:pt x="60" y="31"/>
                  </a:lnTo>
                  <a:lnTo>
                    <a:pt x="75" y="37"/>
                  </a:lnTo>
                  <a:lnTo>
                    <a:pt x="89" y="41"/>
                  </a:lnTo>
                  <a:lnTo>
                    <a:pt x="91" y="30"/>
                  </a:lnTo>
                  <a:lnTo>
                    <a:pt x="100" y="11"/>
                  </a:lnTo>
                  <a:lnTo>
                    <a:pt x="111" y="0"/>
                  </a:lnTo>
                  <a:lnTo>
                    <a:pt x="123" y="3"/>
                  </a:lnTo>
                  <a:lnTo>
                    <a:pt x="135" y="5"/>
                  </a:lnTo>
                  <a:lnTo>
                    <a:pt x="134" y="17"/>
                  </a:lnTo>
                  <a:lnTo>
                    <a:pt x="129" y="28"/>
                  </a:lnTo>
                  <a:lnTo>
                    <a:pt x="125" y="41"/>
                  </a:lnTo>
                  <a:lnTo>
                    <a:pt x="123" y="60"/>
                  </a:lnTo>
                  <a:lnTo>
                    <a:pt x="124" y="71"/>
                  </a:lnTo>
                  <a:lnTo>
                    <a:pt x="121" y="79"/>
                  </a:lnTo>
                  <a:lnTo>
                    <a:pt x="121" y="86"/>
                  </a:lnTo>
                  <a:lnTo>
                    <a:pt x="118" y="93"/>
                  </a:lnTo>
                  <a:lnTo>
                    <a:pt x="106" y="103"/>
                  </a:lnTo>
                  <a:lnTo>
                    <a:pt x="98" y="114"/>
                  </a:lnTo>
                  <a:lnTo>
                    <a:pt x="90" y="134"/>
                  </a:lnTo>
                  <a:lnTo>
                    <a:pt x="90" y="151"/>
                  </a:lnTo>
                  <a:lnTo>
                    <a:pt x="86" y="158"/>
                  </a:lnTo>
                  <a:lnTo>
                    <a:pt x="75" y="168"/>
                  </a:lnTo>
                  <a:lnTo>
                    <a:pt x="64" y="181"/>
                  </a:lnTo>
                  <a:lnTo>
                    <a:pt x="57" y="177"/>
                  </a:lnTo>
                  <a:lnTo>
                    <a:pt x="56" y="171"/>
                  </a:lnTo>
                  <a:lnTo>
                    <a:pt x="46" y="171"/>
                  </a:lnTo>
                  <a:lnTo>
                    <a:pt x="40" y="179"/>
                  </a:lnTo>
                  <a:lnTo>
                    <a:pt x="35" y="17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82" name="Freeform 45"/>
            <p:cNvSpPr>
              <a:spLocks/>
            </p:cNvSpPr>
            <p:nvPr/>
          </p:nvSpPr>
          <p:spPr bwMode="auto">
            <a:xfrm>
              <a:off x="1878012" y="3295654"/>
              <a:ext cx="354013" cy="552450"/>
            </a:xfrm>
            <a:custGeom>
              <a:avLst/>
              <a:gdLst>
                <a:gd name="T0" fmla="*/ 59 w 223"/>
                <a:gd name="T1" fmla="*/ 257 h 348"/>
                <a:gd name="T2" fmla="*/ 44 w 223"/>
                <a:gd name="T3" fmla="*/ 253 h 348"/>
                <a:gd name="T4" fmla="*/ 24 w 223"/>
                <a:gd name="T5" fmla="*/ 241 h 348"/>
                <a:gd name="T6" fmla="*/ 3 w 223"/>
                <a:gd name="T7" fmla="*/ 230 h 348"/>
                <a:gd name="T8" fmla="*/ 7 w 223"/>
                <a:gd name="T9" fmla="*/ 222 h 348"/>
                <a:gd name="T10" fmla="*/ 11 w 223"/>
                <a:gd name="T11" fmla="*/ 204 h 348"/>
                <a:gd name="T12" fmla="*/ 28 w 223"/>
                <a:gd name="T13" fmla="*/ 189 h 348"/>
                <a:gd name="T14" fmla="*/ 28 w 223"/>
                <a:gd name="T15" fmla="*/ 173 h 348"/>
                <a:gd name="T16" fmla="*/ 29 w 223"/>
                <a:gd name="T17" fmla="*/ 142 h 348"/>
                <a:gd name="T18" fmla="*/ 30 w 223"/>
                <a:gd name="T19" fmla="*/ 119 h 348"/>
                <a:gd name="T20" fmla="*/ 26 w 223"/>
                <a:gd name="T21" fmla="*/ 98 h 348"/>
                <a:gd name="T22" fmla="*/ 36 w 223"/>
                <a:gd name="T23" fmla="*/ 94 h 348"/>
                <a:gd name="T24" fmla="*/ 34 w 223"/>
                <a:gd name="T25" fmla="*/ 78 h 348"/>
                <a:gd name="T26" fmla="*/ 58 w 223"/>
                <a:gd name="T27" fmla="*/ 64 h 348"/>
                <a:gd name="T28" fmla="*/ 67 w 223"/>
                <a:gd name="T29" fmla="*/ 55 h 348"/>
                <a:gd name="T30" fmla="*/ 82 w 223"/>
                <a:gd name="T31" fmla="*/ 28 h 348"/>
                <a:gd name="T32" fmla="*/ 96 w 223"/>
                <a:gd name="T33" fmla="*/ 23 h 348"/>
                <a:gd name="T34" fmla="*/ 125 w 223"/>
                <a:gd name="T35" fmla="*/ 15 h 348"/>
                <a:gd name="T36" fmla="*/ 142 w 223"/>
                <a:gd name="T37" fmla="*/ 0 h 348"/>
                <a:gd name="T38" fmla="*/ 152 w 223"/>
                <a:gd name="T39" fmla="*/ 7 h 348"/>
                <a:gd name="T40" fmla="*/ 137 w 223"/>
                <a:gd name="T41" fmla="*/ 17 h 348"/>
                <a:gd name="T42" fmla="*/ 124 w 223"/>
                <a:gd name="T43" fmla="*/ 34 h 348"/>
                <a:gd name="T44" fmla="*/ 115 w 223"/>
                <a:gd name="T45" fmla="*/ 56 h 348"/>
                <a:gd name="T46" fmla="*/ 118 w 223"/>
                <a:gd name="T47" fmla="*/ 70 h 348"/>
                <a:gd name="T48" fmla="*/ 124 w 223"/>
                <a:gd name="T49" fmla="*/ 84 h 348"/>
                <a:gd name="T50" fmla="*/ 123 w 223"/>
                <a:gd name="T51" fmla="*/ 100 h 348"/>
                <a:gd name="T52" fmla="*/ 128 w 223"/>
                <a:gd name="T53" fmla="*/ 106 h 348"/>
                <a:gd name="T54" fmla="*/ 156 w 223"/>
                <a:gd name="T55" fmla="*/ 111 h 348"/>
                <a:gd name="T56" fmla="*/ 178 w 223"/>
                <a:gd name="T57" fmla="*/ 132 h 348"/>
                <a:gd name="T58" fmla="*/ 199 w 223"/>
                <a:gd name="T59" fmla="*/ 131 h 348"/>
                <a:gd name="T60" fmla="*/ 216 w 223"/>
                <a:gd name="T61" fmla="*/ 132 h 348"/>
                <a:gd name="T62" fmla="*/ 208 w 223"/>
                <a:gd name="T63" fmla="*/ 150 h 348"/>
                <a:gd name="T64" fmla="*/ 210 w 223"/>
                <a:gd name="T65" fmla="*/ 179 h 348"/>
                <a:gd name="T66" fmla="*/ 215 w 223"/>
                <a:gd name="T67" fmla="*/ 189 h 348"/>
                <a:gd name="T68" fmla="*/ 212 w 223"/>
                <a:gd name="T69" fmla="*/ 204 h 348"/>
                <a:gd name="T70" fmla="*/ 223 w 223"/>
                <a:gd name="T71" fmla="*/ 232 h 348"/>
                <a:gd name="T72" fmla="*/ 216 w 223"/>
                <a:gd name="T73" fmla="*/ 223 h 348"/>
                <a:gd name="T74" fmla="*/ 204 w 223"/>
                <a:gd name="T75" fmla="*/ 223 h 348"/>
                <a:gd name="T76" fmla="*/ 169 w 223"/>
                <a:gd name="T77" fmla="*/ 236 h 348"/>
                <a:gd name="T78" fmla="*/ 179 w 223"/>
                <a:gd name="T79" fmla="*/ 246 h 348"/>
                <a:gd name="T80" fmla="*/ 165 w 223"/>
                <a:gd name="T81" fmla="*/ 247 h 348"/>
                <a:gd name="T82" fmla="*/ 173 w 223"/>
                <a:gd name="T83" fmla="*/ 270 h 348"/>
                <a:gd name="T84" fmla="*/ 175 w 223"/>
                <a:gd name="T85" fmla="*/ 291 h 348"/>
                <a:gd name="T86" fmla="*/ 159 w 223"/>
                <a:gd name="T87" fmla="*/ 337 h 348"/>
                <a:gd name="T88" fmla="*/ 165 w 223"/>
                <a:gd name="T89" fmla="*/ 315 h 348"/>
                <a:gd name="T90" fmla="*/ 139 w 223"/>
                <a:gd name="T91" fmla="*/ 307 h 348"/>
                <a:gd name="T92" fmla="*/ 123 w 223"/>
                <a:gd name="T93" fmla="*/ 309 h 348"/>
                <a:gd name="T94" fmla="*/ 98 w 223"/>
                <a:gd name="T95" fmla="*/ 285 h 348"/>
                <a:gd name="T96" fmla="*/ 84 w 223"/>
                <a:gd name="T97" fmla="*/ 270 h 348"/>
                <a:gd name="T98" fmla="*/ 66 w 223"/>
                <a:gd name="T99" fmla="*/ 261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 h="348">
                  <a:moveTo>
                    <a:pt x="66" y="261"/>
                  </a:moveTo>
                  <a:lnTo>
                    <a:pt x="59" y="257"/>
                  </a:lnTo>
                  <a:lnTo>
                    <a:pt x="50" y="250"/>
                  </a:lnTo>
                  <a:lnTo>
                    <a:pt x="44" y="253"/>
                  </a:lnTo>
                  <a:lnTo>
                    <a:pt x="29" y="250"/>
                  </a:lnTo>
                  <a:lnTo>
                    <a:pt x="24" y="241"/>
                  </a:lnTo>
                  <a:lnTo>
                    <a:pt x="21" y="242"/>
                  </a:lnTo>
                  <a:lnTo>
                    <a:pt x="3" y="230"/>
                  </a:lnTo>
                  <a:lnTo>
                    <a:pt x="0" y="223"/>
                  </a:lnTo>
                  <a:lnTo>
                    <a:pt x="7" y="222"/>
                  </a:lnTo>
                  <a:lnTo>
                    <a:pt x="6" y="211"/>
                  </a:lnTo>
                  <a:lnTo>
                    <a:pt x="11" y="204"/>
                  </a:lnTo>
                  <a:lnTo>
                    <a:pt x="20" y="202"/>
                  </a:lnTo>
                  <a:lnTo>
                    <a:pt x="28" y="189"/>
                  </a:lnTo>
                  <a:lnTo>
                    <a:pt x="35" y="179"/>
                  </a:lnTo>
                  <a:lnTo>
                    <a:pt x="28" y="173"/>
                  </a:lnTo>
                  <a:lnTo>
                    <a:pt x="32" y="161"/>
                  </a:lnTo>
                  <a:lnTo>
                    <a:pt x="29" y="142"/>
                  </a:lnTo>
                  <a:lnTo>
                    <a:pt x="33" y="137"/>
                  </a:lnTo>
                  <a:lnTo>
                    <a:pt x="30" y="119"/>
                  </a:lnTo>
                  <a:lnTo>
                    <a:pt x="23" y="108"/>
                  </a:lnTo>
                  <a:lnTo>
                    <a:pt x="26" y="98"/>
                  </a:lnTo>
                  <a:lnTo>
                    <a:pt x="32" y="100"/>
                  </a:lnTo>
                  <a:lnTo>
                    <a:pt x="36" y="94"/>
                  </a:lnTo>
                  <a:lnTo>
                    <a:pt x="32" y="81"/>
                  </a:lnTo>
                  <a:lnTo>
                    <a:pt x="34" y="78"/>
                  </a:lnTo>
                  <a:lnTo>
                    <a:pt x="44" y="79"/>
                  </a:lnTo>
                  <a:lnTo>
                    <a:pt x="58" y="64"/>
                  </a:lnTo>
                  <a:lnTo>
                    <a:pt x="66" y="62"/>
                  </a:lnTo>
                  <a:lnTo>
                    <a:pt x="67" y="55"/>
                  </a:lnTo>
                  <a:lnTo>
                    <a:pt x="71" y="38"/>
                  </a:lnTo>
                  <a:lnTo>
                    <a:pt x="82" y="28"/>
                  </a:lnTo>
                  <a:lnTo>
                    <a:pt x="94" y="28"/>
                  </a:lnTo>
                  <a:lnTo>
                    <a:pt x="96" y="23"/>
                  </a:lnTo>
                  <a:lnTo>
                    <a:pt x="110" y="25"/>
                  </a:lnTo>
                  <a:lnTo>
                    <a:pt x="125" y="15"/>
                  </a:lnTo>
                  <a:lnTo>
                    <a:pt x="132" y="10"/>
                  </a:lnTo>
                  <a:lnTo>
                    <a:pt x="142" y="0"/>
                  </a:lnTo>
                  <a:lnTo>
                    <a:pt x="148" y="1"/>
                  </a:lnTo>
                  <a:lnTo>
                    <a:pt x="152" y="7"/>
                  </a:lnTo>
                  <a:lnTo>
                    <a:pt x="149" y="14"/>
                  </a:lnTo>
                  <a:lnTo>
                    <a:pt x="137" y="17"/>
                  </a:lnTo>
                  <a:lnTo>
                    <a:pt x="131" y="28"/>
                  </a:lnTo>
                  <a:lnTo>
                    <a:pt x="124" y="34"/>
                  </a:lnTo>
                  <a:lnTo>
                    <a:pt x="118" y="41"/>
                  </a:lnTo>
                  <a:lnTo>
                    <a:pt x="115" y="56"/>
                  </a:lnTo>
                  <a:lnTo>
                    <a:pt x="109" y="68"/>
                  </a:lnTo>
                  <a:lnTo>
                    <a:pt x="118" y="70"/>
                  </a:lnTo>
                  <a:lnTo>
                    <a:pt x="120" y="79"/>
                  </a:lnTo>
                  <a:lnTo>
                    <a:pt x="124" y="84"/>
                  </a:lnTo>
                  <a:lnTo>
                    <a:pt x="125" y="92"/>
                  </a:lnTo>
                  <a:lnTo>
                    <a:pt x="123" y="100"/>
                  </a:lnTo>
                  <a:lnTo>
                    <a:pt x="123" y="104"/>
                  </a:lnTo>
                  <a:lnTo>
                    <a:pt x="128" y="106"/>
                  </a:lnTo>
                  <a:lnTo>
                    <a:pt x="132" y="113"/>
                  </a:lnTo>
                  <a:lnTo>
                    <a:pt x="156" y="111"/>
                  </a:lnTo>
                  <a:lnTo>
                    <a:pt x="166" y="114"/>
                  </a:lnTo>
                  <a:lnTo>
                    <a:pt x="178" y="132"/>
                  </a:lnTo>
                  <a:lnTo>
                    <a:pt x="186" y="129"/>
                  </a:lnTo>
                  <a:lnTo>
                    <a:pt x="199" y="131"/>
                  </a:lnTo>
                  <a:lnTo>
                    <a:pt x="210" y="128"/>
                  </a:lnTo>
                  <a:lnTo>
                    <a:pt x="216" y="132"/>
                  </a:lnTo>
                  <a:lnTo>
                    <a:pt x="212" y="143"/>
                  </a:lnTo>
                  <a:lnTo>
                    <a:pt x="208" y="150"/>
                  </a:lnTo>
                  <a:lnTo>
                    <a:pt x="206" y="165"/>
                  </a:lnTo>
                  <a:lnTo>
                    <a:pt x="210" y="179"/>
                  </a:lnTo>
                  <a:lnTo>
                    <a:pt x="215" y="185"/>
                  </a:lnTo>
                  <a:lnTo>
                    <a:pt x="215" y="189"/>
                  </a:lnTo>
                  <a:lnTo>
                    <a:pt x="206" y="200"/>
                  </a:lnTo>
                  <a:lnTo>
                    <a:pt x="212" y="204"/>
                  </a:lnTo>
                  <a:lnTo>
                    <a:pt x="217" y="212"/>
                  </a:lnTo>
                  <a:lnTo>
                    <a:pt x="223" y="232"/>
                  </a:lnTo>
                  <a:lnTo>
                    <a:pt x="219" y="235"/>
                  </a:lnTo>
                  <a:lnTo>
                    <a:pt x="216" y="223"/>
                  </a:lnTo>
                  <a:lnTo>
                    <a:pt x="211" y="216"/>
                  </a:lnTo>
                  <a:lnTo>
                    <a:pt x="204" y="223"/>
                  </a:lnTo>
                  <a:lnTo>
                    <a:pt x="169" y="223"/>
                  </a:lnTo>
                  <a:lnTo>
                    <a:pt x="169" y="236"/>
                  </a:lnTo>
                  <a:lnTo>
                    <a:pt x="180" y="238"/>
                  </a:lnTo>
                  <a:lnTo>
                    <a:pt x="179" y="246"/>
                  </a:lnTo>
                  <a:lnTo>
                    <a:pt x="175" y="244"/>
                  </a:lnTo>
                  <a:lnTo>
                    <a:pt x="165" y="247"/>
                  </a:lnTo>
                  <a:lnTo>
                    <a:pt x="165" y="262"/>
                  </a:lnTo>
                  <a:lnTo>
                    <a:pt x="173" y="270"/>
                  </a:lnTo>
                  <a:lnTo>
                    <a:pt x="176" y="282"/>
                  </a:lnTo>
                  <a:lnTo>
                    <a:pt x="175" y="291"/>
                  </a:lnTo>
                  <a:lnTo>
                    <a:pt x="168" y="348"/>
                  </a:lnTo>
                  <a:lnTo>
                    <a:pt x="159" y="337"/>
                  </a:lnTo>
                  <a:lnTo>
                    <a:pt x="153" y="336"/>
                  </a:lnTo>
                  <a:lnTo>
                    <a:pt x="165" y="315"/>
                  </a:lnTo>
                  <a:lnTo>
                    <a:pt x="150" y="305"/>
                  </a:lnTo>
                  <a:lnTo>
                    <a:pt x="139" y="307"/>
                  </a:lnTo>
                  <a:lnTo>
                    <a:pt x="133" y="303"/>
                  </a:lnTo>
                  <a:lnTo>
                    <a:pt x="123" y="309"/>
                  </a:lnTo>
                  <a:lnTo>
                    <a:pt x="109" y="306"/>
                  </a:lnTo>
                  <a:lnTo>
                    <a:pt x="98" y="285"/>
                  </a:lnTo>
                  <a:lnTo>
                    <a:pt x="89" y="279"/>
                  </a:lnTo>
                  <a:lnTo>
                    <a:pt x="84" y="270"/>
                  </a:lnTo>
                  <a:lnTo>
                    <a:pt x="71" y="260"/>
                  </a:lnTo>
                  <a:lnTo>
                    <a:pt x="66" y="261"/>
                  </a:lnTo>
                  <a:close/>
                </a:path>
              </a:pathLst>
            </a:custGeom>
            <a:solidFill>
              <a:schemeClr val="accent3">
                <a:lumMod val="60000"/>
                <a:lumOff val="40000"/>
              </a:schemeClr>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83" name="Freeform 46"/>
            <p:cNvSpPr>
              <a:spLocks/>
            </p:cNvSpPr>
            <p:nvPr/>
          </p:nvSpPr>
          <p:spPr bwMode="auto">
            <a:xfrm>
              <a:off x="1687512" y="3335342"/>
              <a:ext cx="95250" cy="100013"/>
            </a:xfrm>
            <a:custGeom>
              <a:avLst/>
              <a:gdLst>
                <a:gd name="T0" fmla="*/ 51 w 60"/>
                <a:gd name="T1" fmla="*/ 63 h 63"/>
                <a:gd name="T2" fmla="*/ 41 w 60"/>
                <a:gd name="T3" fmla="*/ 58 h 63"/>
                <a:gd name="T4" fmla="*/ 38 w 60"/>
                <a:gd name="T5" fmla="*/ 53 h 63"/>
                <a:gd name="T6" fmla="*/ 40 w 60"/>
                <a:gd name="T7" fmla="*/ 50 h 63"/>
                <a:gd name="T8" fmla="*/ 40 w 60"/>
                <a:gd name="T9" fmla="*/ 45 h 63"/>
                <a:gd name="T10" fmla="*/ 35 w 60"/>
                <a:gd name="T11" fmla="*/ 40 h 63"/>
                <a:gd name="T12" fmla="*/ 28 w 60"/>
                <a:gd name="T13" fmla="*/ 36 h 63"/>
                <a:gd name="T14" fmla="*/ 22 w 60"/>
                <a:gd name="T15" fmla="*/ 34 h 63"/>
                <a:gd name="T16" fmla="*/ 21 w 60"/>
                <a:gd name="T17" fmla="*/ 28 h 63"/>
                <a:gd name="T18" fmla="*/ 17 w 60"/>
                <a:gd name="T19" fmla="*/ 24 h 63"/>
                <a:gd name="T20" fmla="*/ 18 w 60"/>
                <a:gd name="T21" fmla="*/ 30 h 63"/>
                <a:gd name="T22" fmla="*/ 14 w 60"/>
                <a:gd name="T23" fmla="*/ 35 h 63"/>
                <a:gd name="T24" fmla="*/ 10 w 60"/>
                <a:gd name="T25" fmla="*/ 29 h 63"/>
                <a:gd name="T26" fmla="*/ 4 w 60"/>
                <a:gd name="T27" fmla="*/ 27 h 63"/>
                <a:gd name="T28" fmla="*/ 2 w 60"/>
                <a:gd name="T29" fmla="*/ 23 h 63"/>
                <a:gd name="T30" fmla="*/ 2 w 60"/>
                <a:gd name="T31" fmla="*/ 17 h 63"/>
                <a:gd name="T32" fmla="*/ 5 w 60"/>
                <a:gd name="T33" fmla="*/ 10 h 63"/>
                <a:gd name="T34" fmla="*/ 0 w 60"/>
                <a:gd name="T35" fmla="*/ 7 h 63"/>
                <a:gd name="T36" fmla="*/ 5 w 60"/>
                <a:gd name="T37" fmla="*/ 3 h 63"/>
                <a:gd name="T38" fmla="*/ 8 w 60"/>
                <a:gd name="T39" fmla="*/ 0 h 63"/>
                <a:gd name="T40" fmla="*/ 19 w 60"/>
                <a:gd name="T41" fmla="*/ 6 h 63"/>
                <a:gd name="T42" fmla="*/ 24 w 60"/>
                <a:gd name="T43" fmla="*/ 3 h 63"/>
                <a:gd name="T44" fmla="*/ 29 w 60"/>
                <a:gd name="T45" fmla="*/ 5 h 63"/>
                <a:gd name="T46" fmla="*/ 32 w 60"/>
                <a:gd name="T47" fmla="*/ 9 h 63"/>
                <a:gd name="T48" fmla="*/ 37 w 60"/>
                <a:gd name="T49" fmla="*/ 11 h 63"/>
                <a:gd name="T50" fmla="*/ 42 w 60"/>
                <a:gd name="T51" fmla="*/ 6 h 63"/>
                <a:gd name="T52" fmla="*/ 46 w 60"/>
                <a:gd name="T53" fmla="*/ 17 h 63"/>
                <a:gd name="T54" fmla="*/ 52 w 60"/>
                <a:gd name="T55" fmla="*/ 26 h 63"/>
                <a:gd name="T56" fmla="*/ 60 w 60"/>
                <a:gd name="T57" fmla="*/ 35 h 63"/>
                <a:gd name="T58" fmla="*/ 53 w 60"/>
                <a:gd name="T59" fmla="*/ 36 h 63"/>
                <a:gd name="T60" fmla="*/ 53 w 60"/>
                <a:gd name="T61" fmla="*/ 45 h 63"/>
                <a:gd name="T62" fmla="*/ 57 w 60"/>
                <a:gd name="T63" fmla="*/ 48 h 63"/>
                <a:gd name="T64" fmla="*/ 54 w 60"/>
                <a:gd name="T65" fmla="*/ 51 h 63"/>
                <a:gd name="T66" fmla="*/ 54 w 60"/>
                <a:gd name="T67" fmla="*/ 54 h 63"/>
                <a:gd name="T68" fmla="*/ 52 w 60"/>
                <a:gd name="T69" fmla="*/ 58 h 63"/>
                <a:gd name="T70" fmla="*/ 51 w 60"/>
                <a:gd name="T71"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63">
                  <a:moveTo>
                    <a:pt x="51" y="63"/>
                  </a:moveTo>
                  <a:lnTo>
                    <a:pt x="41" y="58"/>
                  </a:lnTo>
                  <a:lnTo>
                    <a:pt x="38" y="53"/>
                  </a:lnTo>
                  <a:lnTo>
                    <a:pt x="40" y="50"/>
                  </a:lnTo>
                  <a:lnTo>
                    <a:pt x="40" y="45"/>
                  </a:lnTo>
                  <a:lnTo>
                    <a:pt x="35" y="40"/>
                  </a:lnTo>
                  <a:lnTo>
                    <a:pt x="28" y="36"/>
                  </a:lnTo>
                  <a:lnTo>
                    <a:pt x="22" y="34"/>
                  </a:lnTo>
                  <a:lnTo>
                    <a:pt x="21" y="28"/>
                  </a:lnTo>
                  <a:lnTo>
                    <a:pt x="17" y="24"/>
                  </a:lnTo>
                  <a:lnTo>
                    <a:pt x="18" y="30"/>
                  </a:lnTo>
                  <a:lnTo>
                    <a:pt x="14" y="35"/>
                  </a:lnTo>
                  <a:lnTo>
                    <a:pt x="10" y="29"/>
                  </a:lnTo>
                  <a:lnTo>
                    <a:pt x="4" y="27"/>
                  </a:lnTo>
                  <a:lnTo>
                    <a:pt x="2" y="23"/>
                  </a:lnTo>
                  <a:lnTo>
                    <a:pt x="2" y="17"/>
                  </a:lnTo>
                  <a:lnTo>
                    <a:pt x="5" y="10"/>
                  </a:lnTo>
                  <a:lnTo>
                    <a:pt x="0" y="7"/>
                  </a:lnTo>
                  <a:lnTo>
                    <a:pt x="5" y="3"/>
                  </a:lnTo>
                  <a:lnTo>
                    <a:pt x="8" y="0"/>
                  </a:lnTo>
                  <a:lnTo>
                    <a:pt x="19" y="6"/>
                  </a:lnTo>
                  <a:lnTo>
                    <a:pt x="24" y="3"/>
                  </a:lnTo>
                  <a:lnTo>
                    <a:pt x="29" y="5"/>
                  </a:lnTo>
                  <a:lnTo>
                    <a:pt x="32" y="9"/>
                  </a:lnTo>
                  <a:lnTo>
                    <a:pt x="37" y="11"/>
                  </a:lnTo>
                  <a:lnTo>
                    <a:pt x="42" y="6"/>
                  </a:lnTo>
                  <a:lnTo>
                    <a:pt x="46" y="17"/>
                  </a:lnTo>
                  <a:lnTo>
                    <a:pt x="52" y="26"/>
                  </a:lnTo>
                  <a:lnTo>
                    <a:pt x="60" y="35"/>
                  </a:lnTo>
                  <a:lnTo>
                    <a:pt x="53" y="36"/>
                  </a:lnTo>
                  <a:lnTo>
                    <a:pt x="53" y="45"/>
                  </a:lnTo>
                  <a:lnTo>
                    <a:pt x="57" y="48"/>
                  </a:lnTo>
                  <a:lnTo>
                    <a:pt x="54" y="51"/>
                  </a:lnTo>
                  <a:lnTo>
                    <a:pt x="54" y="54"/>
                  </a:lnTo>
                  <a:lnTo>
                    <a:pt x="52" y="58"/>
                  </a:lnTo>
                  <a:lnTo>
                    <a:pt x="51" y="63"/>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84" name="Freeform 47"/>
            <p:cNvSpPr>
              <a:spLocks/>
            </p:cNvSpPr>
            <p:nvPr/>
          </p:nvSpPr>
          <p:spPr bwMode="auto">
            <a:xfrm>
              <a:off x="1755775" y="2941641"/>
              <a:ext cx="301625" cy="109538"/>
            </a:xfrm>
            <a:custGeom>
              <a:avLst/>
              <a:gdLst>
                <a:gd name="T0" fmla="*/ 53 w 190"/>
                <a:gd name="T1" fmla="*/ 0 h 69"/>
                <a:gd name="T2" fmla="*/ 68 w 190"/>
                <a:gd name="T3" fmla="*/ 1 h 69"/>
                <a:gd name="T4" fmla="*/ 82 w 190"/>
                <a:gd name="T5" fmla="*/ 1 h 69"/>
                <a:gd name="T6" fmla="*/ 98 w 190"/>
                <a:gd name="T7" fmla="*/ 8 h 69"/>
                <a:gd name="T8" fmla="*/ 104 w 190"/>
                <a:gd name="T9" fmla="*/ 16 h 69"/>
                <a:gd name="T10" fmla="*/ 121 w 190"/>
                <a:gd name="T11" fmla="*/ 14 h 69"/>
                <a:gd name="T12" fmla="*/ 127 w 190"/>
                <a:gd name="T13" fmla="*/ 19 h 69"/>
                <a:gd name="T14" fmla="*/ 140 w 190"/>
                <a:gd name="T15" fmla="*/ 31 h 69"/>
                <a:gd name="T16" fmla="*/ 150 w 190"/>
                <a:gd name="T17" fmla="*/ 41 h 69"/>
                <a:gd name="T18" fmla="*/ 156 w 190"/>
                <a:gd name="T19" fmla="*/ 40 h 69"/>
                <a:gd name="T20" fmla="*/ 166 w 190"/>
                <a:gd name="T21" fmla="*/ 45 h 69"/>
                <a:gd name="T22" fmla="*/ 164 w 190"/>
                <a:gd name="T23" fmla="*/ 51 h 69"/>
                <a:gd name="T24" fmla="*/ 177 w 190"/>
                <a:gd name="T25" fmla="*/ 51 h 69"/>
                <a:gd name="T26" fmla="*/ 190 w 190"/>
                <a:gd name="T27" fmla="*/ 60 h 69"/>
                <a:gd name="T28" fmla="*/ 187 w 190"/>
                <a:gd name="T29" fmla="*/ 65 h 69"/>
                <a:gd name="T30" fmla="*/ 175 w 190"/>
                <a:gd name="T31" fmla="*/ 67 h 69"/>
                <a:gd name="T32" fmla="*/ 163 w 190"/>
                <a:gd name="T33" fmla="*/ 68 h 69"/>
                <a:gd name="T34" fmla="*/ 151 w 190"/>
                <a:gd name="T35" fmla="*/ 67 h 69"/>
                <a:gd name="T36" fmla="*/ 124 w 190"/>
                <a:gd name="T37" fmla="*/ 69 h 69"/>
                <a:gd name="T38" fmla="*/ 138 w 190"/>
                <a:gd name="T39" fmla="*/ 57 h 69"/>
                <a:gd name="T40" fmla="*/ 131 w 190"/>
                <a:gd name="T41" fmla="*/ 52 h 69"/>
                <a:gd name="T42" fmla="*/ 120 w 190"/>
                <a:gd name="T43" fmla="*/ 50 h 69"/>
                <a:gd name="T44" fmla="*/ 114 w 190"/>
                <a:gd name="T45" fmla="*/ 45 h 69"/>
                <a:gd name="T46" fmla="*/ 112 w 190"/>
                <a:gd name="T47" fmla="*/ 33 h 69"/>
                <a:gd name="T48" fmla="*/ 101 w 190"/>
                <a:gd name="T49" fmla="*/ 34 h 69"/>
                <a:gd name="T50" fmla="*/ 86 w 190"/>
                <a:gd name="T51" fmla="*/ 28 h 69"/>
                <a:gd name="T52" fmla="*/ 81 w 190"/>
                <a:gd name="T53" fmla="*/ 24 h 69"/>
                <a:gd name="T54" fmla="*/ 58 w 190"/>
                <a:gd name="T55" fmla="*/ 20 h 69"/>
                <a:gd name="T56" fmla="*/ 52 w 190"/>
                <a:gd name="T57" fmla="*/ 16 h 69"/>
                <a:gd name="T58" fmla="*/ 60 w 190"/>
                <a:gd name="T59" fmla="*/ 11 h 69"/>
                <a:gd name="T60" fmla="*/ 42 w 190"/>
                <a:gd name="T61" fmla="*/ 10 h 69"/>
                <a:gd name="T62" fmla="*/ 28 w 190"/>
                <a:gd name="T63" fmla="*/ 21 h 69"/>
                <a:gd name="T64" fmla="*/ 20 w 190"/>
                <a:gd name="T65" fmla="*/ 21 h 69"/>
                <a:gd name="T66" fmla="*/ 17 w 190"/>
                <a:gd name="T67" fmla="*/ 26 h 69"/>
                <a:gd name="T68" fmla="*/ 7 w 190"/>
                <a:gd name="T69" fmla="*/ 28 h 69"/>
                <a:gd name="T70" fmla="*/ 0 w 190"/>
                <a:gd name="T71" fmla="*/ 27 h 69"/>
                <a:gd name="T72" fmla="*/ 11 w 190"/>
                <a:gd name="T73" fmla="*/ 20 h 69"/>
                <a:gd name="T74" fmla="*/ 16 w 190"/>
                <a:gd name="T75" fmla="*/ 13 h 69"/>
                <a:gd name="T76" fmla="*/ 25 w 190"/>
                <a:gd name="T77" fmla="*/ 8 h 69"/>
                <a:gd name="T78" fmla="*/ 34 w 190"/>
                <a:gd name="T79" fmla="*/ 4 h 69"/>
                <a:gd name="T80" fmla="*/ 48 w 190"/>
                <a:gd name="T81" fmla="*/ 2 h 69"/>
                <a:gd name="T82" fmla="*/ 53 w 190"/>
                <a:gd name="T8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0" h="69">
                  <a:moveTo>
                    <a:pt x="53" y="0"/>
                  </a:moveTo>
                  <a:lnTo>
                    <a:pt x="68" y="1"/>
                  </a:lnTo>
                  <a:lnTo>
                    <a:pt x="82" y="1"/>
                  </a:lnTo>
                  <a:lnTo>
                    <a:pt x="98" y="8"/>
                  </a:lnTo>
                  <a:lnTo>
                    <a:pt x="104" y="16"/>
                  </a:lnTo>
                  <a:lnTo>
                    <a:pt x="121" y="14"/>
                  </a:lnTo>
                  <a:lnTo>
                    <a:pt x="127" y="19"/>
                  </a:lnTo>
                  <a:lnTo>
                    <a:pt x="140" y="31"/>
                  </a:lnTo>
                  <a:lnTo>
                    <a:pt x="150" y="41"/>
                  </a:lnTo>
                  <a:lnTo>
                    <a:pt x="156" y="40"/>
                  </a:lnTo>
                  <a:lnTo>
                    <a:pt x="166" y="45"/>
                  </a:lnTo>
                  <a:lnTo>
                    <a:pt x="164" y="51"/>
                  </a:lnTo>
                  <a:lnTo>
                    <a:pt x="177" y="51"/>
                  </a:lnTo>
                  <a:lnTo>
                    <a:pt x="190" y="60"/>
                  </a:lnTo>
                  <a:lnTo>
                    <a:pt x="187" y="65"/>
                  </a:lnTo>
                  <a:lnTo>
                    <a:pt x="175" y="67"/>
                  </a:lnTo>
                  <a:lnTo>
                    <a:pt x="163" y="68"/>
                  </a:lnTo>
                  <a:lnTo>
                    <a:pt x="151" y="67"/>
                  </a:lnTo>
                  <a:lnTo>
                    <a:pt x="124" y="69"/>
                  </a:lnTo>
                  <a:lnTo>
                    <a:pt x="138" y="57"/>
                  </a:lnTo>
                  <a:lnTo>
                    <a:pt x="131" y="52"/>
                  </a:lnTo>
                  <a:lnTo>
                    <a:pt x="120" y="50"/>
                  </a:lnTo>
                  <a:lnTo>
                    <a:pt x="114" y="45"/>
                  </a:lnTo>
                  <a:lnTo>
                    <a:pt x="112" y="33"/>
                  </a:lnTo>
                  <a:lnTo>
                    <a:pt x="101" y="34"/>
                  </a:lnTo>
                  <a:lnTo>
                    <a:pt x="86" y="28"/>
                  </a:lnTo>
                  <a:lnTo>
                    <a:pt x="81" y="24"/>
                  </a:lnTo>
                  <a:lnTo>
                    <a:pt x="58" y="20"/>
                  </a:lnTo>
                  <a:lnTo>
                    <a:pt x="52" y="16"/>
                  </a:lnTo>
                  <a:lnTo>
                    <a:pt x="60" y="11"/>
                  </a:lnTo>
                  <a:lnTo>
                    <a:pt x="42" y="10"/>
                  </a:lnTo>
                  <a:lnTo>
                    <a:pt x="28" y="21"/>
                  </a:lnTo>
                  <a:lnTo>
                    <a:pt x="20" y="21"/>
                  </a:lnTo>
                  <a:lnTo>
                    <a:pt x="17" y="26"/>
                  </a:lnTo>
                  <a:lnTo>
                    <a:pt x="7" y="28"/>
                  </a:lnTo>
                  <a:lnTo>
                    <a:pt x="0" y="27"/>
                  </a:lnTo>
                  <a:lnTo>
                    <a:pt x="11" y="20"/>
                  </a:lnTo>
                  <a:lnTo>
                    <a:pt x="16" y="13"/>
                  </a:lnTo>
                  <a:lnTo>
                    <a:pt x="25" y="8"/>
                  </a:lnTo>
                  <a:lnTo>
                    <a:pt x="34" y="4"/>
                  </a:lnTo>
                  <a:lnTo>
                    <a:pt x="48" y="2"/>
                  </a:lnTo>
                  <a:lnTo>
                    <a:pt x="53"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85" name="Freeform 48"/>
            <p:cNvSpPr>
              <a:spLocks/>
            </p:cNvSpPr>
            <p:nvPr/>
          </p:nvSpPr>
          <p:spPr bwMode="auto">
            <a:xfrm>
              <a:off x="5080000" y="2530479"/>
              <a:ext cx="49213" cy="22225"/>
            </a:xfrm>
            <a:custGeom>
              <a:avLst/>
              <a:gdLst>
                <a:gd name="T0" fmla="*/ 0 w 31"/>
                <a:gd name="T1" fmla="*/ 11 h 14"/>
                <a:gd name="T2" fmla="*/ 1 w 31"/>
                <a:gd name="T3" fmla="*/ 11 h 14"/>
                <a:gd name="T4" fmla="*/ 3 w 31"/>
                <a:gd name="T5" fmla="*/ 6 h 14"/>
                <a:gd name="T6" fmla="*/ 16 w 31"/>
                <a:gd name="T7" fmla="*/ 6 h 14"/>
                <a:gd name="T8" fmla="*/ 31 w 31"/>
                <a:gd name="T9" fmla="*/ 0 h 14"/>
                <a:gd name="T10" fmla="*/ 20 w 31"/>
                <a:gd name="T11" fmla="*/ 9 h 14"/>
                <a:gd name="T12" fmla="*/ 22 w 31"/>
                <a:gd name="T13" fmla="*/ 12 h 14"/>
                <a:gd name="T14" fmla="*/ 20 w 31"/>
                <a:gd name="T15" fmla="*/ 12 h 14"/>
                <a:gd name="T16" fmla="*/ 17 w 31"/>
                <a:gd name="T17" fmla="*/ 13 h 14"/>
                <a:gd name="T18" fmla="*/ 14 w 31"/>
                <a:gd name="T19" fmla="*/ 13 h 14"/>
                <a:gd name="T20" fmla="*/ 13 w 31"/>
                <a:gd name="T21" fmla="*/ 14 h 14"/>
                <a:gd name="T22" fmla="*/ 13 w 31"/>
                <a:gd name="T23" fmla="*/ 12 h 14"/>
                <a:gd name="T24" fmla="*/ 11 w 31"/>
                <a:gd name="T25" fmla="*/ 10 h 14"/>
                <a:gd name="T26" fmla="*/ 8 w 31"/>
                <a:gd name="T27" fmla="*/ 10 h 14"/>
                <a:gd name="T28" fmla="*/ 4 w 31"/>
                <a:gd name="T29" fmla="*/ 12 h 14"/>
                <a:gd name="T30" fmla="*/ 0 w 31"/>
                <a:gd name="T31"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4">
                  <a:moveTo>
                    <a:pt x="0" y="11"/>
                  </a:moveTo>
                  <a:lnTo>
                    <a:pt x="1" y="11"/>
                  </a:lnTo>
                  <a:lnTo>
                    <a:pt x="3" y="6"/>
                  </a:lnTo>
                  <a:lnTo>
                    <a:pt x="16" y="6"/>
                  </a:lnTo>
                  <a:lnTo>
                    <a:pt x="31" y="0"/>
                  </a:lnTo>
                  <a:lnTo>
                    <a:pt x="20" y="9"/>
                  </a:lnTo>
                  <a:lnTo>
                    <a:pt x="22" y="12"/>
                  </a:lnTo>
                  <a:lnTo>
                    <a:pt x="20" y="12"/>
                  </a:lnTo>
                  <a:lnTo>
                    <a:pt x="17" y="13"/>
                  </a:lnTo>
                  <a:lnTo>
                    <a:pt x="14" y="13"/>
                  </a:lnTo>
                  <a:lnTo>
                    <a:pt x="13" y="14"/>
                  </a:lnTo>
                  <a:lnTo>
                    <a:pt x="13" y="12"/>
                  </a:lnTo>
                  <a:lnTo>
                    <a:pt x="11" y="10"/>
                  </a:lnTo>
                  <a:lnTo>
                    <a:pt x="8" y="10"/>
                  </a:lnTo>
                  <a:lnTo>
                    <a:pt x="4" y="12"/>
                  </a:lnTo>
                  <a:lnTo>
                    <a:pt x="0" y="11"/>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86" name="Freeform 49"/>
            <p:cNvSpPr>
              <a:spLocks/>
            </p:cNvSpPr>
            <p:nvPr/>
          </p:nvSpPr>
          <p:spPr bwMode="auto">
            <a:xfrm>
              <a:off x="5067300" y="2546354"/>
              <a:ext cx="49213" cy="19050"/>
            </a:xfrm>
            <a:custGeom>
              <a:avLst/>
              <a:gdLst>
                <a:gd name="T0" fmla="*/ 30 w 31"/>
                <a:gd name="T1" fmla="*/ 2 h 12"/>
                <a:gd name="T2" fmla="*/ 31 w 31"/>
                <a:gd name="T3" fmla="*/ 4 h 12"/>
                <a:gd name="T4" fmla="*/ 14 w 31"/>
                <a:gd name="T5" fmla="*/ 12 h 12"/>
                <a:gd name="T6" fmla="*/ 5 w 31"/>
                <a:gd name="T7" fmla="*/ 10 h 12"/>
                <a:gd name="T8" fmla="*/ 0 w 31"/>
                <a:gd name="T9" fmla="*/ 2 h 12"/>
                <a:gd name="T10" fmla="*/ 8 w 31"/>
                <a:gd name="T11" fmla="*/ 1 h 12"/>
                <a:gd name="T12" fmla="*/ 12 w 31"/>
                <a:gd name="T13" fmla="*/ 2 h 12"/>
                <a:gd name="T14" fmla="*/ 16 w 31"/>
                <a:gd name="T15" fmla="*/ 0 h 12"/>
                <a:gd name="T16" fmla="*/ 19 w 31"/>
                <a:gd name="T17" fmla="*/ 0 h 12"/>
                <a:gd name="T18" fmla="*/ 21 w 31"/>
                <a:gd name="T19" fmla="*/ 2 h 12"/>
                <a:gd name="T20" fmla="*/ 21 w 31"/>
                <a:gd name="T21" fmla="*/ 4 h 12"/>
                <a:gd name="T22" fmla="*/ 22 w 31"/>
                <a:gd name="T23" fmla="*/ 3 h 12"/>
                <a:gd name="T24" fmla="*/ 25 w 31"/>
                <a:gd name="T25" fmla="*/ 3 h 12"/>
                <a:gd name="T26" fmla="*/ 28 w 31"/>
                <a:gd name="T27" fmla="*/ 2 h 12"/>
                <a:gd name="T28" fmla="*/ 30 w 31"/>
                <a:gd name="T2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12">
                  <a:moveTo>
                    <a:pt x="30" y="2"/>
                  </a:moveTo>
                  <a:lnTo>
                    <a:pt x="31" y="4"/>
                  </a:lnTo>
                  <a:lnTo>
                    <a:pt x="14" y="12"/>
                  </a:lnTo>
                  <a:lnTo>
                    <a:pt x="5" y="10"/>
                  </a:lnTo>
                  <a:lnTo>
                    <a:pt x="0" y="2"/>
                  </a:lnTo>
                  <a:lnTo>
                    <a:pt x="8" y="1"/>
                  </a:lnTo>
                  <a:lnTo>
                    <a:pt x="12" y="2"/>
                  </a:lnTo>
                  <a:lnTo>
                    <a:pt x="16" y="0"/>
                  </a:lnTo>
                  <a:lnTo>
                    <a:pt x="19" y="0"/>
                  </a:lnTo>
                  <a:lnTo>
                    <a:pt x="21" y="2"/>
                  </a:lnTo>
                  <a:lnTo>
                    <a:pt x="21" y="4"/>
                  </a:lnTo>
                  <a:lnTo>
                    <a:pt x="22" y="3"/>
                  </a:lnTo>
                  <a:lnTo>
                    <a:pt x="25" y="3"/>
                  </a:lnTo>
                  <a:lnTo>
                    <a:pt x="28" y="2"/>
                  </a:lnTo>
                  <a:lnTo>
                    <a:pt x="30" y="2"/>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87" name="Freeform 50"/>
            <p:cNvSpPr>
              <a:spLocks/>
            </p:cNvSpPr>
            <p:nvPr/>
          </p:nvSpPr>
          <p:spPr bwMode="auto">
            <a:xfrm>
              <a:off x="4491037" y="2027241"/>
              <a:ext cx="169863" cy="82550"/>
            </a:xfrm>
            <a:custGeom>
              <a:avLst/>
              <a:gdLst>
                <a:gd name="T0" fmla="*/ 79 w 107"/>
                <a:gd name="T1" fmla="*/ 51 h 52"/>
                <a:gd name="T2" fmla="*/ 71 w 107"/>
                <a:gd name="T3" fmla="*/ 48 h 52"/>
                <a:gd name="T4" fmla="*/ 63 w 107"/>
                <a:gd name="T5" fmla="*/ 49 h 52"/>
                <a:gd name="T6" fmla="*/ 50 w 107"/>
                <a:gd name="T7" fmla="*/ 43 h 52"/>
                <a:gd name="T8" fmla="*/ 45 w 107"/>
                <a:gd name="T9" fmla="*/ 44 h 52"/>
                <a:gd name="T10" fmla="*/ 37 w 107"/>
                <a:gd name="T11" fmla="*/ 52 h 52"/>
                <a:gd name="T12" fmla="*/ 24 w 107"/>
                <a:gd name="T13" fmla="*/ 46 h 52"/>
                <a:gd name="T14" fmla="*/ 14 w 107"/>
                <a:gd name="T15" fmla="*/ 37 h 52"/>
                <a:gd name="T16" fmla="*/ 6 w 107"/>
                <a:gd name="T17" fmla="*/ 32 h 52"/>
                <a:gd name="T18" fmla="*/ 4 w 107"/>
                <a:gd name="T19" fmla="*/ 24 h 52"/>
                <a:gd name="T20" fmla="*/ 0 w 107"/>
                <a:gd name="T21" fmla="*/ 18 h 52"/>
                <a:gd name="T22" fmla="*/ 12 w 107"/>
                <a:gd name="T23" fmla="*/ 13 h 52"/>
                <a:gd name="T24" fmla="*/ 17 w 107"/>
                <a:gd name="T25" fmla="*/ 8 h 52"/>
                <a:gd name="T26" fmla="*/ 28 w 107"/>
                <a:gd name="T27" fmla="*/ 4 h 52"/>
                <a:gd name="T28" fmla="*/ 32 w 107"/>
                <a:gd name="T29" fmla="*/ 0 h 52"/>
                <a:gd name="T30" fmla="*/ 36 w 107"/>
                <a:gd name="T31" fmla="*/ 3 h 52"/>
                <a:gd name="T32" fmla="*/ 43 w 107"/>
                <a:gd name="T33" fmla="*/ 1 h 52"/>
                <a:gd name="T34" fmla="*/ 51 w 107"/>
                <a:gd name="T35" fmla="*/ 7 h 52"/>
                <a:gd name="T36" fmla="*/ 63 w 107"/>
                <a:gd name="T37" fmla="*/ 9 h 52"/>
                <a:gd name="T38" fmla="*/ 63 w 107"/>
                <a:gd name="T39" fmla="*/ 15 h 52"/>
                <a:gd name="T40" fmla="*/ 72 w 107"/>
                <a:gd name="T41" fmla="*/ 19 h 52"/>
                <a:gd name="T42" fmla="*/ 74 w 107"/>
                <a:gd name="T43" fmla="*/ 14 h 52"/>
                <a:gd name="T44" fmla="*/ 85 w 107"/>
                <a:gd name="T45" fmla="*/ 16 h 52"/>
                <a:gd name="T46" fmla="*/ 87 w 107"/>
                <a:gd name="T47" fmla="*/ 22 h 52"/>
                <a:gd name="T48" fmla="*/ 99 w 107"/>
                <a:gd name="T49" fmla="*/ 23 h 52"/>
                <a:gd name="T50" fmla="*/ 107 w 107"/>
                <a:gd name="T51" fmla="*/ 33 h 52"/>
                <a:gd name="T52" fmla="*/ 103 w 107"/>
                <a:gd name="T53" fmla="*/ 33 h 52"/>
                <a:gd name="T54" fmla="*/ 100 w 107"/>
                <a:gd name="T55" fmla="*/ 37 h 52"/>
                <a:gd name="T56" fmla="*/ 97 w 107"/>
                <a:gd name="T57" fmla="*/ 38 h 52"/>
                <a:gd name="T58" fmla="*/ 96 w 107"/>
                <a:gd name="T59" fmla="*/ 42 h 52"/>
                <a:gd name="T60" fmla="*/ 93 w 107"/>
                <a:gd name="T61" fmla="*/ 43 h 52"/>
                <a:gd name="T62" fmla="*/ 93 w 107"/>
                <a:gd name="T63" fmla="*/ 45 h 52"/>
                <a:gd name="T64" fmla="*/ 88 w 107"/>
                <a:gd name="T65" fmla="*/ 47 h 52"/>
                <a:gd name="T66" fmla="*/ 80 w 107"/>
                <a:gd name="T67" fmla="*/ 47 h 52"/>
                <a:gd name="T68" fmla="*/ 79 w 107"/>
                <a:gd name="T69" fmla="*/ 5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52">
                  <a:moveTo>
                    <a:pt x="79" y="51"/>
                  </a:moveTo>
                  <a:lnTo>
                    <a:pt x="71" y="48"/>
                  </a:lnTo>
                  <a:lnTo>
                    <a:pt x="63" y="49"/>
                  </a:lnTo>
                  <a:lnTo>
                    <a:pt x="50" y="43"/>
                  </a:lnTo>
                  <a:lnTo>
                    <a:pt x="45" y="44"/>
                  </a:lnTo>
                  <a:lnTo>
                    <a:pt x="37" y="52"/>
                  </a:lnTo>
                  <a:lnTo>
                    <a:pt x="24" y="46"/>
                  </a:lnTo>
                  <a:lnTo>
                    <a:pt x="14" y="37"/>
                  </a:lnTo>
                  <a:lnTo>
                    <a:pt x="6" y="32"/>
                  </a:lnTo>
                  <a:lnTo>
                    <a:pt x="4" y="24"/>
                  </a:lnTo>
                  <a:lnTo>
                    <a:pt x="0" y="18"/>
                  </a:lnTo>
                  <a:lnTo>
                    <a:pt x="12" y="13"/>
                  </a:lnTo>
                  <a:lnTo>
                    <a:pt x="17" y="8"/>
                  </a:lnTo>
                  <a:lnTo>
                    <a:pt x="28" y="4"/>
                  </a:lnTo>
                  <a:lnTo>
                    <a:pt x="32" y="0"/>
                  </a:lnTo>
                  <a:lnTo>
                    <a:pt x="36" y="3"/>
                  </a:lnTo>
                  <a:lnTo>
                    <a:pt x="43" y="1"/>
                  </a:lnTo>
                  <a:lnTo>
                    <a:pt x="51" y="7"/>
                  </a:lnTo>
                  <a:lnTo>
                    <a:pt x="63" y="9"/>
                  </a:lnTo>
                  <a:lnTo>
                    <a:pt x="63" y="15"/>
                  </a:lnTo>
                  <a:lnTo>
                    <a:pt x="72" y="19"/>
                  </a:lnTo>
                  <a:lnTo>
                    <a:pt x="74" y="14"/>
                  </a:lnTo>
                  <a:lnTo>
                    <a:pt x="85" y="16"/>
                  </a:lnTo>
                  <a:lnTo>
                    <a:pt x="87" y="22"/>
                  </a:lnTo>
                  <a:lnTo>
                    <a:pt x="99" y="23"/>
                  </a:lnTo>
                  <a:lnTo>
                    <a:pt x="107" y="33"/>
                  </a:lnTo>
                  <a:lnTo>
                    <a:pt x="103" y="33"/>
                  </a:lnTo>
                  <a:lnTo>
                    <a:pt x="100" y="37"/>
                  </a:lnTo>
                  <a:lnTo>
                    <a:pt x="97" y="38"/>
                  </a:lnTo>
                  <a:lnTo>
                    <a:pt x="96" y="42"/>
                  </a:lnTo>
                  <a:lnTo>
                    <a:pt x="93" y="43"/>
                  </a:lnTo>
                  <a:lnTo>
                    <a:pt x="93" y="45"/>
                  </a:lnTo>
                  <a:lnTo>
                    <a:pt x="88" y="47"/>
                  </a:lnTo>
                  <a:lnTo>
                    <a:pt x="80" y="47"/>
                  </a:lnTo>
                  <a:lnTo>
                    <a:pt x="79" y="51"/>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88" name="Freeform 51"/>
            <p:cNvSpPr>
              <a:spLocks/>
            </p:cNvSpPr>
            <p:nvPr/>
          </p:nvSpPr>
          <p:spPr bwMode="auto">
            <a:xfrm>
              <a:off x="4332287" y="1905004"/>
              <a:ext cx="227013" cy="246063"/>
            </a:xfrm>
            <a:custGeom>
              <a:avLst/>
              <a:gdLst>
                <a:gd name="T0" fmla="*/ 58 w 143"/>
                <a:gd name="T1" fmla="*/ 0 h 155"/>
                <a:gd name="T2" fmla="*/ 59 w 143"/>
                <a:gd name="T3" fmla="*/ 8 h 155"/>
                <a:gd name="T4" fmla="*/ 75 w 143"/>
                <a:gd name="T5" fmla="*/ 12 h 155"/>
                <a:gd name="T6" fmla="*/ 75 w 143"/>
                <a:gd name="T7" fmla="*/ 20 h 155"/>
                <a:gd name="T8" fmla="*/ 90 w 143"/>
                <a:gd name="T9" fmla="*/ 16 h 155"/>
                <a:gd name="T10" fmla="*/ 99 w 143"/>
                <a:gd name="T11" fmla="*/ 10 h 155"/>
                <a:gd name="T12" fmla="*/ 117 w 143"/>
                <a:gd name="T13" fmla="*/ 18 h 155"/>
                <a:gd name="T14" fmla="*/ 125 w 143"/>
                <a:gd name="T15" fmla="*/ 25 h 155"/>
                <a:gd name="T16" fmla="*/ 129 w 143"/>
                <a:gd name="T17" fmla="*/ 35 h 155"/>
                <a:gd name="T18" fmla="*/ 125 w 143"/>
                <a:gd name="T19" fmla="*/ 40 h 155"/>
                <a:gd name="T20" fmla="*/ 131 w 143"/>
                <a:gd name="T21" fmla="*/ 47 h 155"/>
                <a:gd name="T22" fmla="*/ 136 w 143"/>
                <a:gd name="T23" fmla="*/ 58 h 155"/>
                <a:gd name="T24" fmla="*/ 136 w 143"/>
                <a:gd name="T25" fmla="*/ 65 h 155"/>
                <a:gd name="T26" fmla="*/ 143 w 143"/>
                <a:gd name="T27" fmla="*/ 78 h 155"/>
                <a:gd name="T28" fmla="*/ 136 w 143"/>
                <a:gd name="T29" fmla="*/ 80 h 155"/>
                <a:gd name="T30" fmla="*/ 132 w 143"/>
                <a:gd name="T31" fmla="*/ 77 h 155"/>
                <a:gd name="T32" fmla="*/ 128 w 143"/>
                <a:gd name="T33" fmla="*/ 81 h 155"/>
                <a:gd name="T34" fmla="*/ 117 w 143"/>
                <a:gd name="T35" fmla="*/ 85 h 155"/>
                <a:gd name="T36" fmla="*/ 112 w 143"/>
                <a:gd name="T37" fmla="*/ 90 h 155"/>
                <a:gd name="T38" fmla="*/ 100 w 143"/>
                <a:gd name="T39" fmla="*/ 95 h 155"/>
                <a:gd name="T40" fmla="*/ 104 w 143"/>
                <a:gd name="T41" fmla="*/ 101 h 155"/>
                <a:gd name="T42" fmla="*/ 106 w 143"/>
                <a:gd name="T43" fmla="*/ 109 h 155"/>
                <a:gd name="T44" fmla="*/ 114 w 143"/>
                <a:gd name="T45" fmla="*/ 114 h 155"/>
                <a:gd name="T46" fmla="*/ 124 w 143"/>
                <a:gd name="T47" fmla="*/ 123 h 155"/>
                <a:gd name="T48" fmla="*/ 119 w 143"/>
                <a:gd name="T49" fmla="*/ 132 h 155"/>
                <a:gd name="T50" fmla="*/ 113 w 143"/>
                <a:gd name="T51" fmla="*/ 135 h 155"/>
                <a:gd name="T52" fmla="*/ 117 w 143"/>
                <a:gd name="T53" fmla="*/ 148 h 155"/>
                <a:gd name="T54" fmla="*/ 115 w 143"/>
                <a:gd name="T55" fmla="*/ 151 h 155"/>
                <a:gd name="T56" fmla="*/ 110 w 143"/>
                <a:gd name="T57" fmla="*/ 147 h 155"/>
                <a:gd name="T58" fmla="*/ 102 w 143"/>
                <a:gd name="T59" fmla="*/ 147 h 155"/>
                <a:gd name="T60" fmla="*/ 91 w 143"/>
                <a:gd name="T61" fmla="*/ 150 h 155"/>
                <a:gd name="T62" fmla="*/ 76 w 143"/>
                <a:gd name="T63" fmla="*/ 149 h 155"/>
                <a:gd name="T64" fmla="*/ 75 w 143"/>
                <a:gd name="T65" fmla="*/ 155 h 155"/>
                <a:gd name="T66" fmla="*/ 66 w 143"/>
                <a:gd name="T67" fmla="*/ 149 h 155"/>
                <a:gd name="T68" fmla="*/ 61 w 143"/>
                <a:gd name="T69" fmla="*/ 150 h 155"/>
                <a:gd name="T70" fmla="*/ 44 w 143"/>
                <a:gd name="T71" fmla="*/ 144 h 155"/>
                <a:gd name="T72" fmla="*/ 40 w 143"/>
                <a:gd name="T73" fmla="*/ 148 h 155"/>
                <a:gd name="T74" fmla="*/ 26 w 143"/>
                <a:gd name="T75" fmla="*/ 148 h 155"/>
                <a:gd name="T76" fmla="*/ 28 w 143"/>
                <a:gd name="T77" fmla="*/ 134 h 155"/>
                <a:gd name="T78" fmla="*/ 35 w 143"/>
                <a:gd name="T79" fmla="*/ 120 h 155"/>
                <a:gd name="T80" fmla="*/ 12 w 143"/>
                <a:gd name="T81" fmla="*/ 116 h 155"/>
                <a:gd name="T82" fmla="*/ 4 w 143"/>
                <a:gd name="T83" fmla="*/ 111 h 155"/>
                <a:gd name="T84" fmla="*/ 5 w 143"/>
                <a:gd name="T85" fmla="*/ 102 h 155"/>
                <a:gd name="T86" fmla="*/ 2 w 143"/>
                <a:gd name="T87" fmla="*/ 97 h 155"/>
                <a:gd name="T88" fmla="*/ 3 w 143"/>
                <a:gd name="T89" fmla="*/ 84 h 155"/>
                <a:gd name="T90" fmla="*/ 0 w 143"/>
                <a:gd name="T91" fmla="*/ 63 h 155"/>
                <a:gd name="T92" fmla="*/ 9 w 143"/>
                <a:gd name="T93" fmla="*/ 63 h 155"/>
                <a:gd name="T94" fmla="*/ 13 w 143"/>
                <a:gd name="T95" fmla="*/ 55 h 155"/>
                <a:gd name="T96" fmla="*/ 16 w 143"/>
                <a:gd name="T97" fmla="*/ 37 h 155"/>
                <a:gd name="T98" fmla="*/ 13 w 143"/>
                <a:gd name="T99" fmla="*/ 30 h 155"/>
                <a:gd name="T100" fmla="*/ 16 w 143"/>
                <a:gd name="T101" fmla="*/ 26 h 155"/>
                <a:gd name="T102" fmla="*/ 29 w 143"/>
                <a:gd name="T103" fmla="*/ 25 h 155"/>
                <a:gd name="T104" fmla="*/ 32 w 143"/>
                <a:gd name="T105" fmla="*/ 29 h 155"/>
                <a:gd name="T106" fmla="*/ 42 w 143"/>
                <a:gd name="T107" fmla="*/ 19 h 155"/>
                <a:gd name="T108" fmla="*/ 38 w 143"/>
                <a:gd name="T109" fmla="*/ 12 h 155"/>
                <a:gd name="T110" fmla="*/ 36 w 143"/>
                <a:gd name="T111" fmla="*/ 1 h 155"/>
                <a:gd name="T112" fmla="*/ 48 w 143"/>
                <a:gd name="T113" fmla="*/ 3 h 155"/>
                <a:gd name="T114" fmla="*/ 58 w 143"/>
                <a:gd name="T11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 h="155">
                  <a:moveTo>
                    <a:pt x="58" y="0"/>
                  </a:moveTo>
                  <a:lnTo>
                    <a:pt x="59" y="8"/>
                  </a:lnTo>
                  <a:lnTo>
                    <a:pt x="75" y="12"/>
                  </a:lnTo>
                  <a:lnTo>
                    <a:pt x="75" y="20"/>
                  </a:lnTo>
                  <a:lnTo>
                    <a:pt x="90" y="16"/>
                  </a:lnTo>
                  <a:lnTo>
                    <a:pt x="99" y="10"/>
                  </a:lnTo>
                  <a:lnTo>
                    <a:pt x="117" y="18"/>
                  </a:lnTo>
                  <a:lnTo>
                    <a:pt x="125" y="25"/>
                  </a:lnTo>
                  <a:lnTo>
                    <a:pt x="129" y="35"/>
                  </a:lnTo>
                  <a:lnTo>
                    <a:pt x="125" y="40"/>
                  </a:lnTo>
                  <a:lnTo>
                    <a:pt x="131" y="47"/>
                  </a:lnTo>
                  <a:lnTo>
                    <a:pt x="136" y="58"/>
                  </a:lnTo>
                  <a:lnTo>
                    <a:pt x="136" y="65"/>
                  </a:lnTo>
                  <a:lnTo>
                    <a:pt x="143" y="78"/>
                  </a:lnTo>
                  <a:lnTo>
                    <a:pt x="136" y="80"/>
                  </a:lnTo>
                  <a:lnTo>
                    <a:pt x="132" y="77"/>
                  </a:lnTo>
                  <a:lnTo>
                    <a:pt x="128" y="81"/>
                  </a:lnTo>
                  <a:lnTo>
                    <a:pt x="117" y="85"/>
                  </a:lnTo>
                  <a:lnTo>
                    <a:pt x="112" y="90"/>
                  </a:lnTo>
                  <a:lnTo>
                    <a:pt x="100" y="95"/>
                  </a:lnTo>
                  <a:lnTo>
                    <a:pt x="104" y="101"/>
                  </a:lnTo>
                  <a:lnTo>
                    <a:pt x="106" y="109"/>
                  </a:lnTo>
                  <a:lnTo>
                    <a:pt x="114" y="114"/>
                  </a:lnTo>
                  <a:lnTo>
                    <a:pt x="124" y="123"/>
                  </a:lnTo>
                  <a:lnTo>
                    <a:pt x="119" y="132"/>
                  </a:lnTo>
                  <a:lnTo>
                    <a:pt x="113" y="135"/>
                  </a:lnTo>
                  <a:lnTo>
                    <a:pt x="117" y="148"/>
                  </a:lnTo>
                  <a:lnTo>
                    <a:pt x="115" y="151"/>
                  </a:lnTo>
                  <a:lnTo>
                    <a:pt x="110" y="147"/>
                  </a:lnTo>
                  <a:lnTo>
                    <a:pt x="102" y="147"/>
                  </a:lnTo>
                  <a:lnTo>
                    <a:pt x="91" y="150"/>
                  </a:lnTo>
                  <a:lnTo>
                    <a:pt x="76" y="149"/>
                  </a:lnTo>
                  <a:lnTo>
                    <a:pt x="75" y="155"/>
                  </a:lnTo>
                  <a:lnTo>
                    <a:pt x="66" y="149"/>
                  </a:lnTo>
                  <a:lnTo>
                    <a:pt x="61" y="150"/>
                  </a:lnTo>
                  <a:lnTo>
                    <a:pt x="44" y="144"/>
                  </a:lnTo>
                  <a:lnTo>
                    <a:pt x="40" y="148"/>
                  </a:lnTo>
                  <a:lnTo>
                    <a:pt x="26" y="148"/>
                  </a:lnTo>
                  <a:lnTo>
                    <a:pt x="28" y="134"/>
                  </a:lnTo>
                  <a:lnTo>
                    <a:pt x="35" y="120"/>
                  </a:lnTo>
                  <a:lnTo>
                    <a:pt x="12" y="116"/>
                  </a:lnTo>
                  <a:lnTo>
                    <a:pt x="4" y="111"/>
                  </a:lnTo>
                  <a:lnTo>
                    <a:pt x="5" y="102"/>
                  </a:lnTo>
                  <a:lnTo>
                    <a:pt x="2" y="97"/>
                  </a:lnTo>
                  <a:lnTo>
                    <a:pt x="3" y="84"/>
                  </a:lnTo>
                  <a:lnTo>
                    <a:pt x="0" y="63"/>
                  </a:lnTo>
                  <a:lnTo>
                    <a:pt x="9" y="63"/>
                  </a:lnTo>
                  <a:lnTo>
                    <a:pt x="13" y="55"/>
                  </a:lnTo>
                  <a:lnTo>
                    <a:pt x="16" y="37"/>
                  </a:lnTo>
                  <a:lnTo>
                    <a:pt x="13" y="30"/>
                  </a:lnTo>
                  <a:lnTo>
                    <a:pt x="16" y="26"/>
                  </a:lnTo>
                  <a:lnTo>
                    <a:pt x="29" y="25"/>
                  </a:lnTo>
                  <a:lnTo>
                    <a:pt x="32" y="29"/>
                  </a:lnTo>
                  <a:lnTo>
                    <a:pt x="42" y="19"/>
                  </a:lnTo>
                  <a:lnTo>
                    <a:pt x="38" y="12"/>
                  </a:lnTo>
                  <a:lnTo>
                    <a:pt x="36" y="1"/>
                  </a:lnTo>
                  <a:lnTo>
                    <a:pt x="48" y="3"/>
                  </a:lnTo>
                  <a:lnTo>
                    <a:pt x="58"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89" name="Freeform 52"/>
            <p:cNvSpPr>
              <a:spLocks/>
            </p:cNvSpPr>
            <p:nvPr/>
          </p:nvSpPr>
          <p:spPr bwMode="auto">
            <a:xfrm>
              <a:off x="5389562" y="3287716"/>
              <a:ext cx="47625" cy="57150"/>
            </a:xfrm>
            <a:custGeom>
              <a:avLst/>
              <a:gdLst>
                <a:gd name="T0" fmla="*/ 25 w 30"/>
                <a:gd name="T1" fmla="*/ 0 h 36"/>
                <a:gd name="T2" fmla="*/ 30 w 30"/>
                <a:gd name="T3" fmla="*/ 6 h 36"/>
                <a:gd name="T4" fmla="*/ 30 w 30"/>
                <a:gd name="T5" fmla="*/ 15 h 36"/>
                <a:gd name="T6" fmla="*/ 20 w 30"/>
                <a:gd name="T7" fmla="*/ 20 h 36"/>
                <a:gd name="T8" fmla="*/ 28 w 30"/>
                <a:gd name="T9" fmla="*/ 25 h 36"/>
                <a:gd name="T10" fmla="*/ 21 w 30"/>
                <a:gd name="T11" fmla="*/ 36 h 36"/>
                <a:gd name="T12" fmla="*/ 17 w 30"/>
                <a:gd name="T13" fmla="*/ 33 h 36"/>
                <a:gd name="T14" fmla="*/ 13 w 30"/>
                <a:gd name="T15" fmla="*/ 34 h 36"/>
                <a:gd name="T16" fmla="*/ 3 w 30"/>
                <a:gd name="T17" fmla="*/ 34 h 36"/>
                <a:gd name="T18" fmla="*/ 2 w 30"/>
                <a:gd name="T19" fmla="*/ 28 h 36"/>
                <a:gd name="T20" fmla="*/ 0 w 30"/>
                <a:gd name="T21" fmla="*/ 22 h 36"/>
                <a:gd name="T22" fmla="*/ 6 w 30"/>
                <a:gd name="T23" fmla="*/ 12 h 36"/>
                <a:gd name="T24" fmla="*/ 12 w 30"/>
                <a:gd name="T25" fmla="*/ 3 h 36"/>
                <a:gd name="T26" fmla="*/ 20 w 30"/>
                <a:gd name="T27" fmla="*/ 5 h 36"/>
                <a:gd name="T28" fmla="*/ 25 w 30"/>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36">
                  <a:moveTo>
                    <a:pt x="25" y="0"/>
                  </a:moveTo>
                  <a:lnTo>
                    <a:pt x="30" y="6"/>
                  </a:lnTo>
                  <a:lnTo>
                    <a:pt x="30" y="15"/>
                  </a:lnTo>
                  <a:lnTo>
                    <a:pt x="20" y="20"/>
                  </a:lnTo>
                  <a:lnTo>
                    <a:pt x="28" y="25"/>
                  </a:lnTo>
                  <a:lnTo>
                    <a:pt x="21" y="36"/>
                  </a:lnTo>
                  <a:lnTo>
                    <a:pt x="17" y="33"/>
                  </a:lnTo>
                  <a:lnTo>
                    <a:pt x="13" y="34"/>
                  </a:lnTo>
                  <a:lnTo>
                    <a:pt x="3" y="34"/>
                  </a:lnTo>
                  <a:lnTo>
                    <a:pt x="2" y="28"/>
                  </a:lnTo>
                  <a:lnTo>
                    <a:pt x="0" y="22"/>
                  </a:lnTo>
                  <a:lnTo>
                    <a:pt x="6" y="12"/>
                  </a:lnTo>
                  <a:lnTo>
                    <a:pt x="12" y="3"/>
                  </a:lnTo>
                  <a:lnTo>
                    <a:pt x="20" y="5"/>
                  </a:lnTo>
                  <a:lnTo>
                    <a:pt x="25"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90" name="Freeform 53"/>
            <p:cNvSpPr>
              <a:spLocks/>
            </p:cNvSpPr>
            <p:nvPr/>
          </p:nvSpPr>
          <p:spPr bwMode="auto">
            <a:xfrm>
              <a:off x="4446587" y="1870079"/>
              <a:ext cx="42863" cy="41275"/>
            </a:xfrm>
            <a:custGeom>
              <a:avLst/>
              <a:gdLst>
                <a:gd name="T0" fmla="*/ 27 w 27"/>
                <a:gd name="T1" fmla="*/ 10 h 26"/>
                <a:gd name="T2" fmla="*/ 20 w 27"/>
                <a:gd name="T3" fmla="*/ 26 h 26"/>
                <a:gd name="T4" fmla="*/ 3 w 27"/>
                <a:gd name="T5" fmla="*/ 15 h 26"/>
                <a:gd name="T6" fmla="*/ 0 w 27"/>
                <a:gd name="T7" fmla="*/ 6 h 26"/>
                <a:gd name="T8" fmla="*/ 22 w 27"/>
                <a:gd name="T9" fmla="*/ 0 h 26"/>
                <a:gd name="T10" fmla="*/ 27 w 27"/>
                <a:gd name="T11" fmla="*/ 10 h 26"/>
              </a:gdLst>
              <a:ahLst/>
              <a:cxnLst>
                <a:cxn ang="0">
                  <a:pos x="T0" y="T1"/>
                </a:cxn>
                <a:cxn ang="0">
                  <a:pos x="T2" y="T3"/>
                </a:cxn>
                <a:cxn ang="0">
                  <a:pos x="T4" y="T5"/>
                </a:cxn>
                <a:cxn ang="0">
                  <a:pos x="T6" y="T7"/>
                </a:cxn>
                <a:cxn ang="0">
                  <a:pos x="T8" y="T9"/>
                </a:cxn>
                <a:cxn ang="0">
                  <a:pos x="T10" y="T11"/>
                </a:cxn>
              </a:cxnLst>
              <a:rect l="0" t="0" r="r" b="b"/>
              <a:pathLst>
                <a:path w="27" h="26">
                  <a:moveTo>
                    <a:pt x="27" y="10"/>
                  </a:moveTo>
                  <a:lnTo>
                    <a:pt x="20" y="26"/>
                  </a:lnTo>
                  <a:lnTo>
                    <a:pt x="3" y="15"/>
                  </a:lnTo>
                  <a:lnTo>
                    <a:pt x="0" y="6"/>
                  </a:lnTo>
                  <a:lnTo>
                    <a:pt x="22" y="0"/>
                  </a:lnTo>
                  <a:lnTo>
                    <a:pt x="27" y="1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91" name="Freeform 54"/>
            <p:cNvSpPr>
              <a:spLocks/>
            </p:cNvSpPr>
            <p:nvPr/>
          </p:nvSpPr>
          <p:spPr bwMode="auto">
            <a:xfrm>
              <a:off x="4376737" y="1819279"/>
              <a:ext cx="68263" cy="90488"/>
            </a:xfrm>
            <a:custGeom>
              <a:avLst/>
              <a:gdLst>
                <a:gd name="T0" fmla="*/ 43 w 43"/>
                <a:gd name="T1" fmla="*/ 25 h 57"/>
                <a:gd name="T2" fmla="*/ 40 w 43"/>
                <a:gd name="T3" fmla="*/ 33 h 57"/>
                <a:gd name="T4" fmla="*/ 35 w 43"/>
                <a:gd name="T5" fmla="*/ 30 h 57"/>
                <a:gd name="T6" fmla="*/ 25 w 43"/>
                <a:gd name="T7" fmla="*/ 44 h 57"/>
                <a:gd name="T8" fmla="*/ 30 w 43"/>
                <a:gd name="T9" fmla="*/ 54 h 57"/>
                <a:gd name="T10" fmla="*/ 20 w 43"/>
                <a:gd name="T11" fmla="*/ 57 h 57"/>
                <a:gd name="T12" fmla="*/ 8 w 43"/>
                <a:gd name="T13" fmla="*/ 55 h 57"/>
                <a:gd name="T14" fmla="*/ 2 w 43"/>
                <a:gd name="T15" fmla="*/ 44 h 57"/>
                <a:gd name="T16" fmla="*/ 0 w 43"/>
                <a:gd name="T17" fmla="*/ 24 h 57"/>
                <a:gd name="T18" fmla="*/ 2 w 43"/>
                <a:gd name="T19" fmla="*/ 18 h 57"/>
                <a:gd name="T20" fmla="*/ 6 w 43"/>
                <a:gd name="T21" fmla="*/ 12 h 57"/>
                <a:gd name="T22" fmla="*/ 20 w 43"/>
                <a:gd name="T23" fmla="*/ 11 h 57"/>
                <a:gd name="T24" fmla="*/ 25 w 43"/>
                <a:gd name="T25" fmla="*/ 6 h 57"/>
                <a:gd name="T26" fmla="*/ 36 w 43"/>
                <a:gd name="T27" fmla="*/ 0 h 57"/>
                <a:gd name="T28" fmla="*/ 37 w 43"/>
                <a:gd name="T29" fmla="*/ 10 h 57"/>
                <a:gd name="T30" fmla="*/ 32 w 43"/>
                <a:gd name="T31" fmla="*/ 16 h 57"/>
                <a:gd name="T32" fmla="*/ 35 w 43"/>
                <a:gd name="T33" fmla="*/ 22 h 57"/>
                <a:gd name="T34" fmla="*/ 43 w 43"/>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57">
                  <a:moveTo>
                    <a:pt x="43" y="25"/>
                  </a:moveTo>
                  <a:lnTo>
                    <a:pt x="40" y="33"/>
                  </a:lnTo>
                  <a:lnTo>
                    <a:pt x="35" y="30"/>
                  </a:lnTo>
                  <a:lnTo>
                    <a:pt x="25" y="44"/>
                  </a:lnTo>
                  <a:lnTo>
                    <a:pt x="30" y="54"/>
                  </a:lnTo>
                  <a:lnTo>
                    <a:pt x="20" y="57"/>
                  </a:lnTo>
                  <a:lnTo>
                    <a:pt x="8" y="55"/>
                  </a:lnTo>
                  <a:lnTo>
                    <a:pt x="2" y="44"/>
                  </a:lnTo>
                  <a:lnTo>
                    <a:pt x="0" y="24"/>
                  </a:lnTo>
                  <a:lnTo>
                    <a:pt x="2" y="18"/>
                  </a:lnTo>
                  <a:lnTo>
                    <a:pt x="6" y="12"/>
                  </a:lnTo>
                  <a:lnTo>
                    <a:pt x="20" y="11"/>
                  </a:lnTo>
                  <a:lnTo>
                    <a:pt x="25" y="6"/>
                  </a:lnTo>
                  <a:lnTo>
                    <a:pt x="36" y="0"/>
                  </a:lnTo>
                  <a:lnTo>
                    <a:pt x="37" y="10"/>
                  </a:lnTo>
                  <a:lnTo>
                    <a:pt x="32" y="16"/>
                  </a:lnTo>
                  <a:lnTo>
                    <a:pt x="35" y="22"/>
                  </a:lnTo>
                  <a:lnTo>
                    <a:pt x="43" y="25"/>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92" name="Freeform 55"/>
            <p:cNvSpPr>
              <a:spLocks/>
            </p:cNvSpPr>
            <p:nvPr/>
          </p:nvSpPr>
          <p:spPr bwMode="auto">
            <a:xfrm>
              <a:off x="2114550" y="3049591"/>
              <a:ext cx="104775" cy="76200"/>
            </a:xfrm>
            <a:custGeom>
              <a:avLst/>
              <a:gdLst>
                <a:gd name="T0" fmla="*/ 7 w 66"/>
                <a:gd name="T1" fmla="*/ 4 h 48"/>
                <a:gd name="T2" fmla="*/ 10 w 66"/>
                <a:gd name="T3" fmla="*/ 0 h 48"/>
                <a:gd name="T4" fmla="*/ 24 w 66"/>
                <a:gd name="T5" fmla="*/ 0 h 48"/>
                <a:gd name="T6" fmla="*/ 34 w 66"/>
                <a:gd name="T7" fmla="*/ 6 h 48"/>
                <a:gd name="T8" fmla="*/ 39 w 66"/>
                <a:gd name="T9" fmla="*/ 5 h 48"/>
                <a:gd name="T10" fmla="*/ 41 w 66"/>
                <a:gd name="T11" fmla="*/ 13 h 48"/>
                <a:gd name="T12" fmla="*/ 51 w 66"/>
                <a:gd name="T13" fmla="*/ 12 h 48"/>
                <a:gd name="T14" fmla="*/ 50 w 66"/>
                <a:gd name="T15" fmla="*/ 18 h 48"/>
                <a:gd name="T16" fmla="*/ 58 w 66"/>
                <a:gd name="T17" fmla="*/ 19 h 48"/>
                <a:gd name="T18" fmla="*/ 66 w 66"/>
                <a:gd name="T19" fmla="*/ 27 h 48"/>
                <a:gd name="T20" fmla="*/ 58 w 66"/>
                <a:gd name="T21" fmla="*/ 35 h 48"/>
                <a:gd name="T22" fmla="*/ 50 w 66"/>
                <a:gd name="T23" fmla="*/ 31 h 48"/>
                <a:gd name="T24" fmla="*/ 42 w 66"/>
                <a:gd name="T25" fmla="*/ 31 h 48"/>
                <a:gd name="T26" fmla="*/ 36 w 66"/>
                <a:gd name="T27" fmla="*/ 30 h 48"/>
                <a:gd name="T28" fmla="*/ 32 w 66"/>
                <a:gd name="T29" fmla="*/ 34 h 48"/>
                <a:gd name="T30" fmla="*/ 25 w 66"/>
                <a:gd name="T31" fmla="*/ 36 h 48"/>
                <a:gd name="T32" fmla="*/ 23 w 66"/>
                <a:gd name="T33" fmla="*/ 30 h 48"/>
                <a:gd name="T34" fmla="*/ 17 w 66"/>
                <a:gd name="T35" fmla="*/ 34 h 48"/>
                <a:gd name="T36" fmla="*/ 8 w 66"/>
                <a:gd name="T37" fmla="*/ 48 h 48"/>
                <a:gd name="T38" fmla="*/ 4 w 66"/>
                <a:gd name="T39" fmla="*/ 44 h 48"/>
                <a:gd name="T40" fmla="*/ 3 w 66"/>
                <a:gd name="T41" fmla="*/ 39 h 48"/>
                <a:gd name="T42" fmla="*/ 4 w 66"/>
                <a:gd name="T43" fmla="*/ 33 h 48"/>
                <a:gd name="T44" fmla="*/ 0 w 66"/>
                <a:gd name="T45" fmla="*/ 27 h 48"/>
                <a:gd name="T46" fmla="*/ 5 w 66"/>
                <a:gd name="T47" fmla="*/ 23 h 48"/>
                <a:gd name="T48" fmla="*/ 8 w 66"/>
                <a:gd name="T49" fmla="*/ 15 h 48"/>
                <a:gd name="T50" fmla="*/ 7 w 66"/>
                <a:gd name="T51"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 h="48">
                  <a:moveTo>
                    <a:pt x="7" y="4"/>
                  </a:moveTo>
                  <a:lnTo>
                    <a:pt x="10" y="0"/>
                  </a:lnTo>
                  <a:lnTo>
                    <a:pt x="24" y="0"/>
                  </a:lnTo>
                  <a:lnTo>
                    <a:pt x="34" y="6"/>
                  </a:lnTo>
                  <a:lnTo>
                    <a:pt x="39" y="5"/>
                  </a:lnTo>
                  <a:lnTo>
                    <a:pt x="41" y="13"/>
                  </a:lnTo>
                  <a:lnTo>
                    <a:pt x="51" y="12"/>
                  </a:lnTo>
                  <a:lnTo>
                    <a:pt x="50" y="18"/>
                  </a:lnTo>
                  <a:lnTo>
                    <a:pt x="58" y="19"/>
                  </a:lnTo>
                  <a:lnTo>
                    <a:pt x="66" y="27"/>
                  </a:lnTo>
                  <a:lnTo>
                    <a:pt x="58" y="35"/>
                  </a:lnTo>
                  <a:lnTo>
                    <a:pt x="50" y="31"/>
                  </a:lnTo>
                  <a:lnTo>
                    <a:pt x="42" y="31"/>
                  </a:lnTo>
                  <a:lnTo>
                    <a:pt x="36" y="30"/>
                  </a:lnTo>
                  <a:lnTo>
                    <a:pt x="32" y="34"/>
                  </a:lnTo>
                  <a:lnTo>
                    <a:pt x="25" y="36"/>
                  </a:lnTo>
                  <a:lnTo>
                    <a:pt x="23" y="30"/>
                  </a:lnTo>
                  <a:lnTo>
                    <a:pt x="17" y="34"/>
                  </a:lnTo>
                  <a:lnTo>
                    <a:pt x="8" y="48"/>
                  </a:lnTo>
                  <a:lnTo>
                    <a:pt x="4" y="44"/>
                  </a:lnTo>
                  <a:lnTo>
                    <a:pt x="3" y="39"/>
                  </a:lnTo>
                  <a:lnTo>
                    <a:pt x="4" y="33"/>
                  </a:lnTo>
                  <a:lnTo>
                    <a:pt x="0" y="27"/>
                  </a:lnTo>
                  <a:lnTo>
                    <a:pt x="5" y="23"/>
                  </a:lnTo>
                  <a:lnTo>
                    <a:pt x="8" y="15"/>
                  </a:lnTo>
                  <a:lnTo>
                    <a:pt x="7" y="4"/>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93" name="Freeform 56"/>
            <p:cNvSpPr>
              <a:spLocks/>
            </p:cNvSpPr>
            <p:nvPr/>
          </p:nvSpPr>
          <p:spPr bwMode="auto">
            <a:xfrm>
              <a:off x="3937000" y="2482854"/>
              <a:ext cx="585788" cy="595313"/>
            </a:xfrm>
            <a:custGeom>
              <a:avLst/>
              <a:gdLst>
                <a:gd name="T0" fmla="*/ 369 w 369"/>
                <a:gd name="T1" fmla="*/ 283 h 375"/>
                <a:gd name="T2" fmla="*/ 309 w 369"/>
                <a:gd name="T3" fmla="*/ 322 h 375"/>
                <a:gd name="T4" fmla="*/ 257 w 369"/>
                <a:gd name="T5" fmla="*/ 363 h 375"/>
                <a:gd name="T6" fmla="*/ 231 w 369"/>
                <a:gd name="T7" fmla="*/ 372 h 375"/>
                <a:gd name="T8" fmla="*/ 211 w 369"/>
                <a:gd name="T9" fmla="*/ 375 h 375"/>
                <a:gd name="T10" fmla="*/ 211 w 369"/>
                <a:gd name="T11" fmla="*/ 361 h 375"/>
                <a:gd name="T12" fmla="*/ 203 w 369"/>
                <a:gd name="T13" fmla="*/ 358 h 375"/>
                <a:gd name="T14" fmla="*/ 191 w 369"/>
                <a:gd name="T15" fmla="*/ 352 h 375"/>
                <a:gd name="T16" fmla="*/ 187 w 369"/>
                <a:gd name="T17" fmla="*/ 342 h 375"/>
                <a:gd name="T18" fmla="*/ 126 w 369"/>
                <a:gd name="T19" fmla="*/ 297 h 375"/>
                <a:gd name="T20" fmla="*/ 66 w 369"/>
                <a:gd name="T21" fmla="*/ 252 h 375"/>
                <a:gd name="T22" fmla="*/ 0 w 369"/>
                <a:gd name="T23" fmla="*/ 201 h 375"/>
                <a:gd name="T24" fmla="*/ 1 w 369"/>
                <a:gd name="T25" fmla="*/ 197 h 375"/>
                <a:gd name="T26" fmla="*/ 1 w 369"/>
                <a:gd name="T27" fmla="*/ 196 h 375"/>
                <a:gd name="T28" fmla="*/ 1 w 369"/>
                <a:gd name="T29" fmla="*/ 171 h 375"/>
                <a:gd name="T30" fmla="*/ 30 w 369"/>
                <a:gd name="T31" fmla="*/ 156 h 375"/>
                <a:gd name="T32" fmla="*/ 48 w 369"/>
                <a:gd name="T33" fmla="*/ 153 h 375"/>
                <a:gd name="T34" fmla="*/ 62 w 369"/>
                <a:gd name="T35" fmla="*/ 147 h 375"/>
                <a:gd name="T36" fmla="*/ 69 w 369"/>
                <a:gd name="T37" fmla="*/ 137 h 375"/>
                <a:gd name="T38" fmla="*/ 90 w 369"/>
                <a:gd name="T39" fmla="*/ 129 h 375"/>
                <a:gd name="T40" fmla="*/ 91 w 369"/>
                <a:gd name="T41" fmla="*/ 113 h 375"/>
                <a:gd name="T42" fmla="*/ 101 w 369"/>
                <a:gd name="T43" fmla="*/ 112 h 375"/>
                <a:gd name="T44" fmla="*/ 109 w 369"/>
                <a:gd name="T45" fmla="*/ 104 h 375"/>
                <a:gd name="T46" fmla="*/ 132 w 369"/>
                <a:gd name="T47" fmla="*/ 100 h 375"/>
                <a:gd name="T48" fmla="*/ 135 w 369"/>
                <a:gd name="T49" fmla="*/ 92 h 375"/>
                <a:gd name="T50" fmla="*/ 130 w 369"/>
                <a:gd name="T51" fmla="*/ 88 h 375"/>
                <a:gd name="T52" fmla="*/ 124 w 369"/>
                <a:gd name="T53" fmla="*/ 66 h 375"/>
                <a:gd name="T54" fmla="*/ 123 w 369"/>
                <a:gd name="T55" fmla="*/ 53 h 375"/>
                <a:gd name="T56" fmla="*/ 117 w 369"/>
                <a:gd name="T57" fmla="*/ 40 h 375"/>
                <a:gd name="T58" fmla="*/ 134 w 369"/>
                <a:gd name="T59" fmla="*/ 29 h 375"/>
                <a:gd name="T60" fmla="*/ 152 w 369"/>
                <a:gd name="T61" fmla="*/ 25 h 375"/>
                <a:gd name="T62" fmla="*/ 163 w 369"/>
                <a:gd name="T63" fmla="*/ 17 h 375"/>
                <a:gd name="T64" fmla="*/ 179 w 369"/>
                <a:gd name="T65" fmla="*/ 11 h 375"/>
                <a:gd name="T66" fmla="*/ 209 w 369"/>
                <a:gd name="T67" fmla="*/ 7 h 375"/>
                <a:gd name="T68" fmla="*/ 237 w 369"/>
                <a:gd name="T69" fmla="*/ 5 h 375"/>
                <a:gd name="T70" fmla="*/ 246 w 369"/>
                <a:gd name="T71" fmla="*/ 8 h 375"/>
                <a:gd name="T72" fmla="*/ 262 w 369"/>
                <a:gd name="T73" fmla="*/ 0 h 375"/>
                <a:gd name="T74" fmla="*/ 280 w 369"/>
                <a:gd name="T75" fmla="*/ 0 h 375"/>
                <a:gd name="T76" fmla="*/ 287 w 369"/>
                <a:gd name="T77" fmla="*/ 5 h 375"/>
                <a:gd name="T78" fmla="*/ 299 w 369"/>
                <a:gd name="T79" fmla="*/ 3 h 375"/>
                <a:gd name="T80" fmla="*/ 296 w 369"/>
                <a:gd name="T81" fmla="*/ 14 h 375"/>
                <a:gd name="T82" fmla="*/ 299 w 369"/>
                <a:gd name="T83" fmla="*/ 34 h 375"/>
                <a:gd name="T84" fmla="*/ 295 w 369"/>
                <a:gd name="T85" fmla="*/ 51 h 375"/>
                <a:gd name="T86" fmla="*/ 285 w 369"/>
                <a:gd name="T87" fmla="*/ 62 h 375"/>
                <a:gd name="T88" fmla="*/ 287 w 369"/>
                <a:gd name="T89" fmla="*/ 78 h 375"/>
                <a:gd name="T90" fmla="*/ 302 w 369"/>
                <a:gd name="T91" fmla="*/ 90 h 375"/>
                <a:gd name="T92" fmla="*/ 302 w 369"/>
                <a:gd name="T93" fmla="*/ 95 h 375"/>
                <a:gd name="T94" fmla="*/ 313 w 369"/>
                <a:gd name="T95" fmla="*/ 104 h 375"/>
                <a:gd name="T96" fmla="*/ 321 w 369"/>
                <a:gd name="T97" fmla="*/ 141 h 375"/>
                <a:gd name="T98" fmla="*/ 327 w 369"/>
                <a:gd name="T99" fmla="*/ 159 h 375"/>
                <a:gd name="T100" fmla="*/ 329 w 369"/>
                <a:gd name="T101" fmla="*/ 169 h 375"/>
                <a:gd name="T102" fmla="*/ 326 w 369"/>
                <a:gd name="T103" fmla="*/ 186 h 375"/>
                <a:gd name="T104" fmla="*/ 327 w 369"/>
                <a:gd name="T105" fmla="*/ 195 h 375"/>
                <a:gd name="T106" fmla="*/ 325 w 369"/>
                <a:gd name="T107" fmla="*/ 207 h 375"/>
                <a:gd name="T108" fmla="*/ 327 w 369"/>
                <a:gd name="T109" fmla="*/ 220 h 375"/>
                <a:gd name="T110" fmla="*/ 320 w 369"/>
                <a:gd name="T111" fmla="*/ 228 h 375"/>
                <a:gd name="T112" fmla="*/ 331 w 369"/>
                <a:gd name="T113" fmla="*/ 244 h 375"/>
                <a:gd name="T114" fmla="*/ 332 w 369"/>
                <a:gd name="T115" fmla="*/ 252 h 375"/>
                <a:gd name="T116" fmla="*/ 339 w 369"/>
                <a:gd name="T117" fmla="*/ 264 h 375"/>
                <a:gd name="T118" fmla="*/ 347 w 369"/>
                <a:gd name="T119" fmla="*/ 260 h 375"/>
                <a:gd name="T120" fmla="*/ 361 w 369"/>
                <a:gd name="T121" fmla="*/ 270 h 375"/>
                <a:gd name="T122" fmla="*/ 369 w 369"/>
                <a:gd name="T123" fmla="*/ 28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9" h="375">
                  <a:moveTo>
                    <a:pt x="369" y="283"/>
                  </a:moveTo>
                  <a:lnTo>
                    <a:pt x="309" y="322"/>
                  </a:lnTo>
                  <a:lnTo>
                    <a:pt x="257" y="363"/>
                  </a:lnTo>
                  <a:lnTo>
                    <a:pt x="231" y="372"/>
                  </a:lnTo>
                  <a:lnTo>
                    <a:pt x="211" y="375"/>
                  </a:lnTo>
                  <a:lnTo>
                    <a:pt x="211" y="361"/>
                  </a:lnTo>
                  <a:lnTo>
                    <a:pt x="203" y="358"/>
                  </a:lnTo>
                  <a:lnTo>
                    <a:pt x="191" y="352"/>
                  </a:lnTo>
                  <a:lnTo>
                    <a:pt x="187" y="342"/>
                  </a:lnTo>
                  <a:lnTo>
                    <a:pt x="126" y="297"/>
                  </a:lnTo>
                  <a:lnTo>
                    <a:pt x="66" y="252"/>
                  </a:lnTo>
                  <a:lnTo>
                    <a:pt x="0" y="201"/>
                  </a:lnTo>
                  <a:lnTo>
                    <a:pt x="1" y="197"/>
                  </a:lnTo>
                  <a:lnTo>
                    <a:pt x="1" y="196"/>
                  </a:lnTo>
                  <a:lnTo>
                    <a:pt x="1" y="171"/>
                  </a:lnTo>
                  <a:lnTo>
                    <a:pt x="30" y="156"/>
                  </a:lnTo>
                  <a:lnTo>
                    <a:pt x="48" y="153"/>
                  </a:lnTo>
                  <a:lnTo>
                    <a:pt x="62" y="147"/>
                  </a:lnTo>
                  <a:lnTo>
                    <a:pt x="69" y="137"/>
                  </a:lnTo>
                  <a:lnTo>
                    <a:pt x="90" y="129"/>
                  </a:lnTo>
                  <a:lnTo>
                    <a:pt x="91" y="113"/>
                  </a:lnTo>
                  <a:lnTo>
                    <a:pt x="101" y="112"/>
                  </a:lnTo>
                  <a:lnTo>
                    <a:pt x="109" y="104"/>
                  </a:lnTo>
                  <a:lnTo>
                    <a:pt x="132" y="100"/>
                  </a:lnTo>
                  <a:lnTo>
                    <a:pt x="135" y="92"/>
                  </a:lnTo>
                  <a:lnTo>
                    <a:pt x="130" y="88"/>
                  </a:lnTo>
                  <a:lnTo>
                    <a:pt x="124" y="66"/>
                  </a:lnTo>
                  <a:lnTo>
                    <a:pt x="123" y="53"/>
                  </a:lnTo>
                  <a:lnTo>
                    <a:pt x="117" y="40"/>
                  </a:lnTo>
                  <a:lnTo>
                    <a:pt x="134" y="29"/>
                  </a:lnTo>
                  <a:lnTo>
                    <a:pt x="152" y="25"/>
                  </a:lnTo>
                  <a:lnTo>
                    <a:pt x="163" y="17"/>
                  </a:lnTo>
                  <a:lnTo>
                    <a:pt x="179" y="11"/>
                  </a:lnTo>
                  <a:lnTo>
                    <a:pt x="209" y="7"/>
                  </a:lnTo>
                  <a:lnTo>
                    <a:pt x="237" y="5"/>
                  </a:lnTo>
                  <a:lnTo>
                    <a:pt x="246" y="8"/>
                  </a:lnTo>
                  <a:lnTo>
                    <a:pt x="262" y="0"/>
                  </a:lnTo>
                  <a:lnTo>
                    <a:pt x="280" y="0"/>
                  </a:lnTo>
                  <a:lnTo>
                    <a:pt x="287" y="5"/>
                  </a:lnTo>
                  <a:lnTo>
                    <a:pt x="299" y="3"/>
                  </a:lnTo>
                  <a:lnTo>
                    <a:pt x="296" y="14"/>
                  </a:lnTo>
                  <a:lnTo>
                    <a:pt x="299" y="34"/>
                  </a:lnTo>
                  <a:lnTo>
                    <a:pt x="295" y="51"/>
                  </a:lnTo>
                  <a:lnTo>
                    <a:pt x="285" y="62"/>
                  </a:lnTo>
                  <a:lnTo>
                    <a:pt x="287" y="78"/>
                  </a:lnTo>
                  <a:lnTo>
                    <a:pt x="302" y="90"/>
                  </a:lnTo>
                  <a:lnTo>
                    <a:pt x="302" y="95"/>
                  </a:lnTo>
                  <a:lnTo>
                    <a:pt x="313" y="104"/>
                  </a:lnTo>
                  <a:lnTo>
                    <a:pt x="321" y="141"/>
                  </a:lnTo>
                  <a:lnTo>
                    <a:pt x="327" y="159"/>
                  </a:lnTo>
                  <a:lnTo>
                    <a:pt x="329" y="169"/>
                  </a:lnTo>
                  <a:lnTo>
                    <a:pt x="326" y="186"/>
                  </a:lnTo>
                  <a:lnTo>
                    <a:pt x="327" y="195"/>
                  </a:lnTo>
                  <a:lnTo>
                    <a:pt x="325" y="207"/>
                  </a:lnTo>
                  <a:lnTo>
                    <a:pt x="327" y="220"/>
                  </a:lnTo>
                  <a:lnTo>
                    <a:pt x="320" y="228"/>
                  </a:lnTo>
                  <a:lnTo>
                    <a:pt x="331" y="244"/>
                  </a:lnTo>
                  <a:lnTo>
                    <a:pt x="332" y="252"/>
                  </a:lnTo>
                  <a:lnTo>
                    <a:pt x="339" y="264"/>
                  </a:lnTo>
                  <a:lnTo>
                    <a:pt x="347" y="260"/>
                  </a:lnTo>
                  <a:lnTo>
                    <a:pt x="361" y="270"/>
                  </a:lnTo>
                  <a:lnTo>
                    <a:pt x="369" y="283"/>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94" name="Freeform 57"/>
            <p:cNvSpPr>
              <a:spLocks/>
            </p:cNvSpPr>
            <p:nvPr/>
          </p:nvSpPr>
          <p:spPr bwMode="auto">
            <a:xfrm>
              <a:off x="1820862" y="3660779"/>
              <a:ext cx="166688" cy="207963"/>
            </a:xfrm>
            <a:custGeom>
              <a:avLst/>
              <a:gdLst>
                <a:gd name="T0" fmla="*/ 13 w 105"/>
                <a:gd name="T1" fmla="*/ 99 h 131"/>
                <a:gd name="T2" fmla="*/ 22 w 105"/>
                <a:gd name="T3" fmla="*/ 84 h 131"/>
                <a:gd name="T4" fmla="*/ 18 w 105"/>
                <a:gd name="T5" fmla="*/ 75 h 131"/>
                <a:gd name="T6" fmla="*/ 11 w 105"/>
                <a:gd name="T7" fmla="*/ 84 h 131"/>
                <a:gd name="T8" fmla="*/ 0 w 105"/>
                <a:gd name="T9" fmla="*/ 75 h 131"/>
                <a:gd name="T10" fmla="*/ 4 w 105"/>
                <a:gd name="T11" fmla="*/ 69 h 131"/>
                <a:gd name="T12" fmla="*/ 0 w 105"/>
                <a:gd name="T13" fmla="*/ 50 h 131"/>
                <a:gd name="T14" fmla="*/ 7 w 105"/>
                <a:gd name="T15" fmla="*/ 47 h 131"/>
                <a:gd name="T16" fmla="*/ 10 w 105"/>
                <a:gd name="T17" fmla="*/ 34 h 131"/>
                <a:gd name="T18" fmla="*/ 17 w 105"/>
                <a:gd name="T19" fmla="*/ 21 h 131"/>
                <a:gd name="T20" fmla="*/ 16 w 105"/>
                <a:gd name="T21" fmla="*/ 12 h 131"/>
                <a:gd name="T22" fmla="*/ 26 w 105"/>
                <a:gd name="T23" fmla="*/ 8 h 131"/>
                <a:gd name="T24" fmla="*/ 39 w 105"/>
                <a:gd name="T25" fmla="*/ 0 h 131"/>
                <a:gd name="T26" fmla="*/ 57 w 105"/>
                <a:gd name="T27" fmla="*/ 12 h 131"/>
                <a:gd name="T28" fmla="*/ 60 w 105"/>
                <a:gd name="T29" fmla="*/ 11 h 131"/>
                <a:gd name="T30" fmla="*/ 65 w 105"/>
                <a:gd name="T31" fmla="*/ 20 h 131"/>
                <a:gd name="T32" fmla="*/ 80 w 105"/>
                <a:gd name="T33" fmla="*/ 23 h 131"/>
                <a:gd name="T34" fmla="*/ 86 w 105"/>
                <a:gd name="T35" fmla="*/ 20 h 131"/>
                <a:gd name="T36" fmla="*/ 95 w 105"/>
                <a:gd name="T37" fmla="*/ 27 h 131"/>
                <a:gd name="T38" fmla="*/ 102 w 105"/>
                <a:gd name="T39" fmla="*/ 31 h 131"/>
                <a:gd name="T40" fmla="*/ 105 w 105"/>
                <a:gd name="T41" fmla="*/ 47 h 131"/>
                <a:gd name="T42" fmla="*/ 99 w 105"/>
                <a:gd name="T43" fmla="*/ 61 h 131"/>
                <a:gd name="T44" fmla="*/ 80 w 105"/>
                <a:gd name="T45" fmla="*/ 83 h 131"/>
                <a:gd name="T46" fmla="*/ 58 w 105"/>
                <a:gd name="T47" fmla="*/ 91 h 131"/>
                <a:gd name="T48" fmla="*/ 47 w 105"/>
                <a:gd name="T49" fmla="*/ 109 h 131"/>
                <a:gd name="T50" fmla="*/ 44 w 105"/>
                <a:gd name="T51" fmla="*/ 123 h 131"/>
                <a:gd name="T52" fmla="*/ 34 w 105"/>
                <a:gd name="T53" fmla="*/ 131 h 131"/>
                <a:gd name="T54" fmla="*/ 26 w 105"/>
                <a:gd name="T55" fmla="*/ 121 h 131"/>
                <a:gd name="T56" fmla="*/ 18 w 105"/>
                <a:gd name="T57" fmla="*/ 119 h 131"/>
                <a:gd name="T58" fmla="*/ 10 w 105"/>
                <a:gd name="T59" fmla="*/ 120 h 131"/>
                <a:gd name="T60" fmla="*/ 10 w 105"/>
                <a:gd name="T61" fmla="*/ 113 h 131"/>
                <a:gd name="T62" fmla="*/ 15 w 105"/>
                <a:gd name="T63" fmla="*/ 108 h 131"/>
                <a:gd name="T64" fmla="*/ 13 w 105"/>
                <a:gd name="T65" fmla="*/ 9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 h="131">
                  <a:moveTo>
                    <a:pt x="13" y="99"/>
                  </a:moveTo>
                  <a:lnTo>
                    <a:pt x="22" y="84"/>
                  </a:lnTo>
                  <a:lnTo>
                    <a:pt x="18" y="75"/>
                  </a:lnTo>
                  <a:lnTo>
                    <a:pt x="11" y="84"/>
                  </a:lnTo>
                  <a:lnTo>
                    <a:pt x="0" y="75"/>
                  </a:lnTo>
                  <a:lnTo>
                    <a:pt x="4" y="69"/>
                  </a:lnTo>
                  <a:lnTo>
                    <a:pt x="0" y="50"/>
                  </a:lnTo>
                  <a:lnTo>
                    <a:pt x="7" y="47"/>
                  </a:lnTo>
                  <a:lnTo>
                    <a:pt x="10" y="34"/>
                  </a:lnTo>
                  <a:lnTo>
                    <a:pt x="17" y="21"/>
                  </a:lnTo>
                  <a:lnTo>
                    <a:pt x="16" y="12"/>
                  </a:lnTo>
                  <a:lnTo>
                    <a:pt x="26" y="8"/>
                  </a:lnTo>
                  <a:lnTo>
                    <a:pt x="39" y="0"/>
                  </a:lnTo>
                  <a:lnTo>
                    <a:pt x="57" y="12"/>
                  </a:lnTo>
                  <a:lnTo>
                    <a:pt x="60" y="11"/>
                  </a:lnTo>
                  <a:lnTo>
                    <a:pt x="65" y="20"/>
                  </a:lnTo>
                  <a:lnTo>
                    <a:pt x="80" y="23"/>
                  </a:lnTo>
                  <a:lnTo>
                    <a:pt x="86" y="20"/>
                  </a:lnTo>
                  <a:lnTo>
                    <a:pt x="95" y="27"/>
                  </a:lnTo>
                  <a:lnTo>
                    <a:pt x="102" y="31"/>
                  </a:lnTo>
                  <a:lnTo>
                    <a:pt x="105" y="47"/>
                  </a:lnTo>
                  <a:lnTo>
                    <a:pt x="99" y="61"/>
                  </a:lnTo>
                  <a:lnTo>
                    <a:pt x="80" y="83"/>
                  </a:lnTo>
                  <a:lnTo>
                    <a:pt x="58" y="91"/>
                  </a:lnTo>
                  <a:lnTo>
                    <a:pt x="47" y="109"/>
                  </a:lnTo>
                  <a:lnTo>
                    <a:pt x="44" y="123"/>
                  </a:lnTo>
                  <a:lnTo>
                    <a:pt x="34" y="131"/>
                  </a:lnTo>
                  <a:lnTo>
                    <a:pt x="26" y="121"/>
                  </a:lnTo>
                  <a:lnTo>
                    <a:pt x="18" y="119"/>
                  </a:lnTo>
                  <a:lnTo>
                    <a:pt x="10" y="120"/>
                  </a:lnTo>
                  <a:lnTo>
                    <a:pt x="10" y="113"/>
                  </a:lnTo>
                  <a:lnTo>
                    <a:pt x="15" y="108"/>
                  </a:lnTo>
                  <a:lnTo>
                    <a:pt x="13" y="99"/>
                  </a:lnTo>
                  <a:close/>
                </a:path>
              </a:pathLst>
            </a:custGeom>
            <a:solidFill>
              <a:schemeClr val="accent3">
                <a:lumMod val="60000"/>
                <a:lumOff val="40000"/>
              </a:schemeClr>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95" name="Freeform 58"/>
            <p:cNvSpPr>
              <a:spLocks/>
            </p:cNvSpPr>
            <p:nvPr/>
          </p:nvSpPr>
          <p:spPr bwMode="auto">
            <a:xfrm>
              <a:off x="4872037" y="2663829"/>
              <a:ext cx="361950" cy="315913"/>
            </a:xfrm>
            <a:custGeom>
              <a:avLst/>
              <a:gdLst>
                <a:gd name="T0" fmla="*/ 181 w 228"/>
                <a:gd name="T1" fmla="*/ 44 h 199"/>
                <a:gd name="T2" fmla="*/ 177 w 228"/>
                <a:gd name="T3" fmla="*/ 52 h 199"/>
                <a:gd name="T4" fmla="*/ 175 w 228"/>
                <a:gd name="T5" fmla="*/ 68 h 199"/>
                <a:gd name="T6" fmla="*/ 171 w 228"/>
                <a:gd name="T7" fmla="*/ 79 h 199"/>
                <a:gd name="T8" fmla="*/ 167 w 228"/>
                <a:gd name="T9" fmla="*/ 82 h 199"/>
                <a:gd name="T10" fmla="*/ 160 w 228"/>
                <a:gd name="T11" fmla="*/ 75 h 199"/>
                <a:gd name="T12" fmla="*/ 152 w 228"/>
                <a:gd name="T13" fmla="*/ 66 h 199"/>
                <a:gd name="T14" fmla="*/ 137 w 228"/>
                <a:gd name="T15" fmla="*/ 36 h 199"/>
                <a:gd name="T16" fmla="*/ 135 w 228"/>
                <a:gd name="T17" fmla="*/ 38 h 199"/>
                <a:gd name="T18" fmla="*/ 144 w 228"/>
                <a:gd name="T19" fmla="*/ 60 h 199"/>
                <a:gd name="T20" fmla="*/ 157 w 228"/>
                <a:gd name="T21" fmla="*/ 81 h 199"/>
                <a:gd name="T22" fmla="*/ 173 w 228"/>
                <a:gd name="T23" fmla="*/ 113 h 199"/>
                <a:gd name="T24" fmla="*/ 180 w 228"/>
                <a:gd name="T25" fmla="*/ 125 h 199"/>
                <a:gd name="T26" fmla="*/ 187 w 228"/>
                <a:gd name="T27" fmla="*/ 136 h 199"/>
                <a:gd name="T28" fmla="*/ 204 w 228"/>
                <a:gd name="T29" fmla="*/ 159 h 199"/>
                <a:gd name="T30" fmla="*/ 201 w 228"/>
                <a:gd name="T31" fmla="*/ 163 h 199"/>
                <a:gd name="T32" fmla="*/ 203 w 228"/>
                <a:gd name="T33" fmla="*/ 176 h 199"/>
                <a:gd name="T34" fmla="*/ 225 w 228"/>
                <a:gd name="T35" fmla="*/ 195 h 199"/>
                <a:gd name="T36" fmla="*/ 228 w 228"/>
                <a:gd name="T37" fmla="*/ 199 h 199"/>
                <a:gd name="T38" fmla="*/ 157 w 228"/>
                <a:gd name="T39" fmla="*/ 199 h 199"/>
                <a:gd name="T40" fmla="*/ 87 w 228"/>
                <a:gd name="T41" fmla="*/ 199 h 199"/>
                <a:gd name="T42" fmla="*/ 15 w 228"/>
                <a:gd name="T43" fmla="*/ 199 h 199"/>
                <a:gd name="T44" fmla="*/ 11 w 228"/>
                <a:gd name="T45" fmla="*/ 123 h 199"/>
                <a:gd name="T46" fmla="*/ 6 w 228"/>
                <a:gd name="T47" fmla="*/ 49 h 199"/>
                <a:gd name="T48" fmla="*/ 0 w 228"/>
                <a:gd name="T49" fmla="*/ 32 h 199"/>
                <a:gd name="T50" fmla="*/ 4 w 228"/>
                <a:gd name="T51" fmla="*/ 19 h 199"/>
                <a:gd name="T52" fmla="*/ 1 w 228"/>
                <a:gd name="T53" fmla="*/ 11 h 199"/>
                <a:gd name="T54" fmla="*/ 6 w 228"/>
                <a:gd name="T55" fmla="*/ 1 h 199"/>
                <a:gd name="T56" fmla="*/ 29 w 228"/>
                <a:gd name="T57" fmla="*/ 0 h 199"/>
                <a:gd name="T58" fmla="*/ 47 w 228"/>
                <a:gd name="T59" fmla="*/ 6 h 199"/>
                <a:gd name="T60" fmla="*/ 65 w 228"/>
                <a:gd name="T61" fmla="*/ 12 h 199"/>
                <a:gd name="T62" fmla="*/ 73 w 228"/>
                <a:gd name="T63" fmla="*/ 15 h 199"/>
                <a:gd name="T64" fmla="*/ 86 w 228"/>
                <a:gd name="T65" fmla="*/ 9 h 199"/>
                <a:gd name="T66" fmla="*/ 93 w 228"/>
                <a:gd name="T67" fmla="*/ 3 h 199"/>
                <a:gd name="T68" fmla="*/ 108 w 228"/>
                <a:gd name="T69" fmla="*/ 1 h 199"/>
                <a:gd name="T70" fmla="*/ 121 w 228"/>
                <a:gd name="T71" fmla="*/ 4 h 199"/>
                <a:gd name="T72" fmla="*/ 126 w 228"/>
                <a:gd name="T73" fmla="*/ 14 h 199"/>
                <a:gd name="T74" fmla="*/ 130 w 228"/>
                <a:gd name="T75" fmla="*/ 7 h 199"/>
                <a:gd name="T76" fmla="*/ 144 w 228"/>
                <a:gd name="T77" fmla="*/ 12 h 199"/>
                <a:gd name="T78" fmla="*/ 158 w 228"/>
                <a:gd name="T79" fmla="*/ 13 h 199"/>
                <a:gd name="T80" fmla="*/ 166 w 228"/>
                <a:gd name="T81" fmla="*/ 8 h 199"/>
                <a:gd name="T82" fmla="*/ 181 w 228"/>
                <a:gd name="T83" fmla="*/ 4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8" h="199">
                  <a:moveTo>
                    <a:pt x="181" y="44"/>
                  </a:moveTo>
                  <a:lnTo>
                    <a:pt x="177" y="52"/>
                  </a:lnTo>
                  <a:lnTo>
                    <a:pt x="175" y="68"/>
                  </a:lnTo>
                  <a:lnTo>
                    <a:pt x="171" y="79"/>
                  </a:lnTo>
                  <a:lnTo>
                    <a:pt x="167" y="82"/>
                  </a:lnTo>
                  <a:lnTo>
                    <a:pt x="160" y="75"/>
                  </a:lnTo>
                  <a:lnTo>
                    <a:pt x="152" y="66"/>
                  </a:lnTo>
                  <a:lnTo>
                    <a:pt x="137" y="36"/>
                  </a:lnTo>
                  <a:lnTo>
                    <a:pt x="135" y="38"/>
                  </a:lnTo>
                  <a:lnTo>
                    <a:pt x="144" y="60"/>
                  </a:lnTo>
                  <a:lnTo>
                    <a:pt x="157" y="81"/>
                  </a:lnTo>
                  <a:lnTo>
                    <a:pt x="173" y="113"/>
                  </a:lnTo>
                  <a:lnTo>
                    <a:pt x="180" y="125"/>
                  </a:lnTo>
                  <a:lnTo>
                    <a:pt x="187" y="136"/>
                  </a:lnTo>
                  <a:lnTo>
                    <a:pt x="204" y="159"/>
                  </a:lnTo>
                  <a:lnTo>
                    <a:pt x="201" y="163"/>
                  </a:lnTo>
                  <a:lnTo>
                    <a:pt x="203" y="176"/>
                  </a:lnTo>
                  <a:lnTo>
                    <a:pt x="225" y="195"/>
                  </a:lnTo>
                  <a:lnTo>
                    <a:pt x="228" y="199"/>
                  </a:lnTo>
                  <a:lnTo>
                    <a:pt x="157" y="199"/>
                  </a:lnTo>
                  <a:lnTo>
                    <a:pt x="87" y="199"/>
                  </a:lnTo>
                  <a:lnTo>
                    <a:pt x="15" y="199"/>
                  </a:lnTo>
                  <a:lnTo>
                    <a:pt x="11" y="123"/>
                  </a:lnTo>
                  <a:lnTo>
                    <a:pt x="6" y="49"/>
                  </a:lnTo>
                  <a:lnTo>
                    <a:pt x="0" y="32"/>
                  </a:lnTo>
                  <a:lnTo>
                    <a:pt x="4" y="19"/>
                  </a:lnTo>
                  <a:lnTo>
                    <a:pt x="1" y="11"/>
                  </a:lnTo>
                  <a:lnTo>
                    <a:pt x="6" y="1"/>
                  </a:lnTo>
                  <a:lnTo>
                    <a:pt x="29" y="0"/>
                  </a:lnTo>
                  <a:lnTo>
                    <a:pt x="47" y="6"/>
                  </a:lnTo>
                  <a:lnTo>
                    <a:pt x="65" y="12"/>
                  </a:lnTo>
                  <a:lnTo>
                    <a:pt x="73" y="15"/>
                  </a:lnTo>
                  <a:lnTo>
                    <a:pt x="86" y="9"/>
                  </a:lnTo>
                  <a:lnTo>
                    <a:pt x="93" y="3"/>
                  </a:lnTo>
                  <a:lnTo>
                    <a:pt x="108" y="1"/>
                  </a:lnTo>
                  <a:lnTo>
                    <a:pt x="121" y="4"/>
                  </a:lnTo>
                  <a:lnTo>
                    <a:pt x="126" y="14"/>
                  </a:lnTo>
                  <a:lnTo>
                    <a:pt x="130" y="7"/>
                  </a:lnTo>
                  <a:lnTo>
                    <a:pt x="144" y="12"/>
                  </a:lnTo>
                  <a:lnTo>
                    <a:pt x="158" y="13"/>
                  </a:lnTo>
                  <a:lnTo>
                    <a:pt x="166" y="8"/>
                  </a:lnTo>
                  <a:lnTo>
                    <a:pt x="181" y="44"/>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96" name="Freeform 59"/>
            <p:cNvSpPr>
              <a:spLocks/>
            </p:cNvSpPr>
            <p:nvPr/>
          </p:nvSpPr>
          <p:spPr bwMode="auto">
            <a:xfrm>
              <a:off x="5230812" y="3113091"/>
              <a:ext cx="198438" cy="182563"/>
            </a:xfrm>
            <a:custGeom>
              <a:avLst/>
              <a:gdLst>
                <a:gd name="T0" fmla="*/ 112 w 125"/>
                <a:gd name="T1" fmla="*/ 113 h 115"/>
                <a:gd name="T2" fmla="*/ 106 w 125"/>
                <a:gd name="T3" fmla="*/ 106 h 115"/>
                <a:gd name="T4" fmla="*/ 98 w 125"/>
                <a:gd name="T5" fmla="*/ 94 h 115"/>
                <a:gd name="T6" fmla="*/ 89 w 125"/>
                <a:gd name="T7" fmla="*/ 87 h 115"/>
                <a:gd name="T8" fmla="*/ 84 w 125"/>
                <a:gd name="T9" fmla="*/ 80 h 115"/>
                <a:gd name="T10" fmla="*/ 68 w 125"/>
                <a:gd name="T11" fmla="*/ 72 h 115"/>
                <a:gd name="T12" fmla="*/ 56 w 125"/>
                <a:gd name="T13" fmla="*/ 71 h 115"/>
                <a:gd name="T14" fmla="*/ 51 w 125"/>
                <a:gd name="T15" fmla="*/ 67 h 115"/>
                <a:gd name="T16" fmla="*/ 41 w 125"/>
                <a:gd name="T17" fmla="*/ 72 h 115"/>
                <a:gd name="T18" fmla="*/ 29 w 125"/>
                <a:gd name="T19" fmla="*/ 63 h 115"/>
                <a:gd name="T20" fmla="*/ 24 w 125"/>
                <a:gd name="T21" fmla="*/ 78 h 115"/>
                <a:gd name="T22" fmla="*/ 3 w 125"/>
                <a:gd name="T23" fmla="*/ 74 h 115"/>
                <a:gd name="T24" fmla="*/ 0 w 125"/>
                <a:gd name="T25" fmla="*/ 65 h 115"/>
                <a:gd name="T26" fmla="*/ 7 w 125"/>
                <a:gd name="T27" fmla="*/ 35 h 115"/>
                <a:gd name="T28" fmla="*/ 8 w 125"/>
                <a:gd name="T29" fmla="*/ 21 h 115"/>
                <a:gd name="T30" fmla="*/ 13 w 125"/>
                <a:gd name="T31" fmla="*/ 15 h 115"/>
                <a:gd name="T32" fmla="*/ 27 w 125"/>
                <a:gd name="T33" fmla="*/ 11 h 115"/>
                <a:gd name="T34" fmla="*/ 35 w 125"/>
                <a:gd name="T35" fmla="*/ 0 h 115"/>
                <a:gd name="T36" fmla="*/ 47 w 125"/>
                <a:gd name="T37" fmla="*/ 23 h 115"/>
                <a:gd name="T38" fmla="*/ 53 w 125"/>
                <a:gd name="T39" fmla="*/ 43 h 115"/>
                <a:gd name="T40" fmla="*/ 63 w 125"/>
                <a:gd name="T41" fmla="*/ 53 h 115"/>
                <a:gd name="T42" fmla="*/ 89 w 125"/>
                <a:gd name="T43" fmla="*/ 72 h 115"/>
                <a:gd name="T44" fmla="*/ 100 w 125"/>
                <a:gd name="T45" fmla="*/ 84 h 115"/>
                <a:gd name="T46" fmla="*/ 110 w 125"/>
                <a:gd name="T47" fmla="*/ 96 h 115"/>
                <a:gd name="T48" fmla="*/ 116 w 125"/>
                <a:gd name="T49" fmla="*/ 103 h 115"/>
                <a:gd name="T50" fmla="*/ 125 w 125"/>
                <a:gd name="T51" fmla="*/ 110 h 115"/>
                <a:gd name="T52" fmla="*/ 120 w 125"/>
                <a:gd name="T53" fmla="*/ 115 h 115"/>
                <a:gd name="T54" fmla="*/ 112 w 125"/>
                <a:gd name="T55"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 h="115">
                  <a:moveTo>
                    <a:pt x="112" y="113"/>
                  </a:moveTo>
                  <a:lnTo>
                    <a:pt x="106" y="106"/>
                  </a:lnTo>
                  <a:lnTo>
                    <a:pt x="98" y="94"/>
                  </a:lnTo>
                  <a:lnTo>
                    <a:pt x="89" y="87"/>
                  </a:lnTo>
                  <a:lnTo>
                    <a:pt x="84" y="80"/>
                  </a:lnTo>
                  <a:lnTo>
                    <a:pt x="68" y="72"/>
                  </a:lnTo>
                  <a:lnTo>
                    <a:pt x="56" y="71"/>
                  </a:lnTo>
                  <a:lnTo>
                    <a:pt x="51" y="67"/>
                  </a:lnTo>
                  <a:lnTo>
                    <a:pt x="41" y="72"/>
                  </a:lnTo>
                  <a:lnTo>
                    <a:pt x="29" y="63"/>
                  </a:lnTo>
                  <a:lnTo>
                    <a:pt x="24" y="78"/>
                  </a:lnTo>
                  <a:lnTo>
                    <a:pt x="3" y="74"/>
                  </a:lnTo>
                  <a:lnTo>
                    <a:pt x="0" y="65"/>
                  </a:lnTo>
                  <a:lnTo>
                    <a:pt x="7" y="35"/>
                  </a:lnTo>
                  <a:lnTo>
                    <a:pt x="8" y="21"/>
                  </a:lnTo>
                  <a:lnTo>
                    <a:pt x="13" y="15"/>
                  </a:lnTo>
                  <a:lnTo>
                    <a:pt x="27" y="11"/>
                  </a:lnTo>
                  <a:lnTo>
                    <a:pt x="35" y="0"/>
                  </a:lnTo>
                  <a:lnTo>
                    <a:pt x="47" y="23"/>
                  </a:lnTo>
                  <a:lnTo>
                    <a:pt x="53" y="43"/>
                  </a:lnTo>
                  <a:lnTo>
                    <a:pt x="63" y="53"/>
                  </a:lnTo>
                  <a:lnTo>
                    <a:pt x="89" y="72"/>
                  </a:lnTo>
                  <a:lnTo>
                    <a:pt x="100" y="84"/>
                  </a:lnTo>
                  <a:lnTo>
                    <a:pt x="110" y="96"/>
                  </a:lnTo>
                  <a:lnTo>
                    <a:pt x="116" y="103"/>
                  </a:lnTo>
                  <a:lnTo>
                    <a:pt x="125" y="110"/>
                  </a:lnTo>
                  <a:lnTo>
                    <a:pt x="120" y="115"/>
                  </a:lnTo>
                  <a:lnTo>
                    <a:pt x="112" y="113"/>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97" name="Freeform 60"/>
            <p:cNvSpPr>
              <a:spLocks/>
            </p:cNvSpPr>
            <p:nvPr/>
          </p:nvSpPr>
          <p:spPr bwMode="auto">
            <a:xfrm>
              <a:off x="3933825" y="2265366"/>
              <a:ext cx="328613" cy="255588"/>
            </a:xfrm>
            <a:custGeom>
              <a:avLst/>
              <a:gdLst>
                <a:gd name="T0" fmla="*/ 5 w 207"/>
                <a:gd name="T1" fmla="*/ 39 h 161"/>
                <a:gd name="T2" fmla="*/ 6 w 207"/>
                <a:gd name="T3" fmla="*/ 24 h 161"/>
                <a:gd name="T4" fmla="*/ 0 w 207"/>
                <a:gd name="T5" fmla="*/ 15 h 161"/>
                <a:gd name="T6" fmla="*/ 24 w 207"/>
                <a:gd name="T7" fmla="*/ 0 h 161"/>
                <a:gd name="T8" fmla="*/ 44 w 207"/>
                <a:gd name="T9" fmla="*/ 4 h 161"/>
                <a:gd name="T10" fmla="*/ 66 w 207"/>
                <a:gd name="T11" fmla="*/ 4 h 161"/>
                <a:gd name="T12" fmla="*/ 84 w 207"/>
                <a:gd name="T13" fmla="*/ 7 h 161"/>
                <a:gd name="T14" fmla="*/ 98 w 207"/>
                <a:gd name="T15" fmla="*/ 6 h 161"/>
                <a:gd name="T16" fmla="*/ 125 w 207"/>
                <a:gd name="T17" fmla="*/ 7 h 161"/>
                <a:gd name="T18" fmla="*/ 131 w 207"/>
                <a:gd name="T19" fmla="*/ 15 h 161"/>
                <a:gd name="T20" fmla="*/ 162 w 207"/>
                <a:gd name="T21" fmla="*/ 24 h 161"/>
                <a:gd name="T22" fmla="*/ 168 w 207"/>
                <a:gd name="T23" fmla="*/ 20 h 161"/>
                <a:gd name="T24" fmla="*/ 187 w 207"/>
                <a:gd name="T25" fmla="*/ 29 h 161"/>
                <a:gd name="T26" fmla="*/ 206 w 207"/>
                <a:gd name="T27" fmla="*/ 27 h 161"/>
                <a:gd name="T28" fmla="*/ 207 w 207"/>
                <a:gd name="T29" fmla="*/ 38 h 161"/>
                <a:gd name="T30" fmla="*/ 191 w 207"/>
                <a:gd name="T31" fmla="*/ 52 h 161"/>
                <a:gd name="T32" fmla="*/ 170 w 207"/>
                <a:gd name="T33" fmla="*/ 57 h 161"/>
                <a:gd name="T34" fmla="*/ 169 w 207"/>
                <a:gd name="T35" fmla="*/ 63 h 161"/>
                <a:gd name="T36" fmla="*/ 158 w 207"/>
                <a:gd name="T37" fmla="*/ 75 h 161"/>
                <a:gd name="T38" fmla="*/ 152 w 207"/>
                <a:gd name="T39" fmla="*/ 92 h 161"/>
                <a:gd name="T40" fmla="*/ 158 w 207"/>
                <a:gd name="T41" fmla="*/ 103 h 161"/>
                <a:gd name="T42" fmla="*/ 148 w 207"/>
                <a:gd name="T43" fmla="*/ 113 h 161"/>
                <a:gd name="T44" fmla="*/ 145 w 207"/>
                <a:gd name="T45" fmla="*/ 126 h 161"/>
                <a:gd name="T46" fmla="*/ 132 w 207"/>
                <a:gd name="T47" fmla="*/ 130 h 161"/>
                <a:gd name="T48" fmla="*/ 119 w 207"/>
                <a:gd name="T49" fmla="*/ 146 h 161"/>
                <a:gd name="T50" fmla="*/ 98 w 207"/>
                <a:gd name="T51" fmla="*/ 146 h 161"/>
                <a:gd name="T52" fmla="*/ 81 w 207"/>
                <a:gd name="T53" fmla="*/ 146 h 161"/>
                <a:gd name="T54" fmla="*/ 70 w 207"/>
                <a:gd name="T55" fmla="*/ 153 h 161"/>
                <a:gd name="T56" fmla="*/ 64 w 207"/>
                <a:gd name="T57" fmla="*/ 161 h 161"/>
                <a:gd name="T58" fmla="*/ 55 w 207"/>
                <a:gd name="T59" fmla="*/ 159 h 161"/>
                <a:gd name="T60" fmla="*/ 49 w 207"/>
                <a:gd name="T61" fmla="*/ 152 h 161"/>
                <a:gd name="T62" fmla="*/ 44 w 207"/>
                <a:gd name="T63" fmla="*/ 140 h 161"/>
                <a:gd name="T64" fmla="*/ 29 w 207"/>
                <a:gd name="T65" fmla="*/ 137 h 161"/>
                <a:gd name="T66" fmla="*/ 27 w 207"/>
                <a:gd name="T67" fmla="*/ 130 h 161"/>
                <a:gd name="T68" fmla="*/ 34 w 207"/>
                <a:gd name="T69" fmla="*/ 123 h 161"/>
                <a:gd name="T70" fmla="*/ 36 w 207"/>
                <a:gd name="T71" fmla="*/ 117 h 161"/>
                <a:gd name="T72" fmla="*/ 31 w 207"/>
                <a:gd name="T73" fmla="*/ 111 h 161"/>
                <a:gd name="T74" fmla="*/ 36 w 207"/>
                <a:gd name="T75" fmla="*/ 98 h 161"/>
                <a:gd name="T76" fmla="*/ 29 w 207"/>
                <a:gd name="T77" fmla="*/ 85 h 161"/>
                <a:gd name="T78" fmla="*/ 37 w 207"/>
                <a:gd name="T79" fmla="*/ 83 h 161"/>
                <a:gd name="T80" fmla="*/ 37 w 207"/>
                <a:gd name="T81" fmla="*/ 74 h 161"/>
                <a:gd name="T82" fmla="*/ 40 w 207"/>
                <a:gd name="T83" fmla="*/ 71 h 161"/>
                <a:gd name="T84" fmla="*/ 41 w 207"/>
                <a:gd name="T85" fmla="*/ 55 h 161"/>
                <a:gd name="T86" fmla="*/ 49 w 207"/>
                <a:gd name="T87" fmla="*/ 49 h 161"/>
                <a:gd name="T88" fmla="*/ 44 w 207"/>
                <a:gd name="T89" fmla="*/ 39 h 161"/>
                <a:gd name="T90" fmla="*/ 35 w 207"/>
                <a:gd name="T91" fmla="*/ 38 h 161"/>
                <a:gd name="T92" fmla="*/ 32 w 207"/>
                <a:gd name="T93" fmla="*/ 40 h 161"/>
                <a:gd name="T94" fmla="*/ 22 w 207"/>
                <a:gd name="T95" fmla="*/ 40 h 161"/>
                <a:gd name="T96" fmla="*/ 18 w 207"/>
                <a:gd name="T97" fmla="*/ 30 h 161"/>
                <a:gd name="T98" fmla="*/ 11 w 207"/>
                <a:gd name="T99" fmla="*/ 33 h 161"/>
                <a:gd name="T100" fmla="*/ 5 w 207"/>
                <a:gd name="T101" fmla="*/ 3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7" h="161">
                  <a:moveTo>
                    <a:pt x="5" y="39"/>
                  </a:moveTo>
                  <a:lnTo>
                    <a:pt x="6" y="24"/>
                  </a:lnTo>
                  <a:lnTo>
                    <a:pt x="0" y="15"/>
                  </a:lnTo>
                  <a:lnTo>
                    <a:pt x="24" y="0"/>
                  </a:lnTo>
                  <a:lnTo>
                    <a:pt x="44" y="4"/>
                  </a:lnTo>
                  <a:lnTo>
                    <a:pt x="66" y="4"/>
                  </a:lnTo>
                  <a:lnTo>
                    <a:pt x="84" y="7"/>
                  </a:lnTo>
                  <a:lnTo>
                    <a:pt x="98" y="6"/>
                  </a:lnTo>
                  <a:lnTo>
                    <a:pt x="125" y="7"/>
                  </a:lnTo>
                  <a:lnTo>
                    <a:pt x="131" y="15"/>
                  </a:lnTo>
                  <a:lnTo>
                    <a:pt x="162" y="24"/>
                  </a:lnTo>
                  <a:lnTo>
                    <a:pt x="168" y="20"/>
                  </a:lnTo>
                  <a:lnTo>
                    <a:pt x="187" y="29"/>
                  </a:lnTo>
                  <a:lnTo>
                    <a:pt x="206" y="27"/>
                  </a:lnTo>
                  <a:lnTo>
                    <a:pt x="207" y="38"/>
                  </a:lnTo>
                  <a:lnTo>
                    <a:pt x="191" y="52"/>
                  </a:lnTo>
                  <a:lnTo>
                    <a:pt x="170" y="57"/>
                  </a:lnTo>
                  <a:lnTo>
                    <a:pt x="169" y="63"/>
                  </a:lnTo>
                  <a:lnTo>
                    <a:pt x="158" y="75"/>
                  </a:lnTo>
                  <a:lnTo>
                    <a:pt x="152" y="92"/>
                  </a:lnTo>
                  <a:lnTo>
                    <a:pt x="158" y="103"/>
                  </a:lnTo>
                  <a:lnTo>
                    <a:pt x="148" y="113"/>
                  </a:lnTo>
                  <a:lnTo>
                    <a:pt x="145" y="126"/>
                  </a:lnTo>
                  <a:lnTo>
                    <a:pt x="132" y="130"/>
                  </a:lnTo>
                  <a:lnTo>
                    <a:pt x="119" y="146"/>
                  </a:lnTo>
                  <a:lnTo>
                    <a:pt x="98" y="146"/>
                  </a:lnTo>
                  <a:lnTo>
                    <a:pt x="81" y="146"/>
                  </a:lnTo>
                  <a:lnTo>
                    <a:pt x="70" y="153"/>
                  </a:lnTo>
                  <a:lnTo>
                    <a:pt x="64" y="161"/>
                  </a:lnTo>
                  <a:lnTo>
                    <a:pt x="55" y="159"/>
                  </a:lnTo>
                  <a:lnTo>
                    <a:pt x="49" y="152"/>
                  </a:lnTo>
                  <a:lnTo>
                    <a:pt x="44" y="140"/>
                  </a:lnTo>
                  <a:lnTo>
                    <a:pt x="29" y="137"/>
                  </a:lnTo>
                  <a:lnTo>
                    <a:pt x="27" y="130"/>
                  </a:lnTo>
                  <a:lnTo>
                    <a:pt x="34" y="123"/>
                  </a:lnTo>
                  <a:lnTo>
                    <a:pt x="36" y="117"/>
                  </a:lnTo>
                  <a:lnTo>
                    <a:pt x="31" y="111"/>
                  </a:lnTo>
                  <a:lnTo>
                    <a:pt x="36" y="98"/>
                  </a:lnTo>
                  <a:lnTo>
                    <a:pt x="29" y="85"/>
                  </a:lnTo>
                  <a:lnTo>
                    <a:pt x="37" y="83"/>
                  </a:lnTo>
                  <a:lnTo>
                    <a:pt x="37" y="74"/>
                  </a:lnTo>
                  <a:lnTo>
                    <a:pt x="40" y="71"/>
                  </a:lnTo>
                  <a:lnTo>
                    <a:pt x="41" y="55"/>
                  </a:lnTo>
                  <a:lnTo>
                    <a:pt x="49" y="49"/>
                  </a:lnTo>
                  <a:lnTo>
                    <a:pt x="44" y="39"/>
                  </a:lnTo>
                  <a:lnTo>
                    <a:pt x="35" y="38"/>
                  </a:lnTo>
                  <a:lnTo>
                    <a:pt x="32" y="40"/>
                  </a:lnTo>
                  <a:lnTo>
                    <a:pt x="22" y="40"/>
                  </a:lnTo>
                  <a:lnTo>
                    <a:pt x="18" y="30"/>
                  </a:lnTo>
                  <a:lnTo>
                    <a:pt x="11" y="33"/>
                  </a:lnTo>
                  <a:lnTo>
                    <a:pt x="5" y="3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98" name="Freeform 61"/>
            <p:cNvSpPr>
              <a:spLocks/>
            </p:cNvSpPr>
            <p:nvPr/>
          </p:nvSpPr>
          <p:spPr bwMode="auto">
            <a:xfrm>
              <a:off x="4730750" y="1760541"/>
              <a:ext cx="112713" cy="66675"/>
            </a:xfrm>
            <a:custGeom>
              <a:avLst/>
              <a:gdLst>
                <a:gd name="T0" fmla="*/ 19 w 71"/>
                <a:gd name="T1" fmla="*/ 36 h 42"/>
                <a:gd name="T2" fmla="*/ 19 w 71"/>
                <a:gd name="T3" fmla="*/ 24 h 42"/>
                <a:gd name="T4" fmla="*/ 14 w 71"/>
                <a:gd name="T5" fmla="*/ 27 h 42"/>
                <a:gd name="T6" fmla="*/ 3 w 71"/>
                <a:gd name="T7" fmla="*/ 20 h 42"/>
                <a:gd name="T8" fmla="*/ 0 w 71"/>
                <a:gd name="T9" fmla="*/ 9 h 42"/>
                <a:gd name="T10" fmla="*/ 18 w 71"/>
                <a:gd name="T11" fmla="*/ 3 h 42"/>
                <a:gd name="T12" fmla="*/ 36 w 71"/>
                <a:gd name="T13" fmla="*/ 0 h 42"/>
                <a:gd name="T14" fmla="*/ 53 w 71"/>
                <a:gd name="T15" fmla="*/ 4 h 42"/>
                <a:gd name="T16" fmla="*/ 68 w 71"/>
                <a:gd name="T17" fmla="*/ 3 h 42"/>
                <a:gd name="T18" fmla="*/ 71 w 71"/>
                <a:gd name="T19" fmla="*/ 7 h 42"/>
                <a:gd name="T20" fmla="*/ 62 w 71"/>
                <a:gd name="T21" fmla="*/ 18 h 42"/>
                <a:gd name="T22" fmla="*/ 70 w 71"/>
                <a:gd name="T23" fmla="*/ 36 h 42"/>
                <a:gd name="T24" fmla="*/ 65 w 71"/>
                <a:gd name="T25" fmla="*/ 42 h 42"/>
                <a:gd name="T26" fmla="*/ 53 w 71"/>
                <a:gd name="T27" fmla="*/ 42 h 42"/>
                <a:gd name="T28" fmla="*/ 38 w 71"/>
                <a:gd name="T29" fmla="*/ 35 h 42"/>
                <a:gd name="T30" fmla="*/ 31 w 71"/>
                <a:gd name="T31" fmla="*/ 32 h 42"/>
                <a:gd name="T32" fmla="*/ 19 w 71"/>
                <a:gd name="T33"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42">
                  <a:moveTo>
                    <a:pt x="19" y="36"/>
                  </a:moveTo>
                  <a:lnTo>
                    <a:pt x="19" y="24"/>
                  </a:lnTo>
                  <a:lnTo>
                    <a:pt x="14" y="27"/>
                  </a:lnTo>
                  <a:lnTo>
                    <a:pt x="3" y="20"/>
                  </a:lnTo>
                  <a:lnTo>
                    <a:pt x="0" y="9"/>
                  </a:lnTo>
                  <a:lnTo>
                    <a:pt x="18" y="3"/>
                  </a:lnTo>
                  <a:lnTo>
                    <a:pt x="36" y="0"/>
                  </a:lnTo>
                  <a:lnTo>
                    <a:pt x="53" y="4"/>
                  </a:lnTo>
                  <a:lnTo>
                    <a:pt x="68" y="3"/>
                  </a:lnTo>
                  <a:lnTo>
                    <a:pt x="71" y="7"/>
                  </a:lnTo>
                  <a:lnTo>
                    <a:pt x="62" y="18"/>
                  </a:lnTo>
                  <a:lnTo>
                    <a:pt x="70" y="36"/>
                  </a:lnTo>
                  <a:lnTo>
                    <a:pt x="65" y="42"/>
                  </a:lnTo>
                  <a:lnTo>
                    <a:pt x="53" y="42"/>
                  </a:lnTo>
                  <a:lnTo>
                    <a:pt x="38" y="35"/>
                  </a:lnTo>
                  <a:lnTo>
                    <a:pt x="31" y="32"/>
                  </a:lnTo>
                  <a:lnTo>
                    <a:pt x="19" y="36"/>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99" name="Freeform 62"/>
            <p:cNvSpPr>
              <a:spLocks/>
            </p:cNvSpPr>
            <p:nvPr/>
          </p:nvSpPr>
          <p:spPr bwMode="auto">
            <a:xfrm>
              <a:off x="5140325" y="3213104"/>
              <a:ext cx="431800" cy="379413"/>
            </a:xfrm>
            <a:custGeom>
              <a:avLst/>
              <a:gdLst>
                <a:gd name="T0" fmla="*/ 86 w 272"/>
                <a:gd name="T1" fmla="*/ 0 h 239"/>
                <a:gd name="T2" fmla="*/ 98 w 272"/>
                <a:gd name="T3" fmla="*/ 9 h 239"/>
                <a:gd name="T4" fmla="*/ 108 w 272"/>
                <a:gd name="T5" fmla="*/ 4 h 239"/>
                <a:gd name="T6" fmla="*/ 113 w 272"/>
                <a:gd name="T7" fmla="*/ 8 h 239"/>
                <a:gd name="T8" fmla="*/ 125 w 272"/>
                <a:gd name="T9" fmla="*/ 9 h 239"/>
                <a:gd name="T10" fmla="*/ 141 w 272"/>
                <a:gd name="T11" fmla="*/ 17 h 239"/>
                <a:gd name="T12" fmla="*/ 146 w 272"/>
                <a:gd name="T13" fmla="*/ 24 h 239"/>
                <a:gd name="T14" fmla="*/ 155 w 272"/>
                <a:gd name="T15" fmla="*/ 31 h 239"/>
                <a:gd name="T16" fmla="*/ 163 w 272"/>
                <a:gd name="T17" fmla="*/ 43 h 239"/>
                <a:gd name="T18" fmla="*/ 169 w 272"/>
                <a:gd name="T19" fmla="*/ 50 h 239"/>
                <a:gd name="T20" fmla="*/ 163 w 272"/>
                <a:gd name="T21" fmla="*/ 59 h 239"/>
                <a:gd name="T22" fmla="*/ 157 w 272"/>
                <a:gd name="T23" fmla="*/ 69 h 239"/>
                <a:gd name="T24" fmla="*/ 159 w 272"/>
                <a:gd name="T25" fmla="*/ 75 h 239"/>
                <a:gd name="T26" fmla="*/ 160 w 272"/>
                <a:gd name="T27" fmla="*/ 81 h 239"/>
                <a:gd name="T28" fmla="*/ 170 w 272"/>
                <a:gd name="T29" fmla="*/ 81 h 239"/>
                <a:gd name="T30" fmla="*/ 174 w 272"/>
                <a:gd name="T31" fmla="*/ 80 h 239"/>
                <a:gd name="T32" fmla="*/ 178 w 272"/>
                <a:gd name="T33" fmla="*/ 83 h 239"/>
                <a:gd name="T34" fmla="*/ 175 w 272"/>
                <a:gd name="T35" fmla="*/ 91 h 239"/>
                <a:gd name="T36" fmla="*/ 182 w 272"/>
                <a:gd name="T37" fmla="*/ 102 h 239"/>
                <a:gd name="T38" fmla="*/ 189 w 272"/>
                <a:gd name="T39" fmla="*/ 112 h 239"/>
                <a:gd name="T40" fmla="*/ 196 w 272"/>
                <a:gd name="T41" fmla="*/ 119 h 239"/>
                <a:gd name="T42" fmla="*/ 257 w 272"/>
                <a:gd name="T43" fmla="*/ 144 h 239"/>
                <a:gd name="T44" fmla="*/ 272 w 272"/>
                <a:gd name="T45" fmla="*/ 144 h 239"/>
                <a:gd name="T46" fmla="*/ 222 w 272"/>
                <a:gd name="T47" fmla="*/ 207 h 239"/>
                <a:gd name="T48" fmla="*/ 198 w 272"/>
                <a:gd name="T49" fmla="*/ 207 h 239"/>
                <a:gd name="T50" fmla="*/ 182 w 272"/>
                <a:gd name="T51" fmla="*/ 222 h 239"/>
                <a:gd name="T52" fmla="*/ 170 w 272"/>
                <a:gd name="T53" fmla="*/ 222 h 239"/>
                <a:gd name="T54" fmla="*/ 165 w 272"/>
                <a:gd name="T55" fmla="*/ 229 h 239"/>
                <a:gd name="T56" fmla="*/ 152 w 272"/>
                <a:gd name="T57" fmla="*/ 229 h 239"/>
                <a:gd name="T58" fmla="*/ 145 w 272"/>
                <a:gd name="T59" fmla="*/ 222 h 239"/>
                <a:gd name="T60" fmla="*/ 128 w 272"/>
                <a:gd name="T61" fmla="*/ 231 h 239"/>
                <a:gd name="T62" fmla="*/ 123 w 272"/>
                <a:gd name="T63" fmla="*/ 239 h 239"/>
                <a:gd name="T64" fmla="*/ 111 w 272"/>
                <a:gd name="T65" fmla="*/ 238 h 239"/>
                <a:gd name="T66" fmla="*/ 107 w 272"/>
                <a:gd name="T67" fmla="*/ 235 h 239"/>
                <a:gd name="T68" fmla="*/ 102 w 272"/>
                <a:gd name="T69" fmla="*/ 236 h 239"/>
                <a:gd name="T70" fmla="*/ 96 w 272"/>
                <a:gd name="T71" fmla="*/ 236 h 239"/>
                <a:gd name="T72" fmla="*/ 73 w 272"/>
                <a:gd name="T73" fmla="*/ 218 h 239"/>
                <a:gd name="T74" fmla="*/ 60 w 272"/>
                <a:gd name="T75" fmla="*/ 218 h 239"/>
                <a:gd name="T76" fmla="*/ 54 w 272"/>
                <a:gd name="T77" fmla="*/ 211 h 239"/>
                <a:gd name="T78" fmla="*/ 54 w 272"/>
                <a:gd name="T79" fmla="*/ 200 h 239"/>
                <a:gd name="T80" fmla="*/ 44 w 272"/>
                <a:gd name="T81" fmla="*/ 196 h 239"/>
                <a:gd name="T82" fmla="*/ 33 w 272"/>
                <a:gd name="T83" fmla="*/ 173 h 239"/>
                <a:gd name="T84" fmla="*/ 25 w 272"/>
                <a:gd name="T85" fmla="*/ 169 h 239"/>
                <a:gd name="T86" fmla="*/ 21 w 272"/>
                <a:gd name="T87" fmla="*/ 160 h 239"/>
                <a:gd name="T88" fmla="*/ 12 w 272"/>
                <a:gd name="T89" fmla="*/ 150 h 239"/>
                <a:gd name="T90" fmla="*/ 0 w 272"/>
                <a:gd name="T91" fmla="*/ 149 h 239"/>
                <a:gd name="T92" fmla="*/ 6 w 272"/>
                <a:gd name="T93" fmla="*/ 137 h 239"/>
                <a:gd name="T94" fmla="*/ 16 w 272"/>
                <a:gd name="T95" fmla="*/ 136 h 239"/>
                <a:gd name="T96" fmla="*/ 19 w 272"/>
                <a:gd name="T97" fmla="*/ 130 h 239"/>
                <a:gd name="T98" fmla="*/ 18 w 272"/>
                <a:gd name="T99" fmla="*/ 111 h 239"/>
                <a:gd name="T100" fmla="*/ 23 w 272"/>
                <a:gd name="T101" fmla="*/ 89 h 239"/>
                <a:gd name="T102" fmla="*/ 31 w 272"/>
                <a:gd name="T103" fmla="*/ 84 h 239"/>
                <a:gd name="T104" fmla="*/ 33 w 272"/>
                <a:gd name="T105" fmla="*/ 75 h 239"/>
                <a:gd name="T106" fmla="*/ 40 w 272"/>
                <a:gd name="T107" fmla="*/ 59 h 239"/>
                <a:gd name="T108" fmla="*/ 51 w 272"/>
                <a:gd name="T109" fmla="*/ 49 h 239"/>
                <a:gd name="T110" fmla="*/ 57 w 272"/>
                <a:gd name="T111" fmla="*/ 28 h 239"/>
                <a:gd name="T112" fmla="*/ 60 w 272"/>
                <a:gd name="T113" fmla="*/ 11 h 239"/>
                <a:gd name="T114" fmla="*/ 81 w 272"/>
                <a:gd name="T115" fmla="*/ 15 h 239"/>
                <a:gd name="T116" fmla="*/ 86 w 272"/>
                <a:gd name="T117"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39">
                  <a:moveTo>
                    <a:pt x="86" y="0"/>
                  </a:moveTo>
                  <a:lnTo>
                    <a:pt x="98" y="9"/>
                  </a:lnTo>
                  <a:lnTo>
                    <a:pt x="108" y="4"/>
                  </a:lnTo>
                  <a:lnTo>
                    <a:pt x="113" y="8"/>
                  </a:lnTo>
                  <a:lnTo>
                    <a:pt x="125" y="9"/>
                  </a:lnTo>
                  <a:lnTo>
                    <a:pt x="141" y="17"/>
                  </a:lnTo>
                  <a:lnTo>
                    <a:pt x="146" y="24"/>
                  </a:lnTo>
                  <a:lnTo>
                    <a:pt x="155" y="31"/>
                  </a:lnTo>
                  <a:lnTo>
                    <a:pt x="163" y="43"/>
                  </a:lnTo>
                  <a:lnTo>
                    <a:pt x="169" y="50"/>
                  </a:lnTo>
                  <a:lnTo>
                    <a:pt x="163" y="59"/>
                  </a:lnTo>
                  <a:lnTo>
                    <a:pt x="157" y="69"/>
                  </a:lnTo>
                  <a:lnTo>
                    <a:pt x="159" y="75"/>
                  </a:lnTo>
                  <a:lnTo>
                    <a:pt x="160" y="81"/>
                  </a:lnTo>
                  <a:lnTo>
                    <a:pt x="170" y="81"/>
                  </a:lnTo>
                  <a:lnTo>
                    <a:pt x="174" y="80"/>
                  </a:lnTo>
                  <a:lnTo>
                    <a:pt x="178" y="83"/>
                  </a:lnTo>
                  <a:lnTo>
                    <a:pt x="175" y="91"/>
                  </a:lnTo>
                  <a:lnTo>
                    <a:pt x="182" y="102"/>
                  </a:lnTo>
                  <a:lnTo>
                    <a:pt x="189" y="112"/>
                  </a:lnTo>
                  <a:lnTo>
                    <a:pt x="196" y="119"/>
                  </a:lnTo>
                  <a:lnTo>
                    <a:pt x="257" y="144"/>
                  </a:lnTo>
                  <a:lnTo>
                    <a:pt x="272" y="144"/>
                  </a:lnTo>
                  <a:lnTo>
                    <a:pt x="222" y="207"/>
                  </a:lnTo>
                  <a:lnTo>
                    <a:pt x="198" y="207"/>
                  </a:lnTo>
                  <a:lnTo>
                    <a:pt x="182" y="222"/>
                  </a:lnTo>
                  <a:lnTo>
                    <a:pt x="170" y="222"/>
                  </a:lnTo>
                  <a:lnTo>
                    <a:pt x="165" y="229"/>
                  </a:lnTo>
                  <a:lnTo>
                    <a:pt x="152" y="229"/>
                  </a:lnTo>
                  <a:lnTo>
                    <a:pt x="145" y="222"/>
                  </a:lnTo>
                  <a:lnTo>
                    <a:pt x="128" y="231"/>
                  </a:lnTo>
                  <a:lnTo>
                    <a:pt x="123" y="239"/>
                  </a:lnTo>
                  <a:lnTo>
                    <a:pt x="111" y="238"/>
                  </a:lnTo>
                  <a:lnTo>
                    <a:pt x="107" y="235"/>
                  </a:lnTo>
                  <a:lnTo>
                    <a:pt x="102" y="236"/>
                  </a:lnTo>
                  <a:lnTo>
                    <a:pt x="96" y="236"/>
                  </a:lnTo>
                  <a:lnTo>
                    <a:pt x="73" y="218"/>
                  </a:lnTo>
                  <a:lnTo>
                    <a:pt x="60" y="218"/>
                  </a:lnTo>
                  <a:lnTo>
                    <a:pt x="54" y="211"/>
                  </a:lnTo>
                  <a:lnTo>
                    <a:pt x="54" y="200"/>
                  </a:lnTo>
                  <a:lnTo>
                    <a:pt x="44" y="196"/>
                  </a:lnTo>
                  <a:lnTo>
                    <a:pt x="33" y="173"/>
                  </a:lnTo>
                  <a:lnTo>
                    <a:pt x="25" y="169"/>
                  </a:lnTo>
                  <a:lnTo>
                    <a:pt x="21" y="160"/>
                  </a:lnTo>
                  <a:lnTo>
                    <a:pt x="12" y="150"/>
                  </a:lnTo>
                  <a:lnTo>
                    <a:pt x="0" y="149"/>
                  </a:lnTo>
                  <a:lnTo>
                    <a:pt x="6" y="137"/>
                  </a:lnTo>
                  <a:lnTo>
                    <a:pt x="16" y="136"/>
                  </a:lnTo>
                  <a:lnTo>
                    <a:pt x="19" y="130"/>
                  </a:lnTo>
                  <a:lnTo>
                    <a:pt x="18" y="111"/>
                  </a:lnTo>
                  <a:lnTo>
                    <a:pt x="23" y="89"/>
                  </a:lnTo>
                  <a:lnTo>
                    <a:pt x="31" y="84"/>
                  </a:lnTo>
                  <a:lnTo>
                    <a:pt x="33" y="75"/>
                  </a:lnTo>
                  <a:lnTo>
                    <a:pt x="40" y="59"/>
                  </a:lnTo>
                  <a:lnTo>
                    <a:pt x="51" y="49"/>
                  </a:lnTo>
                  <a:lnTo>
                    <a:pt x="57" y="28"/>
                  </a:lnTo>
                  <a:lnTo>
                    <a:pt x="60" y="11"/>
                  </a:lnTo>
                  <a:lnTo>
                    <a:pt x="81" y="15"/>
                  </a:lnTo>
                  <a:lnTo>
                    <a:pt x="86" y="0"/>
                  </a:lnTo>
                  <a:close/>
                </a:path>
              </a:pathLst>
            </a:custGeom>
            <a:solidFill>
              <a:schemeClr val="accent2">
                <a:lumMod val="40000"/>
                <a:lumOff val="60000"/>
              </a:schemeClr>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00" name="Freeform 63"/>
            <p:cNvSpPr>
              <a:spLocks/>
            </p:cNvSpPr>
            <p:nvPr/>
          </p:nvSpPr>
          <p:spPr bwMode="auto">
            <a:xfrm>
              <a:off x="4618037" y="1454154"/>
              <a:ext cx="279400" cy="300038"/>
            </a:xfrm>
            <a:custGeom>
              <a:avLst/>
              <a:gdLst>
                <a:gd name="T0" fmla="*/ 106 w 176"/>
                <a:gd name="T1" fmla="*/ 19 h 189"/>
                <a:gd name="T2" fmla="*/ 107 w 176"/>
                <a:gd name="T3" fmla="*/ 31 h 189"/>
                <a:gd name="T4" fmla="*/ 131 w 176"/>
                <a:gd name="T5" fmla="*/ 43 h 189"/>
                <a:gd name="T6" fmla="*/ 122 w 176"/>
                <a:gd name="T7" fmla="*/ 56 h 189"/>
                <a:gd name="T8" fmla="*/ 144 w 176"/>
                <a:gd name="T9" fmla="*/ 77 h 189"/>
                <a:gd name="T10" fmla="*/ 138 w 176"/>
                <a:gd name="T11" fmla="*/ 93 h 189"/>
                <a:gd name="T12" fmla="*/ 154 w 176"/>
                <a:gd name="T13" fmla="*/ 106 h 189"/>
                <a:gd name="T14" fmla="*/ 151 w 176"/>
                <a:gd name="T15" fmla="*/ 119 h 189"/>
                <a:gd name="T16" fmla="*/ 176 w 176"/>
                <a:gd name="T17" fmla="*/ 132 h 189"/>
                <a:gd name="T18" fmla="*/ 173 w 176"/>
                <a:gd name="T19" fmla="*/ 141 h 189"/>
                <a:gd name="T20" fmla="*/ 162 w 176"/>
                <a:gd name="T21" fmla="*/ 152 h 189"/>
                <a:gd name="T22" fmla="*/ 136 w 176"/>
                <a:gd name="T23" fmla="*/ 176 h 189"/>
                <a:gd name="T24" fmla="*/ 110 w 176"/>
                <a:gd name="T25" fmla="*/ 178 h 189"/>
                <a:gd name="T26" fmla="*/ 85 w 176"/>
                <a:gd name="T27" fmla="*/ 185 h 189"/>
                <a:gd name="T28" fmla="*/ 62 w 176"/>
                <a:gd name="T29" fmla="*/ 189 h 189"/>
                <a:gd name="T30" fmla="*/ 52 w 176"/>
                <a:gd name="T31" fmla="*/ 179 h 189"/>
                <a:gd name="T32" fmla="*/ 37 w 176"/>
                <a:gd name="T33" fmla="*/ 172 h 189"/>
                <a:gd name="T34" fmla="*/ 37 w 176"/>
                <a:gd name="T35" fmla="*/ 153 h 189"/>
                <a:gd name="T36" fmla="*/ 27 w 176"/>
                <a:gd name="T37" fmla="*/ 136 h 189"/>
                <a:gd name="T38" fmla="*/ 32 w 176"/>
                <a:gd name="T39" fmla="*/ 125 h 189"/>
                <a:gd name="T40" fmla="*/ 43 w 176"/>
                <a:gd name="T41" fmla="*/ 114 h 189"/>
                <a:gd name="T42" fmla="*/ 71 w 176"/>
                <a:gd name="T43" fmla="*/ 93 h 189"/>
                <a:gd name="T44" fmla="*/ 80 w 176"/>
                <a:gd name="T45" fmla="*/ 90 h 189"/>
                <a:gd name="T46" fmla="*/ 76 w 176"/>
                <a:gd name="T47" fmla="*/ 82 h 189"/>
                <a:gd name="T48" fmla="*/ 55 w 176"/>
                <a:gd name="T49" fmla="*/ 73 h 189"/>
                <a:gd name="T50" fmla="*/ 49 w 176"/>
                <a:gd name="T51" fmla="*/ 66 h 189"/>
                <a:gd name="T52" fmla="*/ 43 w 176"/>
                <a:gd name="T53" fmla="*/ 39 h 189"/>
                <a:gd name="T54" fmla="*/ 20 w 176"/>
                <a:gd name="T55" fmla="*/ 27 h 189"/>
                <a:gd name="T56" fmla="*/ 0 w 176"/>
                <a:gd name="T57" fmla="*/ 18 h 189"/>
                <a:gd name="T58" fmla="*/ 7 w 176"/>
                <a:gd name="T59" fmla="*/ 13 h 189"/>
                <a:gd name="T60" fmla="*/ 24 w 176"/>
                <a:gd name="T61" fmla="*/ 22 h 189"/>
                <a:gd name="T62" fmla="*/ 41 w 176"/>
                <a:gd name="T63" fmla="*/ 22 h 189"/>
                <a:gd name="T64" fmla="*/ 56 w 176"/>
                <a:gd name="T65" fmla="*/ 26 h 189"/>
                <a:gd name="T66" fmla="*/ 67 w 176"/>
                <a:gd name="T67" fmla="*/ 18 h 189"/>
                <a:gd name="T68" fmla="*/ 71 w 176"/>
                <a:gd name="T69" fmla="*/ 5 h 189"/>
                <a:gd name="T70" fmla="*/ 90 w 176"/>
                <a:gd name="T71" fmla="*/ 0 h 189"/>
                <a:gd name="T72" fmla="*/ 108 w 176"/>
                <a:gd name="T73" fmla="*/ 6 h 189"/>
                <a:gd name="T74" fmla="*/ 106 w 176"/>
                <a:gd name="T75" fmla="*/ 1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89">
                  <a:moveTo>
                    <a:pt x="106" y="19"/>
                  </a:moveTo>
                  <a:lnTo>
                    <a:pt x="107" y="31"/>
                  </a:lnTo>
                  <a:lnTo>
                    <a:pt x="131" y="43"/>
                  </a:lnTo>
                  <a:lnTo>
                    <a:pt x="122" y="56"/>
                  </a:lnTo>
                  <a:lnTo>
                    <a:pt x="144" y="77"/>
                  </a:lnTo>
                  <a:lnTo>
                    <a:pt x="138" y="93"/>
                  </a:lnTo>
                  <a:lnTo>
                    <a:pt x="154" y="106"/>
                  </a:lnTo>
                  <a:lnTo>
                    <a:pt x="151" y="119"/>
                  </a:lnTo>
                  <a:lnTo>
                    <a:pt x="176" y="132"/>
                  </a:lnTo>
                  <a:lnTo>
                    <a:pt x="173" y="141"/>
                  </a:lnTo>
                  <a:lnTo>
                    <a:pt x="162" y="152"/>
                  </a:lnTo>
                  <a:lnTo>
                    <a:pt x="136" y="176"/>
                  </a:lnTo>
                  <a:lnTo>
                    <a:pt x="110" y="178"/>
                  </a:lnTo>
                  <a:lnTo>
                    <a:pt x="85" y="185"/>
                  </a:lnTo>
                  <a:lnTo>
                    <a:pt x="62" y="189"/>
                  </a:lnTo>
                  <a:lnTo>
                    <a:pt x="52" y="179"/>
                  </a:lnTo>
                  <a:lnTo>
                    <a:pt x="37" y="172"/>
                  </a:lnTo>
                  <a:lnTo>
                    <a:pt x="37" y="153"/>
                  </a:lnTo>
                  <a:lnTo>
                    <a:pt x="27" y="136"/>
                  </a:lnTo>
                  <a:lnTo>
                    <a:pt x="32" y="125"/>
                  </a:lnTo>
                  <a:lnTo>
                    <a:pt x="43" y="114"/>
                  </a:lnTo>
                  <a:lnTo>
                    <a:pt x="71" y="93"/>
                  </a:lnTo>
                  <a:lnTo>
                    <a:pt x="80" y="90"/>
                  </a:lnTo>
                  <a:lnTo>
                    <a:pt x="76" y="82"/>
                  </a:lnTo>
                  <a:lnTo>
                    <a:pt x="55" y="73"/>
                  </a:lnTo>
                  <a:lnTo>
                    <a:pt x="49" y="66"/>
                  </a:lnTo>
                  <a:lnTo>
                    <a:pt x="43" y="39"/>
                  </a:lnTo>
                  <a:lnTo>
                    <a:pt x="20" y="27"/>
                  </a:lnTo>
                  <a:lnTo>
                    <a:pt x="0" y="18"/>
                  </a:lnTo>
                  <a:lnTo>
                    <a:pt x="7" y="13"/>
                  </a:lnTo>
                  <a:lnTo>
                    <a:pt x="24" y="22"/>
                  </a:lnTo>
                  <a:lnTo>
                    <a:pt x="41" y="22"/>
                  </a:lnTo>
                  <a:lnTo>
                    <a:pt x="56" y="26"/>
                  </a:lnTo>
                  <a:lnTo>
                    <a:pt x="67" y="18"/>
                  </a:lnTo>
                  <a:lnTo>
                    <a:pt x="71" y="5"/>
                  </a:lnTo>
                  <a:lnTo>
                    <a:pt x="90" y="0"/>
                  </a:lnTo>
                  <a:lnTo>
                    <a:pt x="108" y="6"/>
                  </a:lnTo>
                  <a:lnTo>
                    <a:pt x="106" y="1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01" name="Freeform 64"/>
            <p:cNvSpPr>
              <a:spLocks/>
            </p:cNvSpPr>
            <p:nvPr/>
          </p:nvSpPr>
          <p:spPr bwMode="auto">
            <a:xfrm>
              <a:off x="2651125" y="5383217"/>
              <a:ext cx="84138" cy="38100"/>
            </a:xfrm>
            <a:custGeom>
              <a:avLst/>
              <a:gdLst>
                <a:gd name="T0" fmla="*/ 0 w 53"/>
                <a:gd name="T1" fmla="*/ 15 h 24"/>
                <a:gd name="T2" fmla="*/ 15 w 53"/>
                <a:gd name="T3" fmla="*/ 3 h 24"/>
                <a:gd name="T4" fmla="*/ 30 w 53"/>
                <a:gd name="T5" fmla="*/ 8 h 24"/>
                <a:gd name="T6" fmla="*/ 37 w 53"/>
                <a:gd name="T7" fmla="*/ 0 h 24"/>
                <a:gd name="T8" fmla="*/ 53 w 53"/>
                <a:gd name="T9" fmla="*/ 9 h 24"/>
                <a:gd name="T10" fmla="*/ 50 w 53"/>
                <a:gd name="T11" fmla="*/ 16 h 24"/>
                <a:gd name="T12" fmla="*/ 31 w 53"/>
                <a:gd name="T13" fmla="*/ 22 h 24"/>
                <a:gd name="T14" fmla="*/ 21 w 53"/>
                <a:gd name="T15" fmla="*/ 15 h 24"/>
                <a:gd name="T16" fmla="*/ 11 w 53"/>
                <a:gd name="T17" fmla="*/ 24 h 24"/>
                <a:gd name="T18" fmla="*/ 0 w 53"/>
                <a:gd name="T19"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24">
                  <a:moveTo>
                    <a:pt x="0" y="15"/>
                  </a:moveTo>
                  <a:lnTo>
                    <a:pt x="15" y="3"/>
                  </a:lnTo>
                  <a:lnTo>
                    <a:pt x="30" y="8"/>
                  </a:lnTo>
                  <a:lnTo>
                    <a:pt x="37" y="0"/>
                  </a:lnTo>
                  <a:lnTo>
                    <a:pt x="53" y="9"/>
                  </a:lnTo>
                  <a:lnTo>
                    <a:pt x="50" y="16"/>
                  </a:lnTo>
                  <a:lnTo>
                    <a:pt x="31" y="22"/>
                  </a:lnTo>
                  <a:lnTo>
                    <a:pt x="21" y="15"/>
                  </a:lnTo>
                  <a:lnTo>
                    <a:pt x="11" y="24"/>
                  </a:lnTo>
                  <a:lnTo>
                    <a:pt x="0" y="15"/>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02" name="Freeform 65"/>
            <p:cNvSpPr>
              <a:spLocks/>
            </p:cNvSpPr>
            <p:nvPr/>
          </p:nvSpPr>
          <p:spPr bwMode="auto">
            <a:xfrm>
              <a:off x="2592387" y="3516317"/>
              <a:ext cx="84138" cy="122238"/>
            </a:xfrm>
            <a:custGeom>
              <a:avLst/>
              <a:gdLst>
                <a:gd name="T0" fmla="*/ 36 w 53"/>
                <a:gd name="T1" fmla="*/ 67 h 77"/>
                <a:gd name="T2" fmla="*/ 29 w 53"/>
                <a:gd name="T3" fmla="*/ 75 h 77"/>
                <a:gd name="T4" fmla="*/ 20 w 53"/>
                <a:gd name="T5" fmla="*/ 77 h 77"/>
                <a:gd name="T6" fmla="*/ 18 w 53"/>
                <a:gd name="T7" fmla="*/ 71 h 77"/>
                <a:gd name="T8" fmla="*/ 13 w 53"/>
                <a:gd name="T9" fmla="*/ 70 h 77"/>
                <a:gd name="T10" fmla="*/ 8 w 53"/>
                <a:gd name="T11" fmla="*/ 76 h 77"/>
                <a:gd name="T12" fmla="*/ 0 w 53"/>
                <a:gd name="T13" fmla="*/ 71 h 77"/>
                <a:gd name="T14" fmla="*/ 4 w 53"/>
                <a:gd name="T15" fmla="*/ 62 h 77"/>
                <a:gd name="T16" fmla="*/ 6 w 53"/>
                <a:gd name="T17" fmla="*/ 53 h 77"/>
                <a:gd name="T18" fmla="*/ 10 w 53"/>
                <a:gd name="T19" fmla="*/ 44 h 77"/>
                <a:gd name="T20" fmla="*/ 2 w 53"/>
                <a:gd name="T21" fmla="*/ 32 h 77"/>
                <a:gd name="T22" fmla="*/ 1 w 53"/>
                <a:gd name="T23" fmla="*/ 18 h 77"/>
                <a:gd name="T24" fmla="*/ 11 w 53"/>
                <a:gd name="T25" fmla="*/ 0 h 77"/>
                <a:gd name="T26" fmla="*/ 17 w 53"/>
                <a:gd name="T27" fmla="*/ 2 h 77"/>
                <a:gd name="T28" fmla="*/ 31 w 53"/>
                <a:gd name="T29" fmla="*/ 7 h 77"/>
                <a:gd name="T30" fmla="*/ 50 w 53"/>
                <a:gd name="T31" fmla="*/ 25 h 77"/>
                <a:gd name="T32" fmla="*/ 53 w 53"/>
                <a:gd name="T33" fmla="*/ 33 h 77"/>
                <a:gd name="T34" fmla="*/ 42 w 53"/>
                <a:gd name="T35" fmla="*/ 52 h 77"/>
                <a:gd name="T36" fmla="*/ 36 w 53"/>
                <a:gd name="T37"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77">
                  <a:moveTo>
                    <a:pt x="36" y="67"/>
                  </a:moveTo>
                  <a:lnTo>
                    <a:pt x="29" y="75"/>
                  </a:lnTo>
                  <a:lnTo>
                    <a:pt x="20" y="77"/>
                  </a:lnTo>
                  <a:lnTo>
                    <a:pt x="18" y="71"/>
                  </a:lnTo>
                  <a:lnTo>
                    <a:pt x="13" y="70"/>
                  </a:lnTo>
                  <a:lnTo>
                    <a:pt x="8" y="76"/>
                  </a:lnTo>
                  <a:lnTo>
                    <a:pt x="0" y="71"/>
                  </a:lnTo>
                  <a:lnTo>
                    <a:pt x="4" y="62"/>
                  </a:lnTo>
                  <a:lnTo>
                    <a:pt x="6" y="53"/>
                  </a:lnTo>
                  <a:lnTo>
                    <a:pt x="10" y="44"/>
                  </a:lnTo>
                  <a:lnTo>
                    <a:pt x="2" y="32"/>
                  </a:lnTo>
                  <a:lnTo>
                    <a:pt x="1" y="18"/>
                  </a:lnTo>
                  <a:lnTo>
                    <a:pt x="11" y="0"/>
                  </a:lnTo>
                  <a:lnTo>
                    <a:pt x="17" y="2"/>
                  </a:lnTo>
                  <a:lnTo>
                    <a:pt x="31" y="7"/>
                  </a:lnTo>
                  <a:lnTo>
                    <a:pt x="50" y="25"/>
                  </a:lnTo>
                  <a:lnTo>
                    <a:pt x="53" y="33"/>
                  </a:lnTo>
                  <a:lnTo>
                    <a:pt x="42" y="52"/>
                  </a:lnTo>
                  <a:lnTo>
                    <a:pt x="36" y="6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03" name="Freeform 66"/>
            <p:cNvSpPr>
              <a:spLocks/>
            </p:cNvSpPr>
            <p:nvPr/>
          </p:nvSpPr>
          <p:spPr bwMode="auto">
            <a:xfrm>
              <a:off x="4408487" y="2290766"/>
              <a:ext cx="26988" cy="52388"/>
            </a:xfrm>
            <a:custGeom>
              <a:avLst/>
              <a:gdLst>
                <a:gd name="T0" fmla="*/ 17 w 17"/>
                <a:gd name="T1" fmla="*/ 17 h 33"/>
                <a:gd name="T2" fmla="*/ 13 w 17"/>
                <a:gd name="T3" fmla="*/ 33 h 33"/>
                <a:gd name="T4" fmla="*/ 5 w 17"/>
                <a:gd name="T5" fmla="*/ 29 h 33"/>
                <a:gd name="T6" fmla="*/ 0 w 17"/>
                <a:gd name="T7" fmla="*/ 15 h 33"/>
                <a:gd name="T8" fmla="*/ 3 w 17"/>
                <a:gd name="T9" fmla="*/ 7 h 33"/>
                <a:gd name="T10" fmla="*/ 14 w 17"/>
                <a:gd name="T11" fmla="*/ 0 h 33"/>
                <a:gd name="T12" fmla="*/ 17 w 17"/>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17" h="33">
                  <a:moveTo>
                    <a:pt x="17" y="17"/>
                  </a:moveTo>
                  <a:lnTo>
                    <a:pt x="13" y="33"/>
                  </a:lnTo>
                  <a:lnTo>
                    <a:pt x="5" y="29"/>
                  </a:lnTo>
                  <a:lnTo>
                    <a:pt x="0" y="15"/>
                  </a:lnTo>
                  <a:lnTo>
                    <a:pt x="3" y="7"/>
                  </a:lnTo>
                  <a:lnTo>
                    <a:pt x="14" y="0"/>
                  </a:lnTo>
                  <a:lnTo>
                    <a:pt x="17" y="1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04" name="Freeform 67"/>
            <p:cNvSpPr>
              <a:spLocks/>
            </p:cNvSpPr>
            <p:nvPr/>
          </p:nvSpPr>
          <p:spPr bwMode="auto">
            <a:xfrm>
              <a:off x="4064000" y="2027241"/>
              <a:ext cx="323850" cy="284163"/>
            </a:xfrm>
            <a:custGeom>
              <a:avLst/>
              <a:gdLst>
                <a:gd name="T0" fmla="*/ 131 w 204"/>
                <a:gd name="T1" fmla="*/ 15 h 179"/>
                <a:gd name="T2" fmla="*/ 143 w 204"/>
                <a:gd name="T3" fmla="*/ 25 h 179"/>
                <a:gd name="T4" fmla="*/ 151 w 204"/>
                <a:gd name="T5" fmla="*/ 23 h 179"/>
                <a:gd name="T6" fmla="*/ 165 w 204"/>
                <a:gd name="T7" fmla="*/ 33 h 179"/>
                <a:gd name="T8" fmla="*/ 169 w 204"/>
                <a:gd name="T9" fmla="*/ 34 h 179"/>
                <a:gd name="T10" fmla="*/ 173 w 204"/>
                <a:gd name="T11" fmla="*/ 34 h 179"/>
                <a:gd name="T12" fmla="*/ 181 w 204"/>
                <a:gd name="T13" fmla="*/ 39 h 179"/>
                <a:gd name="T14" fmla="*/ 204 w 204"/>
                <a:gd name="T15" fmla="*/ 43 h 179"/>
                <a:gd name="T16" fmla="*/ 197 w 204"/>
                <a:gd name="T17" fmla="*/ 57 h 179"/>
                <a:gd name="T18" fmla="*/ 195 w 204"/>
                <a:gd name="T19" fmla="*/ 71 h 179"/>
                <a:gd name="T20" fmla="*/ 191 w 204"/>
                <a:gd name="T21" fmla="*/ 75 h 179"/>
                <a:gd name="T22" fmla="*/ 184 w 204"/>
                <a:gd name="T23" fmla="*/ 73 h 179"/>
                <a:gd name="T24" fmla="*/ 184 w 204"/>
                <a:gd name="T25" fmla="*/ 78 h 179"/>
                <a:gd name="T26" fmla="*/ 173 w 204"/>
                <a:gd name="T27" fmla="*/ 89 h 179"/>
                <a:gd name="T28" fmla="*/ 173 w 204"/>
                <a:gd name="T29" fmla="*/ 99 h 179"/>
                <a:gd name="T30" fmla="*/ 181 w 204"/>
                <a:gd name="T31" fmla="*/ 96 h 179"/>
                <a:gd name="T32" fmla="*/ 186 w 204"/>
                <a:gd name="T33" fmla="*/ 105 h 179"/>
                <a:gd name="T34" fmla="*/ 186 w 204"/>
                <a:gd name="T35" fmla="*/ 110 h 179"/>
                <a:gd name="T36" fmla="*/ 191 w 204"/>
                <a:gd name="T37" fmla="*/ 118 h 179"/>
                <a:gd name="T38" fmla="*/ 186 w 204"/>
                <a:gd name="T39" fmla="*/ 124 h 179"/>
                <a:gd name="T40" fmla="*/ 190 w 204"/>
                <a:gd name="T41" fmla="*/ 140 h 179"/>
                <a:gd name="T42" fmla="*/ 199 w 204"/>
                <a:gd name="T43" fmla="*/ 143 h 179"/>
                <a:gd name="T44" fmla="*/ 198 w 204"/>
                <a:gd name="T45" fmla="*/ 151 h 179"/>
                <a:gd name="T46" fmla="*/ 183 w 204"/>
                <a:gd name="T47" fmla="*/ 163 h 179"/>
                <a:gd name="T48" fmla="*/ 150 w 204"/>
                <a:gd name="T49" fmla="*/ 157 h 179"/>
                <a:gd name="T50" fmla="*/ 126 w 204"/>
                <a:gd name="T51" fmla="*/ 164 h 179"/>
                <a:gd name="T52" fmla="*/ 124 w 204"/>
                <a:gd name="T53" fmla="*/ 177 h 179"/>
                <a:gd name="T54" fmla="*/ 105 w 204"/>
                <a:gd name="T55" fmla="*/ 179 h 179"/>
                <a:gd name="T56" fmla="*/ 86 w 204"/>
                <a:gd name="T57" fmla="*/ 170 h 179"/>
                <a:gd name="T58" fmla="*/ 80 w 204"/>
                <a:gd name="T59" fmla="*/ 174 h 179"/>
                <a:gd name="T60" fmla="*/ 49 w 204"/>
                <a:gd name="T61" fmla="*/ 165 h 179"/>
                <a:gd name="T62" fmla="*/ 43 w 204"/>
                <a:gd name="T63" fmla="*/ 157 h 179"/>
                <a:gd name="T64" fmla="*/ 51 w 204"/>
                <a:gd name="T65" fmla="*/ 145 h 179"/>
                <a:gd name="T66" fmla="*/ 55 w 204"/>
                <a:gd name="T67" fmla="*/ 104 h 179"/>
                <a:gd name="T68" fmla="*/ 38 w 204"/>
                <a:gd name="T69" fmla="*/ 83 h 179"/>
                <a:gd name="T70" fmla="*/ 26 w 204"/>
                <a:gd name="T71" fmla="*/ 72 h 179"/>
                <a:gd name="T72" fmla="*/ 2 w 204"/>
                <a:gd name="T73" fmla="*/ 65 h 179"/>
                <a:gd name="T74" fmla="*/ 0 w 204"/>
                <a:gd name="T75" fmla="*/ 50 h 179"/>
                <a:gd name="T76" fmla="*/ 21 w 204"/>
                <a:gd name="T77" fmla="*/ 45 h 179"/>
                <a:gd name="T78" fmla="*/ 48 w 204"/>
                <a:gd name="T79" fmla="*/ 50 h 179"/>
                <a:gd name="T80" fmla="*/ 44 w 204"/>
                <a:gd name="T81" fmla="*/ 27 h 179"/>
                <a:gd name="T82" fmla="*/ 58 w 204"/>
                <a:gd name="T83" fmla="*/ 36 h 179"/>
                <a:gd name="T84" fmla="*/ 96 w 204"/>
                <a:gd name="T85" fmla="*/ 20 h 179"/>
                <a:gd name="T86" fmla="*/ 100 w 204"/>
                <a:gd name="T87" fmla="*/ 4 h 179"/>
                <a:gd name="T88" fmla="*/ 114 w 204"/>
                <a:gd name="T89" fmla="*/ 0 h 179"/>
                <a:gd name="T90" fmla="*/ 117 w 204"/>
                <a:gd name="T91" fmla="*/ 7 h 179"/>
                <a:gd name="T92" fmla="*/ 124 w 204"/>
                <a:gd name="T93" fmla="*/ 7 h 179"/>
                <a:gd name="T94" fmla="*/ 131 w 204"/>
                <a:gd name="T95" fmla="*/ 1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79">
                  <a:moveTo>
                    <a:pt x="131" y="15"/>
                  </a:moveTo>
                  <a:lnTo>
                    <a:pt x="143" y="25"/>
                  </a:lnTo>
                  <a:lnTo>
                    <a:pt x="151" y="23"/>
                  </a:lnTo>
                  <a:lnTo>
                    <a:pt x="165" y="33"/>
                  </a:lnTo>
                  <a:lnTo>
                    <a:pt x="169" y="34"/>
                  </a:lnTo>
                  <a:lnTo>
                    <a:pt x="173" y="34"/>
                  </a:lnTo>
                  <a:lnTo>
                    <a:pt x="181" y="39"/>
                  </a:lnTo>
                  <a:lnTo>
                    <a:pt x="204" y="43"/>
                  </a:lnTo>
                  <a:lnTo>
                    <a:pt x="197" y="57"/>
                  </a:lnTo>
                  <a:lnTo>
                    <a:pt x="195" y="71"/>
                  </a:lnTo>
                  <a:lnTo>
                    <a:pt x="191" y="75"/>
                  </a:lnTo>
                  <a:lnTo>
                    <a:pt x="184" y="73"/>
                  </a:lnTo>
                  <a:lnTo>
                    <a:pt x="184" y="78"/>
                  </a:lnTo>
                  <a:lnTo>
                    <a:pt x="173" y="89"/>
                  </a:lnTo>
                  <a:lnTo>
                    <a:pt x="173" y="99"/>
                  </a:lnTo>
                  <a:lnTo>
                    <a:pt x="181" y="96"/>
                  </a:lnTo>
                  <a:lnTo>
                    <a:pt x="186" y="105"/>
                  </a:lnTo>
                  <a:lnTo>
                    <a:pt x="186" y="110"/>
                  </a:lnTo>
                  <a:lnTo>
                    <a:pt x="191" y="118"/>
                  </a:lnTo>
                  <a:lnTo>
                    <a:pt x="186" y="124"/>
                  </a:lnTo>
                  <a:lnTo>
                    <a:pt x="190" y="140"/>
                  </a:lnTo>
                  <a:lnTo>
                    <a:pt x="199" y="143"/>
                  </a:lnTo>
                  <a:lnTo>
                    <a:pt x="198" y="151"/>
                  </a:lnTo>
                  <a:lnTo>
                    <a:pt x="183" y="163"/>
                  </a:lnTo>
                  <a:lnTo>
                    <a:pt x="150" y="157"/>
                  </a:lnTo>
                  <a:lnTo>
                    <a:pt x="126" y="164"/>
                  </a:lnTo>
                  <a:lnTo>
                    <a:pt x="124" y="177"/>
                  </a:lnTo>
                  <a:lnTo>
                    <a:pt x="105" y="179"/>
                  </a:lnTo>
                  <a:lnTo>
                    <a:pt x="86" y="170"/>
                  </a:lnTo>
                  <a:lnTo>
                    <a:pt x="80" y="174"/>
                  </a:lnTo>
                  <a:lnTo>
                    <a:pt x="49" y="165"/>
                  </a:lnTo>
                  <a:lnTo>
                    <a:pt x="43" y="157"/>
                  </a:lnTo>
                  <a:lnTo>
                    <a:pt x="51" y="145"/>
                  </a:lnTo>
                  <a:lnTo>
                    <a:pt x="55" y="104"/>
                  </a:lnTo>
                  <a:lnTo>
                    <a:pt x="38" y="83"/>
                  </a:lnTo>
                  <a:lnTo>
                    <a:pt x="26" y="72"/>
                  </a:lnTo>
                  <a:lnTo>
                    <a:pt x="2" y="65"/>
                  </a:lnTo>
                  <a:lnTo>
                    <a:pt x="0" y="50"/>
                  </a:lnTo>
                  <a:lnTo>
                    <a:pt x="21" y="45"/>
                  </a:lnTo>
                  <a:lnTo>
                    <a:pt x="48" y="50"/>
                  </a:lnTo>
                  <a:lnTo>
                    <a:pt x="44" y="27"/>
                  </a:lnTo>
                  <a:lnTo>
                    <a:pt x="58" y="36"/>
                  </a:lnTo>
                  <a:lnTo>
                    <a:pt x="96" y="20"/>
                  </a:lnTo>
                  <a:lnTo>
                    <a:pt x="100" y="4"/>
                  </a:lnTo>
                  <a:lnTo>
                    <a:pt x="114" y="0"/>
                  </a:lnTo>
                  <a:lnTo>
                    <a:pt x="117" y="7"/>
                  </a:lnTo>
                  <a:lnTo>
                    <a:pt x="124" y="7"/>
                  </a:lnTo>
                  <a:lnTo>
                    <a:pt x="131" y="15"/>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05" name="Freeform 68"/>
            <p:cNvSpPr>
              <a:spLocks/>
            </p:cNvSpPr>
            <p:nvPr/>
          </p:nvSpPr>
          <p:spPr bwMode="auto">
            <a:xfrm>
              <a:off x="4438650" y="3629029"/>
              <a:ext cx="163513" cy="207963"/>
            </a:xfrm>
            <a:custGeom>
              <a:avLst/>
              <a:gdLst>
                <a:gd name="T0" fmla="*/ 42 w 103"/>
                <a:gd name="T1" fmla="*/ 131 h 131"/>
                <a:gd name="T2" fmla="*/ 23 w 103"/>
                <a:gd name="T3" fmla="*/ 110 h 131"/>
                <a:gd name="T4" fmla="*/ 11 w 103"/>
                <a:gd name="T5" fmla="*/ 93 h 131"/>
                <a:gd name="T6" fmla="*/ 0 w 103"/>
                <a:gd name="T7" fmla="*/ 71 h 131"/>
                <a:gd name="T8" fmla="*/ 1 w 103"/>
                <a:gd name="T9" fmla="*/ 65 h 131"/>
                <a:gd name="T10" fmla="*/ 5 w 103"/>
                <a:gd name="T11" fmla="*/ 58 h 131"/>
                <a:gd name="T12" fmla="*/ 9 w 103"/>
                <a:gd name="T13" fmla="*/ 43 h 131"/>
                <a:gd name="T14" fmla="*/ 13 w 103"/>
                <a:gd name="T15" fmla="*/ 27 h 131"/>
                <a:gd name="T16" fmla="*/ 19 w 103"/>
                <a:gd name="T17" fmla="*/ 26 h 131"/>
                <a:gd name="T18" fmla="*/ 46 w 103"/>
                <a:gd name="T19" fmla="*/ 26 h 131"/>
                <a:gd name="T20" fmla="*/ 46 w 103"/>
                <a:gd name="T21" fmla="*/ 1 h 131"/>
                <a:gd name="T22" fmla="*/ 54 w 103"/>
                <a:gd name="T23" fmla="*/ 0 h 131"/>
                <a:gd name="T24" fmla="*/ 65 w 103"/>
                <a:gd name="T25" fmla="*/ 3 h 131"/>
                <a:gd name="T26" fmla="*/ 76 w 103"/>
                <a:gd name="T27" fmla="*/ 0 h 131"/>
                <a:gd name="T28" fmla="*/ 79 w 103"/>
                <a:gd name="T29" fmla="*/ 1 h 131"/>
                <a:gd name="T30" fmla="*/ 77 w 103"/>
                <a:gd name="T31" fmla="*/ 10 h 131"/>
                <a:gd name="T32" fmla="*/ 82 w 103"/>
                <a:gd name="T33" fmla="*/ 21 h 131"/>
                <a:gd name="T34" fmla="*/ 96 w 103"/>
                <a:gd name="T35" fmla="*/ 19 h 131"/>
                <a:gd name="T36" fmla="*/ 101 w 103"/>
                <a:gd name="T37" fmla="*/ 24 h 131"/>
                <a:gd name="T38" fmla="*/ 93 w 103"/>
                <a:gd name="T39" fmla="*/ 48 h 131"/>
                <a:gd name="T40" fmla="*/ 102 w 103"/>
                <a:gd name="T41" fmla="*/ 60 h 131"/>
                <a:gd name="T42" fmla="*/ 103 w 103"/>
                <a:gd name="T43" fmla="*/ 76 h 131"/>
                <a:gd name="T44" fmla="*/ 101 w 103"/>
                <a:gd name="T45" fmla="*/ 90 h 131"/>
                <a:gd name="T46" fmla="*/ 95 w 103"/>
                <a:gd name="T47" fmla="*/ 100 h 131"/>
                <a:gd name="T48" fmla="*/ 79 w 103"/>
                <a:gd name="T49" fmla="*/ 99 h 131"/>
                <a:gd name="T50" fmla="*/ 69 w 103"/>
                <a:gd name="T51" fmla="*/ 89 h 131"/>
                <a:gd name="T52" fmla="*/ 68 w 103"/>
                <a:gd name="T53" fmla="*/ 98 h 131"/>
                <a:gd name="T54" fmla="*/ 56 w 103"/>
                <a:gd name="T55" fmla="*/ 101 h 131"/>
                <a:gd name="T56" fmla="*/ 49 w 103"/>
                <a:gd name="T57" fmla="*/ 106 h 131"/>
                <a:gd name="T58" fmla="*/ 56 w 103"/>
                <a:gd name="T59" fmla="*/ 120 h 131"/>
                <a:gd name="T60" fmla="*/ 42 w 103"/>
                <a:gd name="T61"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 h="131">
                  <a:moveTo>
                    <a:pt x="42" y="131"/>
                  </a:moveTo>
                  <a:lnTo>
                    <a:pt x="23" y="110"/>
                  </a:lnTo>
                  <a:lnTo>
                    <a:pt x="11" y="93"/>
                  </a:lnTo>
                  <a:lnTo>
                    <a:pt x="0" y="71"/>
                  </a:lnTo>
                  <a:lnTo>
                    <a:pt x="1" y="65"/>
                  </a:lnTo>
                  <a:lnTo>
                    <a:pt x="5" y="58"/>
                  </a:lnTo>
                  <a:lnTo>
                    <a:pt x="9" y="43"/>
                  </a:lnTo>
                  <a:lnTo>
                    <a:pt x="13" y="27"/>
                  </a:lnTo>
                  <a:lnTo>
                    <a:pt x="19" y="26"/>
                  </a:lnTo>
                  <a:lnTo>
                    <a:pt x="46" y="26"/>
                  </a:lnTo>
                  <a:lnTo>
                    <a:pt x="46" y="1"/>
                  </a:lnTo>
                  <a:lnTo>
                    <a:pt x="54" y="0"/>
                  </a:lnTo>
                  <a:lnTo>
                    <a:pt x="65" y="3"/>
                  </a:lnTo>
                  <a:lnTo>
                    <a:pt x="76" y="0"/>
                  </a:lnTo>
                  <a:lnTo>
                    <a:pt x="79" y="1"/>
                  </a:lnTo>
                  <a:lnTo>
                    <a:pt x="77" y="10"/>
                  </a:lnTo>
                  <a:lnTo>
                    <a:pt x="82" y="21"/>
                  </a:lnTo>
                  <a:lnTo>
                    <a:pt x="96" y="19"/>
                  </a:lnTo>
                  <a:lnTo>
                    <a:pt x="101" y="24"/>
                  </a:lnTo>
                  <a:lnTo>
                    <a:pt x="93" y="48"/>
                  </a:lnTo>
                  <a:lnTo>
                    <a:pt x="102" y="60"/>
                  </a:lnTo>
                  <a:lnTo>
                    <a:pt x="103" y="76"/>
                  </a:lnTo>
                  <a:lnTo>
                    <a:pt x="101" y="90"/>
                  </a:lnTo>
                  <a:lnTo>
                    <a:pt x="95" y="100"/>
                  </a:lnTo>
                  <a:lnTo>
                    <a:pt x="79" y="99"/>
                  </a:lnTo>
                  <a:lnTo>
                    <a:pt x="69" y="89"/>
                  </a:lnTo>
                  <a:lnTo>
                    <a:pt x="68" y="98"/>
                  </a:lnTo>
                  <a:lnTo>
                    <a:pt x="56" y="101"/>
                  </a:lnTo>
                  <a:lnTo>
                    <a:pt x="49" y="106"/>
                  </a:lnTo>
                  <a:lnTo>
                    <a:pt x="56" y="120"/>
                  </a:lnTo>
                  <a:lnTo>
                    <a:pt x="42" y="131"/>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06" name="Freeform 69"/>
            <p:cNvSpPr>
              <a:spLocks/>
            </p:cNvSpPr>
            <p:nvPr/>
          </p:nvSpPr>
          <p:spPr bwMode="auto">
            <a:xfrm>
              <a:off x="3995737" y="1898654"/>
              <a:ext cx="47625" cy="41275"/>
            </a:xfrm>
            <a:custGeom>
              <a:avLst/>
              <a:gdLst>
                <a:gd name="T0" fmla="*/ 30 w 30"/>
                <a:gd name="T1" fmla="*/ 13 h 26"/>
                <a:gd name="T2" fmla="*/ 21 w 30"/>
                <a:gd name="T3" fmla="*/ 26 h 26"/>
                <a:gd name="T4" fmla="*/ 10 w 30"/>
                <a:gd name="T5" fmla="*/ 22 h 26"/>
                <a:gd name="T6" fmla="*/ 0 w 30"/>
                <a:gd name="T7" fmla="*/ 23 h 26"/>
                <a:gd name="T8" fmla="*/ 4 w 30"/>
                <a:gd name="T9" fmla="*/ 12 h 26"/>
                <a:gd name="T10" fmla="*/ 1 w 30"/>
                <a:gd name="T11" fmla="*/ 1 h 26"/>
                <a:gd name="T12" fmla="*/ 14 w 30"/>
                <a:gd name="T13" fmla="*/ 0 h 26"/>
                <a:gd name="T14" fmla="*/ 30 w 30"/>
                <a:gd name="T15" fmla="*/ 13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6">
                  <a:moveTo>
                    <a:pt x="30" y="13"/>
                  </a:moveTo>
                  <a:lnTo>
                    <a:pt x="21" y="26"/>
                  </a:lnTo>
                  <a:lnTo>
                    <a:pt x="10" y="22"/>
                  </a:lnTo>
                  <a:lnTo>
                    <a:pt x="0" y="23"/>
                  </a:lnTo>
                  <a:lnTo>
                    <a:pt x="4" y="12"/>
                  </a:lnTo>
                  <a:lnTo>
                    <a:pt x="1" y="1"/>
                  </a:lnTo>
                  <a:lnTo>
                    <a:pt x="14" y="0"/>
                  </a:lnTo>
                  <a:lnTo>
                    <a:pt x="30" y="13"/>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07" name="Freeform 70"/>
            <p:cNvSpPr>
              <a:spLocks/>
            </p:cNvSpPr>
            <p:nvPr/>
          </p:nvSpPr>
          <p:spPr bwMode="auto">
            <a:xfrm>
              <a:off x="4033837" y="1792291"/>
              <a:ext cx="190500" cy="273050"/>
            </a:xfrm>
            <a:custGeom>
              <a:avLst/>
              <a:gdLst>
                <a:gd name="T0" fmla="*/ 49 w 120"/>
                <a:gd name="T1" fmla="*/ 0 h 172"/>
                <a:gd name="T2" fmla="*/ 32 w 120"/>
                <a:gd name="T3" fmla="*/ 21 h 172"/>
                <a:gd name="T4" fmla="*/ 47 w 120"/>
                <a:gd name="T5" fmla="*/ 18 h 172"/>
                <a:gd name="T6" fmla="*/ 64 w 120"/>
                <a:gd name="T7" fmla="*/ 18 h 172"/>
                <a:gd name="T8" fmla="*/ 60 w 120"/>
                <a:gd name="T9" fmla="*/ 34 h 172"/>
                <a:gd name="T10" fmla="*/ 46 w 120"/>
                <a:gd name="T11" fmla="*/ 51 h 172"/>
                <a:gd name="T12" fmla="*/ 62 w 120"/>
                <a:gd name="T13" fmla="*/ 53 h 172"/>
                <a:gd name="T14" fmla="*/ 63 w 120"/>
                <a:gd name="T15" fmla="*/ 55 h 172"/>
                <a:gd name="T16" fmla="*/ 76 w 120"/>
                <a:gd name="T17" fmla="*/ 78 h 172"/>
                <a:gd name="T18" fmla="*/ 87 w 120"/>
                <a:gd name="T19" fmla="*/ 82 h 172"/>
                <a:gd name="T20" fmla="*/ 96 w 120"/>
                <a:gd name="T21" fmla="*/ 104 h 172"/>
                <a:gd name="T22" fmla="*/ 101 w 120"/>
                <a:gd name="T23" fmla="*/ 112 h 172"/>
                <a:gd name="T24" fmla="*/ 120 w 120"/>
                <a:gd name="T25" fmla="*/ 116 h 172"/>
                <a:gd name="T26" fmla="*/ 118 w 120"/>
                <a:gd name="T27" fmla="*/ 129 h 172"/>
                <a:gd name="T28" fmla="*/ 110 w 120"/>
                <a:gd name="T29" fmla="*/ 135 h 172"/>
                <a:gd name="T30" fmla="*/ 116 w 120"/>
                <a:gd name="T31" fmla="*/ 145 h 172"/>
                <a:gd name="T32" fmla="*/ 102 w 120"/>
                <a:gd name="T33" fmla="*/ 155 h 172"/>
                <a:gd name="T34" fmla="*/ 81 w 120"/>
                <a:gd name="T35" fmla="*/ 155 h 172"/>
                <a:gd name="T36" fmla="*/ 54 w 120"/>
                <a:gd name="T37" fmla="*/ 161 h 172"/>
                <a:gd name="T38" fmla="*/ 46 w 120"/>
                <a:gd name="T39" fmla="*/ 157 h 172"/>
                <a:gd name="T40" fmla="*/ 36 w 120"/>
                <a:gd name="T41" fmla="*/ 166 h 172"/>
                <a:gd name="T42" fmla="*/ 21 w 120"/>
                <a:gd name="T43" fmla="*/ 164 h 172"/>
                <a:gd name="T44" fmla="*/ 10 w 120"/>
                <a:gd name="T45" fmla="*/ 172 h 172"/>
                <a:gd name="T46" fmla="*/ 1 w 120"/>
                <a:gd name="T47" fmla="*/ 168 h 172"/>
                <a:gd name="T48" fmla="*/ 25 w 120"/>
                <a:gd name="T49" fmla="*/ 147 h 172"/>
                <a:gd name="T50" fmla="*/ 39 w 120"/>
                <a:gd name="T51" fmla="*/ 142 h 172"/>
                <a:gd name="T52" fmla="*/ 39 w 120"/>
                <a:gd name="T53" fmla="*/ 142 h 172"/>
                <a:gd name="T54" fmla="*/ 15 w 120"/>
                <a:gd name="T55" fmla="*/ 139 h 172"/>
                <a:gd name="T56" fmla="*/ 11 w 120"/>
                <a:gd name="T57" fmla="*/ 131 h 172"/>
                <a:gd name="T58" fmla="*/ 27 w 120"/>
                <a:gd name="T59" fmla="*/ 125 h 172"/>
                <a:gd name="T60" fmla="*/ 19 w 120"/>
                <a:gd name="T61" fmla="*/ 114 h 172"/>
                <a:gd name="T62" fmla="*/ 22 w 120"/>
                <a:gd name="T63" fmla="*/ 101 h 172"/>
                <a:gd name="T64" fmla="*/ 45 w 120"/>
                <a:gd name="T65" fmla="*/ 102 h 172"/>
                <a:gd name="T66" fmla="*/ 45 w 120"/>
                <a:gd name="T67" fmla="*/ 102 h 172"/>
                <a:gd name="T68" fmla="*/ 48 w 120"/>
                <a:gd name="T69" fmla="*/ 91 h 172"/>
                <a:gd name="T70" fmla="*/ 38 w 120"/>
                <a:gd name="T71" fmla="*/ 79 h 172"/>
                <a:gd name="T72" fmla="*/ 37 w 120"/>
                <a:gd name="T73" fmla="*/ 79 h 172"/>
                <a:gd name="T74" fmla="*/ 19 w 120"/>
                <a:gd name="T75" fmla="*/ 75 h 172"/>
                <a:gd name="T76" fmla="*/ 15 w 120"/>
                <a:gd name="T77" fmla="*/ 70 h 172"/>
                <a:gd name="T78" fmla="*/ 21 w 120"/>
                <a:gd name="T79" fmla="*/ 61 h 172"/>
                <a:gd name="T80" fmla="*/ 16 w 120"/>
                <a:gd name="T81" fmla="*/ 55 h 172"/>
                <a:gd name="T82" fmla="*/ 8 w 120"/>
                <a:gd name="T83" fmla="*/ 65 h 172"/>
                <a:gd name="T84" fmla="*/ 8 w 120"/>
                <a:gd name="T85" fmla="*/ 46 h 172"/>
                <a:gd name="T86" fmla="*/ 0 w 120"/>
                <a:gd name="T87" fmla="*/ 36 h 172"/>
                <a:gd name="T88" fmla="*/ 7 w 120"/>
                <a:gd name="T89" fmla="*/ 15 h 172"/>
                <a:gd name="T90" fmla="*/ 19 w 120"/>
                <a:gd name="T91" fmla="*/ 0 h 172"/>
                <a:gd name="T92" fmla="*/ 31 w 120"/>
                <a:gd name="T93" fmla="*/ 1 h 172"/>
                <a:gd name="T94" fmla="*/ 49 w 120"/>
                <a:gd name="T95"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72">
                  <a:moveTo>
                    <a:pt x="49" y="0"/>
                  </a:moveTo>
                  <a:lnTo>
                    <a:pt x="32" y="21"/>
                  </a:lnTo>
                  <a:lnTo>
                    <a:pt x="47" y="18"/>
                  </a:lnTo>
                  <a:lnTo>
                    <a:pt x="64" y="18"/>
                  </a:lnTo>
                  <a:lnTo>
                    <a:pt x="60" y="34"/>
                  </a:lnTo>
                  <a:lnTo>
                    <a:pt x="46" y="51"/>
                  </a:lnTo>
                  <a:lnTo>
                    <a:pt x="62" y="53"/>
                  </a:lnTo>
                  <a:lnTo>
                    <a:pt x="63" y="55"/>
                  </a:lnTo>
                  <a:lnTo>
                    <a:pt x="76" y="78"/>
                  </a:lnTo>
                  <a:lnTo>
                    <a:pt x="87" y="82"/>
                  </a:lnTo>
                  <a:lnTo>
                    <a:pt x="96" y="104"/>
                  </a:lnTo>
                  <a:lnTo>
                    <a:pt x="101" y="112"/>
                  </a:lnTo>
                  <a:lnTo>
                    <a:pt x="120" y="116"/>
                  </a:lnTo>
                  <a:lnTo>
                    <a:pt x="118" y="129"/>
                  </a:lnTo>
                  <a:lnTo>
                    <a:pt x="110" y="135"/>
                  </a:lnTo>
                  <a:lnTo>
                    <a:pt x="116" y="145"/>
                  </a:lnTo>
                  <a:lnTo>
                    <a:pt x="102" y="155"/>
                  </a:lnTo>
                  <a:lnTo>
                    <a:pt x="81" y="155"/>
                  </a:lnTo>
                  <a:lnTo>
                    <a:pt x="54" y="161"/>
                  </a:lnTo>
                  <a:lnTo>
                    <a:pt x="46" y="157"/>
                  </a:lnTo>
                  <a:lnTo>
                    <a:pt x="36" y="166"/>
                  </a:lnTo>
                  <a:lnTo>
                    <a:pt x="21" y="164"/>
                  </a:lnTo>
                  <a:lnTo>
                    <a:pt x="10" y="172"/>
                  </a:lnTo>
                  <a:lnTo>
                    <a:pt x="1" y="168"/>
                  </a:lnTo>
                  <a:lnTo>
                    <a:pt x="25" y="147"/>
                  </a:lnTo>
                  <a:lnTo>
                    <a:pt x="39" y="142"/>
                  </a:lnTo>
                  <a:lnTo>
                    <a:pt x="39" y="142"/>
                  </a:lnTo>
                  <a:lnTo>
                    <a:pt x="15" y="139"/>
                  </a:lnTo>
                  <a:lnTo>
                    <a:pt x="11" y="131"/>
                  </a:lnTo>
                  <a:lnTo>
                    <a:pt x="27" y="125"/>
                  </a:lnTo>
                  <a:lnTo>
                    <a:pt x="19" y="114"/>
                  </a:lnTo>
                  <a:lnTo>
                    <a:pt x="22" y="101"/>
                  </a:lnTo>
                  <a:lnTo>
                    <a:pt x="45" y="102"/>
                  </a:lnTo>
                  <a:lnTo>
                    <a:pt x="45" y="102"/>
                  </a:lnTo>
                  <a:lnTo>
                    <a:pt x="48" y="91"/>
                  </a:lnTo>
                  <a:lnTo>
                    <a:pt x="38" y="79"/>
                  </a:lnTo>
                  <a:lnTo>
                    <a:pt x="37" y="79"/>
                  </a:lnTo>
                  <a:lnTo>
                    <a:pt x="19" y="75"/>
                  </a:lnTo>
                  <a:lnTo>
                    <a:pt x="15" y="70"/>
                  </a:lnTo>
                  <a:lnTo>
                    <a:pt x="21" y="61"/>
                  </a:lnTo>
                  <a:lnTo>
                    <a:pt x="16" y="55"/>
                  </a:lnTo>
                  <a:lnTo>
                    <a:pt x="8" y="65"/>
                  </a:lnTo>
                  <a:lnTo>
                    <a:pt x="8" y="46"/>
                  </a:lnTo>
                  <a:lnTo>
                    <a:pt x="0" y="36"/>
                  </a:lnTo>
                  <a:lnTo>
                    <a:pt x="7" y="15"/>
                  </a:lnTo>
                  <a:lnTo>
                    <a:pt x="19" y="0"/>
                  </a:lnTo>
                  <a:lnTo>
                    <a:pt x="31" y="1"/>
                  </a:lnTo>
                  <a:lnTo>
                    <a:pt x="49"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08" name="Freeform 71"/>
            <p:cNvSpPr>
              <a:spLocks/>
            </p:cNvSpPr>
            <p:nvPr/>
          </p:nvSpPr>
          <p:spPr bwMode="auto">
            <a:xfrm>
              <a:off x="5237162" y="2271716"/>
              <a:ext cx="190500" cy="82550"/>
            </a:xfrm>
            <a:custGeom>
              <a:avLst/>
              <a:gdLst>
                <a:gd name="T0" fmla="*/ 33 w 120"/>
                <a:gd name="T1" fmla="*/ 42 h 52"/>
                <a:gd name="T2" fmla="*/ 34 w 120"/>
                <a:gd name="T3" fmla="*/ 33 h 52"/>
                <a:gd name="T4" fmla="*/ 28 w 120"/>
                <a:gd name="T5" fmla="*/ 19 h 52"/>
                <a:gd name="T6" fmla="*/ 17 w 120"/>
                <a:gd name="T7" fmla="*/ 11 h 52"/>
                <a:gd name="T8" fmla="*/ 7 w 120"/>
                <a:gd name="T9" fmla="*/ 9 h 52"/>
                <a:gd name="T10" fmla="*/ 0 w 120"/>
                <a:gd name="T11" fmla="*/ 3 h 52"/>
                <a:gd name="T12" fmla="*/ 1 w 120"/>
                <a:gd name="T13" fmla="*/ 0 h 52"/>
                <a:gd name="T14" fmla="*/ 16 w 120"/>
                <a:gd name="T15" fmla="*/ 4 h 52"/>
                <a:gd name="T16" fmla="*/ 41 w 120"/>
                <a:gd name="T17" fmla="*/ 7 h 52"/>
                <a:gd name="T18" fmla="*/ 66 w 120"/>
                <a:gd name="T19" fmla="*/ 17 h 52"/>
                <a:gd name="T20" fmla="*/ 69 w 120"/>
                <a:gd name="T21" fmla="*/ 21 h 52"/>
                <a:gd name="T22" fmla="*/ 79 w 120"/>
                <a:gd name="T23" fmla="*/ 18 h 52"/>
                <a:gd name="T24" fmla="*/ 95 w 120"/>
                <a:gd name="T25" fmla="*/ 22 h 52"/>
                <a:gd name="T26" fmla="*/ 102 w 120"/>
                <a:gd name="T27" fmla="*/ 30 h 52"/>
                <a:gd name="T28" fmla="*/ 113 w 120"/>
                <a:gd name="T29" fmla="*/ 35 h 52"/>
                <a:gd name="T30" fmla="*/ 110 w 120"/>
                <a:gd name="T31" fmla="*/ 38 h 52"/>
                <a:gd name="T32" fmla="*/ 120 w 120"/>
                <a:gd name="T33" fmla="*/ 49 h 52"/>
                <a:gd name="T34" fmla="*/ 118 w 120"/>
                <a:gd name="T35" fmla="*/ 52 h 52"/>
                <a:gd name="T36" fmla="*/ 109 w 120"/>
                <a:gd name="T37" fmla="*/ 50 h 52"/>
                <a:gd name="T38" fmla="*/ 95 w 120"/>
                <a:gd name="T39" fmla="*/ 44 h 52"/>
                <a:gd name="T40" fmla="*/ 92 w 120"/>
                <a:gd name="T41" fmla="*/ 48 h 52"/>
                <a:gd name="T42" fmla="*/ 69 w 120"/>
                <a:gd name="T43" fmla="*/ 51 h 52"/>
                <a:gd name="T44" fmla="*/ 51 w 120"/>
                <a:gd name="T45" fmla="*/ 41 h 52"/>
                <a:gd name="T46" fmla="*/ 33 w 120"/>
                <a:gd name="T47"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52">
                  <a:moveTo>
                    <a:pt x="33" y="42"/>
                  </a:moveTo>
                  <a:lnTo>
                    <a:pt x="34" y="33"/>
                  </a:lnTo>
                  <a:lnTo>
                    <a:pt x="28" y="19"/>
                  </a:lnTo>
                  <a:lnTo>
                    <a:pt x="17" y="11"/>
                  </a:lnTo>
                  <a:lnTo>
                    <a:pt x="7" y="9"/>
                  </a:lnTo>
                  <a:lnTo>
                    <a:pt x="0" y="3"/>
                  </a:lnTo>
                  <a:lnTo>
                    <a:pt x="1" y="0"/>
                  </a:lnTo>
                  <a:lnTo>
                    <a:pt x="16" y="4"/>
                  </a:lnTo>
                  <a:lnTo>
                    <a:pt x="41" y="7"/>
                  </a:lnTo>
                  <a:lnTo>
                    <a:pt x="66" y="17"/>
                  </a:lnTo>
                  <a:lnTo>
                    <a:pt x="69" y="21"/>
                  </a:lnTo>
                  <a:lnTo>
                    <a:pt x="79" y="18"/>
                  </a:lnTo>
                  <a:lnTo>
                    <a:pt x="95" y="22"/>
                  </a:lnTo>
                  <a:lnTo>
                    <a:pt x="102" y="30"/>
                  </a:lnTo>
                  <a:lnTo>
                    <a:pt x="113" y="35"/>
                  </a:lnTo>
                  <a:lnTo>
                    <a:pt x="110" y="38"/>
                  </a:lnTo>
                  <a:lnTo>
                    <a:pt x="120" y="49"/>
                  </a:lnTo>
                  <a:lnTo>
                    <a:pt x="118" y="52"/>
                  </a:lnTo>
                  <a:lnTo>
                    <a:pt x="109" y="50"/>
                  </a:lnTo>
                  <a:lnTo>
                    <a:pt x="95" y="44"/>
                  </a:lnTo>
                  <a:lnTo>
                    <a:pt x="92" y="48"/>
                  </a:lnTo>
                  <a:lnTo>
                    <a:pt x="69" y="51"/>
                  </a:lnTo>
                  <a:lnTo>
                    <a:pt x="51" y="41"/>
                  </a:lnTo>
                  <a:lnTo>
                    <a:pt x="33" y="42"/>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09" name="Freeform 72"/>
            <p:cNvSpPr>
              <a:spLocks/>
            </p:cNvSpPr>
            <p:nvPr/>
          </p:nvSpPr>
          <p:spPr bwMode="auto">
            <a:xfrm>
              <a:off x="4087812" y="3340104"/>
              <a:ext cx="125413" cy="209550"/>
            </a:xfrm>
            <a:custGeom>
              <a:avLst/>
              <a:gdLst>
                <a:gd name="T0" fmla="*/ 79 w 79"/>
                <a:gd name="T1" fmla="*/ 107 h 132"/>
                <a:gd name="T2" fmla="*/ 50 w 79"/>
                <a:gd name="T3" fmla="*/ 119 h 132"/>
                <a:gd name="T4" fmla="*/ 40 w 79"/>
                <a:gd name="T5" fmla="*/ 127 h 132"/>
                <a:gd name="T6" fmla="*/ 23 w 79"/>
                <a:gd name="T7" fmla="*/ 132 h 132"/>
                <a:gd name="T8" fmla="*/ 7 w 79"/>
                <a:gd name="T9" fmla="*/ 127 h 132"/>
                <a:gd name="T10" fmla="*/ 8 w 79"/>
                <a:gd name="T11" fmla="*/ 119 h 132"/>
                <a:gd name="T12" fmla="*/ 0 w 79"/>
                <a:gd name="T13" fmla="*/ 100 h 132"/>
                <a:gd name="T14" fmla="*/ 5 w 79"/>
                <a:gd name="T15" fmla="*/ 77 h 132"/>
                <a:gd name="T16" fmla="*/ 12 w 79"/>
                <a:gd name="T17" fmla="*/ 60 h 132"/>
                <a:gd name="T18" fmla="*/ 8 w 79"/>
                <a:gd name="T19" fmla="*/ 30 h 132"/>
                <a:gd name="T20" fmla="*/ 5 w 79"/>
                <a:gd name="T21" fmla="*/ 14 h 132"/>
                <a:gd name="T22" fmla="*/ 6 w 79"/>
                <a:gd name="T23" fmla="*/ 3 h 132"/>
                <a:gd name="T24" fmla="*/ 37 w 79"/>
                <a:gd name="T25" fmla="*/ 2 h 132"/>
                <a:gd name="T26" fmla="*/ 45 w 79"/>
                <a:gd name="T27" fmla="*/ 3 h 132"/>
                <a:gd name="T28" fmla="*/ 51 w 79"/>
                <a:gd name="T29" fmla="*/ 0 h 132"/>
                <a:gd name="T30" fmla="*/ 60 w 79"/>
                <a:gd name="T31" fmla="*/ 1 h 132"/>
                <a:gd name="T32" fmla="*/ 58 w 79"/>
                <a:gd name="T33" fmla="*/ 8 h 132"/>
                <a:gd name="T34" fmla="*/ 66 w 79"/>
                <a:gd name="T35" fmla="*/ 19 h 132"/>
                <a:gd name="T36" fmla="*/ 66 w 79"/>
                <a:gd name="T37" fmla="*/ 34 h 132"/>
                <a:gd name="T38" fmla="*/ 68 w 79"/>
                <a:gd name="T39" fmla="*/ 50 h 132"/>
                <a:gd name="T40" fmla="*/ 72 w 79"/>
                <a:gd name="T41" fmla="*/ 58 h 132"/>
                <a:gd name="T42" fmla="*/ 68 w 79"/>
                <a:gd name="T43" fmla="*/ 76 h 132"/>
                <a:gd name="T44" fmla="*/ 70 w 79"/>
                <a:gd name="T45" fmla="*/ 87 h 132"/>
                <a:gd name="T46" fmla="*/ 75 w 79"/>
                <a:gd name="T47" fmla="*/ 100 h 132"/>
                <a:gd name="T48" fmla="*/ 79 w 79"/>
                <a:gd name="T49" fmla="*/ 10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132">
                  <a:moveTo>
                    <a:pt x="79" y="107"/>
                  </a:moveTo>
                  <a:lnTo>
                    <a:pt x="50" y="119"/>
                  </a:lnTo>
                  <a:lnTo>
                    <a:pt x="40" y="127"/>
                  </a:lnTo>
                  <a:lnTo>
                    <a:pt x="23" y="132"/>
                  </a:lnTo>
                  <a:lnTo>
                    <a:pt x="7" y="127"/>
                  </a:lnTo>
                  <a:lnTo>
                    <a:pt x="8" y="119"/>
                  </a:lnTo>
                  <a:lnTo>
                    <a:pt x="0" y="100"/>
                  </a:lnTo>
                  <a:lnTo>
                    <a:pt x="5" y="77"/>
                  </a:lnTo>
                  <a:lnTo>
                    <a:pt x="12" y="60"/>
                  </a:lnTo>
                  <a:lnTo>
                    <a:pt x="8" y="30"/>
                  </a:lnTo>
                  <a:lnTo>
                    <a:pt x="5" y="14"/>
                  </a:lnTo>
                  <a:lnTo>
                    <a:pt x="6" y="3"/>
                  </a:lnTo>
                  <a:lnTo>
                    <a:pt x="37" y="2"/>
                  </a:lnTo>
                  <a:lnTo>
                    <a:pt x="45" y="3"/>
                  </a:lnTo>
                  <a:lnTo>
                    <a:pt x="51" y="0"/>
                  </a:lnTo>
                  <a:lnTo>
                    <a:pt x="60" y="1"/>
                  </a:lnTo>
                  <a:lnTo>
                    <a:pt x="58" y="8"/>
                  </a:lnTo>
                  <a:lnTo>
                    <a:pt x="66" y="19"/>
                  </a:lnTo>
                  <a:lnTo>
                    <a:pt x="66" y="34"/>
                  </a:lnTo>
                  <a:lnTo>
                    <a:pt x="68" y="50"/>
                  </a:lnTo>
                  <a:lnTo>
                    <a:pt x="72" y="58"/>
                  </a:lnTo>
                  <a:lnTo>
                    <a:pt x="68" y="76"/>
                  </a:lnTo>
                  <a:lnTo>
                    <a:pt x="70" y="87"/>
                  </a:lnTo>
                  <a:lnTo>
                    <a:pt x="75" y="100"/>
                  </a:lnTo>
                  <a:lnTo>
                    <a:pt x="79" y="107"/>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10" name="Freeform 73"/>
            <p:cNvSpPr>
              <a:spLocks/>
            </p:cNvSpPr>
            <p:nvPr/>
          </p:nvSpPr>
          <p:spPr bwMode="auto">
            <a:xfrm>
              <a:off x="3743325" y="3290891"/>
              <a:ext cx="211138" cy="174625"/>
            </a:xfrm>
            <a:custGeom>
              <a:avLst/>
              <a:gdLst>
                <a:gd name="T0" fmla="*/ 116 w 133"/>
                <a:gd name="T1" fmla="*/ 101 h 110"/>
                <a:gd name="T2" fmla="*/ 108 w 133"/>
                <a:gd name="T3" fmla="*/ 110 h 110"/>
                <a:gd name="T4" fmla="*/ 105 w 133"/>
                <a:gd name="T5" fmla="*/ 97 h 110"/>
                <a:gd name="T6" fmla="*/ 93 w 133"/>
                <a:gd name="T7" fmla="*/ 86 h 110"/>
                <a:gd name="T8" fmla="*/ 84 w 133"/>
                <a:gd name="T9" fmla="*/ 88 h 110"/>
                <a:gd name="T10" fmla="*/ 81 w 133"/>
                <a:gd name="T11" fmla="*/ 75 h 110"/>
                <a:gd name="T12" fmla="*/ 78 w 133"/>
                <a:gd name="T13" fmla="*/ 60 h 110"/>
                <a:gd name="T14" fmla="*/ 58 w 133"/>
                <a:gd name="T15" fmla="*/ 53 h 110"/>
                <a:gd name="T16" fmla="*/ 49 w 133"/>
                <a:gd name="T17" fmla="*/ 57 h 110"/>
                <a:gd name="T18" fmla="*/ 44 w 133"/>
                <a:gd name="T19" fmla="*/ 67 h 110"/>
                <a:gd name="T20" fmla="*/ 26 w 133"/>
                <a:gd name="T21" fmla="*/ 64 h 110"/>
                <a:gd name="T22" fmla="*/ 14 w 133"/>
                <a:gd name="T23" fmla="*/ 53 h 110"/>
                <a:gd name="T24" fmla="*/ 8 w 133"/>
                <a:gd name="T25" fmla="*/ 40 h 110"/>
                <a:gd name="T26" fmla="*/ 0 w 133"/>
                <a:gd name="T27" fmla="*/ 32 h 110"/>
                <a:gd name="T28" fmla="*/ 14 w 133"/>
                <a:gd name="T29" fmla="*/ 22 h 110"/>
                <a:gd name="T30" fmla="*/ 22 w 133"/>
                <a:gd name="T31" fmla="*/ 19 h 110"/>
                <a:gd name="T32" fmla="*/ 24 w 133"/>
                <a:gd name="T33" fmla="*/ 9 h 110"/>
                <a:gd name="T34" fmla="*/ 26 w 133"/>
                <a:gd name="T35" fmla="*/ 0 h 110"/>
                <a:gd name="T36" fmla="*/ 48 w 133"/>
                <a:gd name="T37" fmla="*/ 5 h 110"/>
                <a:gd name="T38" fmla="*/ 54 w 133"/>
                <a:gd name="T39" fmla="*/ 2 h 110"/>
                <a:gd name="T40" fmla="*/ 66 w 133"/>
                <a:gd name="T41" fmla="*/ 3 h 110"/>
                <a:gd name="T42" fmla="*/ 70 w 133"/>
                <a:gd name="T43" fmla="*/ 10 h 110"/>
                <a:gd name="T44" fmla="*/ 78 w 133"/>
                <a:gd name="T45" fmla="*/ 8 h 110"/>
                <a:gd name="T46" fmla="*/ 91 w 133"/>
                <a:gd name="T47" fmla="*/ 15 h 110"/>
                <a:gd name="T48" fmla="*/ 102 w 133"/>
                <a:gd name="T49" fmla="*/ 8 h 110"/>
                <a:gd name="T50" fmla="*/ 110 w 133"/>
                <a:gd name="T51" fmla="*/ 6 h 110"/>
                <a:gd name="T52" fmla="*/ 116 w 133"/>
                <a:gd name="T53" fmla="*/ 16 h 110"/>
                <a:gd name="T54" fmla="*/ 120 w 133"/>
                <a:gd name="T55" fmla="*/ 30 h 110"/>
                <a:gd name="T56" fmla="*/ 123 w 133"/>
                <a:gd name="T57" fmla="*/ 35 h 110"/>
                <a:gd name="T58" fmla="*/ 124 w 133"/>
                <a:gd name="T59" fmla="*/ 43 h 110"/>
                <a:gd name="T60" fmla="*/ 126 w 133"/>
                <a:gd name="T61" fmla="*/ 51 h 110"/>
                <a:gd name="T62" fmla="*/ 128 w 133"/>
                <a:gd name="T63" fmla="*/ 67 h 110"/>
                <a:gd name="T64" fmla="*/ 126 w 133"/>
                <a:gd name="T65" fmla="*/ 86 h 110"/>
                <a:gd name="T66" fmla="*/ 126 w 133"/>
                <a:gd name="T67" fmla="*/ 93 h 110"/>
                <a:gd name="T68" fmla="*/ 122 w 133"/>
                <a:gd name="T69" fmla="*/ 10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3" h="110">
                  <a:moveTo>
                    <a:pt x="122" y="102"/>
                  </a:moveTo>
                  <a:lnTo>
                    <a:pt x="116" y="101"/>
                  </a:lnTo>
                  <a:lnTo>
                    <a:pt x="113" y="110"/>
                  </a:lnTo>
                  <a:lnTo>
                    <a:pt x="108" y="110"/>
                  </a:lnTo>
                  <a:lnTo>
                    <a:pt x="104" y="105"/>
                  </a:lnTo>
                  <a:lnTo>
                    <a:pt x="105" y="97"/>
                  </a:lnTo>
                  <a:lnTo>
                    <a:pt x="98" y="84"/>
                  </a:lnTo>
                  <a:lnTo>
                    <a:pt x="93" y="86"/>
                  </a:lnTo>
                  <a:lnTo>
                    <a:pt x="89" y="87"/>
                  </a:lnTo>
                  <a:lnTo>
                    <a:pt x="84" y="88"/>
                  </a:lnTo>
                  <a:lnTo>
                    <a:pt x="84" y="80"/>
                  </a:lnTo>
                  <a:lnTo>
                    <a:pt x="81" y="75"/>
                  </a:lnTo>
                  <a:lnTo>
                    <a:pt x="82" y="69"/>
                  </a:lnTo>
                  <a:lnTo>
                    <a:pt x="78" y="60"/>
                  </a:lnTo>
                  <a:lnTo>
                    <a:pt x="73" y="53"/>
                  </a:lnTo>
                  <a:lnTo>
                    <a:pt x="58" y="53"/>
                  </a:lnTo>
                  <a:lnTo>
                    <a:pt x="54" y="57"/>
                  </a:lnTo>
                  <a:lnTo>
                    <a:pt x="49" y="57"/>
                  </a:lnTo>
                  <a:lnTo>
                    <a:pt x="46" y="61"/>
                  </a:lnTo>
                  <a:lnTo>
                    <a:pt x="44" y="67"/>
                  </a:lnTo>
                  <a:lnTo>
                    <a:pt x="34" y="76"/>
                  </a:lnTo>
                  <a:lnTo>
                    <a:pt x="26" y="64"/>
                  </a:lnTo>
                  <a:lnTo>
                    <a:pt x="19" y="56"/>
                  </a:lnTo>
                  <a:lnTo>
                    <a:pt x="14" y="53"/>
                  </a:lnTo>
                  <a:lnTo>
                    <a:pt x="10" y="49"/>
                  </a:lnTo>
                  <a:lnTo>
                    <a:pt x="8" y="40"/>
                  </a:lnTo>
                  <a:lnTo>
                    <a:pt x="5" y="35"/>
                  </a:lnTo>
                  <a:lnTo>
                    <a:pt x="0" y="32"/>
                  </a:lnTo>
                  <a:lnTo>
                    <a:pt x="8" y="22"/>
                  </a:lnTo>
                  <a:lnTo>
                    <a:pt x="14" y="22"/>
                  </a:lnTo>
                  <a:lnTo>
                    <a:pt x="18" y="19"/>
                  </a:lnTo>
                  <a:lnTo>
                    <a:pt x="22" y="19"/>
                  </a:lnTo>
                  <a:lnTo>
                    <a:pt x="25" y="16"/>
                  </a:lnTo>
                  <a:lnTo>
                    <a:pt x="24" y="9"/>
                  </a:lnTo>
                  <a:lnTo>
                    <a:pt x="26" y="7"/>
                  </a:lnTo>
                  <a:lnTo>
                    <a:pt x="26" y="0"/>
                  </a:lnTo>
                  <a:lnTo>
                    <a:pt x="35" y="0"/>
                  </a:lnTo>
                  <a:lnTo>
                    <a:pt x="48" y="5"/>
                  </a:lnTo>
                  <a:lnTo>
                    <a:pt x="52" y="5"/>
                  </a:lnTo>
                  <a:lnTo>
                    <a:pt x="54" y="2"/>
                  </a:lnTo>
                  <a:lnTo>
                    <a:pt x="64" y="4"/>
                  </a:lnTo>
                  <a:lnTo>
                    <a:pt x="66" y="3"/>
                  </a:lnTo>
                  <a:lnTo>
                    <a:pt x="67" y="10"/>
                  </a:lnTo>
                  <a:lnTo>
                    <a:pt x="70" y="10"/>
                  </a:lnTo>
                  <a:lnTo>
                    <a:pt x="75" y="8"/>
                  </a:lnTo>
                  <a:lnTo>
                    <a:pt x="78" y="8"/>
                  </a:lnTo>
                  <a:lnTo>
                    <a:pt x="83" y="14"/>
                  </a:lnTo>
                  <a:lnTo>
                    <a:pt x="91" y="15"/>
                  </a:lnTo>
                  <a:lnTo>
                    <a:pt x="96" y="11"/>
                  </a:lnTo>
                  <a:lnTo>
                    <a:pt x="102" y="8"/>
                  </a:lnTo>
                  <a:lnTo>
                    <a:pt x="106" y="5"/>
                  </a:lnTo>
                  <a:lnTo>
                    <a:pt x="110" y="6"/>
                  </a:lnTo>
                  <a:lnTo>
                    <a:pt x="114" y="10"/>
                  </a:lnTo>
                  <a:lnTo>
                    <a:pt x="116" y="16"/>
                  </a:lnTo>
                  <a:lnTo>
                    <a:pt x="123" y="25"/>
                  </a:lnTo>
                  <a:lnTo>
                    <a:pt x="120" y="30"/>
                  </a:lnTo>
                  <a:lnTo>
                    <a:pt x="119" y="37"/>
                  </a:lnTo>
                  <a:lnTo>
                    <a:pt x="123" y="35"/>
                  </a:lnTo>
                  <a:lnTo>
                    <a:pt x="125" y="37"/>
                  </a:lnTo>
                  <a:lnTo>
                    <a:pt x="124" y="43"/>
                  </a:lnTo>
                  <a:lnTo>
                    <a:pt x="130" y="49"/>
                  </a:lnTo>
                  <a:lnTo>
                    <a:pt x="126" y="51"/>
                  </a:lnTo>
                  <a:lnTo>
                    <a:pt x="124" y="58"/>
                  </a:lnTo>
                  <a:lnTo>
                    <a:pt x="128" y="67"/>
                  </a:lnTo>
                  <a:lnTo>
                    <a:pt x="133" y="83"/>
                  </a:lnTo>
                  <a:lnTo>
                    <a:pt x="126" y="86"/>
                  </a:lnTo>
                  <a:lnTo>
                    <a:pt x="124" y="89"/>
                  </a:lnTo>
                  <a:lnTo>
                    <a:pt x="126" y="93"/>
                  </a:lnTo>
                  <a:lnTo>
                    <a:pt x="125" y="102"/>
                  </a:lnTo>
                  <a:lnTo>
                    <a:pt x="122" y="102"/>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11" name="Freeform 74"/>
            <p:cNvSpPr>
              <a:spLocks/>
            </p:cNvSpPr>
            <p:nvPr/>
          </p:nvSpPr>
          <p:spPr bwMode="auto">
            <a:xfrm>
              <a:off x="3694112" y="3248029"/>
              <a:ext cx="87313" cy="25400"/>
            </a:xfrm>
            <a:custGeom>
              <a:avLst/>
              <a:gdLst>
                <a:gd name="T0" fmla="*/ 0 w 55"/>
                <a:gd name="T1" fmla="*/ 15 h 16"/>
                <a:gd name="T2" fmla="*/ 3 w 55"/>
                <a:gd name="T3" fmla="*/ 6 h 16"/>
                <a:gd name="T4" fmla="*/ 23 w 55"/>
                <a:gd name="T5" fmla="*/ 5 h 16"/>
                <a:gd name="T6" fmla="*/ 27 w 55"/>
                <a:gd name="T7" fmla="*/ 0 h 16"/>
                <a:gd name="T8" fmla="*/ 33 w 55"/>
                <a:gd name="T9" fmla="*/ 0 h 16"/>
                <a:gd name="T10" fmla="*/ 40 w 55"/>
                <a:gd name="T11" fmla="*/ 5 h 16"/>
                <a:gd name="T12" fmla="*/ 45 w 55"/>
                <a:gd name="T13" fmla="*/ 5 h 16"/>
                <a:gd name="T14" fmla="*/ 51 w 55"/>
                <a:gd name="T15" fmla="*/ 2 h 16"/>
                <a:gd name="T16" fmla="*/ 55 w 55"/>
                <a:gd name="T17" fmla="*/ 8 h 16"/>
                <a:gd name="T18" fmla="*/ 47 w 55"/>
                <a:gd name="T19" fmla="*/ 13 h 16"/>
                <a:gd name="T20" fmla="*/ 39 w 55"/>
                <a:gd name="T21" fmla="*/ 12 h 16"/>
                <a:gd name="T22" fmla="*/ 31 w 55"/>
                <a:gd name="T23" fmla="*/ 8 h 16"/>
                <a:gd name="T24" fmla="*/ 25 w 55"/>
                <a:gd name="T25" fmla="*/ 13 h 16"/>
                <a:gd name="T26" fmla="*/ 21 w 55"/>
                <a:gd name="T27" fmla="*/ 13 h 16"/>
                <a:gd name="T28" fmla="*/ 17 w 55"/>
                <a:gd name="T29" fmla="*/ 16 h 16"/>
                <a:gd name="T30" fmla="*/ 0 w 55"/>
                <a:gd name="T31"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6">
                  <a:moveTo>
                    <a:pt x="0" y="15"/>
                  </a:moveTo>
                  <a:lnTo>
                    <a:pt x="3" y="6"/>
                  </a:lnTo>
                  <a:lnTo>
                    <a:pt x="23" y="5"/>
                  </a:lnTo>
                  <a:lnTo>
                    <a:pt x="27" y="0"/>
                  </a:lnTo>
                  <a:lnTo>
                    <a:pt x="33" y="0"/>
                  </a:lnTo>
                  <a:lnTo>
                    <a:pt x="40" y="5"/>
                  </a:lnTo>
                  <a:lnTo>
                    <a:pt x="45" y="5"/>
                  </a:lnTo>
                  <a:lnTo>
                    <a:pt x="51" y="2"/>
                  </a:lnTo>
                  <a:lnTo>
                    <a:pt x="55" y="8"/>
                  </a:lnTo>
                  <a:lnTo>
                    <a:pt x="47" y="13"/>
                  </a:lnTo>
                  <a:lnTo>
                    <a:pt x="39" y="12"/>
                  </a:lnTo>
                  <a:lnTo>
                    <a:pt x="31" y="8"/>
                  </a:lnTo>
                  <a:lnTo>
                    <a:pt x="25" y="13"/>
                  </a:lnTo>
                  <a:lnTo>
                    <a:pt x="21" y="13"/>
                  </a:lnTo>
                  <a:lnTo>
                    <a:pt x="17" y="16"/>
                  </a:lnTo>
                  <a:lnTo>
                    <a:pt x="0" y="15"/>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12" name="Freeform 75"/>
            <p:cNvSpPr>
              <a:spLocks/>
            </p:cNvSpPr>
            <p:nvPr/>
          </p:nvSpPr>
          <p:spPr bwMode="auto">
            <a:xfrm>
              <a:off x="3698875" y="3289304"/>
              <a:ext cx="85725" cy="52388"/>
            </a:xfrm>
            <a:custGeom>
              <a:avLst/>
              <a:gdLst>
                <a:gd name="T0" fmla="*/ 28 w 54"/>
                <a:gd name="T1" fmla="*/ 33 h 33"/>
                <a:gd name="T2" fmla="*/ 18 w 54"/>
                <a:gd name="T3" fmla="*/ 24 h 33"/>
                <a:gd name="T4" fmla="*/ 10 w 54"/>
                <a:gd name="T5" fmla="*/ 23 h 33"/>
                <a:gd name="T6" fmla="*/ 6 w 54"/>
                <a:gd name="T7" fmla="*/ 17 h 33"/>
                <a:gd name="T8" fmla="*/ 6 w 54"/>
                <a:gd name="T9" fmla="*/ 14 h 33"/>
                <a:gd name="T10" fmla="*/ 1 w 54"/>
                <a:gd name="T11" fmla="*/ 10 h 33"/>
                <a:gd name="T12" fmla="*/ 0 w 54"/>
                <a:gd name="T13" fmla="*/ 5 h 33"/>
                <a:gd name="T14" fmla="*/ 10 w 54"/>
                <a:gd name="T15" fmla="*/ 2 h 33"/>
                <a:gd name="T16" fmla="*/ 16 w 54"/>
                <a:gd name="T17" fmla="*/ 2 h 33"/>
                <a:gd name="T18" fmla="*/ 21 w 54"/>
                <a:gd name="T19" fmla="*/ 0 h 33"/>
                <a:gd name="T20" fmla="*/ 54 w 54"/>
                <a:gd name="T21" fmla="*/ 1 h 33"/>
                <a:gd name="T22" fmla="*/ 54 w 54"/>
                <a:gd name="T23" fmla="*/ 8 h 33"/>
                <a:gd name="T24" fmla="*/ 52 w 54"/>
                <a:gd name="T25" fmla="*/ 10 h 33"/>
                <a:gd name="T26" fmla="*/ 53 w 54"/>
                <a:gd name="T27" fmla="*/ 17 h 33"/>
                <a:gd name="T28" fmla="*/ 50 w 54"/>
                <a:gd name="T29" fmla="*/ 20 h 33"/>
                <a:gd name="T30" fmla="*/ 46 w 54"/>
                <a:gd name="T31" fmla="*/ 20 h 33"/>
                <a:gd name="T32" fmla="*/ 42 w 54"/>
                <a:gd name="T33" fmla="*/ 23 h 33"/>
                <a:gd name="T34" fmla="*/ 36 w 54"/>
                <a:gd name="T35" fmla="*/ 23 h 33"/>
                <a:gd name="T36" fmla="*/ 28 w 54"/>
                <a:gd name="T3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33">
                  <a:moveTo>
                    <a:pt x="28" y="33"/>
                  </a:moveTo>
                  <a:lnTo>
                    <a:pt x="18" y="24"/>
                  </a:lnTo>
                  <a:lnTo>
                    <a:pt x="10" y="23"/>
                  </a:lnTo>
                  <a:lnTo>
                    <a:pt x="6" y="17"/>
                  </a:lnTo>
                  <a:lnTo>
                    <a:pt x="6" y="14"/>
                  </a:lnTo>
                  <a:lnTo>
                    <a:pt x="1" y="10"/>
                  </a:lnTo>
                  <a:lnTo>
                    <a:pt x="0" y="5"/>
                  </a:lnTo>
                  <a:lnTo>
                    <a:pt x="10" y="2"/>
                  </a:lnTo>
                  <a:lnTo>
                    <a:pt x="16" y="2"/>
                  </a:lnTo>
                  <a:lnTo>
                    <a:pt x="21" y="0"/>
                  </a:lnTo>
                  <a:lnTo>
                    <a:pt x="54" y="1"/>
                  </a:lnTo>
                  <a:lnTo>
                    <a:pt x="54" y="8"/>
                  </a:lnTo>
                  <a:lnTo>
                    <a:pt x="52" y="10"/>
                  </a:lnTo>
                  <a:lnTo>
                    <a:pt x="53" y="17"/>
                  </a:lnTo>
                  <a:lnTo>
                    <a:pt x="50" y="20"/>
                  </a:lnTo>
                  <a:lnTo>
                    <a:pt x="46" y="20"/>
                  </a:lnTo>
                  <a:lnTo>
                    <a:pt x="42" y="23"/>
                  </a:lnTo>
                  <a:lnTo>
                    <a:pt x="36" y="23"/>
                  </a:lnTo>
                  <a:lnTo>
                    <a:pt x="28" y="33"/>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13" name="Freeform 76"/>
            <p:cNvSpPr>
              <a:spLocks/>
            </p:cNvSpPr>
            <p:nvPr/>
          </p:nvSpPr>
          <p:spPr bwMode="auto">
            <a:xfrm>
              <a:off x="4452937" y="3630617"/>
              <a:ext cx="58738" cy="41275"/>
            </a:xfrm>
            <a:custGeom>
              <a:avLst/>
              <a:gdLst>
                <a:gd name="T0" fmla="*/ 4 w 37"/>
                <a:gd name="T1" fmla="*/ 26 h 26"/>
                <a:gd name="T2" fmla="*/ 0 w 37"/>
                <a:gd name="T3" fmla="*/ 23 h 26"/>
                <a:gd name="T4" fmla="*/ 7 w 37"/>
                <a:gd name="T5" fmla="*/ 0 h 26"/>
                <a:gd name="T6" fmla="*/ 37 w 37"/>
                <a:gd name="T7" fmla="*/ 0 h 26"/>
                <a:gd name="T8" fmla="*/ 37 w 37"/>
                <a:gd name="T9" fmla="*/ 25 h 26"/>
                <a:gd name="T10" fmla="*/ 10 w 37"/>
                <a:gd name="T11" fmla="*/ 25 h 26"/>
                <a:gd name="T12" fmla="*/ 4 w 37"/>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37" h="26">
                  <a:moveTo>
                    <a:pt x="4" y="26"/>
                  </a:moveTo>
                  <a:lnTo>
                    <a:pt x="0" y="23"/>
                  </a:lnTo>
                  <a:lnTo>
                    <a:pt x="7" y="0"/>
                  </a:lnTo>
                  <a:lnTo>
                    <a:pt x="37" y="0"/>
                  </a:lnTo>
                  <a:lnTo>
                    <a:pt x="37" y="25"/>
                  </a:lnTo>
                  <a:lnTo>
                    <a:pt x="10" y="25"/>
                  </a:lnTo>
                  <a:lnTo>
                    <a:pt x="4" y="26"/>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14" name="Freeform 77"/>
            <p:cNvSpPr>
              <a:spLocks/>
            </p:cNvSpPr>
            <p:nvPr/>
          </p:nvSpPr>
          <p:spPr bwMode="auto">
            <a:xfrm>
              <a:off x="4827587" y="2528891"/>
              <a:ext cx="76200" cy="25400"/>
            </a:xfrm>
            <a:custGeom>
              <a:avLst/>
              <a:gdLst>
                <a:gd name="T0" fmla="*/ 2 w 48"/>
                <a:gd name="T1" fmla="*/ 0 h 16"/>
                <a:gd name="T2" fmla="*/ 12 w 48"/>
                <a:gd name="T3" fmla="*/ 7 h 16"/>
                <a:gd name="T4" fmla="*/ 25 w 48"/>
                <a:gd name="T5" fmla="*/ 6 h 16"/>
                <a:gd name="T6" fmla="*/ 39 w 48"/>
                <a:gd name="T7" fmla="*/ 7 h 16"/>
                <a:gd name="T8" fmla="*/ 38 w 48"/>
                <a:gd name="T9" fmla="*/ 11 h 16"/>
                <a:gd name="T10" fmla="*/ 48 w 48"/>
                <a:gd name="T11" fmla="*/ 8 h 16"/>
                <a:gd name="T12" fmla="*/ 46 w 48"/>
                <a:gd name="T13" fmla="*/ 14 h 16"/>
                <a:gd name="T14" fmla="*/ 21 w 48"/>
                <a:gd name="T15" fmla="*/ 16 h 16"/>
                <a:gd name="T16" fmla="*/ 21 w 48"/>
                <a:gd name="T17" fmla="*/ 13 h 16"/>
                <a:gd name="T18" fmla="*/ 0 w 48"/>
                <a:gd name="T19" fmla="*/ 9 h 16"/>
                <a:gd name="T20" fmla="*/ 2 w 4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6">
                  <a:moveTo>
                    <a:pt x="2" y="0"/>
                  </a:moveTo>
                  <a:lnTo>
                    <a:pt x="12" y="7"/>
                  </a:lnTo>
                  <a:lnTo>
                    <a:pt x="25" y="6"/>
                  </a:lnTo>
                  <a:lnTo>
                    <a:pt x="39" y="7"/>
                  </a:lnTo>
                  <a:lnTo>
                    <a:pt x="38" y="11"/>
                  </a:lnTo>
                  <a:lnTo>
                    <a:pt x="48" y="8"/>
                  </a:lnTo>
                  <a:lnTo>
                    <a:pt x="46" y="14"/>
                  </a:lnTo>
                  <a:lnTo>
                    <a:pt x="21" y="16"/>
                  </a:lnTo>
                  <a:lnTo>
                    <a:pt x="21" y="13"/>
                  </a:lnTo>
                  <a:lnTo>
                    <a:pt x="0" y="9"/>
                  </a:lnTo>
                  <a:lnTo>
                    <a:pt x="2"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15" name="Freeform 78"/>
            <p:cNvSpPr>
              <a:spLocks/>
            </p:cNvSpPr>
            <p:nvPr/>
          </p:nvSpPr>
          <p:spPr bwMode="auto">
            <a:xfrm>
              <a:off x="4724400" y="2328866"/>
              <a:ext cx="166688" cy="176213"/>
            </a:xfrm>
            <a:custGeom>
              <a:avLst/>
              <a:gdLst>
                <a:gd name="T0" fmla="*/ 105 w 105"/>
                <a:gd name="T1" fmla="*/ 5 h 111"/>
                <a:gd name="T2" fmla="*/ 101 w 105"/>
                <a:gd name="T3" fmla="*/ 18 h 111"/>
                <a:gd name="T4" fmla="*/ 98 w 105"/>
                <a:gd name="T5" fmla="*/ 20 h 111"/>
                <a:gd name="T6" fmla="*/ 87 w 105"/>
                <a:gd name="T7" fmla="*/ 20 h 111"/>
                <a:gd name="T8" fmla="*/ 78 w 105"/>
                <a:gd name="T9" fmla="*/ 18 h 111"/>
                <a:gd name="T10" fmla="*/ 58 w 105"/>
                <a:gd name="T11" fmla="*/ 23 h 111"/>
                <a:gd name="T12" fmla="*/ 71 w 105"/>
                <a:gd name="T13" fmla="*/ 35 h 111"/>
                <a:gd name="T14" fmla="*/ 63 w 105"/>
                <a:gd name="T15" fmla="*/ 38 h 111"/>
                <a:gd name="T16" fmla="*/ 54 w 105"/>
                <a:gd name="T17" fmla="*/ 38 h 111"/>
                <a:gd name="T18" fmla="*/ 44 w 105"/>
                <a:gd name="T19" fmla="*/ 28 h 111"/>
                <a:gd name="T20" fmla="*/ 41 w 105"/>
                <a:gd name="T21" fmla="*/ 32 h 111"/>
                <a:gd name="T22" fmla="*/ 46 w 105"/>
                <a:gd name="T23" fmla="*/ 44 h 111"/>
                <a:gd name="T24" fmla="*/ 55 w 105"/>
                <a:gd name="T25" fmla="*/ 54 h 111"/>
                <a:gd name="T26" fmla="*/ 49 w 105"/>
                <a:gd name="T27" fmla="*/ 59 h 111"/>
                <a:gd name="T28" fmla="*/ 59 w 105"/>
                <a:gd name="T29" fmla="*/ 68 h 111"/>
                <a:gd name="T30" fmla="*/ 68 w 105"/>
                <a:gd name="T31" fmla="*/ 74 h 111"/>
                <a:gd name="T32" fmla="*/ 70 w 105"/>
                <a:gd name="T33" fmla="*/ 86 h 111"/>
                <a:gd name="T34" fmla="*/ 53 w 105"/>
                <a:gd name="T35" fmla="*/ 80 h 111"/>
                <a:gd name="T36" fmla="*/ 59 w 105"/>
                <a:gd name="T37" fmla="*/ 91 h 111"/>
                <a:gd name="T38" fmla="*/ 49 w 105"/>
                <a:gd name="T39" fmla="*/ 93 h 111"/>
                <a:gd name="T40" fmla="*/ 57 w 105"/>
                <a:gd name="T41" fmla="*/ 111 h 111"/>
                <a:gd name="T42" fmla="*/ 45 w 105"/>
                <a:gd name="T43" fmla="*/ 111 h 111"/>
                <a:gd name="T44" fmla="*/ 30 w 105"/>
                <a:gd name="T45" fmla="*/ 102 h 111"/>
                <a:gd name="T46" fmla="*/ 23 w 105"/>
                <a:gd name="T47" fmla="*/ 86 h 111"/>
                <a:gd name="T48" fmla="*/ 19 w 105"/>
                <a:gd name="T49" fmla="*/ 72 h 111"/>
                <a:gd name="T50" fmla="*/ 11 w 105"/>
                <a:gd name="T51" fmla="*/ 63 h 111"/>
                <a:gd name="T52" fmla="*/ 2 w 105"/>
                <a:gd name="T53" fmla="*/ 51 h 111"/>
                <a:gd name="T54" fmla="*/ 0 w 105"/>
                <a:gd name="T55" fmla="*/ 45 h 111"/>
                <a:gd name="T56" fmla="*/ 7 w 105"/>
                <a:gd name="T57" fmla="*/ 35 h 111"/>
                <a:gd name="T58" fmla="*/ 7 w 105"/>
                <a:gd name="T59" fmla="*/ 28 h 111"/>
                <a:gd name="T60" fmla="*/ 13 w 105"/>
                <a:gd name="T61" fmla="*/ 26 h 111"/>
                <a:gd name="T62" fmla="*/ 13 w 105"/>
                <a:gd name="T63" fmla="*/ 20 h 111"/>
                <a:gd name="T64" fmla="*/ 24 w 105"/>
                <a:gd name="T65" fmla="*/ 18 h 111"/>
                <a:gd name="T66" fmla="*/ 30 w 105"/>
                <a:gd name="T67" fmla="*/ 14 h 111"/>
                <a:gd name="T68" fmla="*/ 39 w 105"/>
                <a:gd name="T69" fmla="*/ 14 h 111"/>
                <a:gd name="T70" fmla="*/ 41 w 105"/>
                <a:gd name="T71" fmla="*/ 10 h 111"/>
                <a:gd name="T72" fmla="*/ 44 w 105"/>
                <a:gd name="T73" fmla="*/ 10 h 111"/>
                <a:gd name="T74" fmla="*/ 57 w 105"/>
                <a:gd name="T75" fmla="*/ 10 h 111"/>
                <a:gd name="T76" fmla="*/ 70 w 105"/>
                <a:gd name="T77" fmla="*/ 5 h 111"/>
                <a:gd name="T78" fmla="*/ 82 w 105"/>
                <a:gd name="T79" fmla="*/ 12 h 111"/>
                <a:gd name="T80" fmla="*/ 97 w 105"/>
                <a:gd name="T81" fmla="*/ 10 h 111"/>
                <a:gd name="T82" fmla="*/ 96 w 105"/>
                <a:gd name="T83" fmla="*/ 0 h 111"/>
                <a:gd name="T84" fmla="*/ 105 w 105"/>
                <a:gd name="T85" fmla="*/ 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111">
                  <a:moveTo>
                    <a:pt x="105" y="5"/>
                  </a:moveTo>
                  <a:lnTo>
                    <a:pt x="101" y="18"/>
                  </a:lnTo>
                  <a:lnTo>
                    <a:pt x="98" y="20"/>
                  </a:lnTo>
                  <a:lnTo>
                    <a:pt x="87" y="20"/>
                  </a:lnTo>
                  <a:lnTo>
                    <a:pt x="78" y="18"/>
                  </a:lnTo>
                  <a:lnTo>
                    <a:pt x="58" y="23"/>
                  </a:lnTo>
                  <a:lnTo>
                    <a:pt x="71" y="35"/>
                  </a:lnTo>
                  <a:lnTo>
                    <a:pt x="63" y="38"/>
                  </a:lnTo>
                  <a:lnTo>
                    <a:pt x="54" y="38"/>
                  </a:lnTo>
                  <a:lnTo>
                    <a:pt x="44" y="28"/>
                  </a:lnTo>
                  <a:lnTo>
                    <a:pt x="41" y="32"/>
                  </a:lnTo>
                  <a:lnTo>
                    <a:pt x="46" y="44"/>
                  </a:lnTo>
                  <a:lnTo>
                    <a:pt x="55" y="54"/>
                  </a:lnTo>
                  <a:lnTo>
                    <a:pt x="49" y="59"/>
                  </a:lnTo>
                  <a:lnTo>
                    <a:pt x="59" y="68"/>
                  </a:lnTo>
                  <a:lnTo>
                    <a:pt x="68" y="74"/>
                  </a:lnTo>
                  <a:lnTo>
                    <a:pt x="70" y="86"/>
                  </a:lnTo>
                  <a:lnTo>
                    <a:pt x="53" y="80"/>
                  </a:lnTo>
                  <a:lnTo>
                    <a:pt x="59" y="91"/>
                  </a:lnTo>
                  <a:lnTo>
                    <a:pt x="49" y="93"/>
                  </a:lnTo>
                  <a:lnTo>
                    <a:pt x="57" y="111"/>
                  </a:lnTo>
                  <a:lnTo>
                    <a:pt x="45" y="111"/>
                  </a:lnTo>
                  <a:lnTo>
                    <a:pt x="30" y="102"/>
                  </a:lnTo>
                  <a:lnTo>
                    <a:pt x="23" y="86"/>
                  </a:lnTo>
                  <a:lnTo>
                    <a:pt x="19" y="72"/>
                  </a:lnTo>
                  <a:lnTo>
                    <a:pt x="11" y="63"/>
                  </a:lnTo>
                  <a:lnTo>
                    <a:pt x="2" y="51"/>
                  </a:lnTo>
                  <a:lnTo>
                    <a:pt x="0" y="45"/>
                  </a:lnTo>
                  <a:lnTo>
                    <a:pt x="7" y="35"/>
                  </a:lnTo>
                  <a:lnTo>
                    <a:pt x="7" y="28"/>
                  </a:lnTo>
                  <a:lnTo>
                    <a:pt x="13" y="26"/>
                  </a:lnTo>
                  <a:lnTo>
                    <a:pt x="13" y="20"/>
                  </a:lnTo>
                  <a:lnTo>
                    <a:pt x="24" y="18"/>
                  </a:lnTo>
                  <a:lnTo>
                    <a:pt x="30" y="14"/>
                  </a:lnTo>
                  <a:lnTo>
                    <a:pt x="39" y="14"/>
                  </a:lnTo>
                  <a:lnTo>
                    <a:pt x="41" y="10"/>
                  </a:lnTo>
                  <a:lnTo>
                    <a:pt x="44" y="10"/>
                  </a:lnTo>
                  <a:lnTo>
                    <a:pt x="57" y="10"/>
                  </a:lnTo>
                  <a:lnTo>
                    <a:pt x="70" y="5"/>
                  </a:lnTo>
                  <a:lnTo>
                    <a:pt x="82" y="12"/>
                  </a:lnTo>
                  <a:lnTo>
                    <a:pt x="97" y="10"/>
                  </a:lnTo>
                  <a:lnTo>
                    <a:pt x="96" y="0"/>
                  </a:lnTo>
                  <a:lnTo>
                    <a:pt x="105" y="5"/>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16" name="Freeform 79"/>
            <p:cNvSpPr>
              <a:spLocks/>
            </p:cNvSpPr>
            <p:nvPr/>
          </p:nvSpPr>
          <p:spPr bwMode="auto">
            <a:xfrm>
              <a:off x="2809875" y="1138241"/>
              <a:ext cx="1154113" cy="609600"/>
            </a:xfrm>
            <a:custGeom>
              <a:avLst/>
              <a:gdLst>
                <a:gd name="T0" fmla="*/ 429 w 727"/>
                <a:gd name="T1" fmla="*/ 5 h 384"/>
                <a:gd name="T2" fmla="*/ 571 w 727"/>
                <a:gd name="T3" fmla="*/ 1 h 384"/>
                <a:gd name="T4" fmla="*/ 571 w 727"/>
                <a:gd name="T5" fmla="*/ 16 h 384"/>
                <a:gd name="T6" fmla="*/ 556 w 727"/>
                <a:gd name="T7" fmla="*/ 18 h 384"/>
                <a:gd name="T8" fmla="*/ 618 w 727"/>
                <a:gd name="T9" fmla="*/ 23 h 384"/>
                <a:gd name="T10" fmla="*/ 689 w 727"/>
                <a:gd name="T11" fmla="*/ 20 h 384"/>
                <a:gd name="T12" fmla="*/ 679 w 727"/>
                <a:gd name="T13" fmla="*/ 38 h 384"/>
                <a:gd name="T14" fmla="*/ 662 w 727"/>
                <a:gd name="T15" fmla="*/ 44 h 384"/>
                <a:gd name="T16" fmla="*/ 631 w 727"/>
                <a:gd name="T17" fmla="*/ 79 h 384"/>
                <a:gd name="T18" fmla="*/ 603 w 727"/>
                <a:gd name="T19" fmla="*/ 94 h 384"/>
                <a:gd name="T20" fmla="*/ 610 w 727"/>
                <a:gd name="T21" fmla="*/ 116 h 384"/>
                <a:gd name="T22" fmla="*/ 608 w 727"/>
                <a:gd name="T23" fmla="*/ 138 h 384"/>
                <a:gd name="T24" fmla="*/ 567 w 727"/>
                <a:gd name="T25" fmla="*/ 146 h 384"/>
                <a:gd name="T26" fmla="*/ 555 w 727"/>
                <a:gd name="T27" fmla="*/ 158 h 384"/>
                <a:gd name="T28" fmla="*/ 578 w 727"/>
                <a:gd name="T29" fmla="*/ 176 h 384"/>
                <a:gd name="T30" fmla="*/ 548 w 727"/>
                <a:gd name="T31" fmla="*/ 187 h 384"/>
                <a:gd name="T32" fmla="*/ 518 w 727"/>
                <a:gd name="T33" fmla="*/ 198 h 384"/>
                <a:gd name="T34" fmla="*/ 532 w 727"/>
                <a:gd name="T35" fmla="*/ 214 h 384"/>
                <a:gd name="T36" fmla="*/ 436 w 727"/>
                <a:gd name="T37" fmla="*/ 234 h 384"/>
                <a:gd name="T38" fmla="*/ 362 w 727"/>
                <a:gd name="T39" fmla="*/ 273 h 384"/>
                <a:gd name="T40" fmla="*/ 311 w 727"/>
                <a:gd name="T41" fmla="*/ 282 h 384"/>
                <a:gd name="T42" fmla="*/ 280 w 727"/>
                <a:gd name="T43" fmla="*/ 319 h 384"/>
                <a:gd name="T44" fmla="*/ 241 w 727"/>
                <a:gd name="T45" fmla="*/ 364 h 384"/>
                <a:gd name="T46" fmla="*/ 190 w 727"/>
                <a:gd name="T47" fmla="*/ 369 h 384"/>
                <a:gd name="T48" fmla="*/ 148 w 727"/>
                <a:gd name="T49" fmla="*/ 340 h 384"/>
                <a:gd name="T50" fmla="*/ 136 w 727"/>
                <a:gd name="T51" fmla="*/ 288 h 384"/>
                <a:gd name="T52" fmla="*/ 129 w 727"/>
                <a:gd name="T53" fmla="*/ 251 h 384"/>
                <a:gd name="T54" fmla="*/ 185 w 727"/>
                <a:gd name="T55" fmla="*/ 216 h 384"/>
                <a:gd name="T56" fmla="*/ 167 w 727"/>
                <a:gd name="T57" fmla="*/ 211 h 384"/>
                <a:gd name="T58" fmla="*/ 146 w 727"/>
                <a:gd name="T59" fmla="*/ 196 h 384"/>
                <a:gd name="T60" fmla="*/ 193 w 727"/>
                <a:gd name="T61" fmla="*/ 191 h 384"/>
                <a:gd name="T62" fmla="*/ 153 w 727"/>
                <a:gd name="T63" fmla="*/ 177 h 384"/>
                <a:gd name="T64" fmla="*/ 163 w 727"/>
                <a:gd name="T65" fmla="*/ 151 h 384"/>
                <a:gd name="T66" fmla="*/ 143 w 727"/>
                <a:gd name="T67" fmla="*/ 117 h 384"/>
                <a:gd name="T68" fmla="*/ 96 w 727"/>
                <a:gd name="T69" fmla="*/ 101 h 384"/>
                <a:gd name="T70" fmla="*/ 23 w 727"/>
                <a:gd name="T71" fmla="*/ 98 h 384"/>
                <a:gd name="T72" fmla="*/ 69 w 727"/>
                <a:gd name="T73" fmla="*/ 83 h 384"/>
                <a:gd name="T74" fmla="*/ 7 w 727"/>
                <a:gd name="T75" fmla="*/ 67 h 384"/>
                <a:gd name="T76" fmla="*/ 114 w 727"/>
                <a:gd name="T77" fmla="*/ 49 h 384"/>
                <a:gd name="T78" fmla="*/ 148 w 727"/>
                <a:gd name="T79" fmla="*/ 29 h 384"/>
                <a:gd name="T80" fmla="*/ 195 w 727"/>
                <a:gd name="T81" fmla="*/ 19 h 384"/>
                <a:gd name="T82" fmla="*/ 274 w 727"/>
                <a:gd name="T83" fmla="*/ 21 h 384"/>
                <a:gd name="T84" fmla="*/ 347 w 727"/>
                <a:gd name="T85" fmla="*/ 20 h 384"/>
                <a:gd name="T86" fmla="*/ 350 w 727"/>
                <a:gd name="T87"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7" h="384">
                  <a:moveTo>
                    <a:pt x="350" y="12"/>
                  </a:moveTo>
                  <a:lnTo>
                    <a:pt x="392" y="5"/>
                  </a:lnTo>
                  <a:lnTo>
                    <a:pt x="429" y="5"/>
                  </a:lnTo>
                  <a:lnTo>
                    <a:pt x="446" y="1"/>
                  </a:lnTo>
                  <a:lnTo>
                    <a:pt x="485" y="0"/>
                  </a:lnTo>
                  <a:lnTo>
                    <a:pt x="571" y="1"/>
                  </a:lnTo>
                  <a:lnTo>
                    <a:pt x="636" y="10"/>
                  </a:lnTo>
                  <a:lnTo>
                    <a:pt x="614" y="15"/>
                  </a:lnTo>
                  <a:lnTo>
                    <a:pt x="571" y="16"/>
                  </a:lnTo>
                  <a:lnTo>
                    <a:pt x="511" y="17"/>
                  </a:lnTo>
                  <a:lnTo>
                    <a:pt x="516" y="19"/>
                  </a:lnTo>
                  <a:lnTo>
                    <a:pt x="556" y="18"/>
                  </a:lnTo>
                  <a:lnTo>
                    <a:pt x="588" y="22"/>
                  </a:lnTo>
                  <a:lnTo>
                    <a:pt x="610" y="18"/>
                  </a:lnTo>
                  <a:lnTo>
                    <a:pt x="618" y="23"/>
                  </a:lnTo>
                  <a:lnTo>
                    <a:pt x="604" y="30"/>
                  </a:lnTo>
                  <a:lnTo>
                    <a:pt x="634" y="26"/>
                  </a:lnTo>
                  <a:lnTo>
                    <a:pt x="689" y="20"/>
                  </a:lnTo>
                  <a:lnTo>
                    <a:pt x="722" y="23"/>
                  </a:lnTo>
                  <a:lnTo>
                    <a:pt x="727" y="28"/>
                  </a:lnTo>
                  <a:lnTo>
                    <a:pt x="679" y="38"/>
                  </a:lnTo>
                  <a:lnTo>
                    <a:pt x="672" y="41"/>
                  </a:lnTo>
                  <a:lnTo>
                    <a:pt x="636" y="43"/>
                  </a:lnTo>
                  <a:lnTo>
                    <a:pt x="662" y="44"/>
                  </a:lnTo>
                  <a:lnTo>
                    <a:pt x="646" y="54"/>
                  </a:lnTo>
                  <a:lnTo>
                    <a:pt x="634" y="63"/>
                  </a:lnTo>
                  <a:lnTo>
                    <a:pt x="631" y="79"/>
                  </a:lnTo>
                  <a:lnTo>
                    <a:pt x="643" y="88"/>
                  </a:lnTo>
                  <a:lnTo>
                    <a:pt x="624" y="89"/>
                  </a:lnTo>
                  <a:lnTo>
                    <a:pt x="603" y="94"/>
                  </a:lnTo>
                  <a:lnTo>
                    <a:pt x="624" y="102"/>
                  </a:lnTo>
                  <a:lnTo>
                    <a:pt x="624" y="115"/>
                  </a:lnTo>
                  <a:lnTo>
                    <a:pt x="610" y="116"/>
                  </a:lnTo>
                  <a:lnTo>
                    <a:pt x="623" y="130"/>
                  </a:lnTo>
                  <a:lnTo>
                    <a:pt x="595" y="131"/>
                  </a:lnTo>
                  <a:lnTo>
                    <a:pt x="608" y="138"/>
                  </a:lnTo>
                  <a:lnTo>
                    <a:pt x="603" y="143"/>
                  </a:lnTo>
                  <a:lnTo>
                    <a:pt x="585" y="146"/>
                  </a:lnTo>
                  <a:lnTo>
                    <a:pt x="567" y="146"/>
                  </a:lnTo>
                  <a:lnTo>
                    <a:pt x="580" y="157"/>
                  </a:lnTo>
                  <a:lnTo>
                    <a:pt x="579" y="164"/>
                  </a:lnTo>
                  <a:lnTo>
                    <a:pt x="555" y="158"/>
                  </a:lnTo>
                  <a:lnTo>
                    <a:pt x="548" y="162"/>
                  </a:lnTo>
                  <a:lnTo>
                    <a:pt x="564" y="166"/>
                  </a:lnTo>
                  <a:lnTo>
                    <a:pt x="578" y="176"/>
                  </a:lnTo>
                  <a:lnTo>
                    <a:pt x="580" y="190"/>
                  </a:lnTo>
                  <a:lnTo>
                    <a:pt x="556" y="193"/>
                  </a:lnTo>
                  <a:lnTo>
                    <a:pt x="548" y="187"/>
                  </a:lnTo>
                  <a:lnTo>
                    <a:pt x="534" y="177"/>
                  </a:lnTo>
                  <a:lnTo>
                    <a:pt x="536" y="189"/>
                  </a:lnTo>
                  <a:lnTo>
                    <a:pt x="518" y="198"/>
                  </a:lnTo>
                  <a:lnTo>
                    <a:pt x="553" y="198"/>
                  </a:lnTo>
                  <a:lnTo>
                    <a:pt x="571" y="199"/>
                  </a:lnTo>
                  <a:lnTo>
                    <a:pt x="532" y="214"/>
                  </a:lnTo>
                  <a:lnTo>
                    <a:pt x="492" y="228"/>
                  </a:lnTo>
                  <a:lnTo>
                    <a:pt x="451" y="234"/>
                  </a:lnTo>
                  <a:lnTo>
                    <a:pt x="436" y="234"/>
                  </a:lnTo>
                  <a:lnTo>
                    <a:pt x="420" y="241"/>
                  </a:lnTo>
                  <a:lnTo>
                    <a:pt x="396" y="260"/>
                  </a:lnTo>
                  <a:lnTo>
                    <a:pt x="362" y="273"/>
                  </a:lnTo>
                  <a:lnTo>
                    <a:pt x="353" y="274"/>
                  </a:lnTo>
                  <a:lnTo>
                    <a:pt x="333" y="278"/>
                  </a:lnTo>
                  <a:lnTo>
                    <a:pt x="311" y="282"/>
                  </a:lnTo>
                  <a:lnTo>
                    <a:pt x="295" y="294"/>
                  </a:lnTo>
                  <a:lnTo>
                    <a:pt x="291" y="307"/>
                  </a:lnTo>
                  <a:lnTo>
                    <a:pt x="280" y="319"/>
                  </a:lnTo>
                  <a:lnTo>
                    <a:pt x="251" y="334"/>
                  </a:lnTo>
                  <a:lnTo>
                    <a:pt x="252" y="349"/>
                  </a:lnTo>
                  <a:lnTo>
                    <a:pt x="241" y="364"/>
                  </a:lnTo>
                  <a:lnTo>
                    <a:pt x="227" y="383"/>
                  </a:lnTo>
                  <a:lnTo>
                    <a:pt x="206" y="384"/>
                  </a:lnTo>
                  <a:lnTo>
                    <a:pt x="190" y="369"/>
                  </a:lnTo>
                  <a:lnTo>
                    <a:pt x="161" y="369"/>
                  </a:lnTo>
                  <a:lnTo>
                    <a:pt x="150" y="358"/>
                  </a:lnTo>
                  <a:lnTo>
                    <a:pt x="148" y="340"/>
                  </a:lnTo>
                  <a:lnTo>
                    <a:pt x="133" y="316"/>
                  </a:lnTo>
                  <a:lnTo>
                    <a:pt x="130" y="304"/>
                  </a:lnTo>
                  <a:lnTo>
                    <a:pt x="136" y="288"/>
                  </a:lnTo>
                  <a:lnTo>
                    <a:pt x="124" y="271"/>
                  </a:lnTo>
                  <a:lnTo>
                    <a:pt x="135" y="257"/>
                  </a:lnTo>
                  <a:lnTo>
                    <a:pt x="129" y="251"/>
                  </a:lnTo>
                  <a:lnTo>
                    <a:pt x="153" y="230"/>
                  </a:lnTo>
                  <a:lnTo>
                    <a:pt x="176" y="223"/>
                  </a:lnTo>
                  <a:lnTo>
                    <a:pt x="185" y="216"/>
                  </a:lnTo>
                  <a:lnTo>
                    <a:pt x="194" y="203"/>
                  </a:lnTo>
                  <a:lnTo>
                    <a:pt x="176" y="209"/>
                  </a:lnTo>
                  <a:lnTo>
                    <a:pt x="167" y="211"/>
                  </a:lnTo>
                  <a:lnTo>
                    <a:pt x="154" y="214"/>
                  </a:lnTo>
                  <a:lnTo>
                    <a:pt x="141" y="208"/>
                  </a:lnTo>
                  <a:lnTo>
                    <a:pt x="146" y="196"/>
                  </a:lnTo>
                  <a:lnTo>
                    <a:pt x="156" y="187"/>
                  </a:lnTo>
                  <a:lnTo>
                    <a:pt x="168" y="187"/>
                  </a:lnTo>
                  <a:lnTo>
                    <a:pt x="193" y="191"/>
                  </a:lnTo>
                  <a:lnTo>
                    <a:pt x="176" y="181"/>
                  </a:lnTo>
                  <a:lnTo>
                    <a:pt x="167" y="175"/>
                  </a:lnTo>
                  <a:lnTo>
                    <a:pt x="153" y="177"/>
                  </a:lnTo>
                  <a:lnTo>
                    <a:pt x="145" y="173"/>
                  </a:lnTo>
                  <a:lnTo>
                    <a:pt x="168" y="158"/>
                  </a:lnTo>
                  <a:lnTo>
                    <a:pt x="163" y="151"/>
                  </a:lnTo>
                  <a:lnTo>
                    <a:pt x="160" y="140"/>
                  </a:lnTo>
                  <a:lnTo>
                    <a:pt x="155" y="123"/>
                  </a:lnTo>
                  <a:lnTo>
                    <a:pt x="143" y="117"/>
                  </a:lnTo>
                  <a:lnTo>
                    <a:pt x="148" y="111"/>
                  </a:lnTo>
                  <a:lnTo>
                    <a:pt x="121" y="102"/>
                  </a:lnTo>
                  <a:lnTo>
                    <a:pt x="96" y="101"/>
                  </a:lnTo>
                  <a:lnTo>
                    <a:pt x="63" y="101"/>
                  </a:lnTo>
                  <a:lnTo>
                    <a:pt x="33" y="102"/>
                  </a:lnTo>
                  <a:lnTo>
                    <a:pt x="23" y="98"/>
                  </a:lnTo>
                  <a:lnTo>
                    <a:pt x="10" y="88"/>
                  </a:lnTo>
                  <a:lnTo>
                    <a:pt x="45" y="83"/>
                  </a:lnTo>
                  <a:lnTo>
                    <a:pt x="69" y="83"/>
                  </a:lnTo>
                  <a:lnTo>
                    <a:pt x="21" y="79"/>
                  </a:lnTo>
                  <a:lnTo>
                    <a:pt x="0" y="73"/>
                  </a:lnTo>
                  <a:lnTo>
                    <a:pt x="7" y="67"/>
                  </a:lnTo>
                  <a:lnTo>
                    <a:pt x="57" y="60"/>
                  </a:lnTo>
                  <a:lnTo>
                    <a:pt x="105" y="54"/>
                  </a:lnTo>
                  <a:lnTo>
                    <a:pt x="114" y="49"/>
                  </a:lnTo>
                  <a:lnTo>
                    <a:pt x="87" y="44"/>
                  </a:lnTo>
                  <a:lnTo>
                    <a:pt x="101" y="38"/>
                  </a:lnTo>
                  <a:lnTo>
                    <a:pt x="148" y="29"/>
                  </a:lnTo>
                  <a:lnTo>
                    <a:pt x="166" y="28"/>
                  </a:lnTo>
                  <a:lnTo>
                    <a:pt x="166" y="22"/>
                  </a:lnTo>
                  <a:lnTo>
                    <a:pt x="195" y="19"/>
                  </a:lnTo>
                  <a:lnTo>
                    <a:pt x="231" y="17"/>
                  </a:lnTo>
                  <a:lnTo>
                    <a:pt x="265" y="17"/>
                  </a:lnTo>
                  <a:lnTo>
                    <a:pt x="274" y="21"/>
                  </a:lnTo>
                  <a:lnTo>
                    <a:pt x="309" y="14"/>
                  </a:lnTo>
                  <a:lnTo>
                    <a:pt x="332" y="19"/>
                  </a:lnTo>
                  <a:lnTo>
                    <a:pt x="347" y="20"/>
                  </a:lnTo>
                  <a:lnTo>
                    <a:pt x="367" y="24"/>
                  </a:lnTo>
                  <a:lnTo>
                    <a:pt x="345" y="17"/>
                  </a:lnTo>
                  <a:lnTo>
                    <a:pt x="350" y="12"/>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17" name="Freeform 80"/>
            <p:cNvSpPr>
              <a:spLocks/>
            </p:cNvSpPr>
            <p:nvPr/>
          </p:nvSpPr>
          <p:spPr bwMode="auto">
            <a:xfrm>
              <a:off x="1516062" y="3117854"/>
              <a:ext cx="119063" cy="134938"/>
            </a:xfrm>
            <a:custGeom>
              <a:avLst/>
              <a:gdLst>
                <a:gd name="T0" fmla="*/ 37 w 75"/>
                <a:gd name="T1" fmla="*/ 85 h 85"/>
                <a:gd name="T2" fmla="*/ 28 w 75"/>
                <a:gd name="T3" fmla="*/ 81 h 85"/>
                <a:gd name="T4" fmla="*/ 17 w 75"/>
                <a:gd name="T5" fmla="*/ 81 h 85"/>
                <a:gd name="T6" fmla="*/ 9 w 75"/>
                <a:gd name="T7" fmla="*/ 77 h 85"/>
                <a:gd name="T8" fmla="*/ 0 w 75"/>
                <a:gd name="T9" fmla="*/ 68 h 85"/>
                <a:gd name="T10" fmla="*/ 1 w 75"/>
                <a:gd name="T11" fmla="*/ 62 h 85"/>
                <a:gd name="T12" fmla="*/ 4 w 75"/>
                <a:gd name="T13" fmla="*/ 58 h 85"/>
                <a:gd name="T14" fmla="*/ 2 w 75"/>
                <a:gd name="T15" fmla="*/ 54 h 85"/>
                <a:gd name="T16" fmla="*/ 12 w 75"/>
                <a:gd name="T17" fmla="*/ 37 h 85"/>
                <a:gd name="T18" fmla="*/ 36 w 75"/>
                <a:gd name="T19" fmla="*/ 37 h 85"/>
                <a:gd name="T20" fmla="*/ 37 w 75"/>
                <a:gd name="T21" fmla="*/ 29 h 85"/>
                <a:gd name="T22" fmla="*/ 34 w 75"/>
                <a:gd name="T23" fmla="*/ 28 h 85"/>
                <a:gd name="T24" fmla="*/ 33 w 75"/>
                <a:gd name="T25" fmla="*/ 24 h 85"/>
                <a:gd name="T26" fmla="*/ 27 w 75"/>
                <a:gd name="T27" fmla="*/ 19 h 85"/>
                <a:gd name="T28" fmla="*/ 21 w 75"/>
                <a:gd name="T29" fmla="*/ 12 h 85"/>
                <a:gd name="T30" fmla="*/ 29 w 75"/>
                <a:gd name="T31" fmla="*/ 12 h 85"/>
                <a:gd name="T32" fmla="*/ 30 w 75"/>
                <a:gd name="T33" fmla="*/ 0 h 85"/>
                <a:gd name="T34" fmla="*/ 47 w 75"/>
                <a:gd name="T35" fmla="*/ 0 h 85"/>
                <a:gd name="T36" fmla="*/ 64 w 75"/>
                <a:gd name="T37" fmla="*/ 0 h 85"/>
                <a:gd name="T38" fmla="*/ 62 w 75"/>
                <a:gd name="T39" fmla="*/ 17 h 85"/>
                <a:gd name="T40" fmla="*/ 58 w 75"/>
                <a:gd name="T41" fmla="*/ 40 h 85"/>
                <a:gd name="T42" fmla="*/ 63 w 75"/>
                <a:gd name="T43" fmla="*/ 40 h 85"/>
                <a:gd name="T44" fmla="*/ 69 w 75"/>
                <a:gd name="T45" fmla="*/ 44 h 85"/>
                <a:gd name="T46" fmla="*/ 71 w 75"/>
                <a:gd name="T47" fmla="*/ 41 h 85"/>
                <a:gd name="T48" fmla="*/ 75 w 75"/>
                <a:gd name="T49" fmla="*/ 44 h 85"/>
                <a:gd name="T50" fmla="*/ 66 w 75"/>
                <a:gd name="T51" fmla="*/ 52 h 85"/>
                <a:gd name="T52" fmla="*/ 57 w 75"/>
                <a:gd name="T53" fmla="*/ 58 h 85"/>
                <a:gd name="T54" fmla="*/ 55 w 75"/>
                <a:gd name="T55" fmla="*/ 61 h 85"/>
                <a:gd name="T56" fmla="*/ 56 w 75"/>
                <a:gd name="T57" fmla="*/ 66 h 85"/>
                <a:gd name="T58" fmla="*/ 52 w 75"/>
                <a:gd name="T59" fmla="*/ 71 h 85"/>
                <a:gd name="T60" fmla="*/ 48 w 75"/>
                <a:gd name="T61" fmla="*/ 72 h 85"/>
                <a:gd name="T62" fmla="*/ 49 w 75"/>
                <a:gd name="T63" fmla="*/ 74 h 85"/>
                <a:gd name="T64" fmla="*/ 45 w 75"/>
                <a:gd name="T65" fmla="*/ 77 h 85"/>
                <a:gd name="T66" fmla="*/ 38 w 75"/>
                <a:gd name="T67" fmla="*/ 82 h 85"/>
                <a:gd name="T68" fmla="*/ 37 w 75"/>
                <a:gd name="T6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 h="85">
                  <a:moveTo>
                    <a:pt x="37" y="85"/>
                  </a:moveTo>
                  <a:lnTo>
                    <a:pt x="28" y="81"/>
                  </a:lnTo>
                  <a:lnTo>
                    <a:pt x="17" y="81"/>
                  </a:lnTo>
                  <a:lnTo>
                    <a:pt x="9" y="77"/>
                  </a:lnTo>
                  <a:lnTo>
                    <a:pt x="0" y="68"/>
                  </a:lnTo>
                  <a:lnTo>
                    <a:pt x="1" y="62"/>
                  </a:lnTo>
                  <a:lnTo>
                    <a:pt x="4" y="58"/>
                  </a:lnTo>
                  <a:lnTo>
                    <a:pt x="2" y="54"/>
                  </a:lnTo>
                  <a:lnTo>
                    <a:pt x="12" y="37"/>
                  </a:lnTo>
                  <a:lnTo>
                    <a:pt x="36" y="37"/>
                  </a:lnTo>
                  <a:lnTo>
                    <a:pt x="37" y="29"/>
                  </a:lnTo>
                  <a:lnTo>
                    <a:pt x="34" y="28"/>
                  </a:lnTo>
                  <a:lnTo>
                    <a:pt x="33" y="24"/>
                  </a:lnTo>
                  <a:lnTo>
                    <a:pt x="27" y="19"/>
                  </a:lnTo>
                  <a:lnTo>
                    <a:pt x="21" y="12"/>
                  </a:lnTo>
                  <a:lnTo>
                    <a:pt x="29" y="12"/>
                  </a:lnTo>
                  <a:lnTo>
                    <a:pt x="30" y="0"/>
                  </a:lnTo>
                  <a:lnTo>
                    <a:pt x="47" y="0"/>
                  </a:lnTo>
                  <a:lnTo>
                    <a:pt x="64" y="0"/>
                  </a:lnTo>
                  <a:lnTo>
                    <a:pt x="62" y="17"/>
                  </a:lnTo>
                  <a:lnTo>
                    <a:pt x="58" y="40"/>
                  </a:lnTo>
                  <a:lnTo>
                    <a:pt x="63" y="40"/>
                  </a:lnTo>
                  <a:lnTo>
                    <a:pt x="69" y="44"/>
                  </a:lnTo>
                  <a:lnTo>
                    <a:pt x="71" y="41"/>
                  </a:lnTo>
                  <a:lnTo>
                    <a:pt x="75" y="44"/>
                  </a:lnTo>
                  <a:lnTo>
                    <a:pt x="66" y="52"/>
                  </a:lnTo>
                  <a:lnTo>
                    <a:pt x="57" y="58"/>
                  </a:lnTo>
                  <a:lnTo>
                    <a:pt x="55" y="61"/>
                  </a:lnTo>
                  <a:lnTo>
                    <a:pt x="56" y="66"/>
                  </a:lnTo>
                  <a:lnTo>
                    <a:pt x="52" y="71"/>
                  </a:lnTo>
                  <a:lnTo>
                    <a:pt x="48" y="72"/>
                  </a:lnTo>
                  <a:lnTo>
                    <a:pt x="49" y="74"/>
                  </a:lnTo>
                  <a:lnTo>
                    <a:pt x="45" y="77"/>
                  </a:lnTo>
                  <a:lnTo>
                    <a:pt x="38" y="82"/>
                  </a:lnTo>
                  <a:lnTo>
                    <a:pt x="37" y="85"/>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18" name="Freeform 81"/>
            <p:cNvSpPr>
              <a:spLocks/>
            </p:cNvSpPr>
            <p:nvPr/>
          </p:nvSpPr>
          <p:spPr bwMode="auto">
            <a:xfrm>
              <a:off x="2393950" y="3430592"/>
              <a:ext cx="139700" cy="233363"/>
            </a:xfrm>
            <a:custGeom>
              <a:avLst/>
              <a:gdLst>
                <a:gd name="T0" fmla="*/ 32 w 88"/>
                <a:gd name="T1" fmla="*/ 0 h 147"/>
                <a:gd name="T2" fmla="*/ 43 w 88"/>
                <a:gd name="T3" fmla="*/ 7 h 147"/>
                <a:gd name="T4" fmla="*/ 54 w 88"/>
                <a:gd name="T5" fmla="*/ 21 h 147"/>
                <a:gd name="T6" fmla="*/ 54 w 88"/>
                <a:gd name="T7" fmla="*/ 32 h 147"/>
                <a:gd name="T8" fmla="*/ 61 w 88"/>
                <a:gd name="T9" fmla="*/ 32 h 147"/>
                <a:gd name="T10" fmla="*/ 71 w 88"/>
                <a:gd name="T11" fmla="*/ 42 h 147"/>
                <a:gd name="T12" fmla="*/ 78 w 88"/>
                <a:gd name="T13" fmla="*/ 49 h 147"/>
                <a:gd name="T14" fmla="*/ 74 w 88"/>
                <a:gd name="T15" fmla="*/ 68 h 147"/>
                <a:gd name="T16" fmla="*/ 63 w 88"/>
                <a:gd name="T17" fmla="*/ 73 h 147"/>
                <a:gd name="T18" fmla="*/ 64 w 88"/>
                <a:gd name="T19" fmla="*/ 78 h 147"/>
                <a:gd name="T20" fmla="*/ 61 w 88"/>
                <a:gd name="T21" fmla="*/ 89 h 147"/>
                <a:gd name="T22" fmla="*/ 68 w 88"/>
                <a:gd name="T23" fmla="*/ 104 h 147"/>
                <a:gd name="T24" fmla="*/ 74 w 88"/>
                <a:gd name="T25" fmla="*/ 104 h 147"/>
                <a:gd name="T26" fmla="*/ 77 w 88"/>
                <a:gd name="T27" fmla="*/ 116 h 147"/>
                <a:gd name="T28" fmla="*/ 88 w 88"/>
                <a:gd name="T29" fmla="*/ 134 h 147"/>
                <a:gd name="T30" fmla="*/ 83 w 88"/>
                <a:gd name="T31" fmla="*/ 135 h 147"/>
                <a:gd name="T32" fmla="*/ 73 w 88"/>
                <a:gd name="T33" fmla="*/ 133 h 147"/>
                <a:gd name="T34" fmla="*/ 67 w 88"/>
                <a:gd name="T35" fmla="*/ 138 h 147"/>
                <a:gd name="T36" fmla="*/ 59 w 88"/>
                <a:gd name="T37" fmla="*/ 142 h 147"/>
                <a:gd name="T38" fmla="*/ 53 w 88"/>
                <a:gd name="T39" fmla="*/ 143 h 147"/>
                <a:gd name="T40" fmla="*/ 51 w 88"/>
                <a:gd name="T41" fmla="*/ 147 h 147"/>
                <a:gd name="T42" fmla="*/ 42 w 88"/>
                <a:gd name="T43" fmla="*/ 146 h 147"/>
                <a:gd name="T44" fmla="*/ 31 w 88"/>
                <a:gd name="T45" fmla="*/ 136 h 147"/>
                <a:gd name="T46" fmla="*/ 29 w 88"/>
                <a:gd name="T47" fmla="*/ 127 h 147"/>
                <a:gd name="T48" fmla="*/ 25 w 88"/>
                <a:gd name="T49" fmla="*/ 116 h 147"/>
                <a:gd name="T50" fmla="*/ 28 w 88"/>
                <a:gd name="T51" fmla="*/ 98 h 147"/>
                <a:gd name="T52" fmla="*/ 33 w 88"/>
                <a:gd name="T53" fmla="*/ 91 h 147"/>
                <a:gd name="T54" fmla="*/ 29 w 88"/>
                <a:gd name="T55" fmla="*/ 82 h 147"/>
                <a:gd name="T56" fmla="*/ 23 w 88"/>
                <a:gd name="T57" fmla="*/ 78 h 147"/>
                <a:gd name="T58" fmla="*/ 25 w 88"/>
                <a:gd name="T59" fmla="*/ 69 h 147"/>
                <a:gd name="T60" fmla="*/ 21 w 88"/>
                <a:gd name="T61" fmla="*/ 64 h 147"/>
                <a:gd name="T62" fmla="*/ 12 w 88"/>
                <a:gd name="T63" fmla="*/ 65 h 147"/>
                <a:gd name="T64" fmla="*/ 0 w 88"/>
                <a:gd name="T65" fmla="*/ 50 h 147"/>
                <a:gd name="T66" fmla="*/ 5 w 88"/>
                <a:gd name="T67" fmla="*/ 44 h 147"/>
                <a:gd name="T68" fmla="*/ 5 w 88"/>
                <a:gd name="T69" fmla="*/ 34 h 147"/>
                <a:gd name="T70" fmla="*/ 16 w 88"/>
                <a:gd name="T71" fmla="*/ 31 h 147"/>
                <a:gd name="T72" fmla="*/ 21 w 88"/>
                <a:gd name="T73" fmla="*/ 27 h 147"/>
                <a:gd name="T74" fmla="*/ 15 w 88"/>
                <a:gd name="T75" fmla="*/ 19 h 147"/>
                <a:gd name="T76" fmla="*/ 17 w 88"/>
                <a:gd name="T77" fmla="*/ 12 h 147"/>
                <a:gd name="T78" fmla="*/ 32 w 88"/>
                <a:gd name="T7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8" h="147">
                  <a:moveTo>
                    <a:pt x="32" y="0"/>
                  </a:moveTo>
                  <a:lnTo>
                    <a:pt x="43" y="7"/>
                  </a:lnTo>
                  <a:lnTo>
                    <a:pt x="54" y="21"/>
                  </a:lnTo>
                  <a:lnTo>
                    <a:pt x="54" y="32"/>
                  </a:lnTo>
                  <a:lnTo>
                    <a:pt x="61" y="32"/>
                  </a:lnTo>
                  <a:lnTo>
                    <a:pt x="71" y="42"/>
                  </a:lnTo>
                  <a:lnTo>
                    <a:pt x="78" y="49"/>
                  </a:lnTo>
                  <a:lnTo>
                    <a:pt x="74" y="68"/>
                  </a:lnTo>
                  <a:lnTo>
                    <a:pt x="63" y="73"/>
                  </a:lnTo>
                  <a:lnTo>
                    <a:pt x="64" y="78"/>
                  </a:lnTo>
                  <a:lnTo>
                    <a:pt x="61" y="89"/>
                  </a:lnTo>
                  <a:lnTo>
                    <a:pt x="68" y="104"/>
                  </a:lnTo>
                  <a:lnTo>
                    <a:pt x="74" y="104"/>
                  </a:lnTo>
                  <a:lnTo>
                    <a:pt x="77" y="116"/>
                  </a:lnTo>
                  <a:lnTo>
                    <a:pt x="88" y="134"/>
                  </a:lnTo>
                  <a:lnTo>
                    <a:pt x="83" y="135"/>
                  </a:lnTo>
                  <a:lnTo>
                    <a:pt x="73" y="133"/>
                  </a:lnTo>
                  <a:lnTo>
                    <a:pt x="67" y="138"/>
                  </a:lnTo>
                  <a:lnTo>
                    <a:pt x="59" y="142"/>
                  </a:lnTo>
                  <a:lnTo>
                    <a:pt x="53" y="143"/>
                  </a:lnTo>
                  <a:lnTo>
                    <a:pt x="51" y="147"/>
                  </a:lnTo>
                  <a:lnTo>
                    <a:pt x="42" y="146"/>
                  </a:lnTo>
                  <a:lnTo>
                    <a:pt x="31" y="136"/>
                  </a:lnTo>
                  <a:lnTo>
                    <a:pt x="29" y="127"/>
                  </a:lnTo>
                  <a:lnTo>
                    <a:pt x="25" y="116"/>
                  </a:lnTo>
                  <a:lnTo>
                    <a:pt x="28" y="98"/>
                  </a:lnTo>
                  <a:lnTo>
                    <a:pt x="33" y="91"/>
                  </a:lnTo>
                  <a:lnTo>
                    <a:pt x="29" y="82"/>
                  </a:lnTo>
                  <a:lnTo>
                    <a:pt x="23" y="78"/>
                  </a:lnTo>
                  <a:lnTo>
                    <a:pt x="25" y="69"/>
                  </a:lnTo>
                  <a:lnTo>
                    <a:pt x="21" y="64"/>
                  </a:lnTo>
                  <a:lnTo>
                    <a:pt x="12" y="65"/>
                  </a:lnTo>
                  <a:lnTo>
                    <a:pt x="0" y="50"/>
                  </a:lnTo>
                  <a:lnTo>
                    <a:pt x="5" y="44"/>
                  </a:lnTo>
                  <a:lnTo>
                    <a:pt x="5" y="34"/>
                  </a:lnTo>
                  <a:lnTo>
                    <a:pt x="16" y="31"/>
                  </a:lnTo>
                  <a:lnTo>
                    <a:pt x="21" y="27"/>
                  </a:lnTo>
                  <a:lnTo>
                    <a:pt x="15" y="19"/>
                  </a:lnTo>
                  <a:lnTo>
                    <a:pt x="17" y="12"/>
                  </a:lnTo>
                  <a:lnTo>
                    <a:pt x="32"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19" name="Freeform 82"/>
            <p:cNvSpPr>
              <a:spLocks/>
            </p:cNvSpPr>
            <p:nvPr/>
          </p:nvSpPr>
          <p:spPr bwMode="auto">
            <a:xfrm>
              <a:off x="1598612" y="3178179"/>
              <a:ext cx="180975" cy="100013"/>
            </a:xfrm>
            <a:custGeom>
              <a:avLst/>
              <a:gdLst>
                <a:gd name="T0" fmla="*/ 34 w 114"/>
                <a:gd name="T1" fmla="*/ 63 h 63"/>
                <a:gd name="T2" fmla="*/ 32 w 114"/>
                <a:gd name="T3" fmla="*/ 56 h 63"/>
                <a:gd name="T4" fmla="*/ 27 w 114"/>
                <a:gd name="T5" fmla="*/ 54 h 63"/>
                <a:gd name="T6" fmla="*/ 29 w 114"/>
                <a:gd name="T7" fmla="*/ 46 h 63"/>
                <a:gd name="T8" fmla="*/ 26 w 114"/>
                <a:gd name="T9" fmla="*/ 44 h 63"/>
                <a:gd name="T10" fmla="*/ 23 w 114"/>
                <a:gd name="T11" fmla="*/ 42 h 63"/>
                <a:gd name="T12" fmla="*/ 14 w 114"/>
                <a:gd name="T13" fmla="*/ 45 h 63"/>
                <a:gd name="T14" fmla="*/ 14 w 114"/>
                <a:gd name="T15" fmla="*/ 42 h 63"/>
                <a:gd name="T16" fmla="*/ 9 w 114"/>
                <a:gd name="T17" fmla="*/ 39 h 63"/>
                <a:gd name="T18" fmla="*/ 5 w 114"/>
                <a:gd name="T19" fmla="*/ 34 h 63"/>
                <a:gd name="T20" fmla="*/ 0 w 114"/>
                <a:gd name="T21" fmla="*/ 33 h 63"/>
                <a:gd name="T22" fmla="*/ 4 w 114"/>
                <a:gd name="T23" fmla="*/ 28 h 63"/>
                <a:gd name="T24" fmla="*/ 3 w 114"/>
                <a:gd name="T25" fmla="*/ 23 h 63"/>
                <a:gd name="T26" fmla="*/ 5 w 114"/>
                <a:gd name="T27" fmla="*/ 19 h 63"/>
                <a:gd name="T28" fmla="*/ 14 w 114"/>
                <a:gd name="T29" fmla="*/ 14 h 63"/>
                <a:gd name="T30" fmla="*/ 23 w 114"/>
                <a:gd name="T31" fmla="*/ 6 h 63"/>
                <a:gd name="T32" fmla="*/ 25 w 114"/>
                <a:gd name="T33" fmla="*/ 7 h 63"/>
                <a:gd name="T34" fmla="*/ 30 w 114"/>
                <a:gd name="T35" fmla="*/ 3 h 63"/>
                <a:gd name="T36" fmla="*/ 35 w 114"/>
                <a:gd name="T37" fmla="*/ 2 h 63"/>
                <a:gd name="T38" fmla="*/ 36 w 114"/>
                <a:gd name="T39" fmla="*/ 4 h 63"/>
                <a:gd name="T40" fmla="*/ 39 w 114"/>
                <a:gd name="T41" fmla="*/ 3 h 63"/>
                <a:gd name="T42" fmla="*/ 48 w 114"/>
                <a:gd name="T43" fmla="*/ 5 h 63"/>
                <a:gd name="T44" fmla="*/ 56 w 114"/>
                <a:gd name="T45" fmla="*/ 4 h 63"/>
                <a:gd name="T46" fmla="*/ 62 w 114"/>
                <a:gd name="T47" fmla="*/ 2 h 63"/>
                <a:gd name="T48" fmla="*/ 65 w 114"/>
                <a:gd name="T49" fmla="*/ 0 h 63"/>
                <a:gd name="T50" fmla="*/ 70 w 114"/>
                <a:gd name="T51" fmla="*/ 1 h 63"/>
                <a:gd name="T52" fmla="*/ 74 w 114"/>
                <a:gd name="T53" fmla="*/ 2 h 63"/>
                <a:gd name="T54" fmla="*/ 79 w 114"/>
                <a:gd name="T55" fmla="*/ 2 h 63"/>
                <a:gd name="T56" fmla="*/ 83 w 114"/>
                <a:gd name="T57" fmla="*/ 0 h 63"/>
                <a:gd name="T58" fmla="*/ 91 w 114"/>
                <a:gd name="T59" fmla="*/ 3 h 63"/>
                <a:gd name="T60" fmla="*/ 94 w 114"/>
                <a:gd name="T61" fmla="*/ 3 h 63"/>
                <a:gd name="T62" fmla="*/ 99 w 114"/>
                <a:gd name="T63" fmla="*/ 7 h 63"/>
                <a:gd name="T64" fmla="*/ 104 w 114"/>
                <a:gd name="T65" fmla="*/ 12 h 63"/>
                <a:gd name="T66" fmla="*/ 110 w 114"/>
                <a:gd name="T67" fmla="*/ 15 h 63"/>
                <a:gd name="T68" fmla="*/ 114 w 114"/>
                <a:gd name="T69" fmla="*/ 21 h 63"/>
                <a:gd name="T70" fmla="*/ 108 w 114"/>
                <a:gd name="T71" fmla="*/ 20 h 63"/>
                <a:gd name="T72" fmla="*/ 105 w 114"/>
                <a:gd name="T73" fmla="*/ 23 h 63"/>
                <a:gd name="T74" fmla="*/ 99 w 114"/>
                <a:gd name="T75" fmla="*/ 26 h 63"/>
                <a:gd name="T76" fmla="*/ 94 w 114"/>
                <a:gd name="T77" fmla="*/ 26 h 63"/>
                <a:gd name="T78" fmla="*/ 90 w 114"/>
                <a:gd name="T79" fmla="*/ 29 h 63"/>
                <a:gd name="T80" fmla="*/ 86 w 114"/>
                <a:gd name="T81" fmla="*/ 28 h 63"/>
                <a:gd name="T82" fmla="*/ 84 w 114"/>
                <a:gd name="T83" fmla="*/ 25 h 63"/>
                <a:gd name="T84" fmla="*/ 82 w 114"/>
                <a:gd name="T85" fmla="*/ 25 h 63"/>
                <a:gd name="T86" fmla="*/ 79 w 114"/>
                <a:gd name="T87" fmla="*/ 30 h 63"/>
                <a:gd name="T88" fmla="*/ 77 w 114"/>
                <a:gd name="T89" fmla="*/ 30 h 63"/>
                <a:gd name="T90" fmla="*/ 76 w 114"/>
                <a:gd name="T91" fmla="*/ 34 h 63"/>
                <a:gd name="T92" fmla="*/ 69 w 114"/>
                <a:gd name="T93" fmla="*/ 40 h 63"/>
                <a:gd name="T94" fmla="*/ 66 w 114"/>
                <a:gd name="T95" fmla="*/ 42 h 63"/>
                <a:gd name="T96" fmla="*/ 64 w 114"/>
                <a:gd name="T97" fmla="*/ 45 h 63"/>
                <a:gd name="T98" fmla="*/ 59 w 114"/>
                <a:gd name="T99" fmla="*/ 41 h 63"/>
                <a:gd name="T100" fmla="*/ 54 w 114"/>
                <a:gd name="T101" fmla="*/ 46 h 63"/>
                <a:gd name="T102" fmla="*/ 51 w 114"/>
                <a:gd name="T103" fmla="*/ 46 h 63"/>
                <a:gd name="T104" fmla="*/ 46 w 114"/>
                <a:gd name="T105" fmla="*/ 47 h 63"/>
                <a:gd name="T106" fmla="*/ 46 w 114"/>
                <a:gd name="T107" fmla="*/ 57 h 63"/>
                <a:gd name="T108" fmla="*/ 43 w 114"/>
                <a:gd name="T109" fmla="*/ 57 h 63"/>
                <a:gd name="T110" fmla="*/ 40 w 114"/>
                <a:gd name="T111" fmla="*/ 62 h 63"/>
                <a:gd name="T112" fmla="*/ 34 w 114"/>
                <a:gd name="T11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4" h="63">
                  <a:moveTo>
                    <a:pt x="34" y="63"/>
                  </a:moveTo>
                  <a:lnTo>
                    <a:pt x="32" y="56"/>
                  </a:lnTo>
                  <a:lnTo>
                    <a:pt x="27" y="54"/>
                  </a:lnTo>
                  <a:lnTo>
                    <a:pt x="29" y="46"/>
                  </a:lnTo>
                  <a:lnTo>
                    <a:pt x="26" y="44"/>
                  </a:lnTo>
                  <a:lnTo>
                    <a:pt x="23" y="42"/>
                  </a:lnTo>
                  <a:lnTo>
                    <a:pt x="14" y="45"/>
                  </a:lnTo>
                  <a:lnTo>
                    <a:pt x="14" y="42"/>
                  </a:lnTo>
                  <a:lnTo>
                    <a:pt x="9" y="39"/>
                  </a:lnTo>
                  <a:lnTo>
                    <a:pt x="5" y="34"/>
                  </a:lnTo>
                  <a:lnTo>
                    <a:pt x="0" y="33"/>
                  </a:lnTo>
                  <a:lnTo>
                    <a:pt x="4" y="28"/>
                  </a:lnTo>
                  <a:lnTo>
                    <a:pt x="3" y="23"/>
                  </a:lnTo>
                  <a:lnTo>
                    <a:pt x="5" y="19"/>
                  </a:lnTo>
                  <a:lnTo>
                    <a:pt x="14" y="14"/>
                  </a:lnTo>
                  <a:lnTo>
                    <a:pt x="23" y="6"/>
                  </a:lnTo>
                  <a:lnTo>
                    <a:pt x="25" y="7"/>
                  </a:lnTo>
                  <a:lnTo>
                    <a:pt x="30" y="3"/>
                  </a:lnTo>
                  <a:lnTo>
                    <a:pt x="35" y="2"/>
                  </a:lnTo>
                  <a:lnTo>
                    <a:pt x="36" y="4"/>
                  </a:lnTo>
                  <a:lnTo>
                    <a:pt x="39" y="3"/>
                  </a:lnTo>
                  <a:lnTo>
                    <a:pt x="48" y="5"/>
                  </a:lnTo>
                  <a:lnTo>
                    <a:pt x="56" y="4"/>
                  </a:lnTo>
                  <a:lnTo>
                    <a:pt x="62" y="2"/>
                  </a:lnTo>
                  <a:lnTo>
                    <a:pt x="65" y="0"/>
                  </a:lnTo>
                  <a:lnTo>
                    <a:pt x="70" y="1"/>
                  </a:lnTo>
                  <a:lnTo>
                    <a:pt x="74" y="2"/>
                  </a:lnTo>
                  <a:lnTo>
                    <a:pt x="79" y="2"/>
                  </a:lnTo>
                  <a:lnTo>
                    <a:pt x="83" y="0"/>
                  </a:lnTo>
                  <a:lnTo>
                    <a:pt x="91" y="3"/>
                  </a:lnTo>
                  <a:lnTo>
                    <a:pt x="94" y="3"/>
                  </a:lnTo>
                  <a:lnTo>
                    <a:pt x="99" y="7"/>
                  </a:lnTo>
                  <a:lnTo>
                    <a:pt x="104" y="12"/>
                  </a:lnTo>
                  <a:lnTo>
                    <a:pt x="110" y="15"/>
                  </a:lnTo>
                  <a:lnTo>
                    <a:pt x="114" y="21"/>
                  </a:lnTo>
                  <a:lnTo>
                    <a:pt x="108" y="20"/>
                  </a:lnTo>
                  <a:lnTo>
                    <a:pt x="105" y="23"/>
                  </a:lnTo>
                  <a:lnTo>
                    <a:pt x="99" y="26"/>
                  </a:lnTo>
                  <a:lnTo>
                    <a:pt x="94" y="26"/>
                  </a:lnTo>
                  <a:lnTo>
                    <a:pt x="90" y="29"/>
                  </a:lnTo>
                  <a:lnTo>
                    <a:pt x="86" y="28"/>
                  </a:lnTo>
                  <a:lnTo>
                    <a:pt x="84" y="25"/>
                  </a:lnTo>
                  <a:lnTo>
                    <a:pt x="82" y="25"/>
                  </a:lnTo>
                  <a:lnTo>
                    <a:pt x="79" y="30"/>
                  </a:lnTo>
                  <a:lnTo>
                    <a:pt x="77" y="30"/>
                  </a:lnTo>
                  <a:lnTo>
                    <a:pt x="76" y="34"/>
                  </a:lnTo>
                  <a:lnTo>
                    <a:pt x="69" y="40"/>
                  </a:lnTo>
                  <a:lnTo>
                    <a:pt x="66" y="42"/>
                  </a:lnTo>
                  <a:lnTo>
                    <a:pt x="64" y="45"/>
                  </a:lnTo>
                  <a:lnTo>
                    <a:pt x="59" y="41"/>
                  </a:lnTo>
                  <a:lnTo>
                    <a:pt x="54" y="46"/>
                  </a:lnTo>
                  <a:lnTo>
                    <a:pt x="51" y="46"/>
                  </a:lnTo>
                  <a:lnTo>
                    <a:pt x="46" y="47"/>
                  </a:lnTo>
                  <a:lnTo>
                    <a:pt x="46" y="57"/>
                  </a:lnTo>
                  <a:lnTo>
                    <a:pt x="43" y="57"/>
                  </a:lnTo>
                  <a:lnTo>
                    <a:pt x="40" y="62"/>
                  </a:lnTo>
                  <a:lnTo>
                    <a:pt x="34" y="63"/>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20" name="Freeform 83"/>
            <p:cNvSpPr>
              <a:spLocks/>
            </p:cNvSpPr>
            <p:nvPr/>
          </p:nvSpPr>
          <p:spPr bwMode="auto">
            <a:xfrm>
              <a:off x="4538662" y="2176466"/>
              <a:ext cx="149225" cy="130175"/>
            </a:xfrm>
            <a:custGeom>
              <a:avLst/>
              <a:gdLst>
                <a:gd name="T0" fmla="*/ 343 w 386"/>
                <a:gd name="T1" fmla="*/ 50 h 337"/>
                <a:gd name="T2" fmla="*/ 363 w 386"/>
                <a:gd name="T3" fmla="*/ 82 h 337"/>
                <a:gd name="T4" fmla="*/ 386 w 386"/>
                <a:gd name="T5" fmla="*/ 106 h 337"/>
                <a:gd name="T6" fmla="*/ 363 w 386"/>
                <a:gd name="T7" fmla="*/ 137 h 337"/>
                <a:gd name="T8" fmla="*/ 331 w 386"/>
                <a:gd name="T9" fmla="*/ 119 h 337"/>
                <a:gd name="T10" fmla="*/ 284 w 386"/>
                <a:gd name="T11" fmla="*/ 120 h 337"/>
                <a:gd name="T12" fmla="*/ 225 w 386"/>
                <a:gd name="T13" fmla="*/ 106 h 337"/>
                <a:gd name="T14" fmla="*/ 194 w 386"/>
                <a:gd name="T15" fmla="*/ 108 h 337"/>
                <a:gd name="T16" fmla="*/ 181 w 386"/>
                <a:gd name="T17" fmla="*/ 125 h 337"/>
                <a:gd name="T18" fmla="*/ 155 w 386"/>
                <a:gd name="T19" fmla="*/ 106 h 337"/>
                <a:gd name="T20" fmla="*/ 144 w 386"/>
                <a:gd name="T21" fmla="*/ 141 h 337"/>
                <a:gd name="T22" fmla="*/ 180 w 386"/>
                <a:gd name="T23" fmla="*/ 180 h 337"/>
                <a:gd name="T24" fmla="*/ 196 w 386"/>
                <a:gd name="T25" fmla="*/ 206 h 337"/>
                <a:gd name="T26" fmla="*/ 230 w 386"/>
                <a:gd name="T27" fmla="*/ 237 h 337"/>
                <a:gd name="T28" fmla="*/ 257 w 386"/>
                <a:gd name="T29" fmla="*/ 256 h 337"/>
                <a:gd name="T30" fmla="*/ 286 w 386"/>
                <a:gd name="T31" fmla="*/ 291 h 337"/>
                <a:gd name="T32" fmla="*/ 349 w 386"/>
                <a:gd name="T33" fmla="*/ 323 h 337"/>
                <a:gd name="T34" fmla="*/ 342 w 386"/>
                <a:gd name="T35" fmla="*/ 337 h 337"/>
                <a:gd name="T36" fmla="*/ 276 w 386"/>
                <a:gd name="T37" fmla="*/ 306 h 337"/>
                <a:gd name="T38" fmla="*/ 234 w 386"/>
                <a:gd name="T39" fmla="*/ 276 h 337"/>
                <a:gd name="T40" fmla="*/ 170 w 386"/>
                <a:gd name="T41" fmla="*/ 251 h 337"/>
                <a:gd name="T42" fmla="*/ 108 w 386"/>
                <a:gd name="T43" fmla="*/ 189 h 337"/>
                <a:gd name="T44" fmla="*/ 121 w 386"/>
                <a:gd name="T45" fmla="*/ 183 h 337"/>
                <a:gd name="T46" fmla="*/ 88 w 386"/>
                <a:gd name="T47" fmla="*/ 148 h 337"/>
                <a:gd name="T48" fmla="*/ 85 w 386"/>
                <a:gd name="T49" fmla="*/ 119 h 337"/>
                <a:gd name="T50" fmla="*/ 40 w 386"/>
                <a:gd name="T51" fmla="*/ 106 h 337"/>
                <a:gd name="T52" fmla="*/ 22 w 386"/>
                <a:gd name="T53" fmla="*/ 142 h 337"/>
                <a:gd name="T54" fmla="*/ 0 w 386"/>
                <a:gd name="T55" fmla="*/ 114 h 337"/>
                <a:gd name="T56" fmla="*/ 0 w 386"/>
                <a:gd name="T57" fmla="*/ 85 h 337"/>
                <a:gd name="T58" fmla="*/ 2 w 386"/>
                <a:gd name="T59" fmla="*/ 84 h 337"/>
                <a:gd name="T60" fmla="*/ 49 w 386"/>
                <a:gd name="T61" fmla="*/ 87 h 337"/>
                <a:gd name="T62" fmla="*/ 61 w 386"/>
                <a:gd name="T63" fmla="*/ 72 h 337"/>
                <a:gd name="T64" fmla="*/ 85 w 386"/>
                <a:gd name="T65" fmla="*/ 86 h 337"/>
                <a:gd name="T66" fmla="*/ 111 w 386"/>
                <a:gd name="T67" fmla="*/ 88 h 337"/>
                <a:gd name="T68" fmla="*/ 109 w 386"/>
                <a:gd name="T69" fmla="*/ 64 h 337"/>
                <a:gd name="T70" fmla="*/ 132 w 386"/>
                <a:gd name="T71" fmla="*/ 56 h 337"/>
                <a:gd name="T72" fmla="*/ 136 w 386"/>
                <a:gd name="T73" fmla="*/ 22 h 337"/>
                <a:gd name="T74" fmla="*/ 187 w 386"/>
                <a:gd name="T75" fmla="*/ 0 h 337"/>
                <a:gd name="T76" fmla="*/ 210 w 386"/>
                <a:gd name="T77" fmla="*/ 10 h 337"/>
                <a:gd name="T78" fmla="*/ 263 w 386"/>
                <a:gd name="T79" fmla="*/ 46 h 337"/>
                <a:gd name="T80" fmla="*/ 320 w 386"/>
                <a:gd name="T81" fmla="*/ 62 h 337"/>
                <a:gd name="T82" fmla="*/ 344 w 386"/>
                <a:gd name="T83" fmla="*/ 5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 h="337">
                  <a:moveTo>
                    <a:pt x="343" y="50"/>
                  </a:moveTo>
                  <a:lnTo>
                    <a:pt x="363" y="82"/>
                  </a:lnTo>
                  <a:lnTo>
                    <a:pt x="386" y="106"/>
                  </a:lnTo>
                  <a:lnTo>
                    <a:pt x="363" y="137"/>
                  </a:lnTo>
                  <a:lnTo>
                    <a:pt x="331" y="119"/>
                  </a:lnTo>
                  <a:lnTo>
                    <a:pt x="284" y="120"/>
                  </a:lnTo>
                  <a:lnTo>
                    <a:pt x="225" y="106"/>
                  </a:lnTo>
                  <a:lnTo>
                    <a:pt x="194" y="108"/>
                  </a:lnTo>
                  <a:lnTo>
                    <a:pt x="181" y="125"/>
                  </a:lnTo>
                  <a:lnTo>
                    <a:pt x="155" y="106"/>
                  </a:lnTo>
                  <a:lnTo>
                    <a:pt x="144" y="141"/>
                  </a:lnTo>
                  <a:lnTo>
                    <a:pt x="180" y="180"/>
                  </a:lnTo>
                  <a:lnTo>
                    <a:pt x="196" y="206"/>
                  </a:lnTo>
                  <a:lnTo>
                    <a:pt x="230" y="237"/>
                  </a:lnTo>
                  <a:lnTo>
                    <a:pt x="257" y="256"/>
                  </a:lnTo>
                  <a:lnTo>
                    <a:pt x="286" y="291"/>
                  </a:lnTo>
                  <a:lnTo>
                    <a:pt x="349" y="323"/>
                  </a:lnTo>
                  <a:lnTo>
                    <a:pt x="342" y="337"/>
                  </a:lnTo>
                  <a:lnTo>
                    <a:pt x="276" y="306"/>
                  </a:lnTo>
                  <a:lnTo>
                    <a:pt x="234" y="276"/>
                  </a:lnTo>
                  <a:lnTo>
                    <a:pt x="170" y="251"/>
                  </a:lnTo>
                  <a:lnTo>
                    <a:pt x="108" y="189"/>
                  </a:lnTo>
                  <a:lnTo>
                    <a:pt x="121" y="183"/>
                  </a:lnTo>
                  <a:lnTo>
                    <a:pt x="88" y="148"/>
                  </a:lnTo>
                  <a:lnTo>
                    <a:pt x="85" y="119"/>
                  </a:lnTo>
                  <a:lnTo>
                    <a:pt x="40" y="106"/>
                  </a:lnTo>
                  <a:lnTo>
                    <a:pt x="22" y="142"/>
                  </a:lnTo>
                  <a:lnTo>
                    <a:pt x="0" y="114"/>
                  </a:lnTo>
                  <a:lnTo>
                    <a:pt x="0" y="85"/>
                  </a:lnTo>
                  <a:lnTo>
                    <a:pt x="2" y="84"/>
                  </a:lnTo>
                  <a:lnTo>
                    <a:pt x="49" y="87"/>
                  </a:lnTo>
                  <a:lnTo>
                    <a:pt x="61" y="72"/>
                  </a:lnTo>
                  <a:lnTo>
                    <a:pt x="85" y="86"/>
                  </a:lnTo>
                  <a:lnTo>
                    <a:pt x="111" y="88"/>
                  </a:lnTo>
                  <a:lnTo>
                    <a:pt x="109" y="64"/>
                  </a:lnTo>
                  <a:lnTo>
                    <a:pt x="132" y="56"/>
                  </a:lnTo>
                  <a:lnTo>
                    <a:pt x="136" y="22"/>
                  </a:lnTo>
                  <a:lnTo>
                    <a:pt x="187" y="0"/>
                  </a:lnTo>
                  <a:lnTo>
                    <a:pt x="210" y="10"/>
                  </a:lnTo>
                  <a:lnTo>
                    <a:pt x="263" y="46"/>
                  </a:lnTo>
                  <a:lnTo>
                    <a:pt x="320" y="62"/>
                  </a:lnTo>
                  <a:lnTo>
                    <a:pt x="344" y="50"/>
                  </a:lnTo>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21" name="Freeform 84"/>
            <p:cNvSpPr>
              <a:spLocks/>
            </p:cNvSpPr>
            <p:nvPr/>
          </p:nvSpPr>
          <p:spPr bwMode="auto">
            <a:xfrm>
              <a:off x="2041525" y="3049591"/>
              <a:ext cx="85725" cy="61913"/>
            </a:xfrm>
            <a:custGeom>
              <a:avLst/>
              <a:gdLst>
                <a:gd name="T0" fmla="*/ 27 w 54"/>
                <a:gd name="T1" fmla="*/ 0 h 39"/>
                <a:gd name="T2" fmla="*/ 38 w 54"/>
                <a:gd name="T3" fmla="*/ 0 h 39"/>
                <a:gd name="T4" fmla="*/ 53 w 54"/>
                <a:gd name="T5" fmla="*/ 4 h 39"/>
                <a:gd name="T6" fmla="*/ 54 w 54"/>
                <a:gd name="T7" fmla="*/ 15 h 39"/>
                <a:gd name="T8" fmla="*/ 51 w 54"/>
                <a:gd name="T9" fmla="*/ 23 h 39"/>
                <a:gd name="T10" fmla="*/ 46 w 54"/>
                <a:gd name="T11" fmla="*/ 27 h 39"/>
                <a:gd name="T12" fmla="*/ 50 w 54"/>
                <a:gd name="T13" fmla="*/ 33 h 39"/>
                <a:gd name="T14" fmla="*/ 49 w 54"/>
                <a:gd name="T15" fmla="*/ 39 h 39"/>
                <a:gd name="T16" fmla="*/ 38 w 54"/>
                <a:gd name="T17" fmla="*/ 35 h 39"/>
                <a:gd name="T18" fmla="*/ 29 w 54"/>
                <a:gd name="T19" fmla="*/ 36 h 39"/>
                <a:gd name="T20" fmla="*/ 18 w 54"/>
                <a:gd name="T21" fmla="*/ 35 h 39"/>
                <a:gd name="T22" fmla="*/ 9 w 54"/>
                <a:gd name="T23" fmla="*/ 39 h 39"/>
                <a:gd name="T24" fmla="*/ 0 w 54"/>
                <a:gd name="T25" fmla="*/ 32 h 39"/>
                <a:gd name="T26" fmla="*/ 3 w 54"/>
                <a:gd name="T27" fmla="*/ 26 h 39"/>
                <a:gd name="T28" fmla="*/ 19 w 54"/>
                <a:gd name="T29" fmla="*/ 29 h 39"/>
                <a:gd name="T30" fmla="*/ 33 w 54"/>
                <a:gd name="T31" fmla="*/ 30 h 39"/>
                <a:gd name="T32" fmla="*/ 39 w 54"/>
                <a:gd name="T33" fmla="*/ 26 h 39"/>
                <a:gd name="T34" fmla="*/ 32 w 54"/>
                <a:gd name="T35" fmla="*/ 17 h 39"/>
                <a:gd name="T36" fmla="*/ 33 w 54"/>
                <a:gd name="T37" fmla="*/ 9 h 39"/>
                <a:gd name="T38" fmla="*/ 22 w 54"/>
                <a:gd name="T39" fmla="*/ 5 h 39"/>
                <a:gd name="T40" fmla="*/ 27 w 54"/>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39">
                  <a:moveTo>
                    <a:pt x="27" y="0"/>
                  </a:moveTo>
                  <a:lnTo>
                    <a:pt x="38" y="0"/>
                  </a:lnTo>
                  <a:lnTo>
                    <a:pt x="53" y="4"/>
                  </a:lnTo>
                  <a:lnTo>
                    <a:pt x="54" y="15"/>
                  </a:lnTo>
                  <a:lnTo>
                    <a:pt x="51" y="23"/>
                  </a:lnTo>
                  <a:lnTo>
                    <a:pt x="46" y="27"/>
                  </a:lnTo>
                  <a:lnTo>
                    <a:pt x="50" y="33"/>
                  </a:lnTo>
                  <a:lnTo>
                    <a:pt x="49" y="39"/>
                  </a:lnTo>
                  <a:lnTo>
                    <a:pt x="38" y="35"/>
                  </a:lnTo>
                  <a:lnTo>
                    <a:pt x="29" y="36"/>
                  </a:lnTo>
                  <a:lnTo>
                    <a:pt x="18" y="35"/>
                  </a:lnTo>
                  <a:lnTo>
                    <a:pt x="9" y="39"/>
                  </a:lnTo>
                  <a:lnTo>
                    <a:pt x="0" y="32"/>
                  </a:lnTo>
                  <a:lnTo>
                    <a:pt x="3" y="26"/>
                  </a:lnTo>
                  <a:lnTo>
                    <a:pt x="19" y="29"/>
                  </a:lnTo>
                  <a:lnTo>
                    <a:pt x="33" y="30"/>
                  </a:lnTo>
                  <a:lnTo>
                    <a:pt x="39" y="26"/>
                  </a:lnTo>
                  <a:lnTo>
                    <a:pt x="32" y="17"/>
                  </a:lnTo>
                  <a:lnTo>
                    <a:pt x="33" y="9"/>
                  </a:lnTo>
                  <a:lnTo>
                    <a:pt x="22" y="5"/>
                  </a:lnTo>
                  <a:lnTo>
                    <a:pt x="27" y="0"/>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22" name="Freeform 85"/>
            <p:cNvSpPr>
              <a:spLocks/>
            </p:cNvSpPr>
            <p:nvPr/>
          </p:nvSpPr>
          <p:spPr bwMode="auto">
            <a:xfrm>
              <a:off x="4600575" y="2108204"/>
              <a:ext cx="165100" cy="92075"/>
            </a:xfrm>
            <a:custGeom>
              <a:avLst/>
              <a:gdLst>
                <a:gd name="T0" fmla="*/ 0 w 104"/>
                <a:gd name="T1" fmla="*/ 36 h 58"/>
                <a:gd name="T2" fmla="*/ 5 w 104"/>
                <a:gd name="T3" fmla="*/ 23 h 58"/>
                <a:gd name="T4" fmla="*/ 1 w 104"/>
                <a:gd name="T5" fmla="*/ 18 h 58"/>
                <a:gd name="T6" fmla="*/ 10 w 104"/>
                <a:gd name="T7" fmla="*/ 18 h 58"/>
                <a:gd name="T8" fmla="*/ 11 w 104"/>
                <a:gd name="T9" fmla="*/ 10 h 58"/>
                <a:gd name="T10" fmla="*/ 20 w 104"/>
                <a:gd name="T11" fmla="*/ 15 h 58"/>
                <a:gd name="T12" fmla="*/ 26 w 104"/>
                <a:gd name="T13" fmla="*/ 17 h 58"/>
                <a:gd name="T14" fmla="*/ 39 w 104"/>
                <a:gd name="T15" fmla="*/ 15 h 58"/>
                <a:gd name="T16" fmla="*/ 40 w 104"/>
                <a:gd name="T17" fmla="*/ 11 h 58"/>
                <a:gd name="T18" fmla="*/ 46 w 104"/>
                <a:gd name="T19" fmla="*/ 10 h 58"/>
                <a:gd name="T20" fmla="*/ 54 w 104"/>
                <a:gd name="T21" fmla="*/ 7 h 58"/>
                <a:gd name="T22" fmla="*/ 56 w 104"/>
                <a:gd name="T23" fmla="*/ 8 h 58"/>
                <a:gd name="T24" fmla="*/ 63 w 104"/>
                <a:gd name="T25" fmla="*/ 6 h 58"/>
                <a:gd name="T26" fmla="*/ 66 w 104"/>
                <a:gd name="T27" fmla="*/ 1 h 58"/>
                <a:gd name="T28" fmla="*/ 72 w 104"/>
                <a:gd name="T29" fmla="*/ 0 h 58"/>
                <a:gd name="T30" fmla="*/ 90 w 104"/>
                <a:gd name="T31" fmla="*/ 6 h 58"/>
                <a:gd name="T32" fmla="*/ 93 w 104"/>
                <a:gd name="T33" fmla="*/ 4 h 58"/>
                <a:gd name="T34" fmla="*/ 102 w 104"/>
                <a:gd name="T35" fmla="*/ 9 h 58"/>
                <a:gd name="T36" fmla="*/ 104 w 104"/>
                <a:gd name="T37" fmla="*/ 15 h 58"/>
                <a:gd name="T38" fmla="*/ 95 w 104"/>
                <a:gd name="T39" fmla="*/ 19 h 58"/>
                <a:gd name="T40" fmla="*/ 89 w 104"/>
                <a:gd name="T41" fmla="*/ 33 h 58"/>
                <a:gd name="T42" fmla="*/ 80 w 104"/>
                <a:gd name="T43" fmla="*/ 47 h 58"/>
                <a:gd name="T44" fmla="*/ 67 w 104"/>
                <a:gd name="T45" fmla="*/ 51 h 58"/>
                <a:gd name="T46" fmla="*/ 57 w 104"/>
                <a:gd name="T47" fmla="*/ 50 h 58"/>
                <a:gd name="T48" fmla="*/ 45 w 104"/>
                <a:gd name="T49" fmla="*/ 55 h 58"/>
                <a:gd name="T50" fmla="*/ 39 w 104"/>
                <a:gd name="T51" fmla="*/ 58 h 58"/>
                <a:gd name="T52" fmla="*/ 25 w 104"/>
                <a:gd name="T53" fmla="*/ 54 h 58"/>
                <a:gd name="T54" fmla="*/ 12 w 104"/>
                <a:gd name="T55" fmla="*/ 45 h 58"/>
                <a:gd name="T56" fmla="*/ 7 w 104"/>
                <a:gd name="T57" fmla="*/ 43 h 58"/>
                <a:gd name="T58" fmla="*/ 3 w 104"/>
                <a:gd name="T59" fmla="*/ 36 h 58"/>
                <a:gd name="T60" fmla="*/ 0 w 104"/>
                <a:gd name="T61" fmla="*/ 3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 h="58">
                  <a:moveTo>
                    <a:pt x="0" y="36"/>
                  </a:moveTo>
                  <a:lnTo>
                    <a:pt x="5" y="23"/>
                  </a:lnTo>
                  <a:lnTo>
                    <a:pt x="1" y="18"/>
                  </a:lnTo>
                  <a:lnTo>
                    <a:pt x="10" y="18"/>
                  </a:lnTo>
                  <a:lnTo>
                    <a:pt x="11" y="10"/>
                  </a:lnTo>
                  <a:lnTo>
                    <a:pt x="20" y="15"/>
                  </a:lnTo>
                  <a:lnTo>
                    <a:pt x="26" y="17"/>
                  </a:lnTo>
                  <a:lnTo>
                    <a:pt x="39" y="15"/>
                  </a:lnTo>
                  <a:lnTo>
                    <a:pt x="40" y="11"/>
                  </a:lnTo>
                  <a:lnTo>
                    <a:pt x="46" y="10"/>
                  </a:lnTo>
                  <a:lnTo>
                    <a:pt x="54" y="7"/>
                  </a:lnTo>
                  <a:lnTo>
                    <a:pt x="56" y="8"/>
                  </a:lnTo>
                  <a:lnTo>
                    <a:pt x="63" y="6"/>
                  </a:lnTo>
                  <a:lnTo>
                    <a:pt x="66" y="1"/>
                  </a:lnTo>
                  <a:lnTo>
                    <a:pt x="72" y="0"/>
                  </a:lnTo>
                  <a:lnTo>
                    <a:pt x="90" y="6"/>
                  </a:lnTo>
                  <a:lnTo>
                    <a:pt x="93" y="4"/>
                  </a:lnTo>
                  <a:lnTo>
                    <a:pt x="102" y="9"/>
                  </a:lnTo>
                  <a:lnTo>
                    <a:pt x="104" y="15"/>
                  </a:lnTo>
                  <a:lnTo>
                    <a:pt x="95" y="19"/>
                  </a:lnTo>
                  <a:lnTo>
                    <a:pt x="89" y="33"/>
                  </a:lnTo>
                  <a:lnTo>
                    <a:pt x="80" y="47"/>
                  </a:lnTo>
                  <a:lnTo>
                    <a:pt x="67" y="51"/>
                  </a:lnTo>
                  <a:lnTo>
                    <a:pt x="57" y="50"/>
                  </a:lnTo>
                  <a:lnTo>
                    <a:pt x="45" y="55"/>
                  </a:lnTo>
                  <a:lnTo>
                    <a:pt x="39" y="58"/>
                  </a:lnTo>
                  <a:lnTo>
                    <a:pt x="25" y="54"/>
                  </a:lnTo>
                  <a:lnTo>
                    <a:pt x="12" y="45"/>
                  </a:lnTo>
                  <a:lnTo>
                    <a:pt x="7" y="43"/>
                  </a:lnTo>
                  <a:lnTo>
                    <a:pt x="3" y="36"/>
                  </a:lnTo>
                  <a:lnTo>
                    <a:pt x="0" y="36"/>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23" name="Freeform 86"/>
            <p:cNvSpPr>
              <a:spLocks noEditPoints="1"/>
            </p:cNvSpPr>
            <p:nvPr/>
          </p:nvSpPr>
          <p:spPr bwMode="auto">
            <a:xfrm>
              <a:off x="6958012" y="3525842"/>
              <a:ext cx="1335088" cy="522288"/>
            </a:xfrm>
            <a:custGeom>
              <a:avLst/>
              <a:gdLst>
                <a:gd name="T0" fmla="*/ 552 w 3445"/>
                <a:gd name="T1" fmla="*/ 826 h 1349"/>
                <a:gd name="T2" fmla="*/ 373 w 3445"/>
                <a:gd name="T3" fmla="*/ 522 h 1349"/>
                <a:gd name="T4" fmla="*/ 188 w 3445"/>
                <a:gd name="T5" fmla="*/ 258 h 1349"/>
                <a:gd name="T6" fmla="*/ 0 w 3445"/>
                <a:gd name="T7" fmla="*/ 0 h 1349"/>
                <a:gd name="T8" fmla="*/ 294 w 3445"/>
                <a:gd name="T9" fmla="*/ 161 h 1349"/>
                <a:gd name="T10" fmla="*/ 550 w 3445"/>
                <a:gd name="T11" fmla="*/ 347 h 1349"/>
                <a:gd name="T12" fmla="*/ 664 w 3445"/>
                <a:gd name="T13" fmla="*/ 557 h 1349"/>
                <a:gd name="T14" fmla="*/ 784 w 3445"/>
                <a:gd name="T15" fmla="*/ 673 h 1349"/>
                <a:gd name="T16" fmla="*/ 1707 w 3445"/>
                <a:gd name="T17" fmla="*/ 311 h 1349"/>
                <a:gd name="T18" fmla="*/ 1681 w 3445"/>
                <a:gd name="T19" fmla="*/ 535 h 1349"/>
                <a:gd name="T20" fmla="*/ 1562 w 3445"/>
                <a:gd name="T21" fmla="*/ 778 h 1349"/>
                <a:gd name="T22" fmla="*/ 1357 w 3445"/>
                <a:gd name="T23" fmla="*/ 732 h 1349"/>
                <a:gd name="T24" fmla="*/ 1129 w 3445"/>
                <a:gd name="T25" fmla="*/ 716 h 1349"/>
                <a:gd name="T26" fmla="*/ 1037 w 3445"/>
                <a:gd name="T27" fmla="*/ 431 h 1349"/>
                <a:gd name="T28" fmla="*/ 1154 w 3445"/>
                <a:gd name="T29" fmla="*/ 401 h 1349"/>
                <a:gd name="T30" fmla="*/ 1330 w 3445"/>
                <a:gd name="T31" fmla="*/ 339 h 1349"/>
                <a:gd name="T32" fmla="*/ 1527 w 3445"/>
                <a:gd name="T33" fmla="*/ 197 h 1349"/>
                <a:gd name="T34" fmla="*/ 1662 w 3445"/>
                <a:gd name="T35" fmla="*/ 191 h 1349"/>
                <a:gd name="T36" fmla="*/ 2518 w 3445"/>
                <a:gd name="T37" fmla="*/ 445 h 1349"/>
                <a:gd name="T38" fmla="*/ 2477 w 3445"/>
                <a:gd name="T39" fmla="*/ 543 h 1349"/>
                <a:gd name="T40" fmla="*/ 2463 w 3445"/>
                <a:gd name="T41" fmla="*/ 281 h 1349"/>
                <a:gd name="T42" fmla="*/ 2262 w 3445"/>
                <a:gd name="T43" fmla="*/ 346 h 1349"/>
                <a:gd name="T44" fmla="*/ 1948 w 3445"/>
                <a:gd name="T45" fmla="*/ 434 h 1349"/>
                <a:gd name="T46" fmla="*/ 1979 w 3445"/>
                <a:gd name="T47" fmla="*/ 548 h 1349"/>
                <a:gd name="T48" fmla="*/ 2047 w 3445"/>
                <a:gd name="T49" fmla="*/ 596 h 1349"/>
                <a:gd name="T50" fmla="*/ 2098 w 3445"/>
                <a:gd name="T51" fmla="*/ 865 h 1349"/>
                <a:gd name="T52" fmla="*/ 2065 w 3445"/>
                <a:gd name="T53" fmla="*/ 847 h 1349"/>
                <a:gd name="T54" fmla="*/ 1931 w 3445"/>
                <a:gd name="T55" fmla="*/ 773 h 1349"/>
                <a:gd name="T56" fmla="*/ 1889 w 3445"/>
                <a:gd name="T57" fmla="*/ 937 h 1349"/>
                <a:gd name="T58" fmla="*/ 1826 w 3445"/>
                <a:gd name="T59" fmla="*/ 764 h 1349"/>
                <a:gd name="T60" fmla="*/ 1816 w 3445"/>
                <a:gd name="T61" fmla="*/ 582 h 1349"/>
                <a:gd name="T62" fmla="*/ 1993 w 3445"/>
                <a:gd name="T63" fmla="*/ 380 h 1349"/>
                <a:gd name="T64" fmla="*/ 2262 w 3445"/>
                <a:gd name="T65" fmla="*/ 346 h 1349"/>
                <a:gd name="T66" fmla="*/ 3092 w 3445"/>
                <a:gd name="T67" fmla="*/ 663 h 1349"/>
                <a:gd name="T68" fmla="*/ 3365 w 3445"/>
                <a:gd name="T69" fmla="*/ 672 h 1349"/>
                <a:gd name="T70" fmla="*/ 3353 w 3445"/>
                <a:gd name="T71" fmla="*/ 1173 h 1349"/>
                <a:gd name="T72" fmla="*/ 3200 w 3445"/>
                <a:gd name="T73" fmla="*/ 1114 h 1349"/>
                <a:gd name="T74" fmla="*/ 3062 w 3445"/>
                <a:gd name="T75" fmla="*/ 854 h 1349"/>
                <a:gd name="T76" fmla="*/ 2838 w 3445"/>
                <a:gd name="T77" fmla="*/ 817 h 1349"/>
                <a:gd name="T78" fmla="*/ 2849 w 3445"/>
                <a:gd name="T79" fmla="*/ 676 h 1349"/>
                <a:gd name="T80" fmla="*/ 2758 w 3445"/>
                <a:gd name="T81" fmla="*/ 604 h 1349"/>
                <a:gd name="T82" fmla="*/ 2800 w 3445"/>
                <a:gd name="T83" fmla="*/ 498 h 1349"/>
                <a:gd name="T84" fmla="*/ 2677 w 3445"/>
                <a:gd name="T85" fmla="*/ 795 h 1349"/>
                <a:gd name="T86" fmla="*/ 2458 w 3445"/>
                <a:gd name="T87" fmla="*/ 755 h 1349"/>
                <a:gd name="T88" fmla="*/ 2409 w 3445"/>
                <a:gd name="T89" fmla="*/ 761 h 1349"/>
                <a:gd name="T90" fmla="*/ 2391 w 3445"/>
                <a:gd name="T91" fmla="*/ 733 h 1349"/>
                <a:gd name="T92" fmla="*/ 2914 w 3445"/>
                <a:gd name="T93" fmla="*/ 990 h 1349"/>
                <a:gd name="T94" fmla="*/ 2960 w 3445"/>
                <a:gd name="T95" fmla="*/ 996 h 1349"/>
                <a:gd name="T96" fmla="*/ 1295 w 3445"/>
                <a:gd name="T97" fmla="*/ 1058 h 1349"/>
                <a:gd name="T98" fmla="*/ 1431 w 3445"/>
                <a:gd name="T99" fmla="*/ 1212 h 1349"/>
                <a:gd name="T100" fmla="*/ 1136 w 3445"/>
                <a:gd name="T101" fmla="*/ 1158 h 1349"/>
                <a:gd name="T102" fmla="*/ 830 w 3445"/>
                <a:gd name="T103" fmla="*/ 1093 h 1349"/>
                <a:gd name="T104" fmla="*/ 898 w 3445"/>
                <a:gd name="T105" fmla="*/ 974 h 1349"/>
                <a:gd name="T106" fmla="*/ 2061 w 3445"/>
                <a:gd name="T107" fmla="*/ 1156 h 1349"/>
                <a:gd name="T108" fmla="*/ 1835 w 3445"/>
                <a:gd name="T109" fmla="*/ 1186 h 1349"/>
                <a:gd name="T110" fmla="*/ 2061 w 3445"/>
                <a:gd name="T111" fmla="*/ 1156 h 1349"/>
                <a:gd name="T112" fmla="*/ 1774 w 3445"/>
                <a:gd name="T113" fmla="*/ 1208 h 1349"/>
                <a:gd name="T114" fmla="*/ 1622 w 3445"/>
                <a:gd name="T115" fmla="*/ 1187 h 1349"/>
                <a:gd name="T116" fmla="*/ 2095 w 3445"/>
                <a:gd name="T117" fmla="*/ 1349 h 1349"/>
                <a:gd name="T118" fmla="*/ 2210 w 3445"/>
                <a:gd name="T119" fmla="*/ 1224 h 1349"/>
                <a:gd name="T120" fmla="*/ 1881 w 3445"/>
                <a:gd name="T121" fmla="*/ 1339 h 1349"/>
                <a:gd name="T122" fmla="*/ 1864 w 3445"/>
                <a:gd name="T123" fmla="*/ 1290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45" h="1349">
                  <a:moveTo>
                    <a:pt x="789" y="965"/>
                  </a:moveTo>
                  <a:lnTo>
                    <a:pt x="706" y="967"/>
                  </a:lnTo>
                  <a:lnTo>
                    <a:pt x="646" y="895"/>
                  </a:lnTo>
                  <a:lnTo>
                    <a:pt x="552" y="826"/>
                  </a:lnTo>
                  <a:lnTo>
                    <a:pt x="521" y="774"/>
                  </a:lnTo>
                  <a:lnTo>
                    <a:pt x="466" y="705"/>
                  </a:lnTo>
                  <a:lnTo>
                    <a:pt x="429" y="641"/>
                  </a:lnTo>
                  <a:lnTo>
                    <a:pt x="373" y="522"/>
                  </a:lnTo>
                  <a:lnTo>
                    <a:pt x="307" y="451"/>
                  </a:lnTo>
                  <a:lnTo>
                    <a:pt x="285" y="378"/>
                  </a:lnTo>
                  <a:lnTo>
                    <a:pt x="257" y="311"/>
                  </a:lnTo>
                  <a:lnTo>
                    <a:pt x="188" y="258"/>
                  </a:lnTo>
                  <a:lnTo>
                    <a:pt x="147" y="185"/>
                  </a:lnTo>
                  <a:lnTo>
                    <a:pt x="89" y="137"/>
                  </a:lnTo>
                  <a:lnTo>
                    <a:pt x="8" y="43"/>
                  </a:lnTo>
                  <a:lnTo>
                    <a:pt x="0" y="0"/>
                  </a:lnTo>
                  <a:lnTo>
                    <a:pt x="48" y="3"/>
                  </a:lnTo>
                  <a:lnTo>
                    <a:pt x="165" y="20"/>
                  </a:lnTo>
                  <a:lnTo>
                    <a:pt x="234" y="103"/>
                  </a:lnTo>
                  <a:lnTo>
                    <a:pt x="294" y="161"/>
                  </a:lnTo>
                  <a:lnTo>
                    <a:pt x="337" y="196"/>
                  </a:lnTo>
                  <a:lnTo>
                    <a:pt x="410" y="288"/>
                  </a:lnTo>
                  <a:lnTo>
                    <a:pt x="486" y="289"/>
                  </a:lnTo>
                  <a:lnTo>
                    <a:pt x="550" y="347"/>
                  </a:lnTo>
                  <a:lnTo>
                    <a:pt x="594" y="419"/>
                  </a:lnTo>
                  <a:lnTo>
                    <a:pt x="652" y="458"/>
                  </a:lnTo>
                  <a:lnTo>
                    <a:pt x="621" y="527"/>
                  </a:lnTo>
                  <a:lnTo>
                    <a:pt x="664" y="557"/>
                  </a:lnTo>
                  <a:lnTo>
                    <a:pt x="691" y="559"/>
                  </a:lnTo>
                  <a:lnTo>
                    <a:pt x="703" y="618"/>
                  </a:lnTo>
                  <a:lnTo>
                    <a:pt x="729" y="666"/>
                  </a:lnTo>
                  <a:lnTo>
                    <a:pt x="784" y="673"/>
                  </a:lnTo>
                  <a:lnTo>
                    <a:pt x="819" y="727"/>
                  </a:lnTo>
                  <a:lnTo>
                    <a:pt x="797" y="833"/>
                  </a:lnTo>
                  <a:lnTo>
                    <a:pt x="789" y="965"/>
                  </a:lnTo>
                  <a:moveTo>
                    <a:pt x="1707" y="311"/>
                  </a:moveTo>
                  <a:lnTo>
                    <a:pt x="1792" y="390"/>
                  </a:lnTo>
                  <a:lnTo>
                    <a:pt x="1703" y="400"/>
                  </a:lnTo>
                  <a:lnTo>
                    <a:pt x="1678" y="458"/>
                  </a:lnTo>
                  <a:lnTo>
                    <a:pt x="1681" y="535"/>
                  </a:lnTo>
                  <a:lnTo>
                    <a:pt x="1608" y="593"/>
                  </a:lnTo>
                  <a:lnTo>
                    <a:pt x="1605" y="678"/>
                  </a:lnTo>
                  <a:lnTo>
                    <a:pt x="1572" y="808"/>
                  </a:lnTo>
                  <a:lnTo>
                    <a:pt x="1562" y="778"/>
                  </a:lnTo>
                  <a:lnTo>
                    <a:pt x="1475" y="816"/>
                  </a:lnTo>
                  <a:lnTo>
                    <a:pt x="1447" y="764"/>
                  </a:lnTo>
                  <a:lnTo>
                    <a:pt x="1394" y="759"/>
                  </a:lnTo>
                  <a:lnTo>
                    <a:pt x="1357" y="732"/>
                  </a:lnTo>
                  <a:lnTo>
                    <a:pt x="1267" y="763"/>
                  </a:lnTo>
                  <a:lnTo>
                    <a:pt x="1240" y="722"/>
                  </a:lnTo>
                  <a:lnTo>
                    <a:pt x="1191" y="726"/>
                  </a:lnTo>
                  <a:lnTo>
                    <a:pt x="1129" y="716"/>
                  </a:lnTo>
                  <a:lnTo>
                    <a:pt x="1120" y="602"/>
                  </a:lnTo>
                  <a:lnTo>
                    <a:pt x="1083" y="578"/>
                  </a:lnTo>
                  <a:lnTo>
                    <a:pt x="1047" y="506"/>
                  </a:lnTo>
                  <a:lnTo>
                    <a:pt x="1037" y="431"/>
                  </a:lnTo>
                  <a:lnTo>
                    <a:pt x="1045" y="352"/>
                  </a:lnTo>
                  <a:lnTo>
                    <a:pt x="1089" y="296"/>
                  </a:lnTo>
                  <a:lnTo>
                    <a:pt x="1102" y="353"/>
                  </a:lnTo>
                  <a:lnTo>
                    <a:pt x="1154" y="401"/>
                  </a:lnTo>
                  <a:lnTo>
                    <a:pt x="1202" y="383"/>
                  </a:lnTo>
                  <a:lnTo>
                    <a:pt x="1250" y="389"/>
                  </a:lnTo>
                  <a:lnTo>
                    <a:pt x="1294" y="346"/>
                  </a:lnTo>
                  <a:lnTo>
                    <a:pt x="1330" y="339"/>
                  </a:lnTo>
                  <a:lnTo>
                    <a:pt x="1401" y="363"/>
                  </a:lnTo>
                  <a:lnTo>
                    <a:pt x="1463" y="345"/>
                  </a:lnTo>
                  <a:lnTo>
                    <a:pt x="1499" y="226"/>
                  </a:lnTo>
                  <a:lnTo>
                    <a:pt x="1527" y="197"/>
                  </a:lnTo>
                  <a:lnTo>
                    <a:pt x="1550" y="100"/>
                  </a:lnTo>
                  <a:lnTo>
                    <a:pt x="1637" y="100"/>
                  </a:lnTo>
                  <a:lnTo>
                    <a:pt x="1702" y="114"/>
                  </a:lnTo>
                  <a:lnTo>
                    <a:pt x="1662" y="191"/>
                  </a:lnTo>
                  <a:lnTo>
                    <a:pt x="1719" y="272"/>
                  </a:lnTo>
                  <a:lnTo>
                    <a:pt x="1707" y="311"/>
                  </a:lnTo>
                  <a:moveTo>
                    <a:pt x="2521" y="370"/>
                  </a:moveTo>
                  <a:lnTo>
                    <a:pt x="2518" y="445"/>
                  </a:lnTo>
                  <a:lnTo>
                    <a:pt x="2479" y="436"/>
                  </a:lnTo>
                  <a:lnTo>
                    <a:pt x="2468" y="488"/>
                  </a:lnTo>
                  <a:lnTo>
                    <a:pt x="2498" y="533"/>
                  </a:lnTo>
                  <a:lnTo>
                    <a:pt x="2477" y="543"/>
                  </a:lnTo>
                  <a:lnTo>
                    <a:pt x="2447" y="489"/>
                  </a:lnTo>
                  <a:lnTo>
                    <a:pt x="2424" y="380"/>
                  </a:lnTo>
                  <a:lnTo>
                    <a:pt x="2439" y="312"/>
                  </a:lnTo>
                  <a:lnTo>
                    <a:pt x="2463" y="281"/>
                  </a:lnTo>
                  <a:lnTo>
                    <a:pt x="2469" y="328"/>
                  </a:lnTo>
                  <a:lnTo>
                    <a:pt x="2514" y="335"/>
                  </a:lnTo>
                  <a:lnTo>
                    <a:pt x="2521" y="370"/>
                  </a:lnTo>
                  <a:moveTo>
                    <a:pt x="2262" y="346"/>
                  </a:moveTo>
                  <a:lnTo>
                    <a:pt x="2202" y="430"/>
                  </a:lnTo>
                  <a:lnTo>
                    <a:pt x="2145" y="446"/>
                  </a:lnTo>
                  <a:lnTo>
                    <a:pt x="2073" y="430"/>
                  </a:lnTo>
                  <a:lnTo>
                    <a:pt x="1948" y="434"/>
                  </a:lnTo>
                  <a:lnTo>
                    <a:pt x="1882" y="446"/>
                  </a:lnTo>
                  <a:lnTo>
                    <a:pt x="1871" y="511"/>
                  </a:lnTo>
                  <a:lnTo>
                    <a:pt x="1938" y="586"/>
                  </a:lnTo>
                  <a:lnTo>
                    <a:pt x="1979" y="548"/>
                  </a:lnTo>
                  <a:lnTo>
                    <a:pt x="2119" y="519"/>
                  </a:lnTo>
                  <a:lnTo>
                    <a:pt x="2113" y="558"/>
                  </a:lnTo>
                  <a:lnTo>
                    <a:pt x="2080" y="546"/>
                  </a:lnTo>
                  <a:lnTo>
                    <a:pt x="2047" y="596"/>
                  </a:lnTo>
                  <a:lnTo>
                    <a:pt x="1980" y="629"/>
                  </a:lnTo>
                  <a:lnTo>
                    <a:pt x="2049" y="738"/>
                  </a:lnTo>
                  <a:lnTo>
                    <a:pt x="2034" y="767"/>
                  </a:lnTo>
                  <a:lnTo>
                    <a:pt x="2098" y="865"/>
                  </a:lnTo>
                  <a:lnTo>
                    <a:pt x="2095" y="921"/>
                  </a:lnTo>
                  <a:lnTo>
                    <a:pt x="2054" y="946"/>
                  </a:lnTo>
                  <a:lnTo>
                    <a:pt x="2026" y="916"/>
                  </a:lnTo>
                  <a:lnTo>
                    <a:pt x="2065" y="847"/>
                  </a:lnTo>
                  <a:lnTo>
                    <a:pt x="1990" y="880"/>
                  </a:lnTo>
                  <a:lnTo>
                    <a:pt x="1972" y="856"/>
                  </a:lnTo>
                  <a:lnTo>
                    <a:pt x="1983" y="823"/>
                  </a:lnTo>
                  <a:lnTo>
                    <a:pt x="1931" y="773"/>
                  </a:lnTo>
                  <a:lnTo>
                    <a:pt x="1939" y="690"/>
                  </a:lnTo>
                  <a:lnTo>
                    <a:pt x="1888" y="716"/>
                  </a:lnTo>
                  <a:lnTo>
                    <a:pt x="1891" y="815"/>
                  </a:lnTo>
                  <a:lnTo>
                    <a:pt x="1889" y="937"/>
                  </a:lnTo>
                  <a:lnTo>
                    <a:pt x="1841" y="950"/>
                  </a:lnTo>
                  <a:lnTo>
                    <a:pt x="1809" y="925"/>
                  </a:lnTo>
                  <a:lnTo>
                    <a:pt x="1834" y="846"/>
                  </a:lnTo>
                  <a:lnTo>
                    <a:pt x="1826" y="764"/>
                  </a:lnTo>
                  <a:lnTo>
                    <a:pt x="1794" y="763"/>
                  </a:lnTo>
                  <a:lnTo>
                    <a:pt x="1772" y="705"/>
                  </a:lnTo>
                  <a:lnTo>
                    <a:pt x="1805" y="649"/>
                  </a:lnTo>
                  <a:lnTo>
                    <a:pt x="1816" y="582"/>
                  </a:lnTo>
                  <a:lnTo>
                    <a:pt x="1855" y="453"/>
                  </a:lnTo>
                  <a:lnTo>
                    <a:pt x="1871" y="418"/>
                  </a:lnTo>
                  <a:lnTo>
                    <a:pt x="1934" y="355"/>
                  </a:lnTo>
                  <a:lnTo>
                    <a:pt x="1993" y="380"/>
                  </a:lnTo>
                  <a:lnTo>
                    <a:pt x="2088" y="392"/>
                  </a:lnTo>
                  <a:lnTo>
                    <a:pt x="2175" y="388"/>
                  </a:lnTo>
                  <a:lnTo>
                    <a:pt x="2248" y="327"/>
                  </a:lnTo>
                  <a:lnTo>
                    <a:pt x="2262" y="346"/>
                  </a:lnTo>
                  <a:moveTo>
                    <a:pt x="2932" y="565"/>
                  </a:moveTo>
                  <a:lnTo>
                    <a:pt x="2950" y="702"/>
                  </a:lnTo>
                  <a:lnTo>
                    <a:pt x="3026" y="753"/>
                  </a:lnTo>
                  <a:lnTo>
                    <a:pt x="3092" y="663"/>
                  </a:lnTo>
                  <a:lnTo>
                    <a:pt x="3179" y="612"/>
                  </a:lnTo>
                  <a:lnTo>
                    <a:pt x="3246" y="612"/>
                  </a:lnTo>
                  <a:lnTo>
                    <a:pt x="3310" y="641"/>
                  </a:lnTo>
                  <a:lnTo>
                    <a:pt x="3365" y="672"/>
                  </a:lnTo>
                  <a:lnTo>
                    <a:pt x="3445" y="688"/>
                  </a:lnTo>
                  <a:lnTo>
                    <a:pt x="3434" y="965"/>
                  </a:lnTo>
                  <a:lnTo>
                    <a:pt x="3414" y="1243"/>
                  </a:lnTo>
                  <a:lnTo>
                    <a:pt x="3353" y="1173"/>
                  </a:lnTo>
                  <a:lnTo>
                    <a:pt x="3279" y="1156"/>
                  </a:lnTo>
                  <a:lnTo>
                    <a:pt x="3258" y="1180"/>
                  </a:lnTo>
                  <a:lnTo>
                    <a:pt x="3163" y="1183"/>
                  </a:lnTo>
                  <a:lnTo>
                    <a:pt x="3200" y="1114"/>
                  </a:lnTo>
                  <a:lnTo>
                    <a:pt x="3249" y="1090"/>
                  </a:lnTo>
                  <a:lnTo>
                    <a:pt x="3236" y="997"/>
                  </a:lnTo>
                  <a:lnTo>
                    <a:pt x="3205" y="926"/>
                  </a:lnTo>
                  <a:lnTo>
                    <a:pt x="3062" y="854"/>
                  </a:lnTo>
                  <a:lnTo>
                    <a:pt x="3001" y="847"/>
                  </a:lnTo>
                  <a:lnTo>
                    <a:pt x="2891" y="768"/>
                  </a:lnTo>
                  <a:lnTo>
                    <a:pt x="2867" y="809"/>
                  </a:lnTo>
                  <a:lnTo>
                    <a:pt x="2838" y="817"/>
                  </a:lnTo>
                  <a:lnTo>
                    <a:pt x="2822" y="786"/>
                  </a:lnTo>
                  <a:lnTo>
                    <a:pt x="2823" y="749"/>
                  </a:lnTo>
                  <a:lnTo>
                    <a:pt x="2767" y="707"/>
                  </a:lnTo>
                  <a:lnTo>
                    <a:pt x="2849" y="676"/>
                  </a:lnTo>
                  <a:lnTo>
                    <a:pt x="2902" y="678"/>
                  </a:lnTo>
                  <a:lnTo>
                    <a:pt x="2897" y="655"/>
                  </a:lnTo>
                  <a:lnTo>
                    <a:pt x="2787" y="655"/>
                  </a:lnTo>
                  <a:lnTo>
                    <a:pt x="2758" y="604"/>
                  </a:lnTo>
                  <a:lnTo>
                    <a:pt x="2691" y="589"/>
                  </a:lnTo>
                  <a:lnTo>
                    <a:pt x="2659" y="546"/>
                  </a:lnTo>
                  <a:lnTo>
                    <a:pt x="2761" y="526"/>
                  </a:lnTo>
                  <a:lnTo>
                    <a:pt x="2800" y="498"/>
                  </a:lnTo>
                  <a:lnTo>
                    <a:pt x="2920" y="533"/>
                  </a:lnTo>
                  <a:lnTo>
                    <a:pt x="2932" y="565"/>
                  </a:lnTo>
                  <a:moveTo>
                    <a:pt x="2652" y="730"/>
                  </a:moveTo>
                  <a:lnTo>
                    <a:pt x="2677" y="795"/>
                  </a:lnTo>
                  <a:lnTo>
                    <a:pt x="2615" y="760"/>
                  </a:lnTo>
                  <a:lnTo>
                    <a:pt x="2552" y="753"/>
                  </a:lnTo>
                  <a:lnTo>
                    <a:pt x="2510" y="758"/>
                  </a:lnTo>
                  <a:lnTo>
                    <a:pt x="2458" y="755"/>
                  </a:lnTo>
                  <a:lnTo>
                    <a:pt x="2477" y="709"/>
                  </a:lnTo>
                  <a:lnTo>
                    <a:pt x="2570" y="705"/>
                  </a:lnTo>
                  <a:lnTo>
                    <a:pt x="2652" y="730"/>
                  </a:lnTo>
                  <a:moveTo>
                    <a:pt x="2409" y="761"/>
                  </a:moveTo>
                  <a:lnTo>
                    <a:pt x="2380" y="789"/>
                  </a:lnTo>
                  <a:lnTo>
                    <a:pt x="2328" y="774"/>
                  </a:lnTo>
                  <a:lnTo>
                    <a:pt x="2315" y="737"/>
                  </a:lnTo>
                  <a:lnTo>
                    <a:pt x="2391" y="733"/>
                  </a:lnTo>
                  <a:lnTo>
                    <a:pt x="2409" y="761"/>
                  </a:lnTo>
                  <a:moveTo>
                    <a:pt x="2960" y="996"/>
                  </a:moveTo>
                  <a:lnTo>
                    <a:pt x="2917" y="1054"/>
                  </a:lnTo>
                  <a:lnTo>
                    <a:pt x="2914" y="990"/>
                  </a:lnTo>
                  <a:lnTo>
                    <a:pt x="2929" y="959"/>
                  </a:lnTo>
                  <a:lnTo>
                    <a:pt x="2947" y="930"/>
                  </a:lnTo>
                  <a:lnTo>
                    <a:pt x="2962" y="955"/>
                  </a:lnTo>
                  <a:lnTo>
                    <a:pt x="2960" y="996"/>
                  </a:lnTo>
                  <a:moveTo>
                    <a:pt x="996" y="1044"/>
                  </a:moveTo>
                  <a:lnTo>
                    <a:pt x="1139" y="1052"/>
                  </a:lnTo>
                  <a:lnTo>
                    <a:pt x="1158" y="1017"/>
                  </a:lnTo>
                  <a:lnTo>
                    <a:pt x="1295" y="1058"/>
                  </a:lnTo>
                  <a:lnTo>
                    <a:pt x="1319" y="1113"/>
                  </a:lnTo>
                  <a:lnTo>
                    <a:pt x="1431" y="1129"/>
                  </a:lnTo>
                  <a:lnTo>
                    <a:pt x="1519" y="1179"/>
                  </a:lnTo>
                  <a:lnTo>
                    <a:pt x="1431" y="1212"/>
                  </a:lnTo>
                  <a:lnTo>
                    <a:pt x="1351" y="1177"/>
                  </a:lnTo>
                  <a:lnTo>
                    <a:pt x="1283" y="1180"/>
                  </a:lnTo>
                  <a:lnTo>
                    <a:pt x="1206" y="1174"/>
                  </a:lnTo>
                  <a:lnTo>
                    <a:pt x="1136" y="1158"/>
                  </a:lnTo>
                  <a:lnTo>
                    <a:pt x="1052" y="1126"/>
                  </a:lnTo>
                  <a:lnTo>
                    <a:pt x="997" y="1117"/>
                  </a:lnTo>
                  <a:lnTo>
                    <a:pt x="965" y="1128"/>
                  </a:lnTo>
                  <a:lnTo>
                    <a:pt x="830" y="1093"/>
                  </a:lnTo>
                  <a:lnTo>
                    <a:pt x="819" y="1056"/>
                  </a:lnTo>
                  <a:lnTo>
                    <a:pt x="751" y="1050"/>
                  </a:lnTo>
                  <a:lnTo>
                    <a:pt x="807" y="969"/>
                  </a:lnTo>
                  <a:lnTo>
                    <a:pt x="898" y="974"/>
                  </a:lnTo>
                  <a:lnTo>
                    <a:pt x="957" y="1007"/>
                  </a:lnTo>
                  <a:lnTo>
                    <a:pt x="987" y="1013"/>
                  </a:lnTo>
                  <a:lnTo>
                    <a:pt x="996" y="1044"/>
                  </a:lnTo>
                  <a:moveTo>
                    <a:pt x="2061" y="1156"/>
                  </a:moveTo>
                  <a:lnTo>
                    <a:pt x="2046" y="1203"/>
                  </a:lnTo>
                  <a:lnTo>
                    <a:pt x="1932" y="1227"/>
                  </a:lnTo>
                  <a:lnTo>
                    <a:pt x="1833" y="1217"/>
                  </a:lnTo>
                  <a:lnTo>
                    <a:pt x="1835" y="1186"/>
                  </a:lnTo>
                  <a:lnTo>
                    <a:pt x="1896" y="1168"/>
                  </a:lnTo>
                  <a:lnTo>
                    <a:pt x="1941" y="1193"/>
                  </a:lnTo>
                  <a:lnTo>
                    <a:pt x="1991" y="1187"/>
                  </a:lnTo>
                  <a:lnTo>
                    <a:pt x="2061" y="1156"/>
                  </a:lnTo>
                  <a:moveTo>
                    <a:pt x="1685" y="1156"/>
                  </a:moveTo>
                  <a:lnTo>
                    <a:pt x="1711" y="1179"/>
                  </a:lnTo>
                  <a:lnTo>
                    <a:pt x="1758" y="1172"/>
                  </a:lnTo>
                  <a:lnTo>
                    <a:pt x="1774" y="1208"/>
                  </a:lnTo>
                  <a:lnTo>
                    <a:pt x="1685" y="1225"/>
                  </a:lnTo>
                  <a:lnTo>
                    <a:pt x="1633" y="1236"/>
                  </a:lnTo>
                  <a:lnTo>
                    <a:pt x="1592" y="1236"/>
                  </a:lnTo>
                  <a:lnTo>
                    <a:pt x="1622" y="1187"/>
                  </a:lnTo>
                  <a:lnTo>
                    <a:pt x="1663" y="1186"/>
                  </a:lnTo>
                  <a:lnTo>
                    <a:pt x="1685" y="1156"/>
                  </a:lnTo>
                  <a:moveTo>
                    <a:pt x="2161" y="1330"/>
                  </a:moveTo>
                  <a:lnTo>
                    <a:pt x="2095" y="1349"/>
                  </a:lnTo>
                  <a:lnTo>
                    <a:pt x="2087" y="1339"/>
                  </a:lnTo>
                  <a:lnTo>
                    <a:pt x="2097" y="1310"/>
                  </a:lnTo>
                  <a:lnTo>
                    <a:pt x="2133" y="1258"/>
                  </a:lnTo>
                  <a:lnTo>
                    <a:pt x="2210" y="1224"/>
                  </a:lnTo>
                  <a:lnTo>
                    <a:pt x="2217" y="1241"/>
                  </a:lnTo>
                  <a:lnTo>
                    <a:pt x="2216" y="1266"/>
                  </a:lnTo>
                  <a:lnTo>
                    <a:pt x="2161" y="1330"/>
                  </a:lnTo>
                  <a:moveTo>
                    <a:pt x="1881" y="1339"/>
                  </a:moveTo>
                  <a:lnTo>
                    <a:pt x="1850" y="1340"/>
                  </a:lnTo>
                  <a:lnTo>
                    <a:pt x="1756" y="1280"/>
                  </a:lnTo>
                  <a:lnTo>
                    <a:pt x="1827" y="1264"/>
                  </a:lnTo>
                  <a:lnTo>
                    <a:pt x="1864" y="1290"/>
                  </a:lnTo>
                  <a:lnTo>
                    <a:pt x="1888" y="1316"/>
                  </a:lnTo>
                  <a:lnTo>
                    <a:pt x="1881" y="1339"/>
                  </a:lnTo>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24" name="Freeform 87"/>
            <p:cNvSpPr>
              <a:spLocks/>
            </p:cNvSpPr>
            <p:nvPr/>
          </p:nvSpPr>
          <p:spPr bwMode="auto">
            <a:xfrm>
              <a:off x="6121400" y="2535241"/>
              <a:ext cx="800100" cy="908050"/>
            </a:xfrm>
            <a:custGeom>
              <a:avLst/>
              <a:gdLst>
                <a:gd name="T0" fmla="*/ 149 w 504"/>
                <a:gd name="T1" fmla="*/ 42 h 572"/>
                <a:gd name="T2" fmla="*/ 148 w 504"/>
                <a:gd name="T3" fmla="*/ 60 h 572"/>
                <a:gd name="T4" fmla="*/ 206 w 504"/>
                <a:gd name="T5" fmla="*/ 110 h 572"/>
                <a:gd name="T6" fmla="*/ 212 w 504"/>
                <a:gd name="T7" fmla="*/ 147 h 572"/>
                <a:gd name="T8" fmla="*/ 282 w 504"/>
                <a:gd name="T9" fmla="*/ 172 h 572"/>
                <a:gd name="T10" fmla="*/ 330 w 504"/>
                <a:gd name="T11" fmla="*/ 189 h 572"/>
                <a:gd name="T12" fmla="*/ 340 w 504"/>
                <a:gd name="T13" fmla="*/ 167 h 572"/>
                <a:gd name="T14" fmla="*/ 355 w 504"/>
                <a:gd name="T15" fmla="*/ 170 h 572"/>
                <a:gd name="T16" fmla="*/ 384 w 504"/>
                <a:gd name="T17" fmla="*/ 179 h 572"/>
                <a:gd name="T18" fmla="*/ 412 w 504"/>
                <a:gd name="T19" fmla="*/ 167 h 572"/>
                <a:gd name="T20" fmla="*/ 430 w 504"/>
                <a:gd name="T21" fmla="*/ 142 h 572"/>
                <a:gd name="T22" fmla="*/ 474 w 504"/>
                <a:gd name="T23" fmla="*/ 126 h 572"/>
                <a:gd name="T24" fmla="*/ 501 w 504"/>
                <a:gd name="T25" fmla="*/ 150 h 572"/>
                <a:gd name="T26" fmla="*/ 504 w 504"/>
                <a:gd name="T27" fmla="*/ 175 h 572"/>
                <a:gd name="T28" fmla="*/ 473 w 504"/>
                <a:gd name="T29" fmla="*/ 197 h 572"/>
                <a:gd name="T30" fmla="*/ 463 w 504"/>
                <a:gd name="T31" fmla="*/ 242 h 572"/>
                <a:gd name="T32" fmla="*/ 449 w 504"/>
                <a:gd name="T33" fmla="*/ 266 h 572"/>
                <a:gd name="T34" fmla="*/ 429 w 504"/>
                <a:gd name="T35" fmla="*/ 247 h 572"/>
                <a:gd name="T36" fmla="*/ 412 w 504"/>
                <a:gd name="T37" fmla="*/ 249 h 572"/>
                <a:gd name="T38" fmla="*/ 428 w 504"/>
                <a:gd name="T39" fmla="*/ 219 h 572"/>
                <a:gd name="T40" fmla="*/ 383 w 504"/>
                <a:gd name="T41" fmla="*/ 212 h 572"/>
                <a:gd name="T42" fmla="*/ 354 w 504"/>
                <a:gd name="T43" fmla="*/ 188 h 572"/>
                <a:gd name="T44" fmla="*/ 356 w 504"/>
                <a:gd name="T45" fmla="*/ 221 h 572"/>
                <a:gd name="T46" fmla="*/ 364 w 504"/>
                <a:gd name="T47" fmla="*/ 246 h 572"/>
                <a:gd name="T48" fmla="*/ 378 w 504"/>
                <a:gd name="T49" fmla="*/ 287 h 572"/>
                <a:gd name="T50" fmla="*/ 347 w 504"/>
                <a:gd name="T51" fmla="*/ 306 h 572"/>
                <a:gd name="T52" fmla="*/ 298 w 504"/>
                <a:gd name="T53" fmla="*/ 357 h 572"/>
                <a:gd name="T54" fmla="*/ 271 w 504"/>
                <a:gd name="T55" fmla="*/ 394 h 572"/>
                <a:gd name="T56" fmla="*/ 238 w 504"/>
                <a:gd name="T57" fmla="*/ 407 h 572"/>
                <a:gd name="T58" fmla="*/ 243 w 504"/>
                <a:gd name="T59" fmla="*/ 467 h 572"/>
                <a:gd name="T60" fmla="*/ 230 w 504"/>
                <a:gd name="T61" fmla="*/ 523 h 572"/>
                <a:gd name="T62" fmla="*/ 212 w 504"/>
                <a:gd name="T63" fmla="*/ 552 h 572"/>
                <a:gd name="T64" fmla="*/ 181 w 504"/>
                <a:gd name="T65" fmla="*/ 553 h 572"/>
                <a:gd name="T66" fmla="*/ 156 w 504"/>
                <a:gd name="T67" fmla="*/ 493 h 572"/>
                <a:gd name="T68" fmla="*/ 134 w 504"/>
                <a:gd name="T69" fmla="*/ 434 h 572"/>
                <a:gd name="T70" fmla="*/ 95 w 504"/>
                <a:gd name="T71" fmla="*/ 338 h 572"/>
                <a:gd name="T72" fmla="*/ 61 w 504"/>
                <a:gd name="T73" fmla="*/ 306 h 572"/>
                <a:gd name="T74" fmla="*/ 29 w 504"/>
                <a:gd name="T75" fmla="*/ 271 h 572"/>
                <a:gd name="T76" fmla="*/ 10 w 504"/>
                <a:gd name="T77" fmla="*/ 231 h 572"/>
                <a:gd name="T78" fmla="*/ 31 w 504"/>
                <a:gd name="T79" fmla="*/ 203 h 572"/>
                <a:gd name="T80" fmla="*/ 29 w 504"/>
                <a:gd name="T81" fmla="*/ 156 h 572"/>
                <a:gd name="T82" fmla="*/ 72 w 504"/>
                <a:gd name="T83" fmla="*/ 115 h 572"/>
                <a:gd name="T84" fmla="*/ 94 w 504"/>
                <a:gd name="T85" fmla="*/ 67 h 572"/>
                <a:gd name="T86" fmla="*/ 58 w 504"/>
                <a:gd name="T87" fmla="*/ 25 h 572"/>
                <a:gd name="T88" fmla="*/ 110 w 504"/>
                <a:gd name="T89" fmla="*/ 18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572">
                  <a:moveTo>
                    <a:pt x="122" y="0"/>
                  </a:moveTo>
                  <a:lnTo>
                    <a:pt x="147" y="25"/>
                  </a:lnTo>
                  <a:lnTo>
                    <a:pt x="149" y="42"/>
                  </a:lnTo>
                  <a:lnTo>
                    <a:pt x="159" y="52"/>
                  </a:lnTo>
                  <a:lnTo>
                    <a:pt x="161" y="63"/>
                  </a:lnTo>
                  <a:lnTo>
                    <a:pt x="148" y="60"/>
                  </a:lnTo>
                  <a:lnTo>
                    <a:pt x="158" y="83"/>
                  </a:lnTo>
                  <a:lnTo>
                    <a:pt x="178" y="96"/>
                  </a:lnTo>
                  <a:lnTo>
                    <a:pt x="206" y="110"/>
                  </a:lnTo>
                  <a:lnTo>
                    <a:pt x="197" y="120"/>
                  </a:lnTo>
                  <a:lnTo>
                    <a:pt x="194" y="139"/>
                  </a:lnTo>
                  <a:lnTo>
                    <a:pt x="212" y="147"/>
                  </a:lnTo>
                  <a:lnTo>
                    <a:pt x="231" y="157"/>
                  </a:lnTo>
                  <a:lnTo>
                    <a:pt x="257" y="169"/>
                  </a:lnTo>
                  <a:lnTo>
                    <a:pt x="282" y="172"/>
                  </a:lnTo>
                  <a:lnTo>
                    <a:pt x="294" y="182"/>
                  </a:lnTo>
                  <a:lnTo>
                    <a:pt x="308" y="184"/>
                  </a:lnTo>
                  <a:lnTo>
                    <a:pt x="330" y="189"/>
                  </a:lnTo>
                  <a:lnTo>
                    <a:pt x="345" y="189"/>
                  </a:lnTo>
                  <a:lnTo>
                    <a:pt x="346" y="181"/>
                  </a:lnTo>
                  <a:lnTo>
                    <a:pt x="340" y="167"/>
                  </a:lnTo>
                  <a:lnTo>
                    <a:pt x="340" y="158"/>
                  </a:lnTo>
                  <a:lnTo>
                    <a:pt x="350" y="154"/>
                  </a:lnTo>
                  <a:lnTo>
                    <a:pt x="355" y="170"/>
                  </a:lnTo>
                  <a:lnTo>
                    <a:pt x="356" y="174"/>
                  </a:lnTo>
                  <a:lnTo>
                    <a:pt x="374" y="182"/>
                  </a:lnTo>
                  <a:lnTo>
                    <a:pt x="384" y="179"/>
                  </a:lnTo>
                  <a:lnTo>
                    <a:pt x="400" y="181"/>
                  </a:lnTo>
                  <a:lnTo>
                    <a:pt x="414" y="180"/>
                  </a:lnTo>
                  <a:lnTo>
                    <a:pt x="412" y="167"/>
                  </a:lnTo>
                  <a:lnTo>
                    <a:pt x="404" y="161"/>
                  </a:lnTo>
                  <a:lnTo>
                    <a:pt x="418" y="158"/>
                  </a:lnTo>
                  <a:lnTo>
                    <a:pt x="430" y="142"/>
                  </a:lnTo>
                  <a:lnTo>
                    <a:pt x="447" y="129"/>
                  </a:lnTo>
                  <a:lnTo>
                    <a:pt x="463" y="134"/>
                  </a:lnTo>
                  <a:lnTo>
                    <a:pt x="474" y="126"/>
                  </a:lnTo>
                  <a:lnTo>
                    <a:pt x="485" y="139"/>
                  </a:lnTo>
                  <a:lnTo>
                    <a:pt x="481" y="147"/>
                  </a:lnTo>
                  <a:lnTo>
                    <a:pt x="501" y="150"/>
                  </a:lnTo>
                  <a:lnTo>
                    <a:pt x="504" y="158"/>
                  </a:lnTo>
                  <a:lnTo>
                    <a:pt x="499" y="162"/>
                  </a:lnTo>
                  <a:lnTo>
                    <a:pt x="504" y="175"/>
                  </a:lnTo>
                  <a:lnTo>
                    <a:pt x="490" y="171"/>
                  </a:lnTo>
                  <a:lnTo>
                    <a:pt x="470" y="185"/>
                  </a:lnTo>
                  <a:lnTo>
                    <a:pt x="473" y="197"/>
                  </a:lnTo>
                  <a:lnTo>
                    <a:pt x="467" y="215"/>
                  </a:lnTo>
                  <a:lnTo>
                    <a:pt x="468" y="225"/>
                  </a:lnTo>
                  <a:lnTo>
                    <a:pt x="463" y="242"/>
                  </a:lnTo>
                  <a:lnTo>
                    <a:pt x="449" y="237"/>
                  </a:lnTo>
                  <a:lnTo>
                    <a:pt x="452" y="259"/>
                  </a:lnTo>
                  <a:lnTo>
                    <a:pt x="449" y="266"/>
                  </a:lnTo>
                  <a:lnTo>
                    <a:pt x="452" y="274"/>
                  </a:lnTo>
                  <a:lnTo>
                    <a:pt x="444" y="280"/>
                  </a:lnTo>
                  <a:lnTo>
                    <a:pt x="429" y="247"/>
                  </a:lnTo>
                  <a:lnTo>
                    <a:pt x="424" y="247"/>
                  </a:lnTo>
                  <a:lnTo>
                    <a:pt x="424" y="260"/>
                  </a:lnTo>
                  <a:lnTo>
                    <a:pt x="412" y="249"/>
                  </a:lnTo>
                  <a:lnTo>
                    <a:pt x="415" y="237"/>
                  </a:lnTo>
                  <a:lnTo>
                    <a:pt x="423" y="236"/>
                  </a:lnTo>
                  <a:lnTo>
                    <a:pt x="428" y="219"/>
                  </a:lnTo>
                  <a:lnTo>
                    <a:pt x="417" y="215"/>
                  </a:lnTo>
                  <a:lnTo>
                    <a:pt x="400" y="215"/>
                  </a:lnTo>
                  <a:lnTo>
                    <a:pt x="383" y="212"/>
                  </a:lnTo>
                  <a:lnTo>
                    <a:pt x="378" y="198"/>
                  </a:lnTo>
                  <a:lnTo>
                    <a:pt x="370" y="197"/>
                  </a:lnTo>
                  <a:lnTo>
                    <a:pt x="354" y="188"/>
                  </a:lnTo>
                  <a:lnTo>
                    <a:pt x="350" y="202"/>
                  </a:lnTo>
                  <a:lnTo>
                    <a:pt x="366" y="213"/>
                  </a:lnTo>
                  <a:lnTo>
                    <a:pt x="356" y="221"/>
                  </a:lnTo>
                  <a:lnTo>
                    <a:pt x="353" y="228"/>
                  </a:lnTo>
                  <a:lnTo>
                    <a:pt x="365" y="234"/>
                  </a:lnTo>
                  <a:lnTo>
                    <a:pt x="364" y="246"/>
                  </a:lnTo>
                  <a:lnTo>
                    <a:pt x="373" y="262"/>
                  </a:lnTo>
                  <a:lnTo>
                    <a:pt x="379" y="279"/>
                  </a:lnTo>
                  <a:lnTo>
                    <a:pt x="378" y="287"/>
                  </a:lnTo>
                  <a:lnTo>
                    <a:pt x="365" y="286"/>
                  </a:lnTo>
                  <a:lnTo>
                    <a:pt x="344" y="291"/>
                  </a:lnTo>
                  <a:lnTo>
                    <a:pt x="347" y="306"/>
                  </a:lnTo>
                  <a:lnTo>
                    <a:pt x="339" y="319"/>
                  </a:lnTo>
                  <a:lnTo>
                    <a:pt x="315" y="333"/>
                  </a:lnTo>
                  <a:lnTo>
                    <a:pt x="298" y="357"/>
                  </a:lnTo>
                  <a:lnTo>
                    <a:pt x="286" y="370"/>
                  </a:lnTo>
                  <a:lnTo>
                    <a:pt x="270" y="384"/>
                  </a:lnTo>
                  <a:lnTo>
                    <a:pt x="271" y="394"/>
                  </a:lnTo>
                  <a:lnTo>
                    <a:pt x="262" y="399"/>
                  </a:lnTo>
                  <a:lnTo>
                    <a:pt x="246" y="406"/>
                  </a:lnTo>
                  <a:lnTo>
                    <a:pt x="238" y="407"/>
                  </a:lnTo>
                  <a:lnTo>
                    <a:pt x="234" y="423"/>
                  </a:lnTo>
                  <a:lnTo>
                    <a:pt x="241" y="450"/>
                  </a:lnTo>
                  <a:lnTo>
                    <a:pt x="243" y="467"/>
                  </a:lnTo>
                  <a:lnTo>
                    <a:pt x="237" y="487"/>
                  </a:lnTo>
                  <a:lnTo>
                    <a:pt x="239" y="522"/>
                  </a:lnTo>
                  <a:lnTo>
                    <a:pt x="230" y="523"/>
                  </a:lnTo>
                  <a:lnTo>
                    <a:pt x="222" y="539"/>
                  </a:lnTo>
                  <a:lnTo>
                    <a:pt x="228" y="546"/>
                  </a:lnTo>
                  <a:lnTo>
                    <a:pt x="212" y="552"/>
                  </a:lnTo>
                  <a:lnTo>
                    <a:pt x="206" y="566"/>
                  </a:lnTo>
                  <a:lnTo>
                    <a:pt x="199" y="572"/>
                  </a:lnTo>
                  <a:lnTo>
                    <a:pt x="181" y="553"/>
                  </a:lnTo>
                  <a:lnTo>
                    <a:pt x="171" y="523"/>
                  </a:lnTo>
                  <a:lnTo>
                    <a:pt x="163" y="503"/>
                  </a:lnTo>
                  <a:lnTo>
                    <a:pt x="156" y="493"/>
                  </a:lnTo>
                  <a:lnTo>
                    <a:pt x="144" y="473"/>
                  </a:lnTo>
                  <a:lnTo>
                    <a:pt x="138" y="447"/>
                  </a:lnTo>
                  <a:lnTo>
                    <a:pt x="134" y="434"/>
                  </a:lnTo>
                  <a:lnTo>
                    <a:pt x="115" y="405"/>
                  </a:lnTo>
                  <a:lnTo>
                    <a:pt x="103" y="365"/>
                  </a:lnTo>
                  <a:lnTo>
                    <a:pt x="95" y="338"/>
                  </a:lnTo>
                  <a:lnTo>
                    <a:pt x="92" y="313"/>
                  </a:lnTo>
                  <a:lnTo>
                    <a:pt x="86" y="294"/>
                  </a:lnTo>
                  <a:lnTo>
                    <a:pt x="61" y="306"/>
                  </a:lnTo>
                  <a:lnTo>
                    <a:pt x="48" y="304"/>
                  </a:lnTo>
                  <a:lnTo>
                    <a:pt x="22" y="279"/>
                  </a:lnTo>
                  <a:lnTo>
                    <a:pt x="29" y="271"/>
                  </a:lnTo>
                  <a:lnTo>
                    <a:pt x="23" y="263"/>
                  </a:lnTo>
                  <a:lnTo>
                    <a:pt x="0" y="245"/>
                  </a:lnTo>
                  <a:lnTo>
                    <a:pt x="10" y="231"/>
                  </a:lnTo>
                  <a:lnTo>
                    <a:pt x="49" y="231"/>
                  </a:lnTo>
                  <a:lnTo>
                    <a:pt x="43" y="213"/>
                  </a:lnTo>
                  <a:lnTo>
                    <a:pt x="31" y="203"/>
                  </a:lnTo>
                  <a:lnTo>
                    <a:pt x="27" y="187"/>
                  </a:lnTo>
                  <a:lnTo>
                    <a:pt x="13" y="178"/>
                  </a:lnTo>
                  <a:lnTo>
                    <a:pt x="29" y="156"/>
                  </a:lnTo>
                  <a:lnTo>
                    <a:pt x="50" y="158"/>
                  </a:lnTo>
                  <a:lnTo>
                    <a:pt x="65" y="136"/>
                  </a:lnTo>
                  <a:lnTo>
                    <a:pt x="72" y="115"/>
                  </a:lnTo>
                  <a:lnTo>
                    <a:pt x="85" y="94"/>
                  </a:lnTo>
                  <a:lnTo>
                    <a:pt x="81" y="79"/>
                  </a:lnTo>
                  <a:lnTo>
                    <a:pt x="94" y="67"/>
                  </a:lnTo>
                  <a:lnTo>
                    <a:pt x="77" y="57"/>
                  </a:lnTo>
                  <a:lnTo>
                    <a:pt x="68" y="43"/>
                  </a:lnTo>
                  <a:lnTo>
                    <a:pt x="58" y="25"/>
                  </a:lnTo>
                  <a:lnTo>
                    <a:pt x="64" y="16"/>
                  </a:lnTo>
                  <a:lnTo>
                    <a:pt x="92" y="21"/>
                  </a:lnTo>
                  <a:lnTo>
                    <a:pt x="110" y="18"/>
                  </a:lnTo>
                  <a:lnTo>
                    <a:pt x="122" y="0"/>
                  </a:lnTo>
                  <a:close/>
                </a:path>
              </a:pathLst>
            </a:custGeom>
            <a:solidFill>
              <a:schemeClr val="accent2">
                <a:lumMod val="40000"/>
                <a:lumOff val="60000"/>
              </a:schemeClr>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25" name="Freeform 88"/>
            <p:cNvSpPr>
              <a:spLocks/>
            </p:cNvSpPr>
            <p:nvPr/>
          </p:nvSpPr>
          <p:spPr bwMode="auto">
            <a:xfrm>
              <a:off x="3932237" y="1900241"/>
              <a:ext cx="100013" cy="109538"/>
            </a:xfrm>
            <a:custGeom>
              <a:avLst/>
              <a:gdLst>
                <a:gd name="T0" fmla="*/ 61 w 63"/>
                <a:gd name="T1" fmla="*/ 25 h 69"/>
                <a:gd name="T2" fmla="*/ 63 w 63"/>
                <a:gd name="T3" fmla="*/ 40 h 69"/>
                <a:gd name="T4" fmla="*/ 51 w 63"/>
                <a:gd name="T5" fmla="*/ 57 h 69"/>
                <a:gd name="T6" fmla="*/ 22 w 63"/>
                <a:gd name="T7" fmla="*/ 69 h 69"/>
                <a:gd name="T8" fmla="*/ 0 w 63"/>
                <a:gd name="T9" fmla="*/ 66 h 69"/>
                <a:gd name="T10" fmla="*/ 14 w 63"/>
                <a:gd name="T11" fmla="*/ 45 h 69"/>
                <a:gd name="T12" fmla="*/ 7 w 63"/>
                <a:gd name="T13" fmla="*/ 25 h 69"/>
                <a:gd name="T14" fmla="*/ 29 w 63"/>
                <a:gd name="T15" fmla="*/ 10 h 69"/>
                <a:gd name="T16" fmla="*/ 41 w 63"/>
                <a:gd name="T17" fmla="*/ 0 h 69"/>
                <a:gd name="T18" fmla="*/ 44 w 63"/>
                <a:gd name="T19" fmla="*/ 11 h 69"/>
                <a:gd name="T20" fmla="*/ 40 w 63"/>
                <a:gd name="T21" fmla="*/ 22 h 69"/>
                <a:gd name="T22" fmla="*/ 50 w 63"/>
                <a:gd name="T23" fmla="*/ 21 h 69"/>
                <a:gd name="T24" fmla="*/ 61 w 63"/>
                <a:gd name="T25" fmla="*/ 2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69">
                  <a:moveTo>
                    <a:pt x="61" y="25"/>
                  </a:moveTo>
                  <a:lnTo>
                    <a:pt x="63" y="40"/>
                  </a:lnTo>
                  <a:lnTo>
                    <a:pt x="51" y="57"/>
                  </a:lnTo>
                  <a:lnTo>
                    <a:pt x="22" y="69"/>
                  </a:lnTo>
                  <a:lnTo>
                    <a:pt x="0" y="66"/>
                  </a:lnTo>
                  <a:lnTo>
                    <a:pt x="14" y="45"/>
                  </a:lnTo>
                  <a:lnTo>
                    <a:pt x="7" y="25"/>
                  </a:lnTo>
                  <a:lnTo>
                    <a:pt x="29" y="10"/>
                  </a:lnTo>
                  <a:lnTo>
                    <a:pt x="41" y="0"/>
                  </a:lnTo>
                  <a:lnTo>
                    <a:pt x="44" y="11"/>
                  </a:lnTo>
                  <a:lnTo>
                    <a:pt x="40" y="22"/>
                  </a:lnTo>
                  <a:lnTo>
                    <a:pt x="50" y="21"/>
                  </a:lnTo>
                  <a:lnTo>
                    <a:pt x="61" y="25"/>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26" name="Freeform 89"/>
            <p:cNvSpPr>
              <a:spLocks/>
            </p:cNvSpPr>
            <p:nvPr/>
          </p:nvSpPr>
          <p:spPr bwMode="auto">
            <a:xfrm>
              <a:off x="5370512" y="2397129"/>
              <a:ext cx="598488" cy="481013"/>
            </a:xfrm>
            <a:custGeom>
              <a:avLst/>
              <a:gdLst>
                <a:gd name="T0" fmla="*/ 190 w 377"/>
                <a:gd name="T1" fmla="*/ 48 h 303"/>
                <a:gd name="T2" fmla="*/ 211 w 377"/>
                <a:gd name="T3" fmla="*/ 37 h 303"/>
                <a:gd name="T4" fmla="*/ 231 w 377"/>
                <a:gd name="T5" fmla="*/ 35 h 303"/>
                <a:gd name="T6" fmla="*/ 266 w 377"/>
                <a:gd name="T7" fmla="*/ 48 h 303"/>
                <a:gd name="T8" fmla="*/ 302 w 377"/>
                <a:gd name="T9" fmla="*/ 67 h 303"/>
                <a:gd name="T10" fmla="*/ 306 w 377"/>
                <a:gd name="T11" fmla="*/ 110 h 303"/>
                <a:gd name="T12" fmla="*/ 312 w 377"/>
                <a:gd name="T13" fmla="*/ 128 h 303"/>
                <a:gd name="T14" fmla="*/ 315 w 377"/>
                <a:gd name="T15" fmla="*/ 156 h 303"/>
                <a:gd name="T16" fmla="*/ 333 w 377"/>
                <a:gd name="T17" fmla="*/ 173 h 303"/>
                <a:gd name="T18" fmla="*/ 324 w 377"/>
                <a:gd name="T19" fmla="*/ 205 h 303"/>
                <a:gd name="T20" fmla="*/ 343 w 377"/>
                <a:gd name="T21" fmla="*/ 228 h 303"/>
                <a:gd name="T22" fmla="*/ 365 w 377"/>
                <a:gd name="T23" fmla="*/ 256 h 303"/>
                <a:gd name="T24" fmla="*/ 377 w 377"/>
                <a:gd name="T25" fmla="*/ 268 h 303"/>
                <a:gd name="T26" fmla="*/ 349 w 377"/>
                <a:gd name="T27" fmla="*/ 303 h 303"/>
                <a:gd name="T28" fmla="*/ 295 w 377"/>
                <a:gd name="T29" fmla="*/ 292 h 303"/>
                <a:gd name="T30" fmla="*/ 264 w 377"/>
                <a:gd name="T31" fmla="*/ 264 h 303"/>
                <a:gd name="T32" fmla="*/ 241 w 377"/>
                <a:gd name="T33" fmla="*/ 264 h 303"/>
                <a:gd name="T34" fmla="*/ 202 w 377"/>
                <a:gd name="T35" fmla="*/ 268 h 303"/>
                <a:gd name="T36" fmla="*/ 164 w 377"/>
                <a:gd name="T37" fmla="*/ 246 h 303"/>
                <a:gd name="T38" fmla="*/ 133 w 377"/>
                <a:gd name="T39" fmla="*/ 198 h 303"/>
                <a:gd name="T40" fmla="*/ 112 w 377"/>
                <a:gd name="T41" fmla="*/ 195 h 303"/>
                <a:gd name="T42" fmla="*/ 96 w 377"/>
                <a:gd name="T43" fmla="*/ 192 h 303"/>
                <a:gd name="T44" fmla="*/ 88 w 377"/>
                <a:gd name="T45" fmla="*/ 181 h 303"/>
                <a:gd name="T46" fmla="*/ 78 w 377"/>
                <a:gd name="T47" fmla="*/ 150 h 303"/>
                <a:gd name="T48" fmla="*/ 40 w 377"/>
                <a:gd name="T49" fmla="*/ 119 h 303"/>
                <a:gd name="T50" fmla="*/ 49 w 377"/>
                <a:gd name="T51" fmla="*/ 96 h 303"/>
                <a:gd name="T52" fmla="*/ 34 w 377"/>
                <a:gd name="T53" fmla="*/ 77 h 303"/>
                <a:gd name="T54" fmla="*/ 7 w 377"/>
                <a:gd name="T55" fmla="*/ 36 h 303"/>
                <a:gd name="T56" fmla="*/ 0 w 377"/>
                <a:gd name="T57" fmla="*/ 6 h 303"/>
                <a:gd name="T58" fmla="*/ 15 w 377"/>
                <a:gd name="T59" fmla="*/ 8 h 303"/>
                <a:gd name="T60" fmla="*/ 37 w 377"/>
                <a:gd name="T61" fmla="*/ 20 h 303"/>
                <a:gd name="T62" fmla="*/ 60 w 377"/>
                <a:gd name="T63" fmla="*/ 5 h 303"/>
                <a:gd name="T64" fmla="*/ 73 w 377"/>
                <a:gd name="T65" fmla="*/ 9 h 303"/>
                <a:gd name="T66" fmla="*/ 81 w 377"/>
                <a:gd name="T67" fmla="*/ 30 h 303"/>
                <a:gd name="T68" fmla="*/ 93 w 377"/>
                <a:gd name="T69" fmla="*/ 44 h 303"/>
                <a:gd name="T70" fmla="*/ 124 w 377"/>
                <a:gd name="T71" fmla="*/ 59 h 303"/>
                <a:gd name="T72" fmla="*/ 175 w 377"/>
                <a:gd name="T73" fmla="*/ 5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7" h="303">
                  <a:moveTo>
                    <a:pt x="176" y="52"/>
                  </a:moveTo>
                  <a:lnTo>
                    <a:pt x="190" y="48"/>
                  </a:lnTo>
                  <a:lnTo>
                    <a:pt x="200" y="36"/>
                  </a:lnTo>
                  <a:lnTo>
                    <a:pt x="211" y="37"/>
                  </a:lnTo>
                  <a:lnTo>
                    <a:pt x="218" y="33"/>
                  </a:lnTo>
                  <a:lnTo>
                    <a:pt x="231" y="35"/>
                  </a:lnTo>
                  <a:lnTo>
                    <a:pt x="252" y="45"/>
                  </a:lnTo>
                  <a:lnTo>
                    <a:pt x="266" y="48"/>
                  </a:lnTo>
                  <a:lnTo>
                    <a:pt x="289" y="66"/>
                  </a:lnTo>
                  <a:lnTo>
                    <a:pt x="302" y="67"/>
                  </a:lnTo>
                  <a:lnTo>
                    <a:pt x="308" y="84"/>
                  </a:lnTo>
                  <a:lnTo>
                    <a:pt x="306" y="110"/>
                  </a:lnTo>
                  <a:lnTo>
                    <a:pt x="304" y="125"/>
                  </a:lnTo>
                  <a:lnTo>
                    <a:pt x="312" y="128"/>
                  </a:lnTo>
                  <a:lnTo>
                    <a:pt x="307" y="139"/>
                  </a:lnTo>
                  <a:lnTo>
                    <a:pt x="315" y="156"/>
                  </a:lnTo>
                  <a:lnTo>
                    <a:pt x="319" y="169"/>
                  </a:lnTo>
                  <a:lnTo>
                    <a:pt x="333" y="173"/>
                  </a:lnTo>
                  <a:lnTo>
                    <a:pt x="337" y="186"/>
                  </a:lnTo>
                  <a:lnTo>
                    <a:pt x="324" y="205"/>
                  </a:lnTo>
                  <a:lnTo>
                    <a:pt x="334" y="216"/>
                  </a:lnTo>
                  <a:lnTo>
                    <a:pt x="343" y="228"/>
                  </a:lnTo>
                  <a:lnTo>
                    <a:pt x="362" y="237"/>
                  </a:lnTo>
                  <a:lnTo>
                    <a:pt x="365" y="256"/>
                  </a:lnTo>
                  <a:lnTo>
                    <a:pt x="374" y="259"/>
                  </a:lnTo>
                  <a:lnTo>
                    <a:pt x="377" y="268"/>
                  </a:lnTo>
                  <a:lnTo>
                    <a:pt x="353" y="279"/>
                  </a:lnTo>
                  <a:lnTo>
                    <a:pt x="349" y="303"/>
                  </a:lnTo>
                  <a:lnTo>
                    <a:pt x="315" y="297"/>
                  </a:lnTo>
                  <a:lnTo>
                    <a:pt x="295" y="292"/>
                  </a:lnTo>
                  <a:lnTo>
                    <a:pt x="274" y="290"/>
                  </a:lnTo>
                  <a:lnTo>
                    <a:pt x="264" y="264"/>
                  </a:lnTo>
                  <a:lnTo>
                    <a:pt x="255" y="260"/>
                  </a:lnTo>
                  <a:lnTo>
                    <a:pt x="241" y="264"/>
                  </a:lnTo>
                  <a:lnTo>
                    <a:pt x="225" y="274"/>
                  </a:lnTo>
                  <a:lnTo>
                    <a:pt x="202" y="268"/>
                  </a:lnTo>
                  <a:lnTo>
                    <a:pt x="182" y="251"/>
                  </a:lnTo>
                  <a:lnTo>
                    <a:pt x="164" y="246"/>
                  </a:lnTo>
                  <a:lnTo>
                    <a:pt x="150" y="226"/>
                  </a:lnTo>
                  <a:lnTo>
                    <a:pt x="133" y="198"/>
                  </a:lnTo>
                  <a:lnTo>
                    <a:pt x="124" y="202"/>
                  </a:lnTo>
                  <a:lnTo>
                    <a:pt x="112" y="195"/>
                  </a:lnTo>
                  <a:lnTo>
                    <a:pt x="107" y="203"/>
                  </a:lnTo>
                  <a:lnTo>
                    <a:pt x="96" y="192"/>
                  </a:lnTo>
                  <a:lnTo>
                    <a:pt x="94" y="181"/>
                  </a:lnTo>
                  <a:lnTo>
                    <a:pt x="88" y="181"/>
                  </a:lnTo>
                  <a:lnTo>
                    <a:pt x="89" y="166"/>
                  </a:lnTo>
                  <a:lnTo>
                    <a:pt x="78" y="150"/>
                  </a:lnTo>
                  <a:lnTo>
                    <a:pt x="55" y="139"/>
                  </a:lnTo>
                  <a:lnTo>
                    <a:pt x="40" y="119"/>
                  </a:lnTo>
                  <a:lnTo>
                    <a:pt x="42" y="103"/>
                  </a:lnTo>
                  <a:lnTo>
                    <a:pt x="49" y="96"/>
                  </a:lnTo>
                  <a:lnTo>
                    <a:pt x="46" y="84"/>
                  </a:lnTo>
                  <a:lnTo>
                    <a:pt x="34" y="77"/>
                  </a:lnTo>
                  <a:lnTo>
                    <a:pt x="19" y="53"/>
                  </a:lnTo>
                  <a:lnTo>
                    <a:pt x="7" y="36"/>
                  </a:lnTo>
                  <a:lnTo>
                    <a:pt x="9" y="30"/>
                  </a:lnTo>
                  <a:lnTo>
                    <a:pt x="0" y="6"/>
                  </a:lnTo>
                  <a:lnTo>
                    <a:pt x="11" y="0"/>
                  </a:lnTo>
                  <a:lnTo>
                    <a:pt x="15" y="8"/>
                  </a:lnTo>
                  <a:lnTo>
                    <a:pt x="25" y="18"/>
                  </a:lnTo>
                  <a:lnTo>
                    <a:pt x="37" y="20"/>
                  </a:lnTo>
                  <a:lnTo>
                    <a:pt x="43" y="20"/>
                  </a:lnTo>
                  <a:lnTo>
                    <a:pt x="60" y="5"/>
                  </a:lnTo>
                  <a:lnTo>
                    <a:pt x="67" y="3"/>
                  </a:lnTo>
                  <a:lnTo>
                    <a:pt x="73" y="9"/>
                  </a:lnTo>
                  <a:lnTo>
                    <a:pt x="69" y="19"/>
                  </a:lnTo>
                  <a:lnTo>
                    <a:pt x="81" y="30"/>
                  </a:lnTo>
                  <a:lnTo>
                    <a:pt x="85" y="29"/>
                  </a:lnTo>
                  <a:lnTo>
                    <a:pt x="93" y="44"/>
                  </a:lnTo>
                  <a:lnTo>
                    <a:pt x="110" y="49"/>
                  </a:lnTo>
                  <a:lnTo>
                    <a:pt x="124" y="59"/>
                  </a:lnTo>
                  <a:lnTo>
                    <a:pt x="149" y="63"/>
                  </a:lnTo>
                  <a:lnTo>
                    <a:pt x="175" y="57"/>
                  </a:lnTo>
                  <a:lnTo>
                    <a:pt x="176" y="52"/>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27" name="Freeform 90"/>
            <p:cNvSpPr>
              <a:spLocks/>
            </p:cNvSpPr>
            <p:nvPr/>
          </p:nvSpPr>
          <p:spPr bwMode="auto">
            <a:xfrm>
              <a:off x="5254625" y="2473329"/>
              <a:ext cx="285750" cy="273050"/>
            </a:xfrm>
            <a:custGeom>
              <a:avLst/>
              <a:gdLst>
                <a:gd name="T0" fmla="*/ 107 w 180"/>
                <a:gd name="T1" fmla="*/ 29 h 172"/>
                <a:gd name="T2" fmla="*/ 119 w 180"/>
                <a:gd name="T3" fmla="*/ 36 h 172"/>
                <a:gd name="T4" fmla="*/ 122 w 180"/>
                <a:gd name="T5" fmla="*/ 48 h 172"/>
                <a:gd name="T6" fmla="*/ 115 w 180"/>
                <a:gd name="T7" fmla="*/ 55 h 172"/>
                <a:gd name="T8" fmla="*/ 113 w 180"/>
                <a:gd name="T9" fmla="*/ 71 h 172"/>
                <a:gd name="T10" fmla="*/ 128 w 180"/>
                <a:gd name="T11" fmla="*/ 91 h 172"/>
                <a:gd name="T12" fmla="*/ 151 w 180"/>
                <a:gd name="T13" fmla="*/ 102 h 172"/>
                <a:gd name="T14" fmla="*/ 162 w 180"/>
                <a:gd name="T15" fmla="*/ 118 h 172"/>
                <a:gd name="T16" fmla="*/ 161 w 180"/>
                <a:gd name="T17" fmla="*/ 133 h 172"/>
                <a:gd name="T18" fmla="*/ 167 w 180"/>
                <a:gd name="T19" fmla="*/ 133 h 172"/>
                <a:gd name="T20" fmla="*/ 169 w 180"/>
                <a:gd name="T21" fmla="*/ 144 h 172"/>
                <a:gd name="T22" fmla="*/ 180 w 180"/>
                <a:gd name="T23" fmla="*/ 155 h 172"/>
                <a:gd name="T24" fmla="*/ 169 w 180"/>
                <a:gd name="T25" fmla="*/ 154 h 172"/>
                <a:gd name="T26" fmla="*/ 157 w 180"/>
                <a:gd name="T27" fmla="*/ 152 h 172"/>
                <a:gd name="T28" fmla="*/ 147 w 180"/>
                <a:gd name="T29" fmla="*/ 172 h 172"/>
                <a:gd name="T30" fmla="*/ 114 w 180"/>
                <a:gd name="T31" fmla="*/ 170 h 172"/>
                <a:gd name="T32" fmla="*/ 59 w 180"/>
                <a:gd name="T33" fmla="*/ 129 h 172"/>
                <a:gd name="T34" fmla="*/ 31 w 180"/>
                <a:gd name="T35" fmla="*/ 114 h 172"/>
                <a:gd name="T36" fmla="*/ 10 w 180"/>
                <a:gd name="T37" fmla="*/ 109 h 172"/>
                <a:gd name="T38" fmla="*/ 0 w 180"/>
                <a:gd name="T39" fmla="*/ 83 h 172"/>
                <a:gd name="T40" fmla="*/ 35 w 180"/>
                <a:gd name="T41" fmla="*/ 62 h 172"/>
                <a:gd name="T42" fmla="*/ 38 w 180"/>
                <a:gd name="T43" fmla="*/ 37 h 172"/>
                <a:gd name="T44" fmla="*/ 35 w 180"/>
                <a:gd name="T45" fmla="*/ 22 h 172"/>
                <a:gd name="T46" fmla="*/ 43 w 180"/>
                <a:gd name="T47" fmla="*/ 17 h 172"/>
                <a:gd name="T48" fmla="*/ 50 w 180"/>
                <a:gd name="T49" fmla="*/ 4 h 172"/>
                <a:gd name="T50" fmla="*/ 57 w 180"/>
                <a:gd name="T51" fmla="*/ 0 h 172"/>
                <a:gd name="T52" fmla="*/ 78 w 180"/>
                <a:gd name="T53" fmla="*/ 3 h 172"/>
                <a:gd name="T54" fmla="*/ 84 w 180"/>
                <a:gd name="T55" fmla="*/ 8 h 172"/>
                <a:gd name="T56" fmla="*/ 92 w 180"/>
                <a:gd name="T57" fmla="*/ 5 h 172"/>
                <a:gd name="T58" fmla="*/ 107 w 180"/>
                <a:gd name="T59"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172">
                  <a:moveTo>
                    <a:pt x="107" y="29"/>
                  </a:moveTo>
                  <a:lnTo>
                    <a:pt x="119" y="36"/>
                  </a:lnTo>
                  <a:lnTo>
                    <a:pt x="122" y="48"/>
                  </a:lnTo>
                  <a:lnTo>
                    <a:pt x="115" y="55"/>
                  </a:lnTo>
                  <a:lnTo>
                    <a:pt x="113" y="71"/>
                  </a:lnTo>
                  <a:lnTo>
                    <a:pt x="128" y="91"/>
                  </a:lnTo>
                  <a:lnTo>
                    <a:pt x="151" y="102"/>
                  </a:lnTo>
                  <a:lnTo>
                    <a:pt x="162" y="118"/>
                  </a:lnTo>
                  <a:lnTo>
                    <a:pt x="161" y="133"/>
                  </a:lnTo>
                  <a:lnTo>
                    <a:pt x="167" y="133"/>
                  </a:lnTo>
                  <a:lnTo>
                    <a:pt x="169" y="144"/>
                  </a:lnTo>
                  <a:lnTo>
                    <a:pt x="180" y="155"/>
                  </a:lnTo>
                  <a:lnTo>
                    <a:pt x="169" y="154"/>
                  </a:lnTo>
                  <a:lnTo>
                    <a:pt x="157" y="152"/>
                  </a:lnTo>
                  <a:lnTo>
                    <a:pt x="147" y="172"/>
                  </a:lnTo>
                  <a:lnTo>
                    <a:pt x="114" y="170"/>
                  </a:lnTo>
                  <a:lnTo>
                    <a:pt x="59" y="129"/>
                  </a:lnTo>
                  <a:lnTo>
                    <a:pt x="31" y="114"/>
                  </a:lnTo>
                  <a:lnTo>
                    <a:pt x="10" y="109"/>
                  </a:lnTo>
                  <a:lnTo>
                    <a:pt x="0" y="83"/>
                  </a:lnTo>
                  <a:lnTo>
                    <a:pt x="35" y="62"/>
                  </a:lnTo>
                  <a:lnTo>
                    <a:pt x="38" y="37"/>
                  </a:lnTo>
                  <a:lnTo>
                    <a:pt x="35" y="22"/>
                  </a:lnTo>
                  <a:lnTo>
                    <a:pt x="43" y="17"/>
                  </a:lnTo>
                  <a:lnTo>
                    <a:pt x="50" y="4"/>
                  </a:lnTo>
                  <a:lnTo>
                    <a:pt x="57" y="0"/>
                  </a:lnTo>
                  <a:lnTo>
                    <a:pt x="78" y="3"/>
                  </a:lnTo>
                  <a:lnTo>
                    <a:pt x="84" y="8"/>
                  </a:lnTo>
                  <a:lnTo>
                    <a:pt x="92" y="5"/>
                  </a:lnTo>
                  <a:lnTo>
                    <a:pt x="107" y="2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28" name="Freeform 91"/>
            <p:cNvSpPr>
              <a:spLocks/>
            </p:cNvSpPr>
            <p:nvPr/>
          </p:nvSpPr>
          <p:spPr bwMode="auto">
            <a:xfrm>
              <a:off x="3646487" y="1555754"/>
              <a:ext cx="234950" cy="88900"/>
            </a:xfrm>
            <a:custGeom>
              <a:avLst/>
              <a:gdLst>
                <a:gd name="T0" fmla="*/ 138 w 148"/>
                <a:gd name="T1" fmla="*/ 1 h 56"/>
                <a:gd name="T2" fmla="*/ 133 w 148"/>
                <a:gd name="T3" fmla="*/ 13 h 56"/>
                <a:gd name="T4" fmla="*/ 148 w 148"/>
                <a:gd name="T5" fmla="*/ 25 h 56"/>
                <a:gd name="T6" fmla="*/ 128 w 148"/>
                <a:gd name="T7" fmla="*/ 39 h 56"/>
                <a:gd name="T8" fmla="*/ 85 w 148"/>
                <a:gd name="T9" fmla="*/ 52 h 56"/>
                <a:gd name="T10" fmla="*/ 73 w 148"/>
                <a:gd name="T11" fmla="*/ 56 h 56"/>
                <a:gd name="T12" fmla="*/ 54 w 148"/>
                <a:gd name="T13" fmla="*/ 53 h 56"/>
                <a:gd name="T14" fmla="*/ 16 w 148"/>
                <a:gd name="T15" fmla="*/ 47 h 56"/>
                <a:gd name="T16" fmla="*/ 31 w 148"/>
                <a:gd name="T17" fmla="*/ 39 h 56"/>
                <a:gd name="T18" fmla="*/ 2 w 148"/>
                <a:gd name="T19" fmla="*/ 30 h 56"/>
                <a:gd name="T20" fmla="*/ 28 w 148"/>
                <a:gd name="T21" fmla="*/ 26 h 56"/>
                <a:gd name="T22" fmla="*/ 28 w 148"/>
                <a:gd name="T23" fmla="*/ 21 h 56"/>
                <a:gd name="T24" fmla="*/ 0 w 148"/>
                <a:gd name="T25" fmla="*/ 17 h 56"/>
                <a:gd name="T26" fmla="*/ 12 w 148"/>
                <a:gd name="T27" fmla="*/ 5 h 56"/>
                <a:gd name="T28" fmla="*/ 33 w 148"/>
                <a:gd name="T29" fmla="*/ 2 h 56"/>
                <a:gd name="T30" fmla="*/ 52 w 148"/>
                <a:gd name="T31" fmla="*/ 14 h 56"/>
                <a:gd name="T32" fmla="*/ 75 w 148"/>
                <a:gd name="T33" fmla="*/ 4 h 56"/>
                <a:gd name="T34" fmla="*/ 91 w 148"/>
                <a:gd name="T35" fmla="*/ 9 h 56"/>
                <a:gd name="T36" fmla="*/ 115 w 148"/>
                <a:gd name="T37" fmla="*/ 0 h 56"/>
                <a:gd name="T38" fmla="*/ 138 w 148"/>
                <a:gd name="T39"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8" h="56">
                  <a:moveTo>
                    <a:pt x="138" y="1"/>
                  </a:moveTo>
                  <a:lnTo>
                    <a:pt x="133" y="13"/>
                  </a:lnTo>
                  <a:lnTo>
                    <a:pt x="148" y="25"/>
                  </a:lnTo>
                  <a:lnTo>
                    <a:pt x="128" y="39"/>
                  </a:lnTo>
                  <a:lnTo>
                    <a:pt x="85" y="52"/>
                  </a:lnTo>
                  <a:lnTo>
                    <a:pt x="73" y="56"/>
                  </a:lnTo>
                  <a:lnTo>
                    <a:pt x="54" y="53"/>
                  </a:lnTo>
                  <a:lnTo>
                    <a:pt x="16" y="47"/>
                  </a:lnTo>
                  <a:lnTo>
                    <a:pt x="31" y="39"/>
                  </a:lnTo>
                  <a:lnTo>
                    <a:pt x="2" y="30"/>
                  </a:lnTo>
                  <a:lnTo>
                    <a:pt x="28" y="26"/>
                  </a:lnTo>
                  <a:lnTo>
                    <a:pt x="28" y="21"/>
                  </a:lnTo>
                  <a:lnTo>
                    <a:pt x="0" y="17"/>
                  </a:lnTo>
                  <a:lnTo>
                    <a:pt x="12" y="5"/>
                  </a:lnTo>
                  <a:lnTo>
                    <a:pt x="33" y="2"/>
                  </a:lnTo>
                  <a:lnTo>
                    <a:pt x="52" y="14"/>
                  </a:lnTo>
                  <a:lnTo>
                    <a:pt x="75" y="4"/>
                  </a:lnTo>
                  <a:lnTo>
                    <a:pt x="91" y="9"/>
                  </a:lnTo>
                  <a:lnTo>
                    <a:pt x="115" y="0"/>
                  </a:lnTo>
                  <a:lnTo>
                    <a:pt x="138" y="1"/>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29" name="Freeform 92"/>
            <p:cNvSpPr>
              <a:spLocks/>
            </p:cNvSpPr>
            <p:nvPr/>
          </p:nvSpPr>
          <p:spPr bwMode="auto">
            <a:xfrm>
              <a:off x="5135562" y="2608266"/>
              <a:ext cx="38100" cy="125413"/>
            </a:xfrm>
            <a:custGeom>
              <a:avLst/>
              <a:gdLst>
                <a:gd name="T0" fmla="*/ 23 w 24"/>
                <a:gd name="T1" fmla="*/ 12 h 79"/>
                <a:gd name="T2" fmla="*/ 20 w 24"/>
                <a:gd name="T3" fmla="*/ 19 h 79"/>
                <a:gd name="T4" fmla="*/ 14 w 24"/>
                <a:gd name="T5" fmla="*/ 16 h 79"/>
                <a:gd name="T6" fmla="*/ 11 w 24"/>
                <a:gd name="T7" fmla="*/ 30 h 79"/>
                <a:gd name="T8" fmla="*/ 16 w 24"/>
                <a:gd name="T9" fmla="*/ 32 h 79"/>
                <a:gd name="T10" fmla="*/ 12 w 24"/>
                <a:gd name="T11" fmla="*/ 35 h 79"/>
                <a:gd name="T12" fmla="*/ 12 w 24"/>
                <a:gd name="T13" fmla="*/ 40 h 79"/>
                <a:gd name="T14" fmla="*/ 20 w 24"/>
                <a:gd name="T15" fmla="*/ 37 h 79"/>
                <a:gd name="T16" fmla="*/ 21 w 24"/>
                <a:gd name="T17" fmla="*/ 45 h 79"/>
                <a:gd name="T18" fmla="*/ 15 w 24"/>
                <a:gd name="T19" fmla="*/ 79 h 79"/>
                <a:gd name="T20" fmla="*/ 0 w 24"/>
                <a:gd name="T21" fmla="*/ 43 h 79"/>
                <a:gd name="T22" fmla="*/ 5 w 24"/>
                <a:gd name="T23" fmla="*/ 36 h 79"/>
                <a:gd name="T24" fmla="*/ 3 w 24"/>
                <a:gd name="T25" fmla="*/ 35 h 79"/>
                <a:gd name="T26" fmla="*/ 7 w 24"/>
                <a:gd name="T27" fmla="*/ 25 h 79"/>
                <a:gd name="T28" fmla="*/ 9 w 24"/>
                <a:gd name="T29" fmla="*/ 10 h 79"/>
                <a:gd name="T30" fmla="*/ 11 w 24"/>
                <a:gd name="T31" fmla="*/ 4 h 79"/>
                <a:gd name="T32" fmla="*/ 11 w 24"/>
                <a:gd name="T33" fmla="*/ 4 h 79"/>
                <a:gd name="T34" fmla="*/ 17 w 24"/>
                <a:gd name="T35" fmla="*/ 4 h 79"/>
                <a:gd name="T36" fmla="*/ 18 w 24"/>
                <a:gd name="T37" fmla="*/ 1 h 79"/>
                <a:gd name="T38" fmla="*/ 23 w 24"/>
                <a:gd name="T39" fmla="*/ 0 h 79"/>
                <a:gd name="T40" fmla="*/ 24 w 24"/>
                <a:gd name="T41" fmla="*/ 9 h 79"/>
                <a:gd name="T42" fmla="*/ 22 w 24"/>
                <a:gd name="T43" fmla="*/ 12 h 79"/>
                <a:gd name="T44" fmla="*/ 23 w 24"/>
                <a:gd name="T45"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79">
                  <a:moveTo>
                    <a:pt x="23" y="12"/>
                  </a:moveTo>
                  <a:lnTo>
                    <a:pt x="20" y="19"/>
                  </a:lnTo>
                  <a:lnTo>
                    <a:pt x="14" y="16"/>
                  </a:lnTo>
                  <a:lnTo>
                    <a:pt x="11" y="30"/>
                  </a:lnTo>
                  <a:lnTo>
                    <a:pt x="16" y="32"/>
                  </a:lnTo>
                  <a:lnTo>
                    <a:pt x="12" y="35"/>
                  </a:lnTo>
                  <a:lnTo>
                    <a:pt x="12" y="40"/>
                  </a:lnTo>
                  <a:lnTo>
                    <a:pt x="20" y="37"/>
                  </a:lnTo>
                  <a:lnTo>
                    <a:pt x="21" y="45"/>
                  </a:lnTo>
                  <a:lnTo>
                    <a:pt x="15" y="79"/>
                  </a:lnTo>
                  <a:lnTo>
                    <a:pt x="0" y="43"/>
                  </a:lnTo>
                  <a:lnTo>
                    <a:pt x="5" y="36"/>
                  </a:lnTo>
                  <a:lnTo>
                    <a:pt x="3" y="35"/>
                  </a:lnTo>
                  <a:lnTo>
                    <a:pt x="7" y="25"/>
                  </a:lnTo>
                  <a:lnTo>
                    <a:pt x="9" y="10"/>
                  </a:lnTo>
                  <a:lnTo>
                    <a:pt x="11" y="4"/>
                  </a:lnTo>
                  <a:lnTo>
                    <a:pt x="11" y="4"/>
                  </a:lnTo>
                  <a:lnTo>
                    <a:pt x="17" y="4"/>
                  </a:lnTo>
                  <a:lnTo>
                    <a:pt x="18" y="1"/>
                  </a:lnTo>
                  <a:lnTo>
                    <a:pt x="23" y="0"/>
                  </a:lnTo>
                  <a:lnTo>
                    <a:pt x="24" y="9"/>
                  </a:lnTo>
                  <a:lnTo>
                    <a:pt x="22" y="12"/>
                  </a:lnTo>
                  <a:lnTo>
                    <a:pt x="23" y="12"/>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30" name="Freeform 93"/>
            <p:cNvSpPr>
              <a:spLocks/>
            </p:cNvSpPr>
            <p:nvPr/>
          </p:nvSpPr>
          <p:spPr bwMode="auto">
            <a:xfrm>
              <a:off x="4519612" y="2446341"/>
              <a:ext cx="82550" cy="52388"/>
            </a:xfrm>
            <a:custGeom>
              <a:avLst/>
              <a:gdLst>
                <a:gd name="T0" fmla="*/ 52 w 52"/>
                <a:gd name="T1" fmla="*/ 0 h 33"/>
                <a:gd name="T2" fmla="*/ 47 w 52"/>
                <a:gd name="T3" fmla="*/ 16 h 33"/>
                <a:gd name="T4" fmla="*/ 50 w 52"/>
                <a:gd name="T5" fmla="*/ 23 h 33"/>
                <a:gd name="T6" fmla="*/ 47 w 52"/>
                <a:gd name="T7" fmla="*/ 33 h 33"/>
                <a:gd name="T8" fmla="*/ 33 w 52"/>
                <a:gd name="T9" fmla="*/ 25 h 33"/>
                <a:gd name="T10" fmla="*/ 24 w 52"/>
                <a:gd name="T11" fmla="*/ 23 h 33"/>
                <a:gd name="T12" fmla="*/ 0 w 52"/>
                <a:gd name="T13" fmla="*/ 13 h 33"/>
                <a:gd name="T14" fmla="*/ 2 w 52"/>
                <a:gd name="T15" fmla="*/ 2 h 33"/>
                <a:gd name="T16" fmla="*/ 22 w 52"/>
                <a:gd name="T17" fmla="*/ 4 h 33"/>
                <a:gd name="T18" fmla="*/ 39 w 52"/>
                <a:gd name="T19" fmla="*/ 2 h 33"/>
                <a:gd name="T20" fmla="*/ 52 w 5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33">
                  <a:moveTo>
                    <a:pt x="52" y="0"/>
                  </a:moveTo>
                  <a:lnTo>
                    <a:pt x="47" y="16"/>
                  </a:lnTo>
                  <a:lnTo>
                    <a:pt x="50" y="23"/>
                  </a:lnTo>
                  <a:lnTo>
                    <a:pt x="47" y="33"/>
                  </a:lnTo>
                  <a:lnTo>
                    <a:pt x="33" y="25"/>
                  </a:lnTo>
                  <a:lnTo>
                    <a:pt x="24" y="23"/>
                  </a:lnTo>
                  <a:lnTo>
                    <a:pt x="0" y="13"/>
                  </a:lnTo>
                  <a:lnTo>
                    <a:pt x="2" y="2"/>
                  </a:lnTo>
                  <a:lnTo>
                    <a:pt x="22" y="4"/>
                  </a:lnTo>
                  <a:lnTo>
                    <a:pt x="39" y="2"/>
                  </a:lnTo>
                  <a:lnTo>
                    <a:pt x="52"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31" name="Freeform 94"/>
            <p:cNvSpPr>
              <a:spLocks/>
            </p:cNvSpPr>
            <p:nvPr/>
          </p:nvSpPr>
          <p:spPr bwMode="auto">
            <a:xfrm>
              <a:off x="4400550" y="2347916"/>
              <a:ext cx="44450" cy="76200"/>
            </a:xfrm>
            <a:custGeom>
              <a:avLst/>
              <a:gdLst>
                <a:gd name="T0" fmla="*/ 17 w 28"/>
                <a:gd name="T1" fmla="*/ 0 h 48"/>
                <a:gd name="T2" fmla="*/ 28 w 28"/>
                <a:gd name="T3" fmla="*/ 15 h 48"/>
                <a:gd name="T4" fmla="*/ 27 w 28"/>
                <a:gd name="T5" fmla="*/ 42 h 48"/>
                <a:gd name="T6" fmla="*/ 19 w 28"/>
                <a:gd name="T7" fmla="*/ 41 h 48"/>
                <a:gd name="T8" fmla="*/ 12 w 28"/>
                <a:gd name="T9" fmla="*/ 48 h 48"/>
                <a:gd name="T10" fmla="*/ 6 w 28"/>
                <a:gd name="T11" fmla="*/ 43 h 48"/>
                <a:gd name="T12" fmla="*/ 4 w 28"/>
                <a:gd name="T13" fmla="*/ 18 h 48"/>
                <a:gd name="T14" fmla="*/ 0 w 28"/>
                <a:gd name="T15" fmla="*/ 6 h 48"/>
                <a:gd name="T16" fmla="*/ 9 w 28"/>
                <a:gd name="T17" fmla="*/ 7 h 48"/>
                <a:gd name="T18" fmla="*/ 17 w 28"/>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48">
                  <a:moveTo>
                    <a:pt x="17" y="0"/>
                  </a:moveTo>
                  <a:lnTo>
                    <a:pt x="28" y="15"/>
                  </a:lnTo>
                  <a:lnTo>
                    <a:pt x="27" y="42"/>
                  </a:lnTo>
                  <a:lnTo>
                    <a:pt x="19" y="41"/>
                  </a:lnTo>
                  <a:lnTo>
                    <a:pt x="12" y="48"/>
                  </a:lnTo>
                  <a:lnTo>
                    <a:pt x="6" y="43"/>
                  </a:lnTo>
                  <a:lnTo>
                    <a:pt x="4" y="18"/>
                  </a:lnTo>
                  <a:lnTo>
                    <a:pt x="0" y="6"/>
                  </a:lnTo>
                  <a:lnTo>
                    <a:pt x="9" y="7"/>
                  </a:lnTo>
                  <a:lnTo>
                    <a:pt x="17"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32" name="Freeform 95"/>
            <p:cNvSpPr>
              <a:spLocks/>
            </p:cNvSpPr>
            <p:nvPr/>
          </p:nvSpPr>
          <p:spPr bwMode="auto">
            <a:xfrm>
              <a:off x="4359275" y="2157416"/>
              <a:ext cx="319088" cy="298450"/>
            </a:xfrm>
            <a:custGeom>
              <a:avLst/>
              <a:gdLst>
                <a:gd name="T0" fmla="*/ 114 w 201"/>
                <a:gd name="T1" fmla="*/ 12 h 188"/>
                <a:gd name="T2" fmla="*/ 117 w 201"/>
                <a:gd name="T3" fmla="*/ 31 h 188"/>
                <a:gd name="T4" fmla="*/ 91 w 201"/>
                <a:gd name="T5" fmla="*/ 35 h 188"/>
                <a:gd name="T6" fmla="*/ 91 w 201"/>
                <a:gd name="T7" fmla="*/ 51 h 188"/>
                <a:gd name="T8" fmla="*/ 113 w 201"/>
                <a:gd name="T9" fmla="*/ 72 h 188"/>
                <a:gd name="T10" fmla="*/ 142 w 201"/>
                <a:gd name="T11" fmla="*/ 105 h 188"/>
                <a:gd name="T12" fmla="*/ 160 w 201"/>
                <a:gd name="T13" fmla="*/ 110 h 188"/>
                <a:gd name="T14" fmla="*/ 171 w 201"/>
                <a:gd name="T15" fmla="*/ 121 h 188"/>
                <a:gd name="T16" fmla="*/ 199 w 201"/>
                <a:gd name="T17" fmla="*/ 138 h 188"/>
                <a:gd name="T18" fmla="*/ 198 w 201"/>
                <a:gd name="T19" fmla="*/ 149 h 188"/>
                <a:gd name="T20" fmla="*/ 173 w 201"/>
                <a:gd name="T21" fmla="*/ 136 h 188"/>
                <a:gd name="T22" fmla="*/ 180 w 201"/>
                <a:gd name="T23" fmla="*/ 157 h 188"/>
                <a:gd name="T24" fmla="*/ 172 w 201"/>
                <a:gd name="T25" fmla="*/ 169 h 188"/>
                <a:gd name="T26" fmla="*/ 156 w 201"/>
                <a:gd name="T27" fmla="*/ 188 h 188"/>
                <a:gd name="T28" fmla="*/ 159 w 201"/>
                <a:gd name="T29" fmla="*/ 171 h 188"/>
                <a:gd name="T30" fmla="*/ 155 w 201"/>
                <a:gd name="T31" fmla="*/ 155 h 188"/>
                <a:gd name="T32" fmla="*/ 142 w 201"/>
                <a:gd name="T33" fmla="*/ 142 h 188"/>
                <a:gd name="T34" fmla="*/ 125 w 201"/>
                <a:gd name="T35" fmla="*/ 129 h 188"/>
                <a:gd name="T36" fmla="*/ 105 w 201"/>
                <a:gd name="T37" fmla="*/ 120 h 188"/>
                <a:gd name="T38" fmla="*/ 76 w 201"/>
                <a:gd name="T39" fmla="*/ 97 h 188"/>
                <a:gd name="T40" fmla="*/ 58 w 201"/>
                <a:gd name="T41" fmla="*/ 65 h 188"/>
                <a:gd name="T42" fmla="*/ 35 w 201"/>
                <a:gd name="T43" fmla="*/ 56 h 188"/>
                <a:gd name="T44" fmla="*/ 19 w 201"/>
                <a:gd name="T45" fmla="*/ 68 h 188"/>
                <a:gd name="T46" fmla="*/ 13 w 201"/>
                <a:gd name="T47" fmla="*/ 61 h 188"/>
                <a:gd name="T48" fmla="*/ 0 w 201"/>
                <a:gd name="T49" fmla="*/ 42 h 188"/>
                <a:gd name="T50" fmla="*/ 0 w 201"/>
                <a:gd name="T51" fmla="*/ 28 h 188"/>
                <a:gd name="T52" fmla="*/ 8 w 201"/>
                <a:gd name="T53" fmla="*/ 27 h 188"/>
                <a:gd name="T54" fmla="*/ 25 w 201"/>
                <a:gd name="T55" fmla="*/ 19 h 188"/>
                <a:gd name="T56" fmla="*/ 35 w 201"/>
                <a:gd name="T57" fmla="*/ 22 h 188"/>
                <a:gd name="T58" fmla="*/ 51 w 201"/>
                <a:gd name="T59" fmla="*/ 16 h 188"/>
                <a:gd name="T60" fmla="*/ 58 w 201"/>
                <a:gd name="T61" fmla="*/ 4 h 188"/>
                <a:gd name="T62" fmla="*/ 70 w 201"/>
                <a:gd name="T63" fmla="*/ 3 h 188"/>
                <a:gd name="T64" fmla="*/ 90 w 201"/>
                <a:gd name="T65" fmla="*/ 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 h="188">
                  <a:moveTo>
                    <a:pt x="90" y="7"/>
                  </a:moveTo>
                  <a:lnTo>
                    <a:pt x="114" y="12"/>
                  </a:lnTo>
                  <a:lnTo>
                    <a:pt x="113" y="22"/>
                  </a:lnTo>
                  <a:lnTo>
                    <a:pt x="117" y="31"/>
                  </a:lnTo>
                  <a:lnTo>
                    <a:pt x="104" y="28"/>
                  </a:lnTo>
                  <a:lnTo>
                    <a:pt x="91" y="35"/>
                  </a:lnTo>
                  <a:lnTo>
                    <a:pt x="93" y="45"/>
                  </a:lnTo>
                  <a:lnTo>
                    <a:pt x="91" y="51"/>
                  </a:lnTo>
                  <a:lnTo>
                    <a:pt x="97" y="61"/>
                  </a:lnTo>
                  <a:lnTo>
                    <a:pt x="113" y="72"/>
                  </a:lnTo>
                  <a:lnTo>
                    <a:pt x="122" y="89"/>
                  </a:lnTo>
                  <a:lnTo>
                    <a:pt x="142" y="105"/>
                  </a:lnTo>
                  <a:lnTo>
                    <a:pt x="155" y="105"/>
                  </a:lnTo>
                  <a:lnTo>
                    <a:pt x="160" y="110"/>
                  </a:lnTo>
                  <a:lnTo>
                    <a:pt x="155" y="114"/>
                  </a:lnTo>
                  <a:lnTo>
                    <a:pt x="171" y="121"/>
                  </a:lnTo>
                  <a:lnTo>
                    <a:pt x="183" y="127"/>
                  </a:lnTo>
                  <a:lnTo>
                    <a:pt x="199" y="138"/>
                  </a:lnTo>
                  <a:lnTo>
                    <a:pt x="201" y="142"/>
                  </a:lnTo>
                  <a:lnTo>
                    <a:pt x="198" y="149"/>
                  </a:lnTo>
                  <a:lnTo>
                    <a:pt x="188" y="140"/>
                  </a:lnTo>
                  <a:lnTo>
                    <a:pt x="173" y="136"/>
                  </a:lnTo>
                  <a:lnTo>
                    <a:pt x="167" y="150"/>
                  </a:lnTo>
                  <a:lnTo>
                    <a:pt x="180" y="157"/>
                  </a:lnTo>
                  <a:lnTo>
                    <a:pt x="179" y="168"/>
                  </a:lnTo>
                  <a:lnTo>
                    <a:pt x="172" y="169"/>
                  </a:lnTo>
                  <a:lnTo>
                    <a:pt x="163" y="187"/>
                  </a:lnTo>
                  <a:lnTo>
                    <a:pt x="156" y="188"/>
                  </a:lnTo>
                  <a:lnTo>
                    <a:pt x="156" y="182"/>
                  </a:lnTo>
                  <a:lnTo>
                    <a:pt x="159" y="171"/>
                  </a:lnTo>
                  <a:lnTo>
                    <a:pt x="162" y="167"/>
                  </a:lnTo>
                  <a:lnTo>
                    <a:pt x="155" y="155"/>
                  </a:lnTo>
                  <a:lnTo>
                    <a:pt x="149" y="144"/>
                  </a:lnTo>
                  <a:lnTo>
                    <a:pt x="142" y="142"/>
                  </a:lnTo>
                  <a:lnTo>
                    <a:pt x="136" y="133"/>
                  </a:lnTo>
                  <a:lnTo>
                    <a:pt x="125" y="129"/>
                  </a:lnTo>
                  <a:lnTo>
                    <a:pt x="118" y="121"/>
                  </a:lnTo>
                  <a:lnTo>
                    <a:pt x="105" y="120"/>
                  </a:lnTo>
                  <a:lnTo>
                    <a:pt x="91" y="110"/>
                  </a:lnTo>
                  <a:lnTo>
                    <a:pt x="76" y="97"/>
                  </a:lnTo>
                  <a:lnTo>
                    <a:pt x="64" y="85"/>
                  </a:lnTo>
                  <a:lnTo>
                    <a:pt x="58" y="65"/>
                  </a:lnTo>
                  <a:lnTo>
                    <a:pt x="49" y="63"/>
                  </a:lnTo>
                  <a:lnTo>
                    <a:pt x="35" y="56"/>
                  </a:lnTo>
                  <a:lnTo>
                    <a:pt x="28" y="58"/>
                  </a:lnTo>
                  <a:lnTo>
                    <a:pt x="19" y="68"/>
                  </a:lnTo>
                  <a:lnTo>
                    <a:pt x="12" y="69"/>
                  </a:lnTo>
                  <a:lnTo>
                    <a:pt x="13" y="61"/>
                  </a:lnTo>
                  <a:lnTo>
                    <a:pt x="4" y="58"/>
                  </a:lnTo>
                  <a:lnTo>
                    <a:pt x="0" y="42"/>
                  </a:lnTo>
                  <a:lnTo>
                    <a:pt x="5" y="36"/>
                  </a:lnTo>
                  <a:lnTo>
                    <a:pt x="0" y="28"/>
                  </a:lnTo>
                  <a:lnTo>
                    <a:pt x="0" y="23"/>
                  </a:lnTo>
                  <a:lnTo>
                    <a:pt x="8" y="27"/>
                  </a:lnTo>
                  <a:lnTo>
                    <a:pt x="16" y="26"/>
                  </a:lnTo>
                  <a:lnTo>
                    <a:pt x="25" y="19"/>
                  </a:lnTo>
                  <a:lnTo>
                    <a:pt x="27" y="22"/>
                  </a:lnTo>
                  <a:lnTo>
                    <a:pt x="35" y="22"/>
                  </a:lnTo>
                  <a:lnTo>
                    <a:pt x="38" y="13"/>
                  </a:lnTo>
                  <a:lnTo>
                    <a:pt x="51" y="16"/>
                  </a:lnTo>
                  <a:lnTo>
                    <a:pt x="58" y="12"/>
                  </a:lnTo>
                  <a:lnTo>
                    <a:pt x="58" y="4"/>
                  </a:lnTo>
                  <a:lnTo>
                    <a:pt x="68" y="7"/>
                  </a:lnTo>
                  <a:lnTo>
                    <a:pt x="70" y="3"/>
                  </a:lnTo>
                  <a:lnTo>
                    <a:pt x="86" y="0"/>
                  </a:lnTo>
                  <a:lnTo>
                    <a:pt x="90" y="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33" name="Freeform 96"/>
            <p:cNvSpPr>
              <a:spLocks/>
            </p:cNvSpPr>
            <p:nvPr/>
          </p:nvSpPr>
          <p:spPr bwMode="auto">
            <a:xfrm>
              <a:off x="1930400" y="3095629"/>
              <a:ext cx="60325" cy="26988"/>
            </a:xfrm>
            <a:custGeom>
              <a:avLst/>
              <a:gdLst>
                <a:gd name="T0" fmla="*/ 14 w 38"/>
                <a:gd name="T1" fmla="*/ 0 h 17"/>
                <a:gd name="T2" fmla="*/ 26 w 38"/>
                <a:gd name="T3" fmla="*/ 2 h 17"/>
                <a:gd name="T4" fmla="*/ 35 w 38"/>
                <a:gd name="T5" fmla="*/ 7 h 17"/>
                <a:gd name="T6" fmla="*/ 38 w 38"/>
                <a:gd name="T7" fmla="*/ 13 h 17"/>
                <a:gd name="T8" fmla="*/ 25 w 38"/>
                <a:gd name="T9" fmla="*/ 13 h 17"/>
                <a:gd name="T10" fmla="*/ 19 w 38"/>
                <a:gd name="T11" fmla="*/ 17 h 17"/>
                <a:gd name="T12" fmla="*/ 9 w 38"/>
                <a:gd name="T13" fmla="*/ 13 h 17"/>
                <a:gd name="T14" fmla="*/ 0 w 38"/>
                <a:gd name="T15" fmla="*/ 6 h 17"/>
                <a:gd name="T16" fmla="*/ 2 w 38"/>
                <a:gd name="T17" fmla="*/ 1 h 17"/>
                <a:gd name="T18" fmla="*/ 10 w 38"/>
                <a:gd name="T19" fmla="*/ 0 h 17"/>
                <a:gd name="T20" fmla="*/ 14 w 38"/>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7">
                  <a:moveTo>
                    <a:pt x="14" y="0"/>
                  </a:moveTo>
                  <a:lnTo>
                    <a:pt x="26" y="2"/>
                  </a:lnTo>
                  <a:lnTo>
                    <a:pt x="35" y="7"/>
                  </a:lnTo>
                  <a:lnTo>
                    <a:pt x="38" y="13"/>
                  </a:lnTo>
                  <a:lnTo>
                    <a:pt x="25" y="13"/>
                  </a:lnTo>
                  <a:lnTo>
                    <a:pt x="19" y="17"/>
                  </a:lnTo>
                  <a:lnTo>
                    <a:pt x="9" y="13"/>
                  </a:lnTo>
                  <a:lnTo>
                    <a:pt x="0" y="6"/>
                  </a:lnTo>
                  <a:lnTo>
                    <a:pt x="2" y="1"/>
                  </a:lnTo>
                  <a:lnTo>
                    <a:pt x="10" y="0"/>
                  </a:lnTo>
                  <a:lnTo>
                    <a:pt x="14"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34" name="Freeform 97"/>
            <p:cNvSpPr>
              <a:spLocks/>
            </p:cNvSpPr>
            <p:nvPr/>
          </p:nvSpPr>
          <p:spPr bwMode="auto">
            <a:xfrm>
              <a:off x="5159375" y="2605091"/>
              <a:ext cx="111125" cy="138113"/>
            </a:xfrm>
            <a:custGeom>
              <a:avLst/>
              <a:gdLst>
                <a:gd name="T0" fmla="*/ 5 w 70"/>
                <a:gd name="T1" fmla="*/ 21 h 87"/>
                <a:gd name="T2" fmla="*/ 8 w 70"/>
                <a:gd name="T3" fmla="*/ 14 h 87"/>
                <a:gd name="T4" fmla="*/ 28 w 70"/>
                <a:gd name="T5" fmla="*/ 22 h 87"/>
                <a:gd name="T6" fmla="*/ 60 w 70"/>
                <a:gd name="T7" fmla="*/ 0 h 87"/>
                <a:gd name="T8" fmla="*/ 70 w 70"/>
                <a:gd name="T9" fmla="*/ 26 h 87"/>
                <a:gd name="T10" fmla="*/ 67 w 70"/>
                <a:gd name="T11" fmla="*/ 29 h 87"/>
                <a:gd name="T12" fmla="*/ 33 w 70"/>
                <a:gd name="T13" fmla="*/ 39 h 87"/>
                <a:gd name="T14" fmla="*/ 52 w 70"/>
                <a:gd name="T15" fmla="*/ 60 h 87"/>
                <a:gd name="T16" fmla="*/ 47 w 70"/>
                <a:gd name="T17" fmla="*/ 63 h 87"/>
                <a:gd name="T18" fmla="*/ 45 w 70"/>
                <a:gd name="T19" fmla="*/ 70 h 87"/>
                <a:gd name="T20" fmla="*/ 32 w 70"/>
                <a:gd name="T21" fmla="*/ 73 h 87"/>
                <a:gd name="T22" fmla="*/ 28 w 70"/>
                <a:gd name="T23" fmla="*/ 81 h 87"/>
                <a:gd name="T24" fmla="*/ 21 w 70"/>
                <a:gd name="T25" fmla="*/ 87 h 87"/>
                <a:gd name="T26" fmla="*/ 1 w 70"/>
                <a:gd name="T27" fmla="*/ 84 h 87"/>
                <a:gd name="T28" fmla="*/ 0 w 70"/>
                <a:gd name="T29" fmla="*/ 81 h 87"/>
                <a:gd name="T30" fmla="*/ 6 w 70"/>
                <a:gd name="T31" fmla="*/ 47 h 87"/>
                <a:gd name="T32" fmla="*/ 5 w 70"/>
                <a:gd name="T33" fmla="*/ 39 h 87"/>
                <a:gd name="T34" fmla="*/ 7 w 70"/>
                <a:gd name="T35" fmla="*/ 33 h 87"/>
                <a:gd name="T36" fmla="*/ 5 w 70"/>
                <a:gd name="T3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 h="87">
                  <a:moveTo>
                    <a:pt x="5" y="21"/>
                  </a:moveTo>
                  <a:lnTo>
                    <a:pt x="8" y="14"/>
                  </a:lnTo>
                  <a:lnTo>
                    <a:pt x="28" y="22"/>
                  </a:lnTo>
                  <a:lnTo>
                    <a:pt x="60" y="0"/>
                  </a:lnTo>
                  <a:lnTo>
                    <a:pt x="70" y="26"/>
                  </a:lnTo>
                  <a:lnTo>
                    <a:pt x="67" y="29"/>
                  </a:lnTo>
                  <a:lnTo>
                    <a:pt x="33" y="39"/>
                  </a:lnTo>
                  <a:lnTo>
                    <a:pt x="52" y="60"/>
                  </a:lnTo>
                  <a:lnTo>
                    <a:pt x="47" y="63"/>
                  </a:lnTo>
                  <a:lnTo>
                    <a:pt x="45" y="70"/>
                  </a:lnTo>
                  <a:lnTo>
                    <a:pt x="32" y="73"/>
                  </a:lnTo>
                  <a:lnTo>
                    <a:pt x="28" y="81"/>
                  </a:lnTo>
                  <a:lnTo>
                    <a:pt x="21" y="87"/>
                  </a:lnTo>
                  <a:lnTo>
                    <a:pt x="1" y="84"/>
                  </a:lnTo>
                  <a:lnTo>
                    <a:pt x="0" y="81"/>
                  </a:lnTo>
                  <a:lnTo>
                    <a:pt x="6" y="47"/>
                  </a:lnTo>
                  <a:lnTo>
                    <a:pt x="5" y="39"/>
                  </a:lnTo>
                  <a:lnTo>
                    <a:pt x="7" y="33"/>
                  </a:lnTo>
                  <a:lnTo>
                    <a:pt x="5" y="21"/>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35" name="Freeform 98"/>
            <p:cNvSpPr>
              <a:spLocks/>
            </p:cNvSpPr>
            <p:nvPr/>
          </p:nvSpPr>
          <p:spPr bwMode="auto">
            <a:xfrm>
              <a:off x="7839075" y="2573341"/>
              <a:ext cx="60325" cy="53975"/>
            </a:xfrm>
            <a:custGeom>
              <a:avLst/>
              <a:gdLst>
                <a:gd name="T0" fmla="*/ 33 w 38"/>
                <a:gd name="T1" fmla="*/ 4 h 34"/>
                <a:gd name="T2" fmla="*/ 38 w 38"/>
                <a:gd name="T3" fmla="*/ 11 h 34"/>
                <a:gd name="T4" fmla="*/ 34 w 38"/>
                <a:gd name="T5" fmla="*/ 24 h 34"/>
                <a:gd name="T6" fmla="*/ 24 w 38"/>
                <a:gd name="T7" fmla="*/ 17 h 34"/>
                <a:gd name="T8" fmla="*/ 17 w 38"/>
                <a:gd name="T9" fmla="*/ 22 h 34"/>
                <a:gd name="T10" fmla="*/ 17 w 38"/>
                <a:gd name="T11" fmla="*/ 34 h 34"/>
                <a:gd name="T12" fmla="*/ 4 w 38"/>
                <a:gd name="T13" fmla="*/ 28 h 34"/>
                <a:gd name="T14" fmla="*/ 0 w 38"/>
                <a:gd name="T15" fmla="*/ 18 h 34"/>
                <a:gd name="T16" fmla="*/ 4 w 38"/>
                <a:gd name="T17" fmla="*/ 6 h 34"/>
                <a:gd name="T18" fmla="*/ 15 w 38"/>
                <a:gd name="T19" fmla="*/ 8 h 34"/>
                <a:gd name="T20" fmla="*/ 19 w 38"/>
                <a:gd name="T21" fmla="*/ 0 h 34"/>
                <a:gd name="T22" fmla="*/ 33 w 38"/>
                <a:gd name="T23"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34">
                  <a:moveTo>
                    <a:pt x="33" y="4"/>
                  </a:moveTo>
                  <a:lnTo>
                    <a:pt x="38" y="11"/>
                  </a:lnTo>
                  <a:lnTo>
                    <a:pt x="34" y="24"/>
                  </a:lnTo>
                  <a:lnTo>
                    <a:pt x="24" y="17"/>
                  </a:lnTo>
                  <a:lnTo>
                    <a:pt x="17" y="22"/>
                  </a:lnTo>
                  <a:lnTo>
                    <a:pt x="17" y="34"/>
                  </a:lnTo>
                  <a:lnTo>
                    <a:pt x="4" y="28"/>
                  </a:lnTo>
                  <a:lnTo>
                    <a:pt x="0" y="18"/>
                  </a:lnTo>
                  <a:lnTo>
                    <a:pt x="4" y="6"/>
                  </a:lnTo>
                  <a:lnTo>
                    <a:pt x="15" y="8"/>
                  </a:lnTo>
                  <a:lnTo>
                    <a:pt x="19" y="0"/>
                  </a:lnTo>
                  <a:lnTo>
                    <a:pt x="33" y="4"/>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36" name="Freeform 99"/>
            <p:cNvSpPr>
              <a:spLocks/>
            </p:cNvSpPr>
            <p:nvPr/>
          </p:nvSpPr>
          <p:spPr bwMode="auto">
            <a:xfrm>
              <a:off x="7759700" y="2343154"/>
              <a:ext cx="276225" cy="339725"/>
            </a:xfrm>
            <a:custGeom>
              <a:avLst/>
              <a:gdLst>
                <a:gd name="T0" fmla="*/ 164 w 174"/>
                <a:gd name="T1" fmla="*/ 87 h 214"/>
                <a:gd name="T2" fmla="*/ 166 w 174"/>
                <a:gd name="T3" fmla="*/ 104 h 214"/>
                <a:gd name="T4" fmla="*/ 174 w 174"/>
                <a:gd name="T5" fmla="*/ 114 h 214"/>
                <a:gd name="T6" fmla="*/ 171 w 174"/>
                <a:gd name="T7" fmla="*/ 129 h 214"/>
                <a:gd name="T8" fmla="*/ 154 w 174"/>
                <a:gd name="T9" fmla="*/ 139 h 214"/>
                <a:gd name="T10" fmla="*/ 124 w 174"/>
                <a:gd name="T11" fmla="*/ 140 h 214"/>
                <a:gd name="T12" fmla="*/ 109 w 174"/>
                <a:gd name="T13" fmla="*/ 163 h 214"/>
                <a:gd name="T14" fmla="*/ 94 w 174"/>
                <a:gd name="T15" fmla="*/ 155 h 214"/>
                <a:gd name="T16" fmla="*/ 87 w 174"/>
                <a:gd name="T17" fmla="*/ 140 h 214"/>
                <a:gd name="T18" fmla="*/ 59 w 174"/>
                <a:gd name="T19" fmla="*/ 145 h 214"/>
                <a:gd name="T20" fmla="*/ 42 w 174"/>
                <a:gd name="T21" fmla="*/ 154 h 214"/>
                <a:gd name="T22" fmla="*/ 22 w 174"/>
                <a:gd name="T23" fmla="*/ 155 h 214"/>
                <a:gd name="T24" fmla="*/ 46 w 174"/>
                <a:gd name="T25" fmla="*/ 170 h 214"/>
                <a:gd name="T26" fmla="*/ 48 w 174"/>
                <a:gd name="T27" fmla="*/ 205 h 214"/>
                <a:gd name="T28" fmla="*/ 40 w 174"/>
                <a:gd name="T29" fmla="*/ 214 h 214"/>
                <a:gd name="T30" fmla="*/ 28 w 174"/>
                <a:gd name="T31" fmla="*/ 206 h 214"/>
                <a:gd name="T32" fmla="*/ 26 w 174"/>
                <a:gd name="T33" fmla="*/ 187 h 214"/>
                <a:gd name="T34" fmla="*/ 12 w 174"/>
                <a:gd name="T35" fmla="*/ 181 h 214"/>
                <a:gd name="T36" fmla="*/ 0 w 174"/>
                <a:gd name="T37" fmla="*/ 167 h 214"/>
                <a:gd name="T38" fmla="*/ 14 w 174"/>
                <a:gd name="T39" fmla="*/ 160 h 214"/>
                <a:gd name="T40" fmla="*/ 17 w 174"/>
                <a:gd name="T41" fmla="*/ 148 h 214"/>
                <a:gd name="T42" fmla="*/ 30 w 174"/>
                <a:gd name="T43" fmla="*/ 137 h 214"/>
                <a:gd name="T44" fmla="*/ 37 w 174"/>
                <a:gd name="T45" fmla="*/ 123 h 214"/>
                <a:gd name="T46" fmla="*/ 68 w 174"/>
                <a:gd name="T47" fmla="*/ 117 h 214"/>
                <a:gd name="T48" fmla="*/ 89 w 174"/>
                <a:gd name="T49" fmla="*/ 121 h 214"/>
                <a:gd name="T50" fmla="*/ 89 w 174"/>
                <a:gd name="T51" fmla="*/ 84 h 214"/>
                <a:gd name="T52" fmla="*/ 106 w 174"/>
                <a:gd name="T53" fmla="*/ 94 h 214"/>
                <a:gd name="T54" fmla="*/ 120 w 174"/>
                <a:gd name="T55" fmla="*/ 73 h 214"/>
                <a:gd name="T56" fmla="*/ 126 w 174"/>
                <a:gd name="T57" fmla="*/ 65 h 214"/>
                <a:gd name="T58" fmla="*/ 123 w 174"/>
                <a:gd name="T59" fmla="*/ 40 h 214"/>
                <a:gd name="T60" fmla="*/ 108 w 174"/>
                <a:gd name="T61" fmla="*/ 17 h 214"/>
                <a:gd name="T62" fmla="*/ 107 w 174"/>
                <a:gd name="T63" fmla="*/ 4 h 214"/>
                <a:gd name="T64" fmla="*/ 123 w 174"/>
                <a:gd name="T65" fmla="*/ 0 h 214"/>
                <a:gd name="T66" fmla="*/ 149 w 174"/>
                <a:gd name="T67" fmla="*/ 29 h 214"/>
                <a:gd name="T68" fmla="*/ 157 w 174"/>
                <a:gd name="T69" fmla="*/ 45 h 214"/>
                <a:gd name="T70" fmla="*/ 153 w 174"/>
                <a:gd name="T71" fmla="*/ 66 h 214"/>
                <a:gd name="T72" fmla="*/ 164 w 174"/>
                <a:gd name="T73" fmla="*/ 87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4" h="214">
                  <a:moveTo>
                    <a:pt x="164" y="87"/>
                  </a:moveTo>
                  <a:lnTo>
                    <a:pt x="166" y="104"/>
                  </a:lnTo>
                  <a:lnTo>
                    <a:pt x="174" y="114"/>
                  </a:lnTo>
                  <a:lnTo>
                    <a:pt x="171" y="129"/>
                  </a:lnTo>
                  <a:lnTo>
                    <a:pt x="154" y="139"/>
                  </a:lnTo>
                  <a:lnTo>
                    <a:pt x="124" y="140"/>
                  </a:lnTo>
                  <a:lnTo>
                    <a:pt x="109" y="163"/>
                  </a:lnTo>
                  <a:lnTo>
                    <a:pt x="94" y="155"/>
                  </a:lnTo>
                  <a:lnTo>
                    <a:pt x="87" y="140"/>
                  </a:lnTo>
                  <a:lnTo>
                    <a:pt x="59" y="145"/>
                  </a:lnTo>
                  <a:lnTo>
                    <a:pt x="42" y="154"/>
                  </a:lnTo>
                  <a:lnTo>
                    <a:pt x="22" y="155"/>
                  </a:lnTo>
                  <a:lnTo>
                    <a:pt x="46" y="170"/>
                  </a:lnTo>
                  <a:lnTo>
                    <a:pt x="48" y="205"/>
                  </a:lnTo>
                  <a:lnTo>
                    <a:pt x="40" y="214"/>
                  </a:lnTo>
                  <a:lnTo>
                    <a:pt x="28" y="206"/>
                  </a:lnTo>
                  <a:lnTo>
                    <a:pt x="26" y="187"/>
                  </a:lnTo>
                  <a:lnTo>
                    <a:pt x="12" y="181"/>
                  </a:lnTo>
                  <a:lnTo>
                    <a:pt x="0" y="167"/>
                  </a:lnTo>
                  <a:lnTo>
                    <a:pt x="14" y="160"/>
                  </a:lnTo>
                  <a:lnTo>
                    <a:pt x="17" y="148"/>
                  </a:lnTo>
                  <a:lnTo>
                    <a:pt x="30" y="137"/>
                  </a:lnTo>
                  <a:lnTo>
                    <a:pt x="37" y="123"/>
                  </a:lnTo>
                  <a:lnTo>
                    <a:pt x="68" y="117"/>
                  </a:lnTo>
                  <a:lnTo>
                    <a:pt x="89" y="121"/>
                  </a:lnTo>
                  <a:lnTo>
                    <a:pt x="89" y="84"/>
                  </a:lnTo>
                  <a:lnTo>
                    <a:pt x="106" y="94"/>
                  </a:lnTo>
                  <a:lnTo>
                    <a:pt x="120" y="73"/>
                  </a:lnTo>
                  <a:lnTo>
                    <a:pt x="126" y="65"/>
                  </a:lnTo>
                  <a:lnTo>
                    <a:pt x="123" y="40"/>
                  </a:lnTo>
                  <a:lnTo>
                    <a:pt x="108" y="17"/>
                  </a:lnTo>
                  <a:lnTo>
                    <a:pt x="107" y="4"/>
                  </a:lnTo>
                  <a:lnTo>
                    <a:pt x="123" y="0"/>
                  </a:lnTo>
                  <a:lnTo>
                    <a:pt x="149" y="29"/>
                  </a:lnTo>
                  <a:lnTo>
                    <a:pt x="157" y="45"/>
                  </a:lnTo>
                  <a:lnTo>
                    <a:pt x="153" y="66"/>
                  </a:lnTo>
                  <a:lnTo>
                    <a:pt x="164" y="8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37" name="Freeform 100"/>
            <p:cNvSpPr>
              <a:spLocks/>
            </p:cNvSpPr>
            <p:nvPr/>
          </p:nvSpPr>
          <p:spPr bwMode="auto">
            <a:xfrm>
              <a:off x="7885112" y="2206629"/>
              <a:ext cx="142875" cy="130175"/>
            </a:xfrm>
            <a:custGeom>
              <a:avLst/>
              <a:gdLst>
                <a:gd name="T0" fmla="*/ 51 w 90"/>
                <a:gd name="T1" fmla="*/ 29 h 82"/>
                <a:gd name="T2" fmla="*/ 65 w 90"/>
                <a:gd name="T3" fmla="*/ 33 h 82"/>
                <a:gd name="T4" fmla="*/ 71 w 90"/>
                <a:gd name="T5" fmla="*/ 24 h 82"/>
                <a:gd name="T6" fmla="*/ 90 w 90"/>
                <a:gd name="T7" fmla="*/ 47 h 82"/>
                <a:gd name="T8" fmla="*/ 69 w 90"/>
                <a:gd name="T9" fmla="*/ 53 h 82"/>
                <a:gd name="T10" fmla="*/ 67 w 90"/>
                <a:gd name="T11" fmla="*/ 73 h 82"/>
                <a:gd name="T12" fmla="*/ 32 w 90"/>
                <a:gd name="T13" fmla="*/ 59 h 82"/>
                <a:gd name="T14" fmla="*/ 36 w 90"/>
                <a:gd name="T15" fmla="*/ 82 h 82"/>
                <a:gd name="T16" fmla="*/ 18 w 90"/>
                <a:gd name="T17" fmla="*/ 82 h 82"/>
                <a:gd name="T18" fmla="*/ 3 w 90"/>
                <a:gd name="T19" fmla="*/ 62 h 82"/>
                <a:gd name="T20" fmla="*/ 2 w 90"/>
                <a:gd name="T21" fmla="*/ 46 h 82"/>
                <a:gd name="T22" fmla="*/ 19 w 90"/>
                <a:gd name="T23" fmla="*/ 45 h 82"/>
                <a:gd name="T24" fmla="*/ 6 w 90"/>
                <a:gd name="T25" fmla="*/ 16 h 82"/>
                <a:gd name="T26" fmla="*/ 0 w 90"/>
                <a:gd name="T27" fmla="*/ 0 h 82"/>
                <a:gd name="T28" fmla="*/ 33 w 90"/>
                <a:gd name="T29" fmla="*/ 22 h 82"/>
                <a:gd name="T30" fmla="*/ 51 w 90"/>
                <a:gd name="T31" fmla="*/ 2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82">
                  <a:moveTo>
                    <a:pt x="51" y="29"/>
                  </a:moveTo>
                  <a:lnTo>
                    <a:pt x="65" y="33"/>
                  </a:lnTo>
                  <a:lnTo>
                    <a:pt x="71" y="24"/>
                  </a:lnTo>
                  <a:lnTo>
                    <a:pt x="90" y="47"/>
                  </a:lnTo>
                  <a:lnTo>
                    <a:pt x="69" y="53"/>
                  </a:lnTo>
                  <a:lnTo>
                    <a:pt x="67" y="73"/>
                  </a:lnTo>
                  <a:lnTo>
                    <a:pt x="32" y="59"/>
                  </a:lnTo>
                  <a:lnTo>
                    <a:pt x="36" y="82"/>
                  </a:lnTo>
                  <a:lnTo>
                    <a:pt x="18" y="82"/>
                  </a:lnTo>
                  <a:lnTo>
                    <a:pt x="3" y="62"/>
                  </a:lnTo>
                  <a:lnTo>
                    <a:pt x="2" y="46"/>
                  </a:lnTo>
                  <a:lnTo>
                    <a:pt x="19" y="45"/>
                  </a:lnTo>
                  <a:lnTo>
                    <a:pt x="6" y="16"/>
                  </a:lnTo>
                  <a:lnTo>
                    <a:pt x="0" y="0"/>
                  </a:lnTo>
                  <a:lnTo>
                    <a:pt x="33" y="22"/>
                  </a:lnTo>
                  <a:lnTo>
                    <a:pt x="51" y="2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38" name="Freeform 101"/>
            <p:cNvSpPr>
              <a:spLocks/>
            </p:cNvSpPr>
            <p:nvPr/>
          </p:nvSpPr>
          <p:spPr bwMode="auto">
            <a:xfrm>
              <a:off x="5372100" y="1892304"/>
              <a:ext cx="1035050" cy="474663"/>
            </a:xfrm>
            <a:custGeom>
              <a:avLst/>
              <a:gdLst>
                <a:gd name="T0" fmla="*/ 429 w 652"/>
                <a:gd name="T1" fmla="*/ 270 h 299"/>
                <a:gd name="T2" fmla="*/ 408 w 652"/>
                <a:gd name="T3" fmla="*/ 299 h 299"/>
                <a:gd name="T4" fmla="*/ 395 w 652"/>
                <a:gd name="T5" fmla="*/ 289 h 299"/>
                <a:gd name="T6" fmla="*/ 365 w 652"/>
                <a:gd name="T7" fmla="*/ 272 h 299"/>
                <a:gd name="T8" fmla="*/ 352 w 652"/>
                <a:gd name="T9" fmla="*/ 251 h 299"/>
                <a:gd name="T10" fmla="*/ 300 w 652"/>
                <a:gd name="T11" fmla="*/ 237 h 299"/>
                <a:gd name="T12" fmla="*/ 260 w 652"/>
                <a:gd name="T13" fmla="*/ 222 h 299"/>
                <a:gd name="T14" fmla="*/ 215 w 652"/>
                <a:gd name="T15" fmla="*/ 200 h 299"/>
                <a:gd name="T16" fmla="*/ 172 w 652"/>
                <a:gd name="T17" fmla="*/ 210 h 299"/>
                <a:gd name="T18" fmla="*/ 183 w 652"/>
                <a:gd name="T19" fmla="*/ 286 h 299"/>
                <a:gd name="T20" fmla="*/ 155 w 652"/>
                <a:gd name="T21" fmla="*/ 265 h 299"/>
                <a:gd name="T22" fmla="*/ 131 w 652"/>
                <a:gd name="T23" fmla="*/ 276 h 299"/>
                <a:gd name="T24" fmla="*/ 131 w 652"/>
                <a:gd name="T25" fmla="*/ 262 h 299"/>
                <a:gd name="T26" fmla="*/ 106 w 652"/>
                <a:gd name="T27" fmla="*/ 248 h 299"/>
                <a:gd name="T28" fmla="*/ 84 w 652"/>
                <a:gd name="T29" fmla="*/ 224 h 299"/>
                <a:gd name="T30" fmla="*/ 98 w 652"/>
                <a:gd name="T31" fmla="*/ 220 h 299"/>
                <a:gd name="T32" fmla="*/ 108 w 652"/>
                <a:gd name="T33" fmla="*/ 201 h 299"/>
                <a:gd name="T34" fmla="*/ 121 w 652"/>
                <a:gd name="T35" fmla="*/ 184 h 299"/>
                <a:gd name="T36" fmla="*/ 99 w 652"/>
                <a:gd name="T37" fmla="*/ 173 h 299"/>
                <a:gd name="T38" fmla="*/ 67 w 652"/>
                <a:gd name="T39" fmla="*/ 177 h 299"/>
                <a:gd name="T40" fmla="*/ 44 w 652"/>
                <a:gd name="T41" fmla="*/ 178 h 299"/>
                <a:gd name="T42" fmla="*/ 29 w 652"/>
                <a:gd name="T43" fmla="*/ 154 h 299"/>
                <a:gd name="T44" fmla="*/ 0 w 652"/>
                <a:gd name="T45" fmla="*/ 140 h 299"/>
                <a:gd name="T46" fmla="*/ 0 w 652"/>
                <a:gd name="T47" fmla="*/ 121 h 299"/>
                <a:gd name="T48" fmla="*/ 26 w 652"/>
                <a:gd name="T49" fmla="*/ 110 h 299"/>
                <a:gd name="T50" fmla="*/ 51 w 652"/>
                <a:gd name="T51" fmla="*/ 74 h 299"/>
                <a:gd name="T52" fmla="*/ 115 w 652"/>
                <a:gd name="T53" fmla="*/ 87 h 299"/>
                <a:gd name="T54" fmla="*/ 150 w 652"/>
                <a:gd name="T55" fmla="*/ 87 h 299"/>
                <a:gd name="T56" fmla="*/ 199 w 652"/>
                <a:gd name="T57" fmla="*/ 97 h 299"/>
                <a:gd name="T58" fmla="*/ 224 w 652"/>
                <a:gd name="T59" fmla="*/ 92 h 299"/>
                <a:gd name="T60" fmla="*/ 194 w 652"/>
                <a:gd name="T61" fmla="*/ 69 h 299"/>
                <a:gd name="T62" fmla="*/ 201 w 652"/>
                <a:gd name="T63" fmla="*/ 53 h 299"/>
                <a:gd name="T64" fmla="*/ 198 w 652"/>
                <a:gd name="T65" fmla="*/ 34 h 299"/>
                <a:gd name="T66" fmla="*/ 257 w 652"/>
                <a:gd name="T67" fmla="*/ 21 h 299"/>
                <a:gd name="T68" fmla="*/ 298 w 652"/>
                <a:gd name="T69" fmla="*/ 9 h 299"/>
                <a:gd name="T70" fmla="*/ 338 w 652"/>
                <a:gd name="T71" fmla="*/ 5 h 299"/>
                <a:gd name="T72" fmla="*/ 366 w 652"/>
                <a:gd name="T73" fmla="*/ 20 h 299"/>
                <a:gd name="T74" fmla="*/ 393 w 652"/>
                <a:gd name="T75" fmla="*/ 38 h 299"/>
                <a:gd name="T76" fmla="*/ 437 w 652"/>
                <a:gd name="T77" fmla="*/ 18 h 299"/>
                <a:gd name="T78" fmla="*/ 462 w 652"/>
                <a:gd name="T79" fmla="*/ 39 h 299"/>
                <a:gd name="T80" fmla="*/ 524 w 652"/>
                <a:gd name="T81" fmla="*/ 80 h 299"/>
                <a:gd name="T82" fmla="*/ 571 w 652"/>
                <a:gd name="T83" fmla="*/ 86 h 299"/>
                <a:gd name="T84" fmla="*/ 595 w 652"/>
                <a:gd name="T85" fmla="*/ 102 h 299"/>
                <a:gd name="T86" fmla="*/ 619 w 652"/>
                <a:gd name="T87" fmla="*/ 114 h 299"/>
                <a:gd name="T88" fmla="*/ 652 w 652"/>
                <a:gd name="T89" fmla="*/ 124 h 299"/>
                <a:gd name="T90" fmla="*/ 634 w 652"/>
                <a:gd name="T91" fmla="*/ 139 h 299"/>
                <a:gd name="T92" fmla="*/ 637 w 652"/>
                <a:gd name="T93" fmla="*/ 169 h 299"/>
                <a:gd name="T94" fmla="*/ 605 w 652"/>
                <a:gd name="T95" fmla="*/ 199 h 299"/>
                <a:gd name="T96" fmla="*/ 569 w 652"/>
                <a:gd name="T97" fmla="*/ 211 h 299"/>
                <a:gd name="T98" fmla="*/ 588 w 652"/>
                <a:gd name="T99" fmla="*/ 252 h 299"/>
                <a:gd name="T100" fmla="*/ 581 w 652"/>
                <a:gd name="T101" fmla="*/ 261 h 299"/>
                <a:gd name="T102" fmla="*/ 545 w 652"/>
                <a:gd name="T103" fmla="*/ 252 h 299"/>
                <a:gd name="T104" fmla="*/ 512 w 652"/>
                <a:gd name="T105" fmla="*/ 253 h 299"/>
                <a:gd name="T106" fmla="*/ 477 w 652"/>
                <a:gd name="T107" fmla="*/ 249 h 299"/>
                <a:gd name="T108" fmla="*/ 449 w 652"/>
                <a:gd name="T109" fmla="*/ 254 h 299"/>
                <a:gd name="T110" fmla="*/ 438 w 652"/>
                <a:gd name="T111" fmla="*/ 26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52" h="299">
                  <a:moveTo>
                    <a:pt x="438" y="266"/>
                  </a:moveTo>
                  <a:lnTo>
                    <a:pt x="429" y="270"/>
                  </a:lnTo>
                  <a:lnTo>
                    <a:pt x="412" y="284"/>
                  </a:lnTo>
                  <a:lnTo>
                    <a:pt x="408" y="299"/>
                  </a:lnTo>
                  <a:lnTo>
                    <a:pt x="402" y="299"/>
                  </a:lnTo>
                  <a:lnTo>
                    <a:pt x="395" y="289"/>
                  </a:lnTo>
                  <a:lnTo>
                    <a:pt x="373" y="288"/>
                  </a:lnTo>
                  <a:lnTo>
                    <a:pt x="365" y="272"/>
                  </a:lnTo>
                  <a:lnTo>
                    <a:pt x="357" y="271"/>
                  </a:lnTo>
                  <a:lnTo>
                    <a:pt x="352" y="251"/>
                  </a:lnTo>
                  <a:lnTo>
                    <a:pt x="328" y="236"/>
                  </a:lnTo>
                  <a:lnTo>
                    <a:pt x="300" y="237"/>
                  </a:lnTo>
                  <a:lnTo>
                    <a:pt x="281" y="240"/>
                  </a:lnTo>
                  <a:lnTo>
                    <a:pt x="260" y="222"/>
                  </a:lnTo>
                  <a:lnTo>
                    <a:pt x="245" y="214"/>
                  </a:lnTo>
                  <a:lnTo>
                    <a:pt x="215" y="200"/>
                  </a:lnTo>
                  <a:lnTo>
                    <a:pt x="211" y="198"/>
                  </a:lnTo>
                  <a:lnTo>
                    <a:pt x="172" y="210"/>
                  </a:lnTo>
                  <a:lnTo>
                    <a:pt x="192" y="285"/>
                  </a:lnTo>
                  <a:lnTo>
                    <a:pt x="183" y="286"/>
                  </a:lnTo>
                  <a:lnTo>
                    <a:pt x="168" y="270"/>
                  </a:lnTo>
                  <a:lnTo>
                    <a:pt x="155" y="265"/>
                  </a:lnTo>
                  <a:lnTo>
                    <a:pt x="137" y="269"/>
                  </a:lnTo>
                  <a:lnTo>
                    <a:pt x="131" y="276"/>
                  </a:lnTo>
                  <a:lnTo>
                    <a:pt x="129" y="271"/>
                  </a:lnTo>
                  <a:lnTo>
                    <a:pt x="131" y="262"/>
                  </a:lnTo>
                  <a:lnTo>
                    <a:pt x="127" y="255"/>
                  </a:lnTo>
                  <a:lnTo>
                    <a:pt x="106" y="248"/>
                  </a:lnTo>
                  <a:lnTo>
                    <a:pt x="94" y="230"/>
                  </a:lnTo>
                  <a:lnTo>
                    <a:pt x="84" y="224"/>
                  </a:lnTo>
                  <a:lnTo>
                    <a:pt x="81" y="218"/>
                  </a:lnTo>
                  <a:lnTo>
                    <a:pt x="98" y="220"/>
                  </a:lnTo>
                  <a:lnTo>
                    <a:pt x="95" y="205"/>
                  </a:lnTo>
                  <a:lnTo>
                    <a:pt x="108" y="201"/>
                  </a:lnTo>
                  <a:lnTo>
                    <a:pt x="123" y="204"/>
                  </a:lnTo>
                  <a:lnTo>
                    <a:pt x="121" y="184"/>
                  </a:lnTo>
                  <a:lnTo>
                    <a:pt x="115" y="172"/>
                  </a:lnTo>
                  <a:lnTo>
                    <a:pt x="99" y="173"/>
                  </a:lnTo>
                  <a:lnTo>
                    <a:pt x="84" y="168"/>
                  </a:lnTo>
                  <a:lnTo>
                    <a:pt x="67" y="177"/>
                  </a:lnTo>
                  <a:lnTo>
                    <a:pt x="53" y="181"/>
                  </a:lnTo>
                  <a:lnTo>
                    <a:pt x="44" y="178"/>
                  </a:lnTo>
                  <a:lnTo>
                    <a:pt x="43" y="167"/>
                  </a:lnTo>
                  <a:lnTo>
                    <a:pt x="29" y="154"/>
                  </a:lnTo>
                  <a:lnTo>
                    <a:pt x="17" y="154"/>
                  </a:lnTo>
                  <a:lnTo>
                    <a:pt x="0" y="140"/>
                  </a:lnTo>
                  <a:lnTo>
                    <a:pt x="6" y="125"/>
                  </a:lnTo>
                  <a:lnTo>
                    <a:pt x="0" y="121"/>
                  </a:lnTo>
                  <a:lnTo>
                    <a:pt x="7" y="99"/>
                  </a:lnTo>
                  <a:lnTo>
                    <a:pt x="26" y="110"/>
                  </a:lnTo>
                  <a:lnTo>
                    <a:pt x="25" y="96"/>
                  </a:lnTo>
                  <a:lnTo>
                    <a:pt x="51" y="74"/>
                  </a:lnTo>
                  <a:lnTo>
                    <a:pt x="76" y="73"/>
                  </a:lnTo>
                  <a:lnTo>
                    <a:pt x="115" y="87"/>
                  </a:lnTo>
                  <a:lnTo>
                    <a:pt x="136" y="95"/>
                  </a:lnTo>
                  <a:lnTo>
                    <a:pt x="150" y="87"/>
                  </a:lnTo>
                  <a:lnTo>
                    <a:pt x="175" y="87"/>
                  </a:lnTo>
                  <a:lnTo>
                    <a:pt x="199" y="97"/>
                  </a:lnTo>
                  <a:lnTo>
                    <a:pt x="202" y="91"/>
                  </a:lnTo>
                  <a:lnTo>
                    <a:pt x="224" y="92"/>
                  </a:lnTo>
                  <a:lnTo>
                    <a:pt x="225" y="82"/>
                  </a:lnTo>
                  <a:lnTo>
                    <a:pt x="194" y="69"/>
                  </a:lnTo>
                  <a:lnTo>
                    <a:pt x="206" y="59"/>
                  </a:lnTo>
                  <a:lnTo>
                    <a:pt x="201" y="53"/>
                  </a:lnTo>
                  <a:lnTo>
                    <a:pt x="214" y="48"/>
                  </a:lnTo>
                  <a:lnTo>
                    <a:pt x="198" y="34"/>
                  </a:lnTo>
                  <a:lnTo>
                    <a:pt x="202" y="28"/>
                  </a:lnTo>
                  <a:lnTo>
                    <a:pt x="257" y="21"/>
                  </a:lnTo>
                  <a:lnTo>
                    <a:pt x="263" y="16"/>
                  </a:lnTo>
                  <a:lnTo>
                    <a:pt x="298" y="9"/>
                  </a:lnTo>
                  <a:lnTo>
                    <a:pt x="309" y="0"/>
                  </a:lnTo>
                  <a:lnTo>
                    <a:pt x="338" y="5"/>
                  </a:lnTo>
                  <a:lnTo>
                    <a:pt x="352" y="25"/>
                  </a:lnTo>
                  <a:lnTo>
                    <a:pt x="366" y="20"/>
                  </a:lnTo>
                  <a:lnTo>
                    <a:pt x="389" y="27"/>
                  </a:lnTo>
                  <a:lnTo>
                    <a:pt x="393" y="38"/>
                  </a:lnTo>
                  <a:lnTo>
                    <a:pt x="407" y="37"/>
                  </a:lnTo>
                  <a:lnTo>
                    <a:pt x="437" y="18"/>
                  </a:lnTo>
                  <a:lnTo>
                    <a:pt x="434" y="24"/>
                  </a:lnTo>
                  <a:lnTo>
                    <a:pt x="462" y="39"/>
                  </a:lnTo>
                  <a:lnTo>
                    <a:pt x="520" y="90"/>
                  </a:lnTo>
                  <a:lnTo>
                    <a:pt x="524" y="80"/>
                  </a:lnTo>
                  <a:lnTo>
                    <a:pt x="551" y="92"/>
                  </a:lnTo>
                  <a:lnTo>
                    <a:pt x="571" y="86"/>
                  </a:lnTo>
                  <a:lnTo>
                    <a:pt x="582" y="90"/>
                  </a:lnTo>
                  <a:lnTo>
                    <a:pt x="595" y="102"/>
                  </a:lnTo>
                  <a:lnTo>
                    <a:pt x="608" y="106"/>
                  </a:lnTo>
                  <a:lnTo>
                    <a:pt x="619" y="114"/>
                  </a:lnTo>
                  <a:lnTo>
                    <a:pt x="638" y="111"/>
                  </a:lnTo>
                  <a:lnTo>
                    <a:pt x="652" y="124"/>
                  </a:lnTo>
                  <a:lnTo>
                    <a:pt x="647" y="137"/>
                  </a:lnTo>
                  <a:lnTo>
                    <a:pt x="634" y="139"/>
                  </a:lnTo>
                  <a:lnTo>
                    <a:pt x="642" y="160"/>
                  </a:lnTo>
                  <a:lnTo>
                    <a:pt x="637" y="169"/>
                  </a:lnTo>
                  <a:lnTo>
                    <a:pt x="602" y="162"/>
                  </a:lnTo>
                  <a:lnTo>
                    <a:pt x="605" y="199"/>
                  </a:lnTo>
                  <a:lnTo>
                    <a:pt x="599" y="203"/>
                  </a:lnTo>
                  <a:lnTo>
                    <a:pt x="569" y="211"/>
                  </a:lnTo>
                  <a:lnTo>
                    <a:pt x="597" y="247"/>
                  </a:lnTo>
                  <a:lnTo>
                    <a:pt x="588" y="252"/>
                  </a:lnTo>
                  <a:lnTo>
                    <a:pt x="593" y="264"/>
                  </a:lnTo>
                  <a:lnTo>
                    <a:pt x="581" y="261"/>
                  </a:lnTo>
                  <a:lnTo>
                    <a:pt x="571" y="254"/>
                  </a:lnTo>
                  <a:lnTo>
                    <a:pt x="545" y="252"/>
                  </a:lnTo>
                  <a:lnTo>
                    <a:pt x="517" y="251"/>
                  </a:lnTo>
                  <a:lnTo>
                    <a:pt x="512" y="253"/>
                  </a:lnTo>
                  <a:lnTo>
                    <a:pt x="485" y="245"/>
                  </a:lnTo>
                  <a:lnTo>
                    <a:pt x="477" y="249"/>
                  </a:lnTo>
                  <a:lnTo>
                    <a:pt x="479" y="261"/>
                  </a:lnTo>
                  <a:lnTo>
                    <a:pt x="449" y="254"/>
                  </a:lnTo>
                  <a:lnTo>
                    <a:pt x="439" y="257"/>
                  </a:lnTo>
                  <a:lnTo>
                    <a:pt x="438" y="266"/>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39" name="Freeform 102"/>
            <p:cNvSpPr>
              <a:spLocks/>
            </p:cNvSpPr>
            <p:nvPr/>
          </p:nvSpPr>
          <p:spPr bwMode="auto">
            <a:xfrm>
              <a:off x="5170487" y="3524254"/>
              <a:ext cx="231775" cy="336550"/>
            </a:xfrm>
            <a:custGeom>
              <a:avLst/>
              <a:gdLst>
                <a:gd name="T0" fmla="*/ 131 w 146"/>
                <a:gd name="T1" fmla="*/ 132 h 212"/>
                <a:gd name="T2" fmla="*/ 141 w 146"/>
                <a:gd name="T3" fmla="*/ 149 h 212"/>
                <a:gd name="T4" fmla="*/ 128 w 146"/>
                <a:gd name="T5" fmla="*/ 158 h 212"/>
                <a:gd name="T6" fmla="*/ 124 w 146"/>
                <a:gd name="T7" fmla="*/ 166 h 212"/>
                <a:gd name="T8" fmla="*/ 117 w 146"/>
                <a:gd name="T9" fmla="*/ 168 h 212"/>
                <a:gd name="T10" fmla="*/ 114 w 146"/>
                <a:gd name="T11" fmla="*/ 183 h 212"/>
                <a:gd name="T12" fmla="*/ 108 w 146"/>
                <a:gd name="T13" fmla="*/ 191 h 212"/>
                <a:gd name="T14" fmla="*/ 104 w 146"/>
                <a:gd name="T15" fmla="*/ 205 h 212"/>
                <a:gd name="T16" fmla="*/ 97 w 146"/>
                <a:gd name="T17" fmla="*/ 212 h 212"/>
                <a:gd name="T18" fmla="*/ 71 w 146"/>
                <a:gd name="T19" fmla="*/ 191 h 212"/>
                <a:gd name="T20" fmla="*/ 70 w 146"/>
                <a:gd name="T21" fmla="*/ 179 h 212"/>
                <a:gd name="T22" fmla="*/ 3 w 146"/>
                <a:gd name="T23" fmla="*/ 136 h 212"/>
                <a:gd name="T24" fmla="*/ 0 w 146"/>
                <a:gd name="T25" fmla="*/ 134 h 212"/>
                <a:gd name="T26" fmla="*/ 0 w 146"/>
                <a:gd name="T27" fmla="*/ 112 h 212"/>
                <a:gd name="T28" fmla="*/ 5 w 146"/>
                <a:gd name="T29" fmla="*/ 104 h 212"/>
                <a:gd name="T30" fmla="*/ 14 w 146"/>
                <a:gd name="T31" fmla="*/ 90 h 212"/>
                <a:gd name="T32" fmla="*/ 21 w 146"/>
                <a:gd name="T33" fmla="*/ 75 h 212"/>
                <a:gd name="T34" fmla="*/ 13 w 146"/>
                <a:gd name="T35" fmla="*/ 51 h 212"/>
                <a:gd name="T36" fmla="*/ 11 w 146"/>
                <a:gd name="T37" fmla="*/ 41 h 212"/>
                <a:gd name="T38" fmla="*/ 2 w 146"/>
                <a:gd name="T39" fmla="*/ 26 h 212"/>
                <a:gd name="T40" fmla="*/ 13 w 146"/>
                <a:gd name="T41" fmla="*/ 14 h 212"/>
                <a:gd name="T42" fmla="*/ 25 w 146"/>
                <a:gd name="T43" fmla="*/ 0 h 212"/>
                <a:gd name="T44" fmla="*/ 35 w 146"/>
                <a:gd name="T45" fmla="*/ 4 h 212"/>
                <a:gd name="T46" fmla="*/ 35 w 146"/>
                <a:gd name="T47" fmla="*/ 15 h 212"/>
                <a:gd name="T48" fmla="*/ 41 w 146"/>
                <a:gd name="T49" fmla="*/ 22 h 212"/>
                <a:gd name="T50" fmla="*/ 54 w 146"/>
                <a:gd name="T51" fmla="*/ 22 h 212"/>
                <a:gd name="T52" fmla="*/ 77 w 146"/>
                <a:gd name="T53" fmla="*/ 40 h 212"/>
                <a:gd name="T54" fmla="*/ 83 w 146"/>
                <a:gd name="T55" fmla="*/ 40 h 212"/>
                <a:gd name="T56" fmla="*/ 88 w 146"/>
                <a:gd name="T57" fmla="*/ 39 h 212"/>
                <a:gd name="T58" fmla="*/ 92 w 146"/>
                <a:gd name="T59" fmla="*/ 42 h 212"/>
                <a:gd name="T60" fmla="*/ 104 w 146"/>
                <a:gd name="T61" fmla="*/ 43 h 212"/>
                <a:gd name="T62" fmla="*/ 109 w 146"/>
                <a:gd name="T63" fmla="*/ 35 h 212"/>
                <a:gd name="T64" fmla="*/ 126 w 146"/>
                <a:gd name="T65" fmla="*/ 26 h 212"/>
                <a:gd name="T66" fmla="*/ 133 w 146"/>
                <a:gd name="T67" fmla="*/ 33 h 212"/>
                <a:gd name="T68" fmla="*/ 146 w 146"/>
                <a:gd name="T69" fmla="*/ 33 h 212"/>
                <a:gd name="T70" fmla="*/ 130 w 146"/>
                <a:gd name="T71" fmla="*/ 56 h 212"/>
                <a:gd name="T72" fmla="*/ 131 w 146"/>
                <a:gd name="T73" fmla="*/ 13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6" h="212">
                  <a:moveTo>
                    <a:pt x="131" y="132"/>
                  </a:moveTo>
                  <a:lnTo>
                    <a:pt x="141" y="149"/>
                  </a:lnTo>
                  <a:lnTo>
                    <a:pt x="128" y="158"/>
                  </a:lnTo>
                  <a:lnTo>
                    <a:pt x="124" y="166"/>
                  </a:lnTo>
                  <a:lnTo>
                    <a:pt x="117" y="168"/>
                  </a:lnTo>
                  <a:lnTo>
                    <a:pt x="114" y="183"/>
                  </a:lnTo>
                  <a:lnTo>
                    <a:pt x="108" y="191"/>
                  </a:lnTo>
                  <a:lnTo>
                    <a:pt x="104" y="205"/>
                  </a:lnTo>
                  <a:lnTo>
                    <a:pt x="97" y="212"/>
                  </a:lnTo>
                  <a:lnTo>
                    <a:pt x="71" y="191"/>
                  </a:lnTo>
                  <a:lnTo>
                    <a:pt x="70" y="179"/>
                  </a:lnTo>
                  <a:lnTo>
                    <a:pt x="3" y="136"/>
                  </a:lnTo>
                  <a:lnTo>
                    <a:pt x="0" y="134"/>
                  </a:lnTo>
                  <a:lnTo>
                    <a:pt x="0" y="112"/>
                  </a:lnTo>
                  <a:lnTo>
                    <a:pt x="5" y="104"/>
                  </a:lnTo>
                  <a:lnTo>
                    <a:pt x="14" y="90"/>
                  </a:lnTo>
                  <a:lnTo>
                    <a:pt x="21" y="75"/>
                  </a:lnTo>
                  <a:lnTo>
                    <a:pt x="13" y="51"/>
                  </a:lnTo>
                  <a:lnTo>
                    <a:pt x="11" y="41"/>
                  </a:lnTo>
                  <a:lnTo>
                    <a:pt x="2" y="26"/>
                  </a:lnTo>
                  <a:lnTo>
                    <a:pt x="13" y="14"/>
                  </a:lnTo>
                  <a:lnTo>
                    <a:pt x="25" y="0"/>
                  </a:lnTo>
                  <a:lnTo>
                    <a:pt x="35" y="4"/>
                  </a:lnTo>
                  <a:lnTo>
                    <a:pt x="35" y="15"/>
                  </a:lnTo>
                  <a:lnTo>
                    <a:pt x="41" y="22"/>
                  </a:lnTo>
                  <a:lnTo>
                    <a:pt x="54" y="22"/>
                  </a:lnTo>
                  <a:lnTo>
                    <a:pt x="77" y="40"/>
                  </a:lnTo>
                  <a:lnTo>
                    <a:pt x="83" y="40"/>
                  </a:lnTo>
                  <a:lnTo>
                    <a:pt x="88" y="39"/>
                  </a:lnTo>
                  <a:lnTo>
                    <a:pt x="92" y="42"/>
                  </a:lnTo>
                  <a:lnTo>
                    <a:pt x="104" y="43"/>
                  </a:lnTo>
                  <a:lnTo>
                    <a:pt x="109" y="35"/>
                  </a:lnTo>
                  <a:lnTo>
                    <a:pt x="126" y="26"/>
                  </a:lnTo>
                  <a:lnTo>
                    <a:pt x="133" y="33"/>
                  </a:lnTo>
                  <a:lnTo>
                    <a:pt x="146" y="33"/>
                  </a:lnTo>
                  <a:lnTo>
                    <a:pt x="130" y="56"/>
                  </a:lnTo>
                  <a:lnTo>
                    <a:pt x="131" y="132"/>
                  </a:lnTo>
                  <a:close/>
                </a:path>
              </a:pathLst>
            </a:custGeom>
            <a:solidFill>
              <a:schemeClr val="accent1"/>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40" name="Freeform 103"/>
            <p:cNvSpPr>
              <a:spLocks/>
            </p:cNvSpPr>
            <p:nvPr/>
          </p:nvSpPr>
          <p:spPr bwMode="auto">
            <a:xfrm>
              <a:off x="6049962" y="2281241"/>
              <a:ext cx="263525" cy="130175"/>
            </a:xfrm>
            <a:custGeom>
              <a:avLst/>
              <a:gdLst>
                <a:gd name="T0" fmla="*/ 11 w 166"/>
                <a:gd name="T1" fmla="*/ 21 h 82"/>
                <a:gd name="T2" fmla="*/ 12 w 166"/>
                <a:gd name="T3" fmla="*/ 12 h 82"/>
                <a:gd name="T4" fmla="*/ 22 w 166"/>
                <a:gd name="T5" fmla="*/ 9 h 82"/>
                <a:gd name="T6" fmla="*/ 52 w 166"/>
                <a:gd name="T7" fmla="*/ 16 h 82"/>
                <a:gd name="T8" fmla="*/ 50 w 166"/>
                <a:gd name="T9" fmla="*/ 4 h 82"/>
                <a:gd name="T10" fmla="*/ 58 w 166"/>
                <a:gd name="T11" fmla="*/ 0 h 82"/>
                <a:gd name="T12" fmla="*/ 85 w 166"/>
                <a:gd name="T13" fmla="*/ 8 h 82"/>
                <a:gd name="T14" fmla="*/ 90 w 166"/>
                <a:gd name="T15" fmla="*/ 6 h 82"/>
                <a:gd name="T16" fmla="*/ 118 w 166"/>
                <a:gd name="T17" fmla="*/ 7 h 82"/>
                <a:gd name="T18" fmla="*/ 144 w 166"/>
                <a:gd name="T19" fmla="*/ 9 h 82"/>
                <a:gd name="T20" fmla="*/ 154 w 166"/>
                <a:gd name="T21" fmla="*/ 16 h 82"/>
                <a:gd name="T22" fmla="*/ 166 w 166"/>
                <a:gd name="T23" fmla="*/ 19 h 82"/>
                <a:gd name="T24" fmla="*/ 165 w 166"/>
                <a:gd name="T25" fmla="*/ 24 h 82"/>
                <a:gd name="T26" fmla="*/ 142 w 166"/>
                <a:gd name="T27" fmla="*/ 35 h 82"/>
                <a:gd name="T28" fmla="*/ 139 w 166"/>
                <a:gd name="T29" fmla="*/ 43 h 82"/>
                <a:gd name="T30" fmla="*/ 118 w 166"/>
                <a:gd name="T31" fmla="*/ 46 h 82"/>
                <a:gd name="T32" fmla="*/ 116 w 166"/>
                <a:gd name="T33" fmla="*/ 58 h 82"/>
                <a:gd name="T34" fmla="*/ 97 w 166"/>
                <a:gd name="T35" fmla="*/ 56 h 82"/>
                <a:gd name="T36" fmla="*/ 87 w 166"/>
                <a:gd name="T37" fmla="*/ 60 h 82"/>
                <a:gd name="T38" fmla="*/ 74 w 166"/>
                <a:gd name="T39" fmla="*/ 70 h 82"/>
                <a:gd name="T40" fmla="*/ 77 w 166"/>
                <a:gd name="T41" fmla="*/ 74 h 82"/>
                <a:gd name="T42" fmla="*/ 74 w 166"/>
                <a:gd name="T43" fmla="*/ 79 h 82"/>
                <a:gd name="T44" fmla="*/ 43 w 166"/>
                <a:gd name="T45" fmla="*/ 82 h 82"/>
                <a:gd name="T46" fmla="*/ 20 w 166"/>
                <a:gd name="T47" fmla="*/ 76 h 82"/>
                <a:gd name="T48" fmla="*/ 2 w 166"/>
                <a:gd name="T49" fmla="*/ 77 h 82"/>
                <a:gd name="T50" fmla="*/ 0 w 166"/>
                <a:gd name="T51" fmla="*/ 65 h 82"/>
                <a:gd name="T52" fmla="*/ 20 w 166"/>
                <a:gd name="T53" fmla="*/ 69 h 82"/>
                <a:gd name="T54" fmla="*/ 24 w 166"/>
                <a:gd name="T55" fmla="*/ 62 h 82"/>
                <a:gd name="T56" fmla="*/ 37 w 166"/>
                <a:gd name="T57" fmla="*/ 64 h 82"/>
                <a:gd name="T58" fmla="*/ 55 w 166"/>
                <a:gd name="T59" fmla="*/ 49 h 82"/>
                <a:gd name="T60" fmla="*/ 31 w 166"/>
                <a:gd name="T61" fmla="*/ 39 h 82"/>
                <a:gd name="T62" fmla="*/ 21 w 166"/>
                <a:gd name="T63" fmla="*/ 44 h 82"/>
                <a:gd name="T64" fmla="*/ 6 w 166"/>
                <a:gd name="T65" fmla="*/ 36 h 82"/>
                <a:gd name="T66" fmla="*/ 16 w 166"/>
                <a:gd name="T67" fmla="*/ 23 h 82"/>
                <a:gd name="T68" fmla="*/ 11 w 166"/>
                <a:gd name="T69"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6" h="82">
                  <a:moveTo>
                    <a:pt x="11" y="21"/>
                  </a:moveTo>
                  <a:lnTo>
                    <a:pt x="12" y="12"/>
                  </a:lnTo>
                  <a:lnTo>
                    <a:pt x="22" y="9"/>
                  </a:lnTo>
                  <a:lnTo>
                    <a:pt x="52" y="16"/>
                  </a:lnTo>
                  <a:lnTo>
                    <a:pt x="50" y="4"/>
                  </a:lnTo>
                  <a:lnTo>
                    <a:pt x="58" y="0"/>
                  </a:lnTo>
                  <a:lnTo>
                    <a:pt x="85" y="8"/>
                  </a:lnTo>
                  <a:lnTo>
                    <a:pt x="90" y="6"/>
                  </a:lnTo>
                  <a:lnTo>
                    <a:pt x="118" y="7"/>
                  </a:lnTo>
                  <a:lnTo>
                    <a:pt x="144" y="9"/>
                  </a:lnTo>
                  <a:lnTo>
                    <a:pt x="154" y="16"/>
                  </a:lnTo>
                  <a:lnTo>
                    <a:pt x="166" y="19"/>
                  </a:lnTo>
                  <a:lnTo>
                    <a:pt x="165" y="24"/>
                  </a:lnTo>
                  <a:lnTo>
                    <a:pt x="142" y="35"/>
                  </a:lnTo>
                  <a:lnTo>
                    <a:pt x="139" y="43"/>
                  </a:lnTo>
                  <a:lnTo>
                    <a:pt x="118" y="46"/>
                  </a:lnTo>
                  <a:lnTo>
                    <a:pt x="116" y="58"/>
                  </a:lnTo>
                  <a:lnTo>
                    <a:pt x="97" y="56"/>
                  </a:lnTo>
                  <a:lnTo>
                    <a:pt x="87" y="60"/>
                  </a:lnTo>
                  <a:lnTo>
                    <a:pt x="74" y="70"/>
                  </a:lnTo>
                  <a:lnTo>
                    <a:pt x="77" y="74"/>
                  </a:lnTo>
                  <a:lnTo>
                    <a:pt x="74" y="79"/>
                  </a:lnTo>
                  <a:lnTo>
                    <a:pt x="43" y="82"/>
                  </a:lnTo>
                  <a:lnTo>
                    <a:pt x="20" y="76"/>
                  </a:lnTo>
                  <a:lnTo>
                    <a:pt x="2" y="77"/>
                  </a:lnTo>
                  <a:lnTo>
                    <a:pt x="0" y="65"/>
                  </a:lnTo>
                  <a:lnTo>
                    <a:pt x="20" y="69"/>
                  </a:lnTo>
                  <a:lnTo>
                    <a:pt x="24" y="62"/>
                  </a:lnTo>
                  <a:lnTo>
                    <a:pt x="37" y="64"/>
                  </a:lnTo>
                  <a:lnTo>
                    <a:pt x="55" y="49"/>
                  </a:lnTo>
                  <a:lnTo>
                    <a:pt x="31" y="39"/>
                  </a:lnTo>
                  <a:lnTo>
                    <a:pt x="21" y="44"/>
                  </a:lnTo>
                  <a:lnTo>
                    <a:pt x="6" y="36"/>
                  </a:lnTo>
                  <a:lnTo>
                    <a:pt x="16" y="23"/>
                  </a:lnTo>
                  <a:lnTo>
                    <a:pt x="11" y="21"/>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41" name="Freeform 104"/>
            <p:cNvSpPr>
              <a:spLocks/>
            </p:cNvSpPr>
            <p:nvPr/>
          </p:nvSpPr>
          <p:spPr bwMode="auto">
            <a:xfrm>
              <a:off x="7143750" y="3225804"/>
              <a:ext cx="153988" cy="134938"/>
            </a:xfrm>
            <a:custGeom>
              <a:avLst/>
              <a:gdLst>
                <a:gd name="T0" fmla="*/ 27 w 97"/>
                <a:gd name="T1" fmla="*/ 81 h 85"/>
                <a:gd name="T2" fmla="*/ 18 w 97"/>
                <a:gd name="T3" fmla="*/ 71 h 85"/>
                <a:gd name="T4" fmla="*/ 7 w 97"/>
                <a:gd name="T5" fmla="*/ 49 h 85"/>
                <a:gd name="T6" fmla="*/ 0 w 97"/>
                <a:gd name="T7" fmla="*/ 24 h 85"/>
                <a:gd name="T8" fmla="*/ 10 w 97"/>
                <a:gd name="T9" fmla="*/ 7 h 85"/>
                <a:gd name="T10" fmla="*/ 33 w 97"/>
                <a:gd name="T11" fmla="*/ 3 h 85"/>
                <a:gd name="T12" fmla="*/ 51 w 97"/>
                <a:gd name="T13" fmla="*/ 6 h 85"/>
                <a:gd name="T14" fmla="*/ 67 w 97"/>
                <a:gd name="T15" fmla="*/ 14 h 85"/>
                <a:gd name="T16" fmla="*/ 73 w 97"/>
                <a:gd name="T17" fmla="*/ 0 h 85"/>
                <a:gd name="T18" fmla="*/ 90 w 97"/>
                <a:gd name="T19" fmla="*/ 7 h 85"/>
                <a:gd name="T20" fmla="*/ 96 w 97"/>
                <a:gd name="T21" fmla="*/ 21 h 85"/>
                <a:gd name="T22" fmla="*/ 97 w 97"/>
                <a:gd name="T23" fmla="*/ 46 h 85"/>
                <a:gd name="T24" fmla="*/ 68 w 97"/>
                <a:gd name="T25" fmla="*/ 62 h 85"/>
                <a:gd name="T26" fmla="*/ 77 w 97"/>
                <a:gd name="T27" fmla="*/ 75 h 85"/>
                <a:gd name="T28" fmla="*/ 58 w 97"/>
                <a:gd name="T29" fmla="*/ 76 h 85"/>
                <a:gd name="T30" fmla="*/ 42 w 97"/>
                <a:gd name="T31" fmla="*/ 85 h 85"/>
                <a:gd name="T32" fmla="*/ 27 w 97"/>
                <a:gd name="T3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85">
                  <a:moveTo>
                    <a:pt x="27" y="81"/>
                  </a:moveTo>
                  <a:lnTo>
                    <a:pt x="18" y="71"/>
                  </a:lnTo>
                  <a:lnTo>
                    <a:pt x="7" y="49"/>
                  </a:lnTo>
                  <a:lnTo>
                    <a:pt x="0" y="24"/>
                  </a:lnTo>
                  <a:lnTo>
                    <a:pt x="10" y="7"/>
                  </a:lnTo>
                  <a:lnTo>
                    <a:pt x="33" y="3"/>
                  </a:lnTo>
                  <a:lnTo>
                    <a:pt x="51" y="6"/>
                  </a:lnTo>
                  <a:lnTo>
                    <a:pt x="67" y="14"/>
                  </a:lnTo>
                  <a:lnTo>
                    <a:pt x="73" y="0"/>
                  </a:lnTo>
                  <a:lnTo>
                    <a:pt x="90" y="7"/>
                  </a:lnTo>
                  <a:lnTo>
                    <a:pt x="96" y="21"/>
                  </a:lnTo>
                  <a:lnTo>
                    <a:pt x="97" y="46"/>
                  </a:lnTo>
                  <a:lnTo>
                    <a:pt x="68" y="62"/>
                  </a:lnTo>
                  <a:lnTo>
                    <a:pt x="77" y="75"/>
                  </a:lnTo>
                  <a:lnTo>
                    <a:pt x="58" y="76"/>
                  </a:lnTo>
                  <a:lnTo>
                    <a:pt x="42" y="85"/>
                  </a:lnTo>
                  <a:lnTo>
                    <a:pt x="27" y="81"/>
                  </a:lnTo>
                  <a:close/>
                </a:path>
              </a:pathLst>
            </a:custGeom>
            <a:solidFill>
              <a:srgbClr val="4F81BD"/>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42" name="Freeform 105"/>
            <p:cNvSpPr>
              <a:spLocks/>
            </p:cNvSpPr>
            <p:nvPr/>
          </p:nvSpPr>
          <p:spPr bwMode="auto">
            <a:xfrm>
              <a:off x="7607300" y="2433641"/>
              <a:ext cx="122238" cy="138113"/>
            </a:xfrm>
            <a:custGeom>
              <a:avLst/>
              <a:gdLst>
                <a:gd name="T0" fmla="*/ 29 w 77"/>
                <a:gd name="T1" fmla="*/ 0 h 87"/>
                <a:gd name="T2" fmla="*/ 55 w 77"/>
                <a:gd name="T3" fmla="*/ 24 h 87"/>
                <a:gd name="T4" fmla="*/ 66 w 77"/>
                <a:gd name="T5" fmla="*/ 38 h 87"/>
                <a:gd name="T6" fmla="*/ 77 w 77"/>
                <a:gd name="T7" fmla="*/ 62 h 87"/>
                <a:gd name="T8" fmla="*/ 75 w 77"/>
                <a:gd name="T9" fmla="*/ 73 h 87"/>
                <a:gd name="T10" fmla="*/ 61 w 77"/>
                <a:gd name="T11" fmla="*/ 77 h 87"/>
                <a:gd name="T12" fmla="*/ 51 w 77"/>
                <a:gd name="T13" fmla="*/ 85 h 87"/>
                <a:gd name="T14" fmla="*/ 36 w 77"/>
                <a:gd name="T15" fmla="*/ 87 h 87"/>
                <a:gd name="T16" fmla="*/ 29 w 77"/>
                <a:gd name="T17" fmla="*/ 76 h 87"/>
                <a:gd name="T18" fmla="*/ 26 w 77"/>
                <a:gd name="T19" fmla="*/ 61 h 87"/>
                <a:gd name="T20" fmla="*/ 9 w 77"/>
                <a:gd name="T21" fmla="*/ 39 h 87"/>
                <a:gd name="T22" fmla="*/ 20 w 77"/>
                <a:gd name="T23" fmla="*/ 35 h 87"/>
                <a:gd name="T24" fmla="*/ 0 w 77"/>
                <a:gd name="T25" fmla="*/ 18 h 87"/>
                <a:gd name="T26" fmla="*/ 1 w 77"/>
                <a:gd name="T27" fmla="*/ 16 h 87"/>
                <a:gd name="T28" fmla="*/ 8 w 77"/>
                <a:gd name="T29" fmla="*/ 17 h 87"/>
                <a:gd name="T30" fmla="*/ 11 w 77"/>
                <a:gd name="T31" fmla="*/ 7 h 87"/>
                <a:gd name="T32" fmla="*/ 22 w 77"/>
                <a:gd name="T33" fmla="*/ 6 h 87"/>
                <a:gd name="T34" fmla="*/ 29 w 77"/>
                <a:gd name="T35" fmla="*/ 5 h 87"/>
                <a:gd name="T36" fmla="*/ 29 w 77"/>
                <a:gd name="T3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7">
                  <a:moveTo>
                    <a:pt x="29" y="0"/>
                  </a:moveTo>
                  <a:lnTo>
                    <a:pt x="55" y="24"/>
                  </a:lnTo>
                  <a:lnTo>
                    <a:pt x="66" y="38"/>
                  </a:lnTo>
                  <a:lnTo>
                    <a:pt x="77" y="62"/>
                  </a:lnTo>
                  <a:lnTo>
                    <a:pt x="75" y="73"/>
                  </a:lnTo>
                  <a:lnTo>
                    <a:pt x="61" y="77"/>
                  </a:lnTo>
                  <a:lnTo>
                    <a:pt x="51" y="85"/>
                  </a:lnTo>
                  <a:lnTo>
                    <a:pt x="36" y="87"/>
                  </a:lnTo>
                  <a:lnTo>
                    <a:pt x="29" y="76"/>
                  </a:lnTo>
                  <a:lnTo>
                    <a:pt x="26" y="61"/>
                  </a:lnTo>
                  <a:lnTo>
                    <a:pt x="9" y="39"/>
                  </a:lnTo>
                  <a:lnTo>
                    <a:pt x="20" y="35"/>
                  </a:lnTo>
                  <a:lnTo>
                    <a:pt x="0" y="18"/>
                  </a:lnTo>
                  <a:lnTo>
                    <a:pt x="1" y="16"/>
                  </a:lnTo>
                  <a:lnTo>
                    <a:pt x="8" y="17"/>
                  </a:lnTo>
                  <a:lnTo>
                    <a:pt x="11" y="7"/>
                  </a:lnTo>
                  <a:lnTo>
                    <a:pt x="22" y="6"/>
                  </a:lnTo>
                  <a:lnTo>
                    <a:pt x="29" y="5"/>
                  </a:lnTo>
                  <a:lnTo>
                    <a:pt x="29"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43" name="Freeform 106"/>
            <p:cNvSpPr>
              <a:spLocks/>
            </p:cNvSpPr>
            <p:nvPr/>
          </p:nvSpPr>
          <p:spPr bwMode="auto">
            <a:xfrm>
              <a:off x="4714875" y="2281241"/>
              <a:ext cx="44450" cy="46038"/>
            </a:xfrm>
            <a:custGeom>
              <a:avLst/>
              <a:gdLst>
                <a:gd name="T0" fmla="*/ 12 w 28"/>
                <a:gd name="T1" fmla="*/ 25 h 29"/>
                <a:gd name="T2" fmla="*/ 12 w 28"/>
                <a:gd name="T3" fmla="*/ 29 h 29"/>
                <a:gd name="T4" fmla="*/ 10 w 28"/>
                <a:gd name="T5" fmla="*/ 29 h 29"/>
                <a:gd name="T6" fmla="*/ 8 w 28"/>
                <a:gd name="T7" fmla="*/ 22 h 29"/>
                <a:gd name="T8" fmla="*/ 4 w 28"/>
                <a:gd name="T9" fmla="*/ 20 h 29"/>
                <a:gd name="T10" fmla="*/ 0 w 28"/>
                <a:gd name="T11" fmla="*/ 14 h 29"/>
                <a:gd name="T12" fmla="*/ 2 w 28"/>
                <a:gd name="T13" fmla="*/ 9 h 29"/>
                <a:gd name="T14" fmla="*/ 6 w 28"/>
                <a:gd name="T15" fmla="*/ 8 h 29"/>
                <a:gd name="T16" fmla="*/ 8 w 28"/>
                <a:gd name="T17" fmla="*/ 1 h 29"/>
                <a:gd name="T18" fmla="*/ 11 w 28"/>
                <a:gd name="T19" fmla="*/ 0 h 29"/>
                <a:gd name="T20" fmla="*/ 13 w 28"/>
                <a:gd name="T21" fmla="*/ 3 h 29"/>
                <a:gd name="T22" fmla="*/ 17 w 28"/>
                <a:gd name="T23" fmla="*/ 4 h 29"/>
                <a:gd name="T24" fmla="*/ 19 w 28"/>
                <a:gd name="T25" fmla="*/ 7 h 29"/>
                <a:gd name="T26" fmla="*/ 22 w 28"/>
                <a:gd name="T27" fmla="*/ 8 h 29"/>
                <a:gd name="T28" fmla="*/ 26 w 28"/>
                <a:gd name="T29" fmla="*/ 12 h 29"/>
                <a:gd name="T30" fmla="*/ 28 w 28"/>
                <a:gd name="T31" fmla="*/ 12 h 29"/>
                <a:gd name="T32" fmla="*/ 27 w 28"/>
                <a:gd name="T33" fmla="*/ 17 h 29"/>
                <a:gd name="T34" fmla="*/ 25 w 28"/>
                <a:gd name="T35" fmla="*/ 20 h 29"/>
                <a:gd name="T36" fmla="*/ 25 w 28"/>
                <a:gd name="T37" fmla="*/ 21 h 29"/>
                <a:gd name="T38" fmla="*/ 22 w 28"/>
                <a:gd name="T39" fmla="*/ 22 h 29"/>
                <a:gd name="T40" fmla="*/ 12 w 28"/>
                <a:gd name="T4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9">
                  <a:moveTo>
                    <a:pt x="12" y="25"/>
                  </a:moveTo>
                  <a:lnTo>
                    <a:pt x="12" y="29"/>
                  </a:lnTo>
                  <a:lnTo>
                    <a:pt x="10" y="29"/>
                  </a:lnTo>
                  <a:lnTo>
                    <a:pt x="8" y="22"/>
                  </a:lnTo>
                  <a:lnTo>
                    <a:pt x="4" y="20"/>
                  </a:lnTo>
                  <a:lnTo>
                    <a:pt x="0" y="14"/>
                  </a:lnTo>
                  <a:lnTo>
                    <a:pt x="2" y="9"/>
                  </a:lnTo>
                  <a:lnTo>
                    <a:pt x="6" y="8"/>
                  </a:lnTo>
                  <a:lnTo>
                    <a:pt x="8" y="1"/>
                  </a:lnTo>
                  <a:lnTo>
                    <a:pt x="11" y="0"/>
                  </a:lnTo>
                  <a:lnTo>
                    <a:pt x="13" y="3"/>
                  </a:lnTo>
                  <a:lnTo>
                    <a:pt x="17" y="4"/>
                  </a:lnTo>
                  <a:lnTo>
                    <a:pt x="19" y="7"/>
                  </a:lnTo>
                  <a:lnTo>
                    <a:pt x="22" y="8"/>
                  </a:lnTo>
                  <a:lnTo>
                    <a:pt x="26" y="12"/>
                  </a:lnTo>
                  <a:lnTo>
                    <a:pt x="28" y="12"/>
                  </a:lnTo>
                  <a:lnTo>
                    <a:pt x="27" y="17"/>
                  </a:lnTo>
                  <a:lnTo>
                    <a:pt x="25" y="20"/>
                  </a:lnTo>
                  <a:lnTo>
                    <a:pt x="25" y="21"/>
                  </a:lnTo>
                  <a:lnTo>
                    <a:pt x="22" y="22"/>
                  </a:lnTo>
                  <a:lnTo>
                    <a:pt x="12" y="25"/>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44" name="Freeform 107"/>
            <p:cNvSpPr>
              <a:spLocks/>
            </p:cNvSpPr>
            <p:nvPr/>
          </p:nvSpPr>
          <p:spPr bwMode="auto">
            <a:xfrm>
              <a:off x="5487987" y="2714629"/>
              <a:ext cx="53975" cy="50800"/>
            </a:xfrm>
            <a:custGeom>
              <a:avLst/>
              <a:gdLst>
                <a:gd name="T0" fmla="*/ 22 w 34"/>
                <a:gd name="T1" fmla="*/ 2 h 32"/>
                <a:gd name="T2" fmla="*/ 27 w 34"/>
                <a:gd name="T3" fmla="*/ 11 h 32"/>
                <a:gd name="T4" fmla="*/ 26 w 34"/>
                <a:gd name="T5" fmla="*/ 16 h 32"/>
                <a:gd name="T6" fmla="*/ 34 w 34"/>
                <a:gd name="T7" fmla="*/ 31 h 32"/>
                <a:gd name="T8" fmla="*/ 21 w 34"/>
                <a:gd name="T9" fmla="*/ 32 h 32"/>
                <a:gd name="T10" fmla="*/ 16 w 34"/>
                <a:gd name="T11" fmla="*/ 22 h 32"/>
                <a:gd name="T12" fmla="*/ 0 w 34"/>
                <a:gd name="T13" fmla="*/ 20 h 32"/>
                <a:gd name="T14" fmla="*/ 10 w 34"/>
                <a:gd name="T15" fmla="*/ 0 h 32"/>
                <a:gd name="T16" fmla="*/ 22 w 34"/>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2">
                  <a:moveTo>
                    <a:pt x="22" y="2"/>
                  </a:moveTo>
                  <a:lnTo>
                    <a:pt x="27" y="11"/>
                  </a:lnTo>
                  <a:lnTo>
                    <a:pt x="26" y="16"/>
                  </a:lnTo>
                  <a:lnTo>
                    <a:pt x="34" y="31"/>
                  </a:lnTo>
                  <a:lnTo>
                    <a:pt x="21" y="32"/>
                  </a:lnTo>
                  <a:lnTo>
                    <a:pt x="16" y="22"/>
                  </a:lnTo>
                  <a:lnTo>
                    <a:pt x="0" y="20"/>
                  </a:lnTo>
                  <a:lnTo>
                    <a:pt x="10" y="0"/>
                  </a:lnTo>
                  <a:lnTo>
                    <a:pt x="22" y="2"/>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45" name="Freeform 108"/>
            <p:cNvSpPr>
              <a:spLocks/>
            </p:cNvSpPr>
            <p:nvPr/>
          </p:nvSpPr>
          <p:spPr bwMode="auto">
            <a:xfrm>
              <a:off x="7048500" y="2965454"/>
              <a:ext cx="239713" cy="282575"/>
            </a:xfrm>
            <a:custGeom>
              <a:avLst/>
              <a:gdLst>
                <a:gd name="T0" fmla="*/ 111 w 151"/>
                <a:gd name="T1" fmla="*/ 170 h 178"/>
                <a:gd name="T2" fmla="*/ 116 w 151"/>
                <a:gd name="T3" fmla="*/ 161 h 178"/>
                <a:gd name="T4" fmla="*/ 114 w 151"/>
                <a:gd name="T5" fmla="*/ 143 h 178"/>
                <a:gd name="T6" fmla="*/ 97 w 151"/>
                <a:gd name="T7" fmla="*/ 125 h 178"/>
                <a:gd name="T8" fmla="*/ 93 w 151"/>
                <a:gd name="T9" fmla="*/ 104 h 178"/>
                <a:gd name="T10" fmla="*/ 77 w 151"/>
                <a:gd name="T11" fmla="*/ 87 h 178"/>
                <a:gd name="T12" fmla="*/ 63 w 151"/>
                <a:gd name="T13" fmla="*/ 86 h 178"/>
                <a:gd name="T14" fmla="*/ 60 w 151"/>
                <a:gd name="T15" fmla="*/ 93 h 178"/>
                <a:gd name="T16" fmla="*/ 50 w 151"/>
                <a:gd name="T17" fmla="*/ 94 h 178"/>
                <a:gd name="T18" fmla="*/ 44 w 151"/>
                <a:gd name="T19" fmla="*/ 90 h 178"/>
                <a:gd name="T20" fmla="*/ 26 w 151"/>
                <a:gd name="T21" fmla="*/ 103 h 178"/>
                <a:gd name="T22" fmla="*/ 23 w 151"/>
                <a:gd name="T23" fmla="*/ 84 h 178"/>
                <a:gd name="T24" fmla="*/ 24 w 151"/>
                <a:gd name="T25" fmla="*/ 62 h 178"/>
                <a:gd name="T26" fmla="*/ 12 w 151"/>
                <a:gd name="T27" fmla="*/ 61 h 178"/>
                <a:gd name="T28" fmla="*/ 9 w 151"/>
                <a:gd name="T29" fmla="*/ 49 h 178"/>
                <a:gd name="T30" fmla="*/ 0 w 151"/>
                <a:gd name="T31" fmla="*/ 42 h 178"/>
                <a:gd name="T32" fmla="*/ 3 w 151"/>
                <a:gd name="T33" fmla="*/ 34 h 178"/>
                <a:gd name="T34" fmla="*/ 16 w 151"/>
                <a:gd name="T35" fmla="*/ 21 h 178"/>
                <a:gd name="T36" fmla="*/ 18 w 151"/>
                <a:gd name="T37" fmla="*/ 26 h 178"/>
                <a:gd name="T38" fmla="*/ 28 w 151"/>
                <a:gd name="T39" fmla="*/ 26 h 178"/>
                <a:gd name="T40" fmla="*/ 21 w 151"/>
                <a:gd name="T41" fmla="*/ 3 h 178"/>
                <a:gd name="T42" fmla="*/ 30 w 151"/>
                <a:gd name="T43" fmla="*/ 0 h 178"/>
                <a:gd name="T44" fmla="*/ 43 w 151"/>
                <a:gd name="T45" fmla="*/ 16 h 178"/>
                <a:gd name="T46" fmla="*/ 55 w 151"/>
                <a:gd name="T47" fmla="*/ 35 h 178"/>
                <a:gd name="T48" fmla="*/ 77 w 151"/>
                <a:gd name="T49" fmla="*/ 35 h 178"/>
                <a:gd name="T50" fmla="*/ 87 w 151"/>
                <a:gd name="T51" fmla="*/ 53 h 178"/>
                <a:gd name="T52" fmla="*/ 76 w 151"/>
                <a:gd name="T53" fmla="*/ 59 h 178"/>
                <a:gd name="T54" fmla="*/ 72 w 151"/>
                <a:gd name="T55" fmla="*/ 66 h 178"/>
                <a:gd name="T56" fmla="*/ 96 w 151"/>
                <a:gd name="T57" fmla="*/ 79 h 178"/>
                <a:gd name="T58" fmla="*/ 115 w 151"/>
                <a:gd name="T59" fmla="*/ 103 h 178"/>
                <a:gd name="T60" fmla="*/ 129 w 151"/>
                <a:gd name="T61" fmla="*/ 122 h 178"/>
                <a:gd name="T62" fmla="*/ 145 w 151"/>
                <a:gd name="T63" fmla="*/ 136 h 178"/>
                <a:gd name="T64" fmla="*/ 151 w 151"/>
                <a:gd name="T65" fmla="*/ 151 h 178"/>
                <a:gd name="T66" fmla="*/ 150 w 151"/>
                <a:gd name="T67" fmla="*/ 171 h 178"/>
                <a:gd name="T68" fmla="*/ 133 w 151"/>
                <a:gd name="T69" fmla="*/ 164 h 178"/>
                <a:gd name="T70" fmla="*/ 127 w 151"/>
                <a:gd name="T71" fmla="*/ 178 h 178"/>
                <a:gd name="T72" fmla="*/ 111 w 151"/>
                <a:gd name="T73" fmla="*/ 17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1" h="178">
                  <a:moveTo>
                    <a:pt x="111" y="170"/>
                  </a:moveTo>
                  <a:lnTo>
                    <a:pt x="116" y="161"/>
                  </a:lnTo>
                  <a:lnTo>
                    <a:pt x="114" y="143"/>
                  </a:lnTo>
                  <a:lnTo>
                    <a:pt x="97" y="125"/>
                  </a:lnTo>
                  <a:lnTo>
                    <a:pt x="93" y="104"/>
                  </a:lnTo>
                  <a:lnTo>
                    <a:pt x="77" y="87"/>
                  </a:lnTo>
                  <a:lnTo>
                    <a:pt x="63" y="86"/>
                  </a:lnTo>
                  <a:lnTo>
                    <a:pt x="60" y="93"/>
                  </a:lnTo>
                  <a:lnTo>
                    <a:pt x="50" y="94"/>
                  </a:lnTo>
                  <a:lnTo>
                    <a:pt x="44" y="90"/>
                  </a:lnTo>
                  <a:lnTo>
                    <a:pt x="26" y="103"/>
                  </a:lnTo>
                  <a:lnTo>
                    <a:pt x="23" y="84"/>
                  </a:lnTo>
                  <a:lnTo>
                    <a:pt x="24" y="62"/>
                  </a:lnTo>
                  <a:lnTo>
                    <a:pt x="12" y="61"/>
                  </a:lnTo>
                  <a:lnTo>
                    <a:pt x="9" y="49"/>
                  </a:lnTo>
                  <a:lnTo>
                    <a:pt x="0" y="42"/>
                  </a:lnTo>
                  <a:lnTo>
                    <a:pt x="3" y="34"/>
                  </a:lnTo>
                  <a:lnTo>
                    <a:pt x="16" y="21"/>
                  </a:lnTo>
                  <a:lnTo>
                    <a:pt x="18" y="26"/>
                  </a:lnTo>
                  <a:lnTo>
                    <a:pt x="28" y="26"/>
                  </a:lnTo>
                  <a:lnTo>
                    <a:pt x="21" y="3"/>
                  </a:lnTo>
                  <a:lnTo>
                    <a:pt x="30" y="0"/>
                  </a:lnTo>
                  <a:lnTo>
                    <a:pt x="43" y="16"/>
                  </a:lnTo>
                  <a:lnTo>
                    <a:pt x="55" y="35"/>
                  </a:lnTo>
                  <a:lnTo>
                    <a:pt x="77" y="35"/>
                  </a:lnTo>
                  <a:lnTo>
                    <a:pt x="87" y="53"/>
                  </a:lnTo>
                  <a:lnTo>
                    <a:pt x="76" y="59"/>
                  </a:lnTo>
                  <a:lnTo>
                    <a:pt x="72" y="66"/>
                  </a:lnTo>
                  <a:lnTo>
                    <a:pt x="96" y="79"/>
                  </a:lnTo>
                  <a:lnTo>
                    <a:pt x="115" y="103"/>
                  </a:lnTo>
                  <a:lnTo>
                    <a:pt x="129" y="122"/>
                  </a:lnTo>
                  <a:lnTo>
                    <a:pt x="145" y="136"/>
                  </a:lnTo>
                  <a:lnTo>
                    <a:pt x="151" y="151"/>
                  </a:lnTo>
                  <a:lnTo>
                    <a:pt x="150" y="171"/>
                  </a:lnTo>
                  <a:lnTo>
                    <a:pt x="133" y="164"/>
                  </a:lnTo>
                  <a:lnTo>
                    <a:pt x="127" y="178"/>
                  </a:lnTo>
                  <a:lnTo>
                    <a:pt x="111" y="17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46" name="Freeform 109"/>
            <p:cNvSpPr>
              <a:spLocks/>
            </p:cNvSpPr>
            <p:nvPr/>
          </p:nvSpPr>
          <p:spPr bwMode="auto">
            <a:xfrm>
              <a:off x="5153025" y="2563816"/>
              <a:ext cx="38100" cy="50800"/>
            </a:xfrm>
            <a:custGeom>
              <a:avLst/>
              <a:gdLst>
                <a:gd name="T0" fmla="*/ 12 w 24"/>
                <a:gd name="T1" fmla="*/ 28 h 32"/>
                <a:gd name="T2" fmla="*/ 7 w 24"/>
                <a:gd name="T3" fmla="*/ 29 h 32"/>
                <a:gd name="T4" fmla="*/ 6 w 24"/>
                <a:gd name="T5" fmla="*/ 32 h 32"/>
                <a:gd name="T6" fmla="*/ 0 w 24"/>
                <a:gd name="T7" fmla="*/ 32 h 32"/>
                <a:gd name="T8" fmla="*/ 5 w 24"/>
                <a:gd name="T9" fmla="*/ 15 h 32"/>
                <a:gd name="T10" fmla="*/ 12 w 24"/>
                <a:gd name="T11" fmla="*/ 1 h 32"/>
                <a:gd name="T12" fmla="*/ 12 w 24"/>
                <a:gd name="T13" fmla="*/ 0 h 32"/>
                <a:gd name="T14" fmla="*/ 20 w 24"/>
                <a:gd name="T15" fmla="*/ 1 h 32"/>
                <a:gd name="T16" fmla="*/ 24 w 24"/>
                <a:gd name="T17" fmla="*/ 9 h 32"/>
                <a:gd name="T18" fmla="*/ 15 w 24"/>
                <a:gd name="T19" fmla="*/ 17 h 32"/>
                <a:gd name="T20" fmla="*/ 12 w 24"/>
                <a:gd name="T21"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12" y="28"/>
                  </a:moveTo>
                  <a:lnTo>
                    <a:pt x="7" y="29"/>
                  </a:lnTo>
                  <a:lnTo>
                    <a:pt x="6" y="32"/>
                  </a:lnTo>
                  <a:lnTo>
                    <a:pt x="0" y="32"/>
                  </a:lnTo>
                  <a:lnTo>
                    <a:pt x="5" y="15"/>
                  </a:lnTo>
                  <a:lnTo>
                    <a:pt x="12" y="1"/>
                  </a:lnTo>
                  <a:lnTo>
                    <a:pt x="12" y="0"/>
                  </a:lnTo>
                  <a:lnTo>
                    <a:pt x="20" y="1"/>
                  </a:lnTo>
                  <a:lnTo>
                    <a:pt x="24" y="9"/>
                  </a:lnTo>
                  <a:lnTo>
                    <a:pt x="15" y="17"/>
                  </a:lnTo>
                  <a:lnTo>
                    <a:pt x="12" y="28"/>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47" name="Freeform 110"/>
            <p:cNvSpPr>
              <a:spLocks/>
            </p:cNvSpPr>
            <p:nvPr/>
          </p:nvSpPr>
          <p:spPr bwMode="auto">
            <a:xfrm>
              <a:off x="3849687" y="3424242"/>
              <a:ext cx="112713" cy="138113"/>
            </a:xfrm>
            <a:custGeom>
              <a:avLst/>
              <a:gdLst>
                <a:gd name="T0" fmla="*/ 68 w 71"/>
                <a:gd name="T1" fmla="*/ 87 h 87"/>
                <a:gd name="T2" fmla="*/ 63 w 71"/>
                <a:gd name="T3" fmla="*/ 87 h 87"/>
                <a:gd name="T4" fmla="*/ 44 w 71"/>
                <a:gd name="T5" fmla="*/ 77 h 87"/>
                <a:gd name="T6" fmla="*/ 27 w 71"/>
                <a:gd name="T7" fmla="*/ 61 h 87"/>
                <a:gd name="T8" fmla="*/ 12 w 71"/>
                <a:gd name="T9" fmla="*/ 50 h 87"/>
                <a:gd name="T10" fmla="*/ 0 w 71"/>
                <a:gd name="T11" fmla="*/ 37 h 87"/>
                <a:gd name="T12" fmla="*/ 4 w 71"/>
                <a:gd name="T13" fmla="*/ 30 h 87"/>
                <a:gd name="T14" fmla="*/ 5 w 71"/>
                <a:gd name="T15" fmla="*/ 24 h 87"/>
                <a:gd name="T16" fmla="*/ 13 w 71"/>
                <a:gd name="T17" fmla="*/ 12 h 87"/>
                <a:gd name="T18" fmla="*/ 22 w 71"/>
                <a:gd name="T19" fmla="*/ 3 h 87"/>
                <a:gd name="T20" fmla="*/ 26 w 71"/>
                <a:gd name="T21" fmla="*/ 2 h 87"/>
                <a:gd name="T22" fmla="*/ 31 w 71"/>
                <a:gd name="T23" fmla="*/ 0 h 87"/>
                <a:gd name="T24" fmla="*/ 38 w 71"/>
                <a:gd name="T25" fmla="*/ 13 h 87"/>
                <a:gd name="T26" fmla="*/ 37 w 71"/>
                <a:gd name="T27" fmla="*/ 21 h 87"/>
                <a:gd name="T28" fmla="*/ 41 w 71"/>
                <a:gd name="T29" fmla="*/ 26 h 87"/>
                <a:gd name="T30" fmla="*/ 46 w 71"/>
                <a:gd name="T31" fmla="*/ 26 h 87"/>
                <a:gd name="T32" fmla="*/ 49 w 71"/>
                <a:gd name="T33" fmla="*/ 17 h 87"/>
                <a:gd name="T34" fmla="*/ 55 w 71"/>
                <a:gd name="T35" fmla="*/ 18 h 87"/>
                <a:gd name="T36" fmla="*/ 54 w 71"/>
                <a:gd name="T37" fmla="*/ 24 h 87"/>
                <a:gd name="T38" fmla="*/ 55 w 71"/>
                <a:gd name="T39" fmla="*/ 34 h 87"/>
                <a:gd name="T40" fmla="*/ 52 w 71"/>
                <a:gd name="T41" fmla="*/ 43 h 87"/>
                <a:gd name="T42" fmla="*/ 57 w 71"/>
                <a:gd name="T43" fmla="*/ 49 h 87"/>
                <a:gd name="T44" fmla="*/ 63 w 71"/>
                <a:gd name="T45" fmla="*/ 50 h 87"/>
                <a:gd name="T46" fmla="*/ 70 w 71"/>
                <a:gd name="T47" fmla="*/ 59 h 87"/>
                <a:gd name="T48" fmla="*/ 71 w 71"/>
                <a:gd name="T49" fmla="*/ 67 h 87"/>
                <a:gd name="T50" fmla="*/ 69 w 71"/>
                <a:gd name="T51" fmla="*/ 70 h 87"/>
                <a:gd name="T52" fmla="*/ 68 w 71"/>
                <a:gd name="T5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87">
                  <a:moveTo>
                    <a:pt x="68" y="87"/>
                  </a:moveTo>
                  <a:lnTo>
                    <a:pt x="63" y="87"/>
                  </a:lnTo>
                  <a:lnTo>
                    <a:pt x="44" y="77"/>
                  </a:lnTo>
                  <a:lnTo>
                    <a:pt x="27" y="61"/>
                  </a:lnTo>
                  <a:lnTo>
                    <a:pt x="12" y="50"/>
                  </a:lnTo>
                  <a:lnTo>
                    <a:pt x="0" y="37"/>
                  </a:lnTo>
                  <a:lnTo>
                    <a:pt x="4" y="30"/>
                  </a:lnTo>
                  <a:lnTo>
                    <a:pt x="5" y="24"/>
                  </a:lnTo>
                  <a:lnTo>
                    <a:pt x="13" y="12"/>
                  </a:lnTo>
                  <a:lnTo>
                    <a:pt x="22" y="3"/>
                  </a:lnTo>
                  <a:lnTo>
                    <a:pt x="26" y="2"/>
                  </a:lnTo>
                  <a:lnTo>
                    <a:pt x="31" y="0"/>
                  </a:lnTo>
                  <a:lnTo>
                    <a:pt x="38" y="13"/>
                  </a:lnTo>
                  <a:lnTo>
                    <a:pt x="37" y="21"/>
                  </a:lnTo>
                  <a:lnTo>
                    <a:pt x="41" y="26"/>
                  </a:lnTo>
                  <a:lnTo>
                    <a:pt x="46" y="26"/>
                  </a:lnTo>
                  <a:lnTo>
                    <a:pt x="49" y="17"/>
                  </a:lnTo>
                  <a:lnTo>
                    <a:pt x="55" y="18"/>
                  </a:lnTo>
                  <a:lnTo>
                    <a:pt x="54" y="24"/>
                  </a:lnTo>
                  <a:lnTo>
                    <a:pt x="55" y="34"/>
                  </a:lnTo>
                  <a:lnTo>
                    <a:pt x="52" y="43"/>
                  </a:lnTo>
                  <a:lnTo>
                    <a:pt x="57" y="49"/>
                  </a:lnTo>
                  <a:lnTo>
                    <a:pt x="63" y="50"/>
                  </a:lnTo>
                  <a:lnTo>
                    <a:pt x="70" y="59"/>
                  </a:lnTo>
                  <a:lnTo>
                    <a:pt x="71" y="67"/>
                  </a:lnTo>
                  <a:lnTo>
                    <a:pt x="69" y="70"/>
                  </a:lnTo>
                  <a:lnTo>
                    <a:pt x="68" y="8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48" name="Freeform 111"/>
            <p:cNvSpPr>
              <a:spLocks/>
            </p:cNvSpPr>
            <p:nvPr/>
          </p:nvSpPr>
          <p:spPr bwMode="auto">
            <a:xfrm>
              <a:off x="4445000" y="2613029"/>
              <a:ext cx="454025" cy="447675"/>
            </a:xfrm>
            <a:custGeom>
              <a:avLst/>
              <a:gdLst>
                <a:gd name="T0" fmla="*/ 101 w 286"/>
                <a:gd name="T1" fmla="*/ 213 h 282"/>
                <a:gd name="T2" fmla="*/ 88 w 286"/>
                <a:gd name="T3" fmla="*/ 221 h 282"/>
                <a:gd name="T4" fmla="*/ 78 w 286"/>
                <a:gd name="T5" fmla="*/ 210 h 282"/>
                <a:gd name="T6" fmla="*/ 49 w 286"/>
                <a:gd name="T7" fmla="*/ 201 h 282"/>
                <a:gd name="T8" fmla="*/ 41 w 286"/>
                <a:gd name="T9" fmla="*/ 188 h 282"/>
                <a:gd name="T10" fmla="*/ 27 w 286"/>
                <a:gd name="T11" fmla="*/ 178 h 282"/>
                <a:gd name="T12" fmla="*/ 19 w 286"/>
                <a:gd name="T13" fmla="*/ 182 h 282"/>
                <a:gd name="T14" fmla="*/ 12 w 286"/>
                <a:gd name="T15" fmla="*/ 170 h 282"/>
                <a:gd name="T16" fmla="*/ 11 w 286"/>
                <a:gd name="T17" fmla="*/ 162 h 282"/>
                <a:gd name="T18" fmla="*/ 0 w 286"/>
                <a:gd name="T19" fmla="*/ 146 h 282"/>
                <a:gd name="T20" fmla="*/ 7 w 286"/>
                <a:gd name="T21" fmla="*/ 138 h 282"/>
                <a:gd name="T22" fmla="*/ 5 w 286"/>
                <a:gd name="T23" fmla="*/ 125 h 282"/>
                <a:gd name="T24" fmla="*/ 7 w 286"/>
                <a:gd name="T25" fmla="*/ 113 h 282"/>
                <a:gd name="T26" fmla="*/ 6 w 286"/>
                <a:gd name="T27" fmla="*/ 104 h 282"/>
                <a:gd name="T28" fmla="*/ 9 w 286"/>
                <a:gd name="T29" fmla="*/ 87 h 282"/>
                <a:gd name="T30" fmla="*/ 7 w 286"/>
                <a:gd name="T31" fmla="*/ 77 h 282"/>
                <a:gd name="T32" fmla="*/ 1 w 286"/>
                <a:gd name="T33" fmla="*/ 59 h 282"/>
                <a:gd name="T34" fmla="*/ 10 w 286"/>
                <a:gd name="T35" fmla="*/ 54 h 282"/>
                <a:gd name="T36" fmla="*/ 11 w 286"/>
                <a:gd name="T37" fmla="*/ 45 h 282"/>
                <a:gd name="T38" fmla="*/ 9 w 286"/>
                <a:gd name="T39" fmla="*/ 37 h 282"/>
                <a:gd name="T40" fmla="*/ 21 w 286"/>
                <a:gd name="T41" fmla="*/ 29 h 282"/>
                <a:gd name="T42" fmla="*/ 26 w 286"/>
                <a:gd name="T43" fmla="*/ 22 h 282"/>
                <a:gd name="T44" fmla="*/ 34 w 286"/>
                <a:gd name="T45" fmla="*/ 16 h 282"/>
                <a:gd name="T46" fmla="*/ 35 w 286"/>
                <a:gd name="T47" fmla="*/ 0 h 282"/>
                <a:gd name="T48" fmla="*/ 55 w 286"/>
                <a:gd name="T49" fmla="*/ 7 h 282"/>
                <a:gd name="T50" fmla="*/ 63 w 286"/>
                <a:gd name="T51" fmla="*/ 6 h 282"/>
                <a:gd name="T52" fmla="*/ 77 w 286"/>
                <a:gd name="T53" fmla="*/ 9 h 282"/>
                <a:gd name="T54" fmla="*/ 101 w 286"/>
                <a:gd name="T55" fmla="*/ 18 h 282"/>
                <a:gd name="T56" fmla="*/ 110 w 286"/>
                <a:gd name="T57" fmla="*/ 37 h 282"/>
                <a:gd name="T58" fmla="*/ 126 w 286"/>
                <a:gd name="T59" fmla="*/ 41 h 282"/>
                <a:gd name="T60" fmla="*/ 151 w 286"/>
                <a:gd name="T61" fmla="*/ 50 h 282"/>
                <a:gd name="T62" fmla="*/ 170 w 286"/>
                <a:gd name="T63" fmla="*/ 60 h 282"/>
                <a:gd name="T64" fmla="*/ 178 w 286"/>
                <a:gd name="T65" fmla="*/ 54 h 282"/>
                <a:gd name="T66" fmla="*/ 186 w 286"/>
                <a:gd name="T67" fmla="*/ 45 h 282"/>
                <a:gd name="T68" fmla="*/ 181 w 286"/>
                <a:gd name="T69" fmla="*/ 29 h 282"/>
                <a:gd name="T70" fmla="*/ 186 w 286"/>
                <a:gd name="T71" fmla="*/ 19 h 282"/>
                <a:gd name="T72" fmla="*/ 198 w 286"/>
                <a:gd name="T73" fmla="*/ 9 h 282"/>
                <a:gd name="T74" fmla="*/ 210 w 286"/>
                <a:gd name="T75" fmla="*/ 6 h 282"/>
                <a:gd name="T76" fmla="*/ 234 w 286"/>
                <a:gd name="T77" fmla="*/ 11 h 282"/>
                <a:gd name="T78" fmla="*/ 241 w 286"/>
                <a:gd name="T79" fmla="*/ 20 h 282"/>
                <a:gd name="T80" fmla="*/ 247 w 286"/>
                <a:gd name="T81" fmla="*/ 20 h 282"/>
                <a:gd name="T82" fmla="*/ 253 w 286"/>
                <a:gd name="T83" fmla="*/ 23 h 282"/>
                <a:gd name="T84" fmla="*/ 270 w 286"/>
                <a:gd name="T85" fmla="*/ 26 h 282"/>
                <a:gd name="T86" fmla="*/ 275 w 286"/>
                <a:gd name="T87" fmla="*/ 33 h 282"/>
                <a:gd name="T88" fmla="*/ 270 w 286"/>
                <a:gd name="T89" fmla="*/ 43 h 282"/>
                <a:gd name="T90" fmla="*/ 273 w 286"/>
                <a:gd name="T91" fmla="*/ 51 h 282"/>
                <a:gd name="T92" fmla="*/ 269 w 286"/>
                <a:gd name="T93" fmla="*/ 64 h 282"/>
                <a:gd name="T94" fmla="*/ 275 w 286"/>
                <a:gd name="T95" fmla="*/ 81 h 282"/>
                <a:gd name="T96" fmla="*/ 280 w 286"/>
                <a:gd name="T97" fmla="*/ 155 h 282"/>
                <a:gd name="T98" fmla="*/ 284 w 286"/>
                <a:gd name="T99" fmla="*/ 231 h 282"/>
                <a:gd name="T100" fmla="*/ 286 w 286"/>
                <a:gd name="T101" fmla="*/ 273 h 282"/>
                <a:gd name="T102" fmla="*/ 265 w 286"/>
                <a:gd name="T103" fmla="*/ 273 h 282"/>
                <a:gd name="T104" fmla="*/ 265 w 286"/>
                <a:gd name="T105" fmla="*/ 282 h 282"/>
                <a:gd name="T106" fmla="*/ 192 w 286"/>
                <a:gd name="T107" fmla="*/ 242 h 282"/>
                <a:gd name="T108" fmla="*/ 119 w 286"/>
                <a:gd name="T109" fmla="*/ 202 h 282"/>
                <a:gd name="T110" fmla="*/ 101 w 286"/>
                <a:gd name="T111" fmla="*/ 21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 h="282">
                  <a:moveTo>
                    <a:pt x="101" y="213"/>
                  </a:moveTo>
                  <a:lnTo>
                    <a:pt x="88" y="221"/>
                  </a:lnTo>
                  <a:lnTo>
                    <a:pt x="78" y="210"/>
                  </a:lnTo>
                  <a:lnTo>
                    <a:pt x="49" y="201"/>
                  </a:lnTo>
                  <a:lnTo>
                    <a:pt x="41" y="188"/>
                  </a:lnTo>
                  <a:lnTo>
                    <a:pt x="27" y="178"/>
                  </a:lnTo>
                  <a:lnTo>
                    <a:pt x="19" y="182"/>
                  </a:lnTo>
                  <a:lnTo>
                    <a:pt x="12" y="170"/>
                  </a:lnTo>
                  <a:lnTo>
                    <a:pt x="11" y="162"/>
                  </a:lnTo>
                  <a:lnTo>
                    <a:pt x="0" y="146"/>
                  </a:lnTo>
                  <a:lnTo>
                    <a:pt x="7" y="138"/>
                  </a:lnTo>
                  <a:lnTo>
                    <a:pt x="5" y="125"/>
                  </a:lnTo>
                  <a:lnTo>
                    <a:pt x="7" y="113"/>
                  </a:lnTo>
                  <a:lnTo>
                    <a:pt x="6" y="104"/>
                  </a:lnTo>
                  <a:lnTo>
                    <a:pt x="9" y="87"/>
                  </a:lnTo>
                  <a:lnTo>
                    <a:pt x="7" y="77"/>
                  </a:lnTo>
                  <a:lnTo>
                    <a:pt x="1" y="59"/>
                  </a:lnTo>
                  <a:lnTo>
                    <a:pt x="10" y="54"/>
                  </a:lnTo>
                  <a:lnTo>
                    <a:pt x="11" y="45"/>
                  </a:lnTo>
                  <a:lnTo>
                    <a:pt x="9" y="37"/>
                  </a:lnTo>
                  <a:lnTo>
                    <a:pt x="21" y="29"/>
                  </a:lnTo>
                  <a:lnTo>
                    <a:pt x="26" y="22"/>
                  </a:lnTo>
                  <a:lnTo>
                    <a:pt x="34" y="16"/>
                  </a:lnTo>
                  <a:lnTo>
                    <a:pt x="35" y="0"/>
                  </a:lnTo>
                  <a:lnTo>
                    <a:pt x="55" y="7"/>
                  </a:lnTo>
                  <a:lnTo>
                    <a:pt x="63" y="6"/>
                  </a:lnTo>
                  <a:lnTo>
                    <a:pt x="77" y="9"/>
                  </a:lnTo>
                  <a:lnTo>
                    <a:pt x="101" y="18"/>
                  </a:lnTo>
                  <a:lnTo>
                    <a:pt x="110" y="37"/>
                  </a:lnTo>
                  <a:lnTo>
                    <a:pt x="126" y="41"/>
                  </a:lnTo>
                  <a:lnTo>
                    <a:pt x="151" y="50"/>
                  </a:lnTo>
                  <a:lnTo>
                    <a:pt x="170" y="60"/>
                  </a:lnTo>
                  <a:lnTo>
                    <a:pt x="178" y="54"/>
                  </a:lnTo>
                  <a:lnTo>
                    <a:pt x="186" y="45"/>
                  </a:lnTo>
                  <a:lnTo>
                    <a:pt x="181" y="29"/>
                  </a:lnTo>
                  <a:lnTo>
                    <a:pt x="186" y="19"/>
                  </a:lnTo>
                  <a:lnTo>
                    <a:pt x="198" y="9"/>
                  </a:lnTo>
                  <a:lnTo>
                    <a:pt x="210" y="6"/>
                  </a:lnTo>
                  <a:lnTo>
                    <a:pt x="234" y="11"/>
                  </a:lnTo>
                  <a:lnTo>
                    <a:pt x="241" y="20"/>
                  </a:lnTo>
                  <a:lnTo>
                    <a:pt x="247" y="20"/>
                  </a:lnTo>
                  <a:lnTo>
                    <a:pt x="253" y="23"/>
                  </a:lnTo>
                  <a:lnTo>
                    <a:pt x="270" y="26"/>
                  </a:lnTo>
                  <a:lnTo>
                    <a:pt x="275" y="33"/>
                  </a:lnTo>
                  <a:lnTo>
                    <a:pt x="270" y="43"/>
                  </a:lnTo>
                  <a:lnTo>
                    <a:pt x="273" y="51"/>
                  </a:lnTo>
                  <a:lnTo>
                    <a:pt x="269" y="64"/>
                  </a:lnTo>
                  <a:lnTo>
                    <a:pt x="275" y="81"/>
                  </a:lnTo>
                  <a:lnTo>
                    <a:pt x="280" y="155"/>
                  </a:lnTo>
                  <a:lnTo>
                    <a:pt x="284" y="231"/>
                  </a:lnTo>
                  <a:lnTo>
                    <a:pt x="286" y="273"/>
                  </a:lnTo>
                  <a:lnTo>
                    <a:pt x="265" y="273"/>
                  </a:lnTo>
                  <a:lnTo>
                    <a:pt x="265" y="282"/>
                  </a:lnTo>
                  <a:lnTo>
                    <a:pt x="192" y="242"/>
                  </a:lnTo>
                  <a:lnTo>
                    <a:pt x="119" y="202"/>
                  </a:lnTo>
                  <a:lnTo>
                    <a:pt x="101" y="213"/>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49" name="Freeform 112"/>
            <p:cNvSpPr>
              <a:spLocks/>
            </p:cNvSpPr>
            <p:nvPr/>
          </p:nvSpPr>
          <p:spPr bwMode="auto">
            <a:xfrm>
              <a:off x="6500812" y="3381379"/>
              <a:ext cx="61913" cy="127000"/>
            </a:xfrm>
            <a:custGeom>
              <a:avLst/>
              <a:gdLst>
                <a:gd name="T0" fmla="*/ 39 w 39"/>
                <a:gd name="T1" fmla="*/ 48 h 80"/>
                <a:gd name="T2" fmla="*/ 37 w 39"/>
                <a:gd name="T3" fmla="*/ 70 h 80"/>
                <a:gd name="T4" fmla="*/ 29 w 39"/>
                <a:gd name="T5" fmla="*/ 76 h 80"/>
                <a:gd name="T6" fmla="*/ 14 w 39"/>
                <a:gd name="T7" fmla="*/ 80 h 80"/>
                <a:gd name="T8" fmla="*/ 4 w 39"/>
                <a:gd name="T9" fmla="*/ 64 h 80"/>
                <a:gd name="T10" fmla="*/ 0 w 39"/>
                <a:gd name="T11" fmla="*/ 34 h 80"/>
                <a:gd name="T12" fmla="*/ 6 w 39"/>
                <a:gd name="T13" fmla="*/ 0 h 80"/>
                <a:gd name="T14" fmla="*/ 19 w 39"/>
                <a:gd name="T15" fmla="*/ 12 h 80"/>
                <a:gd name="T16" fmla="*/ 29 w 39"/>
                <a:gd name="T17" fmla="*/ 26 h 80"/>
                <a:gd name="T18" fmla="*/ 39 w 39"/>
                <a:gd name="T19"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80">
                  <a:moveTo>
                    <a:pt x="39" y="48"/>
                  </a:moveTo>
                  <a:lnTo>
                    <a:pt x="37" y="70"/>
                  </a:lnTo>
                  <a:lnTo>
                    <a:pt x="29" y="76"/>
                  </a:lnTo>
                  <a:lnTo>
                    <a:pt x="14" y="80"/>
                  </a:lnTo>
                  <a:lnTo>
                    <a:pt x="4" y="64"/>
                  </a:lnTo>
                  <a:lnTo>
                    <a:pt x="0" y="34"/>
                  </a:lnTo>
                  <a:lnTo>
                    <a:pt x="6" y="0"/>
                  </a:lnTo>
                  <a:lnTo>
                    <a:pt x="19" y="12"/>
                  </a:lnTo>
                  <a:lnTo>
                    <a:pt x="29" y="26"/>
                  </a:lnTo>
                  <a:lnTo>
                    <a:pt x="39" y="48"/>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50" name="Freeform 113"/>
            <p:cNvSpPr>
              <a:spLocks/>
            </p:cNvSpPr>
            <p:nvPr/>
          </p:nvSpPr>
          <p:spPr bwMode="auto">
            <a:xfrm>
              <a:off x="4937125" y="4651379"/>
              <a:ext cx="66675" cy="65088"/>
            </a:xfrm>
            <a:custGeom>
              <a:avLst/>
              <a:gdLst>
                <a:gd name="T0" fmla="*/ 36 w 42"/>
                <a:gd name="T1" fmla="*/ 6 h 41"/>
                <a:gd name="T2" fmla="*/ 42 w 42"/>
                <a:gd name="T3" fmla="*/ 12 h 41"/>
                <a:gd name="T4" fmla="*/ 36 w 42"/>
                <a:gd name="T5" fmla="*/ 22 h 41"/>
                <a:gd name="T6" fmla="*/ 32 w 42"/>
                <a:gd name="T7" fmla="*/ 29 h 41"/>
                <a:gd name="T8" fmla="*/ 22 w 42"/>
                <a:gd name="T9" fmla="*/ 32 h 41"/>
                <a:gd name="T10" fmla="*/ 18 w 42"/>
                <a:gd name="T11" fmla="*/ 39 h 41"/>
                <a:gd name="T12" fmla="*/ 12 w 42"/>
                <a:gd name="T13" fmla="*/ 41 h 41"/>
                <a:gd name="T14" fmla="*/ 0 w 42"/>
                <a:gd name="T15" fmla="*/ 25 h 41"/>
                <a:gd name="T16" fmla="*/ 10 w 42"/>
                <a:gd name="T17" fmla="*/ 12 h 41"/>
                <a:gd name="T18" fmla="*/ 20 w 42"/>
                <a:gd name="T19" fmla="*/ 4 h 41"/>
                <a:gd name="T20" fmla="*/ 29 w 42"/>
                <a:gd name="T21" fmla="*/ 0 h 41"/>
                <a:gd name="T22" fmla="*/ 36 w 42"/>
                <a:gd name="T2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1">
                  <a:moveTo>
                    <a:pt x="36" y="6"/>
                  </a:moveTo>
                  <a:lnTo>
                    <a:pt x="42" y="12"/>
                  </a:lnTo>
                  <a:lnTo>
                    <a:pt x="36" y="22"/>
                  </a:lnTo>
                  <a:lnTo>
                    <a:pt x="32" y="29"/>
                  </a:lnTo>
                  <a:lnTo>
                    <a:pt x="22" y="32"/>
                  </a:lnTo>
                  <a:lnTo>
                    <a:pt x="18" y="39"/>
                  </a:lnTo>
                  <a:lnTo>
                    <a:pt x="12" y="41"/>
                  </a:lnTo>
                  <a:lnTo>
                    <a:pt x="0" y="25"/>
                  </a:lnTo>
                  <a:lnTo>
                    <a:pt x="10" y="12"/>
                  </a:lnTo>
                  <a:lnTo>
                    <a:pt x="20" y="4"/>
                  </a:lnTo>
                  <a:lnTo>
                    <a:pt x="29" y="0"/>
                  </a:lnTo>
                  <a:lnTo>
                    <a:pt x="36" y="6"/>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51" name="Freeform 114"/>
            <p:cNvSpPr>
              <a:spLocks/>
            </p:cNvSpPr>
            <p:nvPr/>
          </p:nvSpPr>
          <p:spPr bwMode="auto">
            <a:xfrm>
              <a:off x="4691062" y="1862141"/>
              <a:ext cx="139700" cy="76200"/>
            </a:xfrm>
            <a:custGeom>
              <a:avLst/>
              <a:gdLst>
                <a:gd name="T0" fmla="*/ 31 w 88"/>
                <a:gd name="T1" fmla="*/ 40 h 48"/>
                <a:gd name="T2" fmla="*/ 29 w 88"/>
                <a:gd name="T3" fmla="*/ 35 h 48"/>
                <a:gd name="T4" fmla="*/ 30 w 88"/>
                <a:gd name="T5" fmla="*/ 30 h 48"/>
                <a:gd name="T6" fmla="*/ 22 w 88"/>
                <a:gd name="T7" fmla="*/ 27 h 48"/>
                <a:gd name="T8" fmla="*/ 6 w 88"/>
                <a:gd name="T9" fmla="*/ 23 h 48"/>
                <a:gd name="T10" fmla="*/ 0 w 88"/>
                <a:gd name="T11" fmla="*/ 7 h 48"/>
                <a:gd name="T12" fmla="*/ 17 w 88"/>
                <a:gd name="T13" fmla="*/ 0 h 48"/>
                <a:gd name="T14" fmla="*/ 42 w 88"/>
                <a:gd name="T15" fmla="*/ 2 h 48"/>
                <a:gd name="T16" fmla="*/ 57 w 88"/>
                <a:gd name="T17" fmla="*/ 0 h 48"/>
                <a:gd name="T18" fmla="*/ 60 w 88"/>
                <a:gd name="T19" fmla="*/ 4 h 48"/>
                <a:gd name="T20" fmla="*/ 68 w 88"/>
                <a:gd name="T21" fmla="*/ 5 h 48"/>
                <a:gd name="T22" fmla="*/ 85 w 88"/>
                <a:gd name="T23" fmla="*/ 15 h 48"/>
                <a:gd name="T24" fmla="*/ 88 w 88"/>
                <a:gd name="T25" fmla="*/ 24 h 48"/>
                <a:gd name="T26" fmla="*/ 76 w 88"/>
                <a:gd name="T27" fmla="*/ 30 h 48"/>
                <a:gd name="T28" fmla="*/ 74 w 88"/>
                <a:gd name="T29" fmla="*/ 41 h 48"/>
                <a:gd name="T30" fmla="*/ 58 w 88"/>
                <a:gd name="T31" fmla="*/ 48 h 48"/>
                <a:gd name="T32" fmla="*/ 44 w 88"/>
                <a:gd name="T33" fmla="*/ 48 h 48"/>
                <a:gd name="T34" fmla="*/ 39 w 88"/>
                <a:gd name="T35" fmla="*/ 42 h 48"/>
                <a:gd name="T36" fmla="*/ 31 w 88"/>
                <a:gd name="T3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8">
                  <a:moveTo>
                    <a:pt x="31" y="40"/>
                  </a:moveTo>
                  <a:lnTo>
                    <a:pt x="29" y="35"/>
                  </a:lnTo>
                  <a:lnTo>
                    <a:pt x="30" y="30"/>
                  </a:lnTo>
                  <a:lnTo>
                    <a:pt x="22" y="27"/>
                  </a:lnTo>
                  <a:lnTo>
                    <a:pt x="6" y="23"/>
                  </a:lnTo>
                  <a:lnTo>
                    <a:pt x="0" y="7"/>
                  </a:lnTo>
                  <a:lnTo>
                    <a:pt x="17" y="0"/>
                  </a:lnTo>
                  <a:lnTo>
                    <a:pt x="42" y="2"/>
                  </a:lnTo>
                  <a:lnTo>
                    <a:pt x="57" y="0"/>
                  </a:lnTo>
                  <a:lnTo>
                    <a:pt x="60" y="4"/>
                  </a:lnTo>
                  <a:lnTo>
                    <a:pt x="68" y="5"/>
                  </a:lnTo>
                  <a:lnTo>
                    <a:pt x="85" y="15"/>
                  </a:lnTo>
                  <a:lnTo>
                    <a:pt x="88" y="24"/>
                  </a:lnTo>
                  <a:lnTo>
                    <a:pt x="76" y="30"/>
                  </a:lnTo>
                  <a:lnTo>
                    <a:pt x="74" y="41"/>
                  </a:lnTo>
                  <a:lnTo>
                    <a:pt x="58" y="48"/>
                  </a:lnTo>
                  <a:lnTo>
                    <a:pt x="44" y="48"/>
                  </a:lnTo>
                  <a:lnTo>
                    <a:pt x="39" y="42"/>
                  </a:lnTo>
                  <a:lnTo>
                    <a:pt x="31" y="4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52" name="Freeform 115"/>
            <p:cNvSpPr>
              <a:spLocks/>
            </p:cNvSpPr>
            <p:nvPr/>
          </p:nvSpPr>
          <p:spPr bwMode="auto">
            <a:xfrm>
              <a:off x="4325937" y="2058991"/>
              <a:ext cx="14288" cy="22225"/>
            </a:xfrm>
            <a:custGeom>
              <a:avLst/>
              <a:gdLst>
                <a:gd name="T0" fmla="*/ 6 w 9"/>
                <a:gd name="T1" fmla="*/ 0 h 14"/>
                <a:gd name="T2" fmla="*/ 9 w 9"/>
                <a:gd name="T3" fmla="*/ 5 h 14"/>
                <a:gd name="T4" fmla="*/ 8 w 9"/>
                <a:gd name="T5" fmla="*/ 14 h 14"/>
                <a:gd name="T6" fmla="*/ 4 w 9"/>
                <a:gd name="T7" fmla="*/ 14 h 14"/>
                <a:gd name="T8" fmla="*/ 0 w 9"/>
                <a:gd name="T9" fmla="*/ 13 h 14"/>
                <a:gd name="T10" fmla="*/ 2 w 9"/>
                <a:gd name="T11" fmla="*/ 1 h 14"/>
                <a:gd name="T12" fmla="*/ 6 w 9"/>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9" h="14">
                  <a:moveTo>
                    <a:pt x="6" y="0"/>
                  </a:moveTo>
                  <a:lnTo>
                    <a:pt x="9" y="5"/>
                  </a:lnTo>
                  <a:lnTo>
                    <a:pt x="8" y="14"/>
                  </a:lnTo>
                  <a:lnTo>
                    <a:pt x="4" y="14"/>
                  </a:lnTo>
                  <a:lnTo>
                    <a:pt x="0" y="13"/>
                  </a:lnTo>
                  <a:lnTo>
                    <a:pt x="2" y="1"/>
                  </a:lnTo>
                  <a:lnTo>
                    <a:pt x="6"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53" name="Freeform 116"/>
            <p:cNvSpPr>
              <a:spLocks/>
            </p:cNvSpPr>
            <p:nvPr/>
          </p:nvSpPr>
          <p:spPr bwMode="auto">
            <a:xfrm>
              <a:off x="4689475" y="1811341"/>
              <a:ext cx="173038" cy="74613"/>
            </a:xfrm>
            <a:custGeom>
              <a:avLst/>
              <a:gdLst>
                <a:gd name="T0" fmla="*/ 1 w 109"/>
                <a:gd name="T1" fmla="*/ 39 h 47"/>
                <a:gd name="T2" fmla="*/ 0 w 109"/>
                <a:gd name="T3" fmla="*/ 24 h 47"/>
                <a:gd name="T4" fmla="*/ 5 w 109"/>
                <a:gd name="T5" fmla="*/ 11 h 47"/>
                <a:gd name="T6" fmla="*/ 18 w 109"/>
                <a:gd name="T7" fmla="*/ 5 h 47"/>
                <a:gd name="T8" fmla="*/ 33 w 109"/>
                <a:gd name="T9" fmla="*/ 19 h 47"/>
                <a:gd name="T10" fmla="*/ 45 w 109"/>
                <a:gd name="T11" fmla="*/ 19 h 47"/>
                <a:gd name="T12" fmla="*/ 45 w 109"/>
                <a:gd name="T13" fmla="*/ 4 h 47"/>
                <a:gd name="T14" fmla="*/ 57 w 109"/>
                <a:gd name="T15" fmla="*/ 0 h 47"/>
                <a:gd name="T16" fmla="*/ 64 w 109"/>
                <a:gd name="T17" fmla="*/ 3 h 47"/>
                <a:gd name="T18" fmla="*/ 79 w 109"/>
                <a:gd name="T19" fmla="*/ 10 h 47"/>
                <a:gd name="T20" fmla="*/ 91 w 109"/>
                <a:gd name="T21" fmla="*/ 10 h 47"/>
                <a:gd name="T22" fmla="*/ 99 w 109"/>
                <a:gd name="T23" fmla="*/ 15 h 47"/>
                <a:gd name="T24" fmla="*/ 102 w 109"/>
                <a:gd name="T25" fmla="*/ 24 h 47"/>
                <a:gd name="T26" fmla="*/ 109 w 109"/>
                <a:gd name="T27" fmla="*/ 36 h 47"/>
                <a:gd name="T28" fmla="*/ 94 w 109"/>
                <a:gd name="T29" fmla="*/ 43 h 47"/>
                <a:gd name="T30" fmla="*/ 86 w 109"/>
                <a:gd name="T31" fmla="*/ 47 h 47"/>
                <a:gd name="T32" fmla="*/ 69 w 109"/>
                <a:gd name="T33" fmla="*/ 37 h 47"/>
                <a:gd name="T34" fmla="*/ 61 w 109"/>
                <a:gd name="T35" fmla="*/ 36 h 47"/>
                <a:gd name="T36" fmla="*/ 58 w 109"/>
                <a:gd name="T37" fmla="*/ 32 h 47"/>
                <a:gd name="T38" fmla="*/ 43 w 109"/>
                <a:gd name="T39" fmla="*/ 34 h 47"/>
                <a:gd name="T40" fmla="*/ 18 w 109"/>
                <a:gd name="T41" fmla="*/ 32 h 47"/>
                <a:gd name="T42" fmla="*/ 1 w 109"/>
                <a:gd name="T43"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47">
                  <a:moveTo>
                    <a:pt x="1" y="39"/>
                  </a:moveTo>
                  <a:lnTo>
                    <a:pt x="0" y="24"/>
                  </a:lnTo>
                  <a:lnTo>
                    <a:pt x="5" y="11"/>
                  </a:lnTo>
                  <a:lnTo>
                    <a:pt x="18" y="5"/>
                  </a:lnTo>
                  <a:lnTo>
                    <a:pt x="33" y="19"/>
                  </a:lnTo>
                  <a:lnTo>
                    <a:pt x="45" y="19"/>
                  </a:lnTo>
                  <a:lnTo>
                    <a:pt x="45" y="4"/>
                  </a:lnTo>
                  <a:lnTo>
                    <a:pt x="57" y="0"/>
                  </a:lnTo>
                  <a:lnTo>
                    <a:pt x="64" y="3"/>
                  </a:lnTo>
                  <a:lnTo>
                    <a:pt x="79" y="10"/>
                  </a:lnTo>
                  <a:lnTo>
                    <a:pt x="91" y="10"/>
                  </a:lnTo>
                  <a:lnTo>
                    <a:pt x="99" y="15"/>
                  </a:lnTo>
                  <a:lnTo>
                    <a:pt x="102" y="24"/>
                  </a:lnTo>
                  <a:lnTo>
                    <a:pt x="109" y="36"/>
                  </a:lnTo>
                  <a:lnTo>
                    <a:pt x="94" y="43"/>
                  </a:lnTo>
                  <a:lnTo>
                    <a:pt x="86" y="47"/>
                  </a:lnTo>
                  <a:lnTo>
                    <a:pt x="69" y="37"/>
                  </a:lnTo>
                  <a:lnTo>
                    <a:pt x="61" y="36"/>
                  </a:lnTo>
                  <a:lnTo>
                    <a:pt x="58" y="32"/>
                  </a:lnTo>
                  <a:lnTo>
                    <a:pt x="43" y="34"/>
                  </a:lnTo>
                  <a:lnTo>
                    <a:pt x="18" y="32"/>
                  </a:lnTo>
                  <a:lnTo>
                    <a:pt x="1" y="3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54" name="Freeform 117"/>
            <p:cNvSpPr>
              <a:spLocks/>
            </p:cNvSpPr>
            <p:nvPr/>
          </p:nvSpPr>
          <p:spPr bwMode="auto">
            <a:xfrm>
              <a:off x="3695700" y="2527304"/>
              <a:ext cx="455613" cy="471488"/>
            </a:xfrm>
            <a:custGeom>
              <a:avLst/>
              <a:gdLst>
                <a:gd name="T0" fmla="*/ 227 w 287"/>
                <a:gd name="T1" fmla="*/ 9 h 297"/>
                <a:gd name="T2" fmla="*/ 261 w 287"/>
                <a:gd name="T3" fmla="*/ 12 h 297"/>
                <a:gd name="T4" fmla="*/ 275 w 287"/>
                <a:gd name="T5" fmla="*/ 25 h 297"/>
                <a:gd name="T6" fmla="*/ 282 w 287"/>
                <a:gd name="T7" fmla="*/ 60 h 297"/>
                <a:gd name="T8" fmla="*/ 284 w 287"/>
                <a:gd name="T9" fmla="*/ 72 h 297"/>
                <a:gd name="T10" fmla="*/ 253 w 287"/>
                <a:gd name="T11" fmla="*/ 84 h 297"/>
                <a:gd name="T12" fmla="*/ 242 w 287"/>
                <a:gd name="T13" fmla="*/ 101 h 297"/>
                <a:gd name="T14" fmla="*/ 214 w 287"/>
                <a:gd name="T15" fmla="*/ 119 h 297"/>
                <a:gd name="T16" fmla="*/ 182 w 287"/>
                <a:gd name="T17" fmla="*/ 128 h 297"/>
                <a:gd name="T18" fmla="*/ 153 w 287"/>
                <a:gd name="T19" fmla="*/ 168 h 297"/>
                <a:gd name="T20" fmla="*/ 150 w 287"/>
                <a:gd name="T21" fmla="*/ 168 h 297"/>
                <a:gd name="T22" fmla="*/ 139 w 287"/>
                <a:gd name="T23" fmla="*/ 180 h 297"/>
                <a:gd name="T24" fmla="*/ 125 w 287"/>
                <a:gd name="T25" fmla="*/ 184 h 297"/>
                <a:gd name="T26" fmla="*/ 104 w 287"/>
                <a:gd name="T27" fmla="*/ 184 h 297"/>
                <a:gd name="T28" fmla="*/ 92 w 287"/>
                <a:gd name="T29" fmla="*/ 202 h 297"/>
                <a:gd name="T30" fmla="*/ 58 w 287"/>
                <a:gd name="T31" fmla="*/ 250 h 297"/>
                <a:gd name="T32" fmla="*/ 43 w 287"/>
                <a:gd name="T33" fmla="*/ 288 h 297"/>
                <a:gd name="T34" fmla="*/ 0 w 287"/>
                <a:gd name="T35" fmla="*/ 297 h 297"/>
                <a:gd name="T36" fmla="*/ 1 w 287"/>
                <a:gd name="T37" fmla="*/ 288 h 297"/>
                <a:gd name="T38" fmla="*/ 14 w 287"/>
                <a:gd name="T39" fmla="*/ 271 h 297"/>
                <a:gd name="T40" fmla="*/ 20 w 287"/>
                <a:gd name="T41" fmla="*/ 249 h 297"/>
                <a:gd name="T42" fmla="*/ 37 w 287"/>
                <a:gd name="T43" fmla="*/ 233 h 297"/>
                <a:gd name="T44" fmla="*/ 42 w 287"/>
                <a:gd name="T45" fmla="*/ 210 h 297"/>
                <a:gd name="T46" fmla="*/ 61 w 287"/>
                <a:gd name="T47" fmla="*/ 189 h 297"/>
                <a:gd name="T48" fmla="*/ 74 w 287"/>
                <a:gd name="T49" fmla="*/ 168 h 297"/>
                <a:gd name="T50" fmla="*/ 99 w 287"/>
                <a:gd name="T51" fmla="*/ 158 h 297"/>
                <a:gd name="T52" fmla="*/ 123 w 287"/>
                <a:gd name="T53" fmla="*/ 138 h 297"/>
                <a:gd name="T54" fmla="*/ 134 w 287"/>
                <a:gd name="T55" fmla="*/ 95 h 297"/>
                <a:gd name="T56" fmla="*/ 144 w 287"/>
                <a:gd name="T57" fmla="*/ 66 h 297"/>
                <a:gd name="T58" fmla="*/ 173 w 287"/>
                <a:gd name="T59" fmla="*/ 43 h 297"/>
                <a:gd name="T60" fmla="*/ 198 w 287"/>
                <a:gd name="T61" fmla="*/ 13 h 297"/>
                <a:gd name="T62" fmla="*/ 217 w 287"/>
                <a:gd name="T63"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7" h="297">
                  <a:moveTo>
                    <a:pt x="217" y="0"/>
                  </a:moveTo>
                  <a:lnTo>
                    <a:pt x="227" y="9"/>
                  </a:lnTo>
                  <a:lnTo>
                    <a:pt x="244" y="7"/>
                  </a:lnTo>
                  <a:lnTo>
                    <a:pt x="261" y="12"/>
                  </a:lnTo>
                  <a:lnTo>
                    <a:pt x="269" y="12"/>
                  </a:lnTo>
                  <a:lnTo>
                    <a:pt x="275" y="25"/>
                  </a:lnTo>
                  <a:lnTo>
                    <a:pt x="276" y="38"/>
                  </a:lnTo>
                  <a:lnTo>
                    <a:pt x="282" y="60"/>
                  </a:lnTo>
                  <a:lnTo>
                    <a:pt x="287" y="64"/>
                  </a:lnTo>
                  <a:lnTo>
                    <a:pt x="284" y="72"/>
                  </a:lnTo>
                  <a:lnTo>
                    <a:pt x="261" y="76"/>
                  </a:lnTo>
                  <a:lnTo>
                    <a:pt x="253" y="84"/>
                  </a:lnTo>
                  <a:lnTo>
                    <a:pt x="242" y="85"/>
                  </a:lnTo>
                  <a:lnTo>
                    <a:pt x="242" y="101"/>
                  </a:lnTo>
                  <a:lnTo>
                    <a:pt x="221" y="109"/>
                  </a:lnTo>
                  <a:lnTo>
                    <a:pt x="214" y="119"/>
                  </a:lnTo>
                  <a:lnTo>
                    <a:pt x="200" y="125"/>
                  </a:lnTo>
                  <a:lnTo>
                    <a:pt x="182" y="128"/>
                  </a:lnTo>
                  <a:lnTo>
                    <a:pt x="153" y="143"/>
                  </a:lnTo>
                  <a:lnTo>
                    <a:pt x="153" y="168"/>
                  </a:lnTo>
                  <a:lnTo>
                    <a:pt x="150" y="168"/>
                  </a:lnTo>
                  <a:lnTo>
                    <a:pt x="150" y="168"/>
                  </a:lnTo>
                  <a:lnTo>
                    <a:pt x="150" y="179"/>
                  </a:lnTo>
                  <a:lnTo>
                    <a:pt x="139" y="180"/>
                  </a:lnTo>
                  <a:lnTo>
                    <a:pt x="133" y="184"/>
                  </a:lnTo>
                  <a:lnTo>
                    <a:pt x="125" y="184"/>
                  </a:lnTo>
                  <a:lnTo>
                    <a:pt x="119" y="182"/>
                  </a:lnTo>
                  <a:lnTo>
                    <a:pt x="104" y="184"/>
                  </a:lnTo>
                  <a:lnTo>
                    <a:pt x="98" y="200"/>
                  </a:lnTo>
                  <a:lnTo>
                    <a:pt x="92" y="202"/>
                  </a:lnTo>
                  <a:lnTo>
                    <a:pt x="83" y="228"/>
                  </a:lnTo>
                  <a:lnTo>
                    <a:pt x="58" y="250"/>
                  </a:lnTo>
                  <a:lnTo>
                    <a:pt x="51" y="279"/>
                  </a:lnTo>
                  <a:lnTo>
                    <a:pt x="43" y="288"/>
                  </a:lnTo>
                  <a:lnTo>
                    <a:pt x="41" y="296"/>
                  </a:lnTo>
                  <a:lnTo>
                    <a:pt x="0" y="297"/>
                  </a:lnTo>
                  <a:lnTo>
                    <a:pt x="0" y="297"/>
                  </a:lnTo>
                  <a:lnTo>
                    <a:pt x="1" y="288"/>
                  </a:lnTo>
                  <a:lnTo>
                    <a:pt x="8" y="282"/>
                  </a:lnTo>
                  <a:lnTo>
                    <a:pt x="14" y="271"/>
                  </a:lnTo>
                  <a:lnTo>
                    <a:pt x="13" y="264"/>
                  </a:lnTo>
                  <a:lnTo>
                    <a:pt x="20" y="249"/>
                  </a:lnTo>
                  <a:lnTo>
                    <a:pt x="30" y="236"/>
                  </a:lnTo>
                  <a:lnTo>
                    <a:pt x="37" y="233"/>
                  </a:lnTo>
                  <a:lnTo>
                    <a:pt x="42" y="221"/>
                  </a:lnTo>
                  <a:lnTo>
                    <a:pt x="42" y="210"/>
                  </a:lnTo>
                  <a:lnTo>
                    <a:pt x="49" y="197"/>
                  </a:lnTo>
                  <a:lnTo>
                    <a:pt x="61" y="189"/>
                  </a:lnTo>
                  <a:lnTo>
                    <a:pt x="73" y="168"/>
                  </a:lnTo>
                  <a:lnTo>
                    <a:pt x="74" y="168"/>
                  </a:lnTo>
                  <a:lnTo>
                    <a:pt x="83" y="160"/>
                  </a:lnTo>
                  <a:lnTo>
                    <a:pt x="99" y="158"/>
                  </a:lnTo>
                  <a:lnTo>
                    <a:pt x="114" y="144"/>
                  </a:lnTo>
                  <a:lnTo>
                    <a:pt x="123" y="138"/>
                  </a:lnTo>
                  <a:lnTo>
                    <a:pt x="138" y="121"/>
                  </a:lnTo>
                  <a:lnTo>
                    <a:pt x="134" y="95"/>
                  </a:lnTo>
                  <a:lnTo>
                    <a:pt x="141" y="77"/>
                  </a:lnTo>
                  <a:lnTo>
                    <a:pt x="144" y="66"/>
                  </a:lnTo>
                  <a:lnTo>
                    <a:pt x="156" y="52"/>
                  </a:lnTo>
                  <a:lnTo>
                    <a:pt x="173" y="43"/>
                  </a:lnTo>
                  <a:lnTo>
                    <a:pt x="186" y="34"/>
                  </a:lnTo>
                  <a:lnTo>
                    <a:pt x="198" y="13"/>
                  </a:lnTo>
                  <a:lnTo>
                    <a:pt x="204" y="0"/>
                  </a:lnTo>
                  <a:lnTo>
                    <a:pt x="217" y="0"/>
                  </a:lnTo>
                  <a:close/>
                </a:path>
              </a:pathLst>
            </a:custGeom>
            <a:solidFill>
              <a:schemeClr val="accent2"/>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55" name="Freeform 118"/>
            <p:cNvSpPr>
              <a:spLocks/>
            </p:cNvSpPr>
            <p:nvPr/>
          </p:nvSpPr>
          <p:spPr bwMode="auto">
            <a:xfrm>
              <a:off x="4865687" y="2112966"/>
              <a:ext cx="95250" cy="96838"/>
            </a:xfrm>
            <a:custGeom>
              <a:avLst/>
              <a:gdLst>
                <a:gd name="T0" fmla="*/ 0 w 60"/>
                <a:gd name="T1" fmla="*/ 5 h 61"/>
                <a:gd name="T2" fmla="*/ 3 w 60"/>
                <a:gd name="T3" fmla="*/ 2 h 61"/>
                <a:gd name="T4" fmla="*/ 13 w 60"/>
                <a:gd name="T5" fmla="*/ 0 h 61"/>
                <a:gd name="T6" fmla="*/ 26 w 60"/>
                <a:gd name="T7" fmla="*/ 6 h 61"/>
                <a:gd name="T8" fmla="*/ 33 w 60"/>
                <a:gd name="T9" fmla="*/ 7 h 61"/>
                <a:gd name="T10" fmla="*/ 41 w 60"/>
                <a:gd name="T11" fmla="*/ 12 h 61"/>
                <a:gd name="T12" fmla="*/ 41 w 60"/>
                <a:gd name="T13" fmla="*/ 20 h 61"/>
                <a:gd name="T14" fmla="*/ 47 w 60"/>
                <a:gd name="T15" fmla="*/ 23 h 61"/>
                <a:gd name="T16" fmla="*/ 51 w 60"/>
                <a:gd name="T17" fmla="*/ 31 h 61"/>
                <a:gd name="T18" fmla="*/ 57 w 60"/>
                <a:gd name="T19" fmla="*/ 37 h 61"/>
                <a:gd name="T20" fmla="*/ 57 w 60"/>
                <a:gd name="T21" fmla="*/ 40 h 61"/>
                <a:gd name="T22" fmla="*/ 60 w 60"/>
                <a:gd name="T23" fmla="*/ 42 h 61"/>
                <a:gd name="T24" fmla="*/ 56 w 60"/>
                <a:gd name="T25" fmla="*/ 43 h 61"/>
                <a:gd name="T26" fmla="*/ 46 w 60"/>
                <a:gd name="T27" fmla="*/ 42 h 61"/>
                <a:gd name="T28" fmla="*/ 44 w 60"/>
                <a:gd name="T29" fmla="*/ 40 h 61"/>
                <a:gd name="T30" fmla="*/ 41 w 60"/>
                <a:gd name="T31" fmla="*/ 41 h 61"/>
                <a:gd name="T32" fmla="*/ 43 w 60"/>
                <a:gd name="T33" fmla="*/ 45 h 61"/>
                <a:gd name="T34" fmla="*/ 39 w 60"/>
                <a:gd name="T35" fmla="*/ 52 h 61"/>
                <a:gd name="T36" fmla="*/ 37 w 60"/>
                <a:gd name="T37" fmla="*/ 59 h 61"/>
                <a:gd name="T38" fmla="*/ 33 w 60"/>
                <a:gd name="T39" fmla="*/ 61 h 61"/>
                <a:gd name="T40" fmla="*/ 29 w 60"/>
                <a:gd name="T41" fmla="*/ 52 h 61"/>
                <a:gd name="T42" fmla="*/ 30 w 60"/>
                <a:gd name="T43" fmla="*/ 43 h 61"/>
                <a:gd name="T44" fmla="*/ 28 w 60"/>
                <a:gd name="T45" fmla="*/ 34 h 61"/>
                <a:gd name="T46" fmla="*/ 17 w 60"/>
                <a:gd name="T47" fmla="*/ 22 h 61"/>
                <a:gd name="T48" fmla="*/ 10 w 60"/>
                <a:gd name="T49" fmla="*/ 13 h 61"/>
                <a:gd name="T50" fmla="*/ 5 w 60"/>
                <a:gd name="T51" fmla="*/ 7 h 61"/>
                <a:gd name="T52" fmla="*/ 0 w 60"/>
                <a:gd name="T53" fmla="*/ 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61">
                  <a:moveTo>
                    <a:pt x="0" y="5"/>
                  </a:moveTo>
                  <a:lnTo>
                    <a:pt x="3" y="2"/>
                  </a:lnTo>
                  <a:lnTo>
                    <a:pt x="13" y="0"/>
                  </a:lnTo>
                  <a:lnTo>
                    <a:pt x="26" y="6"/>
                  </a:lnTo>
                  <a:lnTo>
                    <a:pt x="33" y="7"/>
                  </a:lnTo>
                  <a:lnTo>
                    <a:pt x="41" y="12"/>
                  </a:lnTo>
                  <a:lnTo>
                    <a:pt x="41" y="20"/>
                  </a:lnTo>
                  <a:lnTo>
                    <a:pt x="47" y="23"/>
                  </a:lnTo>
                  <a:lnTo>
                    <a:pt x="51" y="31"/>
                  </a:lnTo>
                  <a:lnTo>
                    <a:pt x="57" y="37"/>
                  </a:lnTo>
                  <a:lnTo>
                    <a:pt x="57" y="40"/>
                  </a:lnTo>
                  <a:lnTo>
                    <a:pt x="60" y="42"/>
                  </a:lnTo>
                  <a:lnTo>
                    <a:pt x="56" y="43"/>
                  </a:lnTo>
                  <a:lnTo>
                    <a:pt x="46" y="42"/>
                  </a:lnTo>
                  <a:lnTo>
                    <a:pt x="44" y="40"/>
                  </a:lnTo>
                  <a:lnTo>
                    <a:pt x="41" y="41"/>
                  </a:lnTo>
                  <a:lnTo>
                    <a:pt x="43" y="45"/>
                  </a:lnTo>
                  <a:lnTo>
                    <a:pt x="39" y="52"/>
                  </a:lnTo>
                  <a:lnTo>
                    <a:pt x="37" y="59"/>
                  </a:lnTo>
                  <a:lnTo>
                    <a:pt x="33" y="61"/>
                  </a:lnTo>
                  <a:lnTo>
                    <a:pt x="29" y="52"/>
                  </a:lnTo>
                  <a:lnTo>
                    <a:pt x="30" y="43"/>
                  </a:lnTo>
                  <a:lnTo>
                    <a:pt x="28" y="34"/>
                  </a:lnTo>
                  <a:lnTo>
                    <a:pt x="17" y="22"/>
                  </a:lnTo>
                  <a:lnTo>
                    <a:pt x="10" y="13"/>
                  </a:lnTo>
                  <a:lnTo>
                    <a:pt x="5" y="7"/>
                  </a:lnTo>
                  <a:lnTo>
                    <a:pt x="0" y="5"/>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56" name="Freeform 119"/>
            <p:cNvSpPr>
              <a:spLocks/>
            </p:cNvSpPr>
            <p:nvPr/>
          </p:nvSpPr>
          <p:spPr bwMode="auto">
            <a:xfrm>
              <a:off x="5416550" y="4103692"/>
              <a:ext cx="223838" cy="446088"/>
            </a:xfrm>
            <a:custGeom>
              <a:avLst/>
              <a:gdLst>
                <a:gd name="T0" fmla="*/ 127 w 141"/>
                <a:gd name="T1" fmla="*/ 8 h 281"/>
                <a:gd name="T2" fmla="*/ 131 w 141"/>
                <a:gd name="T3" fmla="*/ 17 h 281"/>
                <a:gd name="T4" fmla="*/ 135 w 141"/>
                <a:gd name="T5" fmla="*/ 31 h 281"/>
                <a:gd name="T6" fmla="*/ 136 w 141"/>
                <a:gd name="T7" fmla="*/ 56 h 281"/>
                <a:gd name="T8" fmla="*/ 141 w 141"/>
                <a:gd name="T9" fmla="*/ 66 h 281"/>
                <a:gd name="T10" fmla="*/ 138 w 141"/>
                <a:gd name="T11" fmla="*/ 76 h 281"/>
                <a:gd name="T12" fmla="*/ 134 w 141"/>
                <a:gd name="T13" fmla="*/ 82 h 281"/>
                <a:gd name="T14" fmla="*/ 129 w 141"/>
                <a:gd name="T15" fmla="*/ 70 h 281"/>
                <a:gd name="T16" fmla="*/ 125 w 141"/>
                <a:gd name="T17" fmla="*/ 76 h 281"/>
                <a:gd name="T18" fmla="*/ 128 w 141"/>
                <a:gd name="T19" fmla="*/ 91 h 281"/>
                <a:gd name="T20" fmla="*/ 126 w 141"/>
                <a:gd name="T21" fmla="*/ 100 h 281"/>
                <a:gd name="T22" fmla="*/ 120 w 141"/>
                <a:gd name="T23" fmla="*/ 105 h 281"/>
                <a:gd name="T24" fmla="*/ 118 w 141"/>
                <a:gd name="T25" fmla="*/ 122 h 281"/>
                <a:gd name="T26" fmla="*/ 109 w 141"/>
                <a:gd name="T27" fmla="*/ 147 h 281"/>
                <a:gd name="T28" fmla="*/ 98 w 141"/>
                <a:gd name="T29" fmla="*/ 175 h 281"/>
                <a:gd name="T30" fmla="*/ 83 w 141"/>
                <a:gd name="T31" fmla="*/ 215 h 281"/>
                <a:gd name="T32" fmla="*/ 74 w 141"/>
                <a:gd name="T33" fmla="*/ 244 h 281"/>
                <a:gd name="T34" fmla="*/ 63 w 141"/>
                <a:gd name="T35" fmla="*/ 268 h 281"/>
                <a:gd name="T36" fmla="*/ 49 w 141"/>
                <a:gd name="T37" fmla="*/ 272 h 281"/>
                <a:gd name="T38" fmla="*/ 32 w 141"/>
                <a:gd name="T39" fmla="*/ 281 h 281"/>
                <a:gd name="T40" fmla="*/ 22 w 141"/>
                <a:gd name="T41" fmla="*/ 276 h 281"/>
                <a:gd name="T42" fmla="*/ 9 w 141"/>
                <a:gd name="T43" fmla="*/ 268 h 281"/>
                <a:gd name="T44" fmla="*/ 5 w 141"/>
                <a:gd name="T45" fmla="*/ 258 h 281"/>
                <a:gd name="T46" fmla="*/ 5 w 141"/>
                <a:gd name="T47" fmla="*/ 239 h 281"/>
                <a:gd name="T48" fmla="*/ 0 w 141"/>
                <a:gd name="T49" fmla="*/ 223 h 281"/>
                <a:gd name="T50" fmla="*/ 0 w 141"/>
                <a:gd name="T51" fmla="*/ 208 h 281"/>
                <a:gd name="T52" fmla="*/ 4 w 141"/>
                <a:gd name="T53" fmla="*/ 193 h 281"/>
                <a:gd name="T54" fmla="*/ 13 w 141"/>
                <a:gd name="T55" fmla="*/ 189 h 281"/>
                <a:gd name="T56" fmla="*/ 13 w 141"/>
                <a:gd name="T57" fmla="*/ 182 h 281"/>
                <a:gd name="T58" fmla="*/ 23 w 141"/>
                <a:gd name="T59" fmla="*/ 166 h 281"/>
                <a:gd name="T60" fmla="*/ 26 w 141"/>
                <a:gd name="T61" fmla="*/ 153 h 281"/>
                <a:gd name="T62" fmla="*/ 22 w 141"/>
                <a:gd name="T63" fmla="*/ 143 h 281"/>
                <a:gd name="T64" fmla="*/ 20 w 141"/>
                <a:gd name="T65" fmla="*/ 130 h 281"/>
                <a:gd name="T66" fmla="*/ 19 w 141"/>
                <a:gd name="T67" fmla="*/ 111 h 281"/>
                <a:gd name="T68" fmla="*/ 27 w 141"/>
                <a:gd name="T69" fmla="*/ 99 h 281"/>
                <a:gd name="T70" fmla="*/ 30 w 141"/>
                <a:gd name="T71" fmla="*/ 86 h 281"/>
                <a:gd name="T72" fmla="*/ 39 w 141"/>
                <a:gd name="T73" fmla="*/ 85 h 281"/>
                <a:gd name="T74" fmla="*/ 49 w 141"/>
                <a:gd name="T75" fmla="*/ 81 h 281"/>
                <a:gd name="T76" fmla="*/ 56 w 141"/>
                <a:gd name="T77" fmla="*/ 77 h 281"/>
                <a:gd name="T78" fmla="*/ 64 w 141"/>
                <a:gd name="T79" fmla="*/ 77 h 281"/>
                <a:gd name="T80" fmla="*/ 75 w 141"/>
                <a:gd name="T81" fmla="*/ 65 h 281"/>
                <a:gd name="T82" fmla="*/ 91 w 141"/>
                <a:gd name="T83" fmla="*/ 53 h 281"/>
                <a:gd name="T84" fmla="*/ 97 w 141"/>
                <a:gd name="T85" fmla="*/ 42 h 281"/>
                <a:gd name="T86" fmla="*/ 95 w 141"/>
                <a:gd name="T87" fmla="*/ 33 h 281"/>
                <a:gd name="T88" fmla="*/ 102 w 141"/>
                <a:gd name="T89" fmla="*/ 36 h 281"/>
                <a:gd name="T90" fmla="*/ 113 w 141"/>
                <a:gd name="T91" fmla="*/ 21 h 281"/>
                <a:gd name="T92" fmla="*/ 114 w 141"/>
                <a:gd name="T93" fmla="*/ 9 h 281"/>
                <a:gd name="T94" fmla="*/ 121 w 141"/>
                <a:gd name="T95" fmla="*/ 0 h 281"/>
                <a:gd name="T96" fmla="*/ 127 w 141"/>
                <a:gd name="T97" fmla="*/ 8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281">
                  <a:moveTo>
                    <a:pt x="127" y="8"/>
                  </a:moveTo>
                  <a:lnTo>
                    <a:pt x="131" y="17"/>
                  </a:lnTo>
                  <a:lnTo>
                    <a:pt x="135" y="31"/>
                  </a:lnTo>
                  <a:lnTo>
                    <a:pt x="136" y="56"/>
                  </a:lnTo>
                  <a:lnTo>
                    <a:pt x="141" y="66"/>
                  </a:lnTo>
                  <a:lnTo>
                    <a:pt x="138" y="76"/>
                  </a:lnTo>
                  <a:lnTo>
                    <a:pt x="134" y="82"/>
                  </a:lnTo>
                  <a:lnTo>
                    <a:pt x="129" y="70"/>
                  </a:lnTo>
                  <a:lnTo>
                    <a:pt x="125" y="76"/>
                  </a:lnTo>
                  <a:lnTo>
                    <a:pt x="128" y="91"/>
                  </a:lnTo>
                  <a:lnTo>
                    <a:pt x="126" y="100"/>
                  </a:lnTo>
                  <a:lnTo>
                    <a:pt x="120" y="105"/>
                  </a:lnTo>
                  <a:lnTo>
                    <a:pt x="118" y="122"/>
                  </a:lnTo>
                  <a:lnTo>
                    <a:pt x="109" y="147"/>
                  </a:lnTo>
                  <a:lnTo>
                    <a:pt x="98" y="175"/>
                  </a:lnTo>
                  <a:lnTo>
                    <a:pt x="83" y="215"/>
                  </a:lnTo>
                  <a:lnTo>
                    <a:pt x="74" y="244"/>
                  </a:lnTo>
                  <a:lnTo>
                    <a:pt x="63" y="268"/>
                  </a:lnTo>
                  <a:lnTo>
                    <a:pt x="49" y="272"/>
                  </a:lnTo>
                  <a:lnTo>
                    <a:pt x="32" y="281"/>
                  </a:lnTo>
                  <a:lnTo>
                    <a:pt x="22" y="276"/>
                  </a:lnTo>
                  <a:lnTo>
                    <a:pt x="9" y="268"/>
                  </a:lnTo>
                  <a:lnTo>
                    <a:pt x="5" y="258"/>
                  </a:lnTo>
                  <a:lnTo>
                    <a:pt x="5" y="239"/>
                  </a:lnTo>
                  <a:lnTo>
                    <a:pt x="0" y="223"/>
                  </a:lnTo>
                  <a:lnTo>
                    <a:pt x="0" y="208"/>
                  </a:lnTo>
                  <a:lnTo>
                    <a:pt x="4" y="193"/>
                  </a:lnTo>
                  <a:lnTo>
                    <a:pt x="13" y="189"/>
                  </a:lnTo>
                  <a:lnTo>
                    <a:pt x="13" y="182"/>
                  </a:lnTo>
                  <a:lnTo>
                    <a:pt x="23" y="166"/>
                  </a:lnTo>
                  <a:lnTo>
                    <a:pt x="26" y="153"/>
                  </a:lnTo>
                  <a:lnTo>
                    <a:pt x="22" y="143"/>
                  </a:lnTo>
                  <a:lnTo>
                    <a:pt x="20" y="130"/>
                  </a:lnTo>
                  <a:lnTo>
                    <a:pt x="19" y="111"/>
                  </a:lnTo>
                  <a:lnTo>
                    <a:pt x="27" y="99"/>
                  </a:lnTo>
                  <a:lnTo>
                    <a:pt x="30" y="86"/>
                  </a:lnTo>
                  <a:lnTo>
                    <a:pt x="39" y="85"/>
                  </a:lnTo>
                  <a:lnTo>
                    <a:pt x="49" y="81"/>
                  </a:lnTo>
                  <a:lnTo>
                    <a:pt x="56" y="77"/>
                  </a:lnTo>
                  <a:lnTo>
                    <a:pt x="64" y="77"/>
                  </a:lnTo>
                  <a:lnTo>
                    <a:pt x="75" y="65"/>
                  </a:lnTo>
                  <a:lnTo>
                    <a:pt x="91" y="53"/>
                  </a:lnTo>
                  <a:lnTo>
                    <a:pt x="97" y="42"/>
                  </a:lnTo>
                  <a:lnTo>
                    <a:pt x="95" y="33"/>
                  </a:lnTo>
                  <a:lnTo>
                    <a:pt x="102" y="36"/>
                  </a:lnTo>
                  <a:lnTo>
                    <a:pt x="113" y="21"/>
                  </a:lnTo>
                  <a:lnTo>
                    <a:pt x="114" y="9"/>
                  </a:lnTo>
                  <a:lnTo>
                    <a:pt x="121" y="0"/>
                  </a:lnTo>
                  <a:lnTo>
                    <a:pt x="127" y="8"/>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57" name="Freeform 120"/>
            <p:cNvSpPr>
              <a:spLocks/>
            </p:cNvSpPr>
            <p:nvPr/>
          </p:nvSpPr>
          <p:spPr bwMode="auto">
            <a:xfrm>
              <a:off x="935037" y="2627316"/>
              <a:ext cx="765175" cy="598488"/>
            </a:xfrm>
            <a:custGeom>
              <a:avLst/>
              <a:gdLst>
                <a:gd name="T0" fmla="*/ 298 w 482"/>
                <a:gd name="T1" fmla="*/ 175 h 377"/>
                <a:gd name="T2" fmla="*/ 288 w 482"/>
                <a:gd name="T3" fmla="*/ 225 h 377"/>
                <a:gd name="T4" fmla="*/ 303 w 482"/>
                <a:gd name="T5" fmla="*/ 266 h 377"/>
                <a:gd name="T6" fmla="*/ 329 w 482"/>
                <a:gd name="T7" fmla="*/ 294 h 377"/>
                <a:gd name="T8" fmla="*/ 366 w 482"/>
                <a:gd name="T9" fmla="*/ 295 h 377"/>
                <a:gd name="T10" fmla="*/ 405 w 482"/>
                <a:gd name="T11" fmla="*/ 279 h 377"/>
                <a:gd name="T12" fmla="*/ 419 w 482"/>
                <a:gd name="T13" fmla="*/ 243 h 377"/>
                <a:gd name="T14" fmla="*/ 468 w 482"/>
                <a:gd name="T15" fmla="*/ 234 h 377"/>
                <a:gd name="T16" fmla="*/ 480 w 482"/>
                <a:gd name="T17" fmla="*/ 246 h 377"/>
                <a:gd name="T18" fmla="*/ 465 w 482"/>
                <a:gd name="T19" fmla="*/ 275 h 377"/>
                <a:gd name="T20" fmla="*/ 451 w 482"/>
                <a:gd name="T21" fmla="*/ 295 h 377"/>
                <a:gd name="T22" fmla="*/ 436 w 482"/>
                <a:gd name="T23" fmla="*/ 308 h 377"/>
                <a:gd name="T24" fmla="*/ 430 w 482"/>
                <a:gd name="T25" fmla="*/ 309 h 377"/>
                <a:gd name="T26" fmla="*/ 395 w 482"/>
                <a:gd name="T27" fmla="*/ 321 h 377"/>
                <a:gd name="T28" fmla="*/ 399 w 482"/>
                <a:gd name="T29" fmla="*/ 333 h 377"/>
                <a:gd name="T30" fmla="*/ 402 w 482"/>
                <a:gd name="T31" fmla="*/ 346 h 377"/>
                <a:gd name="T32" fmla="*/ 370 w 482"/>
                <a:gd name="T33" fmla="*/ 367 h 377"/>
                <a:gd name="T34" fmla="*/ 348 w 482"/>
                <a:gd name="T35" fmla="*/ 355 h 377"/>
                <a:gd name="T36" fmla="*/ 315 w 482"/>
                <a:gd name="T37" fmla="*/ 344 h 377"/>
                <a:gd name="T38" fmla="*/ 278 w 482"/>
                <a:gd name="T39" fmla="*/ 349 h 377"/>
                <a:gd name="T40" fmla="*/ 236 w 482"/>
                <a:gd name="T41" fmla="*/ 332 h 377"/>
                <a:gd name="T42" fmla="*/ 199 w 482"/>
                <a:gd name="T43" fmla="*/ 307 h 377"/>
                <a:gd name="T44" fmla="*/ 165 w 482"/>
                <a:gd name="T45" fmla="*/ 290 h 377"/>
                <a:gd name="T46" fmla="*/ 138 w 482"/>
                <a:gd name="T47" fmla="*/ 255 h 377"/>
                <a:gd name="T48" fmla="*/ 149 w 482"/>
                <a:gd name="T49" fmla="*/ 242 h 377"/>
                <a:gd name="T50" fmla="*/ 146 w 482"/>
                <a:gd name="T51" fmla="*/ 217 h 377"/>
                <a:gd name="T52" fmla="*/ 116 w 482"/>
                <a:gd name="T53" fmla="*/ 169 h 377"/>
                <a:gd name="T54" fmla="*/ 95 w 482"/>
                <a:gd name="T55" fmla="*/ 143 h 377"/>
                <a:gd name="T56" fmla="*/ 85 w 482"/>
                <a:gd name="T57" fmla="*/ 115 h 377"/>
                <a:gd name="T58" fmla="*/ 68 w 482"/>
                <a:gd name="T59" fmla="*/ 88 h 377"/>
                <a:gd name="T60" fmla="*/ 59 w 482"/>
                <a:gd name="T61" fmla="*/ 56 h 377"/>
                <a:gd name="T62" fmla="*/ 50 w 482"/>
                <a:gd name="T63" fmla="*/ 24 h 377"/>
                <a:gd name="T64" fmla="*/ 31 w 482"/>
                <a:gd name="T65" fmla="*/ 27 h 377"/>
                <a:gd name="T66" fmla="*/ 31 w 482"/>
                <a:gd name="T67" fmla="*/ 62 h 377"/>
                <a:gd name="T68" fmla="*/ 43 w 482"/>
                <a:gd name="T69" fmla="*/ 82 h 377"/>
                <a:gd name="T70" fmla="*/ 46 w 482"/>
                <a:gd name="T71" fmla="*/ 102 h 377"/>
                <a:gd name="T72" fmla="*/ 61 w 482"/>
                <a:gd name="T73" fmla="*/ 125 h 377"/>
                <a:gd name="T74" fmla="*/ 67 w 482"/>
                <a:gd name="T75" fmla="*/ 164 h 377"/>
                <a:gd name="T76" fmla="*/ 80 w 482"/>
                <a:gd name="T77" fmla="*/ 185 h 377"/>
                <a:gd name="T78" fmla="*/ 74 w 482"/>
                <a:gd name="T79" fmla="*/ 205 h 377"/>
                <a:gd name="T80" fmla="*/ 59 w 482"/>
                <a:gd name="T81" fmla="*/ 181 h 377"/>
                <a:gd name="T82" fmla="*/ 45 w 482"/>
                <a:gd name="T83" fmla="*/ 150 h 377"/>
                <a:gd name="T84" fmla="*/ 28 w 482"/>
                <a:gd name="T85" fmla="*/ 123 h 377"/>
                <a:gd name="T86" fmla="*/ 13 w 482"/>
                <a:gd name="T87" fmla="*/ 115 h 377"/>
                <a:gd name="T88" fmla="*/ 14 w 482"/>
                <a:gd name="T89" fmla="*/ 103 h 377"/>
                <a:gd name="T90" fmla="*/ 17 w 482"/>
                <a:gd name="T91" fmla="*/ 71 h 377"/>
                <a:gd name="T92" fmla="*/ 4 w 482"/>
                <a:gd name="T93" fmla="*/ 39 h 377"/>
                <a:gd name="T94" fmla="*/ 21 w 482"/>
                <a:gd name="T95" fmla="*/ 2 h 377"/>
                <a:gd name="T96" fmla="*/ 64 w 482"/>
                <a:gd name="T97" fmla="*/ 14 h 377"/>
                <a:gd name="T98" fmla="*/ 148 w 482"/>
                <a:gd name="T99" fmla="*/ 28 h 377"/>
                <a:gd name="T100" fmla="*/ 185 w 482"/>
                <a:gd name="T101" fmla="*/ 27 h 377"/>
                <a:gd name="T102" fmla="*/ 202 w 482"/>
                <a:gd name="T103" fmla="*/ 54 h 377"/>
                <a:gd name="T104" fmla="*/ 224 w 482"/>
                <a:gd name="T105" fmla="*/ 78 h 377"/>
                <a:gd name="T106" fmla="*/ 264 w 482"/>
                <a:gd name="T107" fmla="*/ 69 h 377"/>
                <a:gd name="T108" fmla="*/ 280 w 482"/>
                <a:gd name="T109" fmla="*/ 107 h 377"/>
                <a:gd name="T110" fmla="*/ 296 w 482"/>
                <a:gd name="T111" fmla="*/ 13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2" h="377">
                  <a:moveTo>
                    <a:pt x="315" y="142"/>
                  </a:moveTo>
                  <a:lnTo>
                    <a:pt x="304" y="160"/>
                  </a:lnTo>
                  <a:lnTo>
                    <a:pt x="298" y="175"/>
                  </a:lnTo>
                  <a:lnTo>
                    <a:pt x="291" y="203"/>
                  </a:lnTo>
                  <a:lnTo>
                    <a:pt x="287" y="213"/>
                  </a:lnTo>
                  <a:lnTo>
                    <a:pt x="288" y="225"/>
                  </a:lnTo>
                  <a:lnTo>
                    <a:pt x="292" y="235"/>
                  </a:lnTo>
                  <a:lnTo>
                    <a:pt x="293" y="251"/>
                  </a:lnTo>
                  <a:lnTo>
                    <a:pt x="303" y="266"/>
                  </a:lnTo>
                  <a:lnTo>
                    <a:pt x="305" y="278"/>
                  </a:lnTo>
                  <a:lnTo>
                    <a:pt x="311" y="288"/>
                  </a:lnTo>
                  <a:lnTo>
                    <a:pt x="329" y="294"/>
                  </a:lnTo>
                  <a:lnTo>
                    <a:pt x="335" y="302"/>
                  </a:lnTo>
                  <a:lnTo>
                    <a:pt x="352" y="297"/>
                  </a:lnTo>
                  <a:lnTo>
                    <a:pt x="366" y="295"/>
                  </a:lnTo>
                  <a:lnTo>
                    <a:pt x="380" y="291"/>
                  </a:lnTo>
                  <a:lnTo>
                    <a:pt x="392" y="287"/>
                  </a:lnTo>
                  <a:lnTo>
                    <a:pt x="405" y="279"/>
                  </a:lnTo>
                  <a:lnTo>
                    <a:pt x="411" y="267"/>
                  </a:lnTo>
                  <a:lnTo>
                    <a:pt x="415" y="249"/>
                  </a:lnTo>
                  <a:lnTo>
                    <a:pt x="419" y="243"/>
                  </a:lnTo>
                  <a:lnTo>
                    <a:pt x="432" y="238"/>
                  </a:lnTo>
                  <a:lnTo>
                    <a:pt x="452" y="233"/>
                  </a:lnTo>
                  <a:lnTo>
                    <a:pt x="468" y="234"/>
                  </a:lnTo>
                  <a:lnTo>
                    <a:pt x="479" y="232"/>
                  </a:lnTo>
                  <a:lnTo>
                    <a:pt x="482" y="236"/>
                  </a:lnTo>
                  <a:lnTo>
                    <a:pt x="480" y="246"/>
                  </a:lnTo>
                  <a:lnTo>
                    <a:pt x="469" y="259"/>
                  </a:lnTo>
                  <a:lnTo>
                    <a:pt x="463" y="271"/>
                  </a:lnTo>
                  <a:lnTo>
                    <a:pt x="465" y="275"/>
                  </a:lnTo>
                  <a:lnTo>
                    <a:pt x="461" y="284"/>
                  </a:lnTo>
                  <a:lnTo>
                    <a:pt x="455" y="300"/>
                  </a:lnTo>
                  <a:lnTo>
                    <a:pt x="451" y="295"/>
                  </a:lnTo>
                  <a:lnTo>
                    <a:pt x="447" y="295"/>
                  </a:lnTo>
                  <a:lnTo>
                    <a:pt x="444" y="295"/>
                  </a:lnTo>
                  <a:lnTo>
                    <a:pt x="436" y="308"/>
                  </a:lnTo>
                  <a:lnTo>
                    <a:pt x="433" y="306"/>
                  </a:lnTo>
                  <a:lnTo>
                    <a:pt x="430" y="306"/>
                  </a:lnTo>
                  <a:lnTo>
                    <a:pt x="430" y="309"/>
                  </a:lnTo>
                  <a:lnTo>
                    <a:pt x="413" y="309"/>
                  </a:lnTo>
                  <a:lnTo>
                    <a:pt x="396" y="309"/>
                  </a:lnTo>
                  <a:lnTo>
                    <a:pt x="395" y="321"/>
                  </a:lnTo>
                  <a:lnTo>
                    <a:pt x="387" y="321"/>
                  </a:lnTo>
                  <a:lnTo>
                    <a:pt x="393" y="328"/>
                  </a:lnTo>
                  <a:lnTo>
                    <a:pt x="399" y="333"/>
                  </a:lnTo>
                  <a:lnTo>
                    <a:pt x="400" y="337"/>
                  </a:lnTo>
                  <a:lnTo>
                    <a:pt x="403" y="338"/>
                  </a:lnTo>
                  <a:lnTo>
                    <a:pt x="402" y="346"/>
                  </a:lnTo>
                  <a:lnTo>
                    <a:pt x="378" y="346"/>
                  </a:lnTo>
                  <a:lnTo>
                    <a:pt x="368" y="363"/>
                  </a:lnTo>
                  <a:lnTo>
                    <a:pt x="370" y="367"/>
                  </a:lnTo>
                  <a:lnTo>
                    <a:pt x="367" y="371"/>
                  </a:lnTo>
                  <a:lnTo>
                    <a:pt x="366" y="377"/>
                  </a:lnTo>
                  <a:lnTo>
                    <a:pt x="348" y="355"/>
                  </a:lnTo>
                  <a:lnTo>
                    <a:pt x="339" y="348"/>
                  </a:lnTo>
                  <a:lnTo>
                    <a:pt x="325" y="343"/>
                  </a:lnTo>
                  <a:lnTo>
                    <a:pt x="315" y="344"/>
                  </a:lnTo>
                  <a:lnTo>
                    <a:pt x="299" y="352"/>
                  </a:lnTo>
                  <a:lnTo>
                    <a:pt x="290" y="354"/>
                  </a:lnTo>
                  <a:lnTo>
                    <a:pt x="278" y="349"/>
                  </a:lnTo>
                  <a:lnTo>
                    <a:pt x="265" y="345"/>
                  </a:lnTo>
                  <a:lnTo>
                    <a:pt x="249" y="335"/>
                  </a:lnTo>
                  <a:lnTo>
                    <a:pt x="236" y="332"/>
                  </a:lnTo>
                  <a:lnTo>
                    <a:pt x="216" y="323"/>
                  </a:lnTo>
                  <a:lnTo>
                    <a:pt x="203" y="313"/>
                  </a:lnTo>
                  <a:lnTo>
                    <a:pt x="199" y="307"/>
                  </a:lnTo>
                  <a:lnTo>
                    <a:pt x="189" y="306"/>
                  </a:lnTo>
                  <a:lnTo>
                    <a:pt x="171" y="299"/>
                  </a:lnTo>
                  <a:lnTo>
                    <a:pt x="165" y="290"/>
                  </a:lnTo>
                  <a:lnTo>
                    <a:pt x="148" y="278"/>
                  </a:lnTo>
                  <a:lnTo>
                    <a:pt x="141" y="265"/>
                  </a:lnTo>
                  <a:lnTo>
                    <a:pt x="138" y="255"/>
                  </a:lnTo>
                  <a:lnTo>
                    <a:pt x="145" y="253"/>
                  </a:lnTo>
                  <a:lnTo>
                    <a:pt x="144" y="247"/>
                  </a:lnTo>
                  <a:lnTo>
                    <a:pt x="149" y="242"/>
                  </a:lnTo>
                  <a:lnTo>
                    <a:pt x="150" y="234"/>
                  </a:lnTo>
                  <a:lnTo>
                    <a:pt x="146" y="225"/>
                  </a:lnTo>
                  <a:lnTo>
                    <a:pt x="146" y="217"/>
                  </a:lnTo>
                  <a:lnTo>
                    <a:pt x="142" y="206"/>
                  </a:lnTo>
                  <a:lnTo>
                    <a:pt x="131" y="186"/>
                  </a:lnTo>
                  <a:lnTo>
                    <a:pt x="116" y="169"/>
                  </a:lnTo>
                  <a:lnTo>
                    <a:pt x="110" y="156"/>
                  </a:lnTo>
                  <a:lnTo>
                    <a:pt x="97" y="148"/>
                  </a:lnTo>
                  <a:lnTo>
                    <a:pt x="95" y="143"/>
                  </a:lnTo>
                  <a:lnTo>
                    <a:pt x="101" y="130"/>
                  </a:lnTo>
                  <a:lnTo>
                    <a:pt x="93" y="125"/>
                  </a:lnTo>
                  <a:lnTo>
                    <a:pt x="85" y="115"/>
                  </a:lnTo>
                  <a:lnTo>
                    <a:pt x="85" y="101"/>
                  </a:lnTo>
                  <a:lnTo>
                    <a:pt x="75" y="99"/>
                  </a:lnTo>
                  <a:lnTo>
                    <a:pt x="68" y="88"/>
                  </a:lnTo>
                  <a:lnTo>
                    <a:pt x="63" y="78"/>
                  </a:lnTo>
                  <a:lnTo>
                    <a:pt x="64" y="72"/>
                  </a:lnTo>
                  <a:lnTo>
                    <a:pt x="59" y="56"/>
                  </a:lnTo>
                  <a:lnTo>
                    <a:pt x="58" y="40"/>
                  </a:lnTo>
                  <a:lnTo>
                    <a:pt x="61" y="32"/>
                  </a:lnTo>
                  <a:lnTo>
                    <a:pt x="50" y="24"/>
                  </a:lnTo>
                  <a:lnTo>
                    <a:pt x="44" y="25"/>
                  </a:lnTo>
                  <a:lnTo>
                    <a:pt x="36" y="19"/>
                  </a:lnTo>
                  <a:lnTo>
                    <a:pt x="31" y="27"/>
                  </a:lnTo>
                  <a:lnTo>
                    <a:pt x="30" y="37"/>
                  </a:lnTo>
                  <a:lnTo>
                    <a:pt x="27" y="53"/>
                  </a:lnTo>
                  <a:lnTo>
                    <a:pt x="31" y="62"/>
                  </a:lnTo>
                  <a:lnTo>
                    <a:pt x="39" y="76"/>
                  </a:lnTo>
                  <a:lnTo>
                    <a:pt x="41" y="81"/>
                  </a:lnTo>
                  <a:lnTo>
                    <a:pt x="43" y="82"/>
                  </a:lnTo>
                  <a:lnTo>
                    <a:pt x="43" y="89"/>
                  </a:lnTo>
                  <a:lnTo>
                    <a:pt x="47" y="89"/>
                  </a:lnTo>
                  <a:lnTo>
                    <a:pt x="46" y="102"/>
                  </a:lnTo>
                  <a:lnTo>
                    <a:pt x="51" y="108"/>
                  </a:lnTo>
                  <a:lnTo>
                    <a:pt x="52" y="115"/>
                  </a:lnTo>
                  <a:lnTo>
                    <a:pt x="61" y="125"/>
                  </a:lnTo>
                  <a:lnTo>
                    <a:pt x="62" y="145"/>
                  </a:lnTo>
                  <a:lnTo>
                    <a:pt x="65" y="154"/>
                  </a:lnTo>
                  <a:lnTo>
                    <a:pt x="67" y="164"/>
                  </a:lnTo>
                  <a:lnTo>
                    <a:pt x="66" y="174"/>
                  </a:lnTo>
                  <a:lnTo>
                    <a:pt x="74" y="175"/>
                  </a:lnTo>
                  <a:lnTo>
                    <a:pt x="80" y="185"/>
                  </a:lnTo>
                  <a:lnTo>
                    <a:pt x="84" y="194"/>
                  </a:lnTo>
                  <a:lnTo>
                    <a:pt x="83" y="198"/>
                  </a:lnTo>
                  <a:lnTo>
                    <a:pt x="74" y="205"/>
                  </a:lnTo>
                  <a:lnTo>
                    <a:pt x="71" y="205"/>
                  </a:lnTo>
                  <a:lnTo>
                    <a:pt x="68" y="193"/>
                  </a:lnTo>
                  <a:lnTo>
                    <a:pt x="59" y="181"/>
                  </a:lnTo>
                  <a:lnTo>
                    <a:pt x="49" y="171"/>
                  </a:lnTo>
                  <a:lnTo>
                    <a:pt x="41" y="165"/>
                  </a:lnTo>
                  <a:lnTo>
                    <a:pt x="45" y="150"/>
                  </a:lnTo>
                  <a:lnTo>
                    <a:pt x="45" y="139"/>
                  </a:lnTo>
                  <a:lnTo>
                    <a:pt x="38" y="133"/>
                  </a:lnTo>
                  <a:lnTo>
                    <a:pt x="28" y="123"/>
                  </a:lnTo>
                  <a:lnTo>
                    <a:pt x="25" y="126"/>
                  </a:lnTo>
                  <a:lnTo>
                    <a:pt x="22" y="121"/>
                  </a:lnTo>
                  <a:lnTo>
                    <a:pt x="13" y="115"/>
                  </a:lnTo>
                  <a:lnTo>
                    <a:pt x="6" y="103"/>
                  </a:lnTo>
                  <a:lnTo>
                    <a:pt x="7" y="102"/>
                  </a:lnTo>
                  <a:lnTo>
                    <a:pt x="14" y="103"/>
                  </a:lnTo>
                  <a:lnTo>
                    <a:pt x="23" y="95"/>
                  </a:lnTo>
                  <a:lnTo>
                    <a:pt x="26" y="86"/>
                  </a:lnTo>
                  <a:lnTo>
                    <a:pt x="17" y="71"/>
                  </a:lnTo>
                  <a:lnTo>
                    <a:pt x="8" y="65"/>
                  </a:lnTo>
                  <a:lnTo>
                    <a:pt x="6" y="52"/>
                  </a:lnTo>
                  <a:lnTo>
                    <a:pt x="4" y="39"/>
                  </a:lnTo>
                  <a:lnTo>
                    <a:pt x="1" y="22"/>
                  </a:lnTo>
                  <a:lnTo>
                    <a:pt x="0" y="4"/>
                  </a:lnTo>
                  <a:lnTo>
                    <a:pt x="21" y="2"/>
                  </a:lnTo>
                  <a:lnTo>
                    <a:pt x="43" y="0"/>
                  </a:lnTo>
                  <a:lnTo>
                    <a:pt x="41" y="4"/>
                  </a:lnTo>
                  <a:lnTo>
                    <a:pt x="64" y="14"/>
                  </a:lnTo>
                  <a:lnTo>
                    <a:pt x="99" y="29"/>
                  </a:lnTo>
                  <a:lnTo>
                    <a:pt x="134" y="28"/>
                  </a:lnTo>
                  <a:lnTo>
                    <a:pt x="148" y="28"/>
                  </a:lnTo>
                  <a:lnTo>
                    <a:pt x="150" y="20"/>
                  </a:lnTo>
                  <a:lnTo>
                    <a:pt x="181" y="20"/>
                  </a:lnTo>
                  <a:lnTo>
                    <a:pt x="185" y="27"/>
                  </a:lnTo>
                  <a:lnTo>
                    <a:pt x="192" y="34"/>
                  </a:lnTo>
                  <a:lnTo>
                    <a:pt x="200" y="43"/>
                  </a:lnTo>
                  <a:lnTo>
                    <a:pt x="202" y="54"/>
                  </a:lnTo>
                  <a:lnTo>
                    <a:pt x="203" y="65"/>
                  </a:lnTo>
                  <a:lnTo>
                    <a:pt x="211" y="71"/>
                  </a:lnTo>
                  <a:lnTo>
                    <a:pt x="224" y="78"/>
                  </a:lnTo>
                  <a:lnTo>
                    <a:pt x="240" y="61"/>
                  </a:lnTo>
                  <a:lnTo>
                    <a:pt x="254" y="61"/>
                  </a:lnTo>
                  <a:lnTo>
                    <a:pt x="264" y="69"/>
                  </a:lnTo>
                  <a:lnTo>
                    <a:pt x="269" y="83"/>
                  </a:lnTo>
                  <a:lnTo>
                    <a:pt x="273" y="95"/>
                  </a:lnTo>
                  <a:lnTo>
                    <a:pt x="280" y="107"/>
                  </a:lnTo>
                  <a:lnTo>
                    <a:pt x="281" y="122"/>
                  </a:lnTo>
                  <a:lnTo>
                    <a:pt x="283" y="132"/>
                  </a:lnTo>
                  <a:lnTo>
                    <a:pt x="296" y="138"/>
                  </a:lnTo>
                  <a:lnTo>
                    <a:pt x="307" y="143"/>
                  </a:lnTo>
                  <a:lnTo>
                    <a:pt x="315" y="142"/>
                  </a:lnTo>
                  <a:close/>
                </a:path>
              </a:pathLst>
            </a:custGeom>
            <a:solidFill>
              <a:srgbClr val="4F81BD"/>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58" name="Freeform 121"/>
            <p:cNvSpPr>
              <a:spLocks/>
            </p:cNvSpPr>
            <p:nvPr/>
          </p:nvSpPr>
          <p:spPr bwMode="auto">
            <a:xfrm>
              <a:off x="4727575" y="2312991"/>
              <a:ext cx="66675" cy="47625"/>
            </a:xfrm>
            <a:custGeom>
              <a:avLst/>
              <a:gdLst>
                <a:gd name="T0" fmla="*/ 2 w 42"/>
                <a:gd name="T1" fmla="*/ 9 h 30"/>
                <a:gd name="T2" fmla="*/ 4 w 42"/>
                <a:gd name="T3" fmla="*/ 9 h 30"/>
                <a:gd name="T4" fmla="*/ 4 w 42"/>
                <a:gd name="T5" fmla="*/ 5 h 30"/>
                <a:gd name="T6" fmla="*/ 14 w 42"/>
                <a:gd name="T7" fmla="*/ 2 h 30"/>
                <a:gd name="T8" fmla="*/ 17 w 42"/>
                <a:gd name="T9" fmla="*/ 1 h 30"/>
                <a:gd name="T10" fmla="*/ 23 w 42"/>
                <a:gd name="T11" fmla="*/ 0 h 30"/>
                <a:gd name="T12" fmla="*/ 31 w 42"/>
                <a:gd name="T13" fmla="*/ 0 h 30"/>
                <a:gd name="T14" fmla="*/ 40 w 42"/>
                <a:gd name="T15" fmla="*/ 6 h 30"/>
                <a:gd name="T16" fmla="*/ 42 w 42"/>
                <a:gd name="T17" fmla="*/ 20 h 30"/>
                <a:gd name="T18" fmla="*/ 39 w 42"/>
                <a:gd name="T19" fmla="*/ 20 h 30"/>
                <a:gd name="T20" fmla="*/ 37 w 42"/>
                <a:gd name="T21" fmla="*/ 24 h 30"/>
                <a:gd name="T22" fmla="*/ 28 w 42"/>
                <a:gd name="T23" fmla="*/ 24 h 30"/>
                <a:gd name="T24" fmla="*/ 22 w 42"/>
                <a:gd name="T25" fmla="*/ 28 h 30"/>
                <a:gd name="T26" fmla="*/ 11 w 42"/>
                <a:gd name="T27" fmla="*/ 30 h 30"/>
                <a:gd name="T28" fmla="*/ 3 w 42"/>
                <a:gd name="T29" fmla="*/ 25 h 30"/>
                <a:gd name="T30" fmla="*/ 0 w 42"/>
                <a:gd name="T31" fmla="*/ 16 h 30"/>
                <a:gd name="T32" fmla="*/ 2 w 42"/>
                <a:gd name="T3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0">
                  <a:moveTo>
                    <a:pt x="2" y="9"/>
                  </a:moveTo>
                  <a:lnTo>
                    <a:pt x="4" y="9"/>
                  </a:lnTo>
                  <a:lnTo>
                    <a:pt x="4" y="5"/>
                  </a:lnTo>
                  <a:lnTo>
                    <a:pt x="14" y="2"/>
                  </a:lnTo>
                  <a:lnTo>
                    <a:pt x="17" y="1"/>
                  </a:lnTo>
                  <a:lnTo>
                    <a:pt x="23" y="0"/>
                  </a:lnTo>
                  <a:lnTo>
                    <a:pt x="31" y="0"/>
                  </a:lnTo>
                  <a:lnTo>
                    <a:pt x="40" y="6"/>
                  </a:lnTo>
                  <a:lnTo>
                    <a:pt x="42" y="20"/>
                  </a:lnTo>
                  <a:lnTo>
                    <a:pt x="39" y="20"/>
                  </a:lnTo>
                  <a:lnTo>
                    <a:pt x="37" y="24"/>
                  </a:lnTo>
                  <a:lnTo>
                    <a:pt x="28" y="24"/>
                  </a:lnTo>
                  <a:lnTo>
                    <a:pt x="22" y="28"/>
                  </a:lnTo>
                  <a:lnTo>
                    <a:pt x="11" y="30"/>
                  </a:lnTo>
                  <a:lnTo>
                    <a:pt x="3" y="25"/>
                  </a:lnTo>
                  <a:lnTo>
                    <a:pt x="0" y="16"/>
                  </a:lnTo>
                  <a:lnTo>
                    <a:pt x="2" y="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59" name="Freeform 122"/>
            <p:cNvSpPr>
              <a:spLocks/>
            </p:cNvSpPr>
            <p:nvPr/>
          </p:nvSpPr>
          <p:spPr bwMode="auto">
            <a:xfrm>
              <a:off x="3830637" y="2882904"/>
              <a:ext cx="474663" cy="490538"/>
            </a:xfrm>
            <a:custGeom>
              <a:avLst/>
              <a:gdLst>
                <a:gd name="T0" fmla="*/ 6 w 299"/>
                <a:gd name="T1" fmla="*/ 211 h 309"/>
                <a:gd name="T2" fmla="*/ 15 w 299"/>
                <a:gd name="T3" fmla="*/ 198 h 309"/>
                <a:gd name="T4" fmla="*/ 38 w 299"/>
                <a:gd name="T5" fmla="*/ 200 h 309"/>
                <a:gd name="T6" fmla="*/ 48 w 299"/>
                <a:gd name="T7" fmla="*/ 197 h 309"/>
                <a:gd name="T8" fmla="*/ 125 w 299"/>
                <a:gd name="T9" fmla="*/ 182 h 309"/>
                <a:gd name="T10" fmla="*/ 114 w 299"/>
                <a:gd name="T11" fmla="*/ 90 h 309"/>
                <a:gd name="T12" fmla="*/ 133 w 299"/>
                <a:gd name="T13" fmla="*/ 0 h 309"/>
                <a:gd name="T14" fmla="*/ 254 w 299"/>
                <a:gd name="T15" fmla="*/ 90 h 309"/>
                <a:gd name="T16" fmla="*/ 270 w 299"/>
                <a:gd name="T17" fmla="*/ 106 h 309"/>
                <a:gd name="T18" fmla="*/ 278 w 299"/>
                <a:gd name="T19" fmla="*/ 123 h 309"/>
                <a:gd name="T20" fmla="*/ 299 w 299"/>
                <a:gd name="T21" fmla="*/ 168 h 309"/>
                <a:gd name="T22" fmla="*/ 287 w 299"/>
                <a:gd name="T23" fmla="*/ 195 h 309"/>
                <a:gd name="T24" fmla="*/ 246 w 299"/>
                <a:gd name="T25" fmla="*/ 200 h 309"/>
                <a:gd name="T26" fmla="*/ 228 w 299"/>
                <a:gd name="T27" fmla="*/ 208 h 309"/>
                <a:gd name="T28" fmla="*/ 212 w 299"/>
                <a:gd name="T29" fmla="*/ 204 h 309"/>
                <a:gd name="T30" fmla="*/ 185 w 299"/>
                <a:gd name="T31" fmla="*/ 216 h 309"/>
                <a:gd name="T32" fmla="*/ 167 w 299"/>
                <a:gd name="T33" fmla="*/ 232 h 309"/>
                <a:gd name="T34" fmla="*/ 157 w 299"/>
                <a:gd name="T35" fmla="*/ 241 h 309"/>
                <a:gd name="T36" fmla="*/ 143 w 299"/>
                <a:gd name="T37" fmla="*/ 244 h 309"/>
                <a:gd name="T38" fmla="*/ 126 w 299"/>
                <a:gd name="T39" fmla="*/ 275 h 309"/>
                <a:gd name="T40" fmla="*/ 121 w 299"/>
                <a:gd name="T41" fmla="*/ 291 h 309"/>
                <a:gd name="T42" fmla="*/ 115 w 299"/>
                <a:gd name="T43" fmla="*/ 306 h 309"/>
                <a:gd name="T44" fmla="*/ 108 w 299"/>
                <a:gd name="T45" fmla="*/ 300 h 309"/>
                <a:gd name="T46" fmla="*/ 99 w 299"/>
                <a:gd name="T47" fmla="*/ 302 h 309"/>
                <a:gd name="T48" fmla="*/ 82 w 299"/>
                <a:gd name="T49" fmla="*/ 307 h 309"/>
                <a:gd name="T50" fmla="*/ 75 w 299"/>
                <a:gd name="T51" fmla="*/ 306 h 309"/>
                <a:gd name="T52" fmla="*/ 70 w 299"/>
                <a:gd name="T53" fmla="*/ 294 h 309"/>
                <a:gd name="T54" fmla="*/ 64 w 299"/>
                <a:gd name="T55" fmla="*/ 294 h 309"/>
                <a:gd name="T56" fmla="*/ 68 w 299"/>
                <a:gd name="T57" fmla="*/ 282 h 309"/>
                <a:gd name="T58" fmla="*/ 59 w 299"/>
                <a:gd name="T59" fmla="*/ 267 h 309"/>
                <a:gd name="T60" fmla="*/ 51 w 299"/>
                <a:gd name="T61" fmla="*/ 262 h 309"/>
                <a:gd name="T62" fmla="*/ 41 w 299"/>
                <a:gd name="T63" fmla="*/ 268 h 309"/>
                <a:gd name="T64" fmla="*/ 28 w 299"/>
                <a:gd name="T65" fmla="*/ 271 h 309"/>
                <a:gd name="T66" fmla="*/ 20 w 299"/>
                <a:gd name="T67" fmla="*/ 265 h 309"/>
                <a:gd name="T68" fmla="*/ 12 w 299"/>
                <a:gd name="T69" fmla="*/ 267 h 309"/>
                <a:gd name="T70" fmla="*/ 12 w 299"/>
                <a:gd name="T71" fmla="*/ 253 h 309"/>
                <a:gd name="T72" fmla="*/ 4 w 299"/>
                <a:gd name="T73" fmla="*/ 240 h 309"/>
                <a:gd name="T74" fmla="*/ 0 w 299"/>
                <a:gd name="T75" fmla="*/ 215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9" h="309">
                  <a:moveTo>
                    <a:pt x="0" y="215"/>
                  </a:moveTo>
                  <a:lnTo>
                    <a:pt x="6" y="211"/>
                  </a:lnTo>
                  <a:lnTo>
                    <a:pt x="9" y="199"/>
                  </a:lnTo>
                  <a:lnTo>
                    <a:pt x="15" y="198"/>
                  </a:lnTo>
                  <a:lnTo>
                    <a:pt x="28" y="204"/>
                  </a:lnTo>
                  <a:lnTo>
                    <a:pt x="38" y="200"/>
                  </a:lnTo>
                  <a:lnTo>
                    <a:pt x="45" y="201"/>
                  </a:lnTo>
                  <a:lnTo>
                    <a:pt x="48" y="197"/>
                  </a:lnTo>
                  <a:lnTo>
                    <a:pt x="121" y="196"/>
                  </a:lnTo>
                  <a:lnTo>
                    <a:pt x="125" y="182"/>
                  </a:lnTo>
                  <a:lnTo>
                    <a:pt x="122" y="179"/>
                  </a:lnTo>
                  <a:lnTo>
                    <a:pt x="114" y="90"/>
                  </a:lnTo>
                  <a:lnTo>
                    <a:pt x="106" y="0"/>
                  </a:lnTo>
                  <a:lnTo>
                    <a:pt x="133" y="0"/>
                  </a:lnTo>
                  <a:lnTo>
                    <a:pt x="193" y="45"/>
                  </a:lnTo>
                  <a:lnTo>
                    <a:pt x="254" y="90"/>
                  </a:lnTo>
                  <a:lnTo>
                    <a:pt x="258" y="100"/>
                  </a:lnTo>
                  <a:lnTo>
                    <a:pt x="270" y="106"/>
                  </a:lnTo>
                  <a:lnTo>
                    <a:pt x="278" y="109"/>
                  </a:lnTo>
                  <a:lnTo>
                    <a:pt x="278" y="123"/>
                  </a:lnTo>
                  <a:lnTo>
                    <a:pt x="298" y="120"/>
                  </a:lnTo>
                  <a:lnTo>
                    <a:pt x="299" y="168"/>
                  </a:lnTo>
                  <a:lnTo>
                    <a:pt x="289" y="182"/>
                  </a:lnTo>
                  <a:lnTo>
                    <a:pt x="287" y="195"/>
                  </a:lnTo>
                  <a:lnTo>
                    <a:pt x="271" y="198"/>
                  </a:lnTo>
                  <a:lnTo>
                    <a:pt x="246" y="200"/>
                  </a:lnTo>
                  <a:lnTo>
                    <a:pt x="240" y="207"/>
                  </a:lnTo>
                  <a:lnTo>
                    <a:pt x="228" y="208"/>
                  </a:lnTo>
                  <a:lnTo>
                    <a:pt x="216" y="208"/>
                  </a:lnTo>
                  <a:lnTo>
                    <a:pt x="212" y="204"/>
                  </a:lnTo>
                  <a:lnTo>
                    <a:pt x="202" y="207"/>
                  </a:lnTo>
                  <a:lnTo>
                    <a:pt x="185" y="216"/>
                  </a:lnTo>
                  <a:lnTo>
                    <a:pt x="182" y="222"/>
                  </a:lnTo>
                  <a:lnTo>
                    <a:pt x="167" y="232"/>
                  </a:lnTo>
                  <a:lnTo>
                    <a:pt x="165" y="237"/>
                  </a:lnTo>
                  <a:lnTo>
                    <a:pt x="157" y="241"/>
                  </a:lnTo>
                  <a:lnTo>
                    <a:pt x="148" y="238"/>
                  </a:lnTo>
                  <a:lnTo>
                    <a:pt x="143" y="244"/>
                  </a:lnTo>
                  <a:lnTo>
                    <a:pt x="140" y="258"/>
                  </a:lnTo>
                  <a:lnTo>
                    <a:pt x="126" y="275"/>
                  </a:lnTo>
                  <a:lnTo>
                    <a:pt x="126" y="282"/>
                  </a:lnTo>
                  <a:lnTo>
                    <a:pt x="121" y="291"/>
                  </a:lnTo>
                  <a:lnTo>
                    <a:pt x="122" y="303"/>
                  </a:lnTo>
                  <a:lnTo>
                    <a:pt x="115" y="306"/>
                  </a:lnTo>
                  <a:lnTo>
                    <a:pt x="111" y="309"/>
                  </a:lnTo>
                  <a:lnTo>
                    <a:pt x="108" y="300"/>
                  </a:lnTo>
                  <a:lnTo>
                    <a:pt x="103" y="302"/>
                  </a:lnTo>
                  <a:lnTo>
                    <a:pt x="99" y="302"/>
                  </a:lnTo>
                  <a:lnTo>
                    <a:pt x="96" y="308"/>
                  </a:lnTo>
                  <a:lnTo>
                    <a:pt x="82" y="307"/>
                  </a:lnTo>
                  <a:lnTo>
                    <a:pt x="77" y="305"/>
                  </a:lnTo>
                  <a:lnTo>
                    <a:pt x="75" y="306"/>
                  </a:lnTo>
                  <a:lnTo>
                    <a:pt x="69" y="300"/>
                  </a:lnTo>
                  <a:lnTo>
                    <a:pt x="70" y="294"/>
                  </a:lnTo>
                  <a:lnTo>
                    <a:pt x="68" y="292"/>
                  </a:lnTo>
                  <a:lnTo>
                    <a:pt x="64" y="294"/>
                  </a:lnTo>
                  <a:lnTo>
                    <a:pt x="65" y="287"/>
                  </a:lnTo>
                  <a:lnTo>
                    <a:pt x="68" y="282"/>
                  </a:lnTo>
                  <a:lnTo>
                    <a:pt x="61" y="273"/>
                  </a:lnTo>
                  <a:lnTo>
                    <a:pt x="59" y="267"/>
                  </a:lnTo>
                  <a:lnTo>
                    <a:pt x="55" y="263"/>
                  </a:lnTo>
                  <a:lnTo>
                    <a:pt x="51" y="262"/>
                  </a:lnTo>
                  <a:lnTo>
                    <a:pt x="47" y="265"/>
                  </a:lnTo>
                  <a:lnTo>
                    <a:pt x="41" y="268"/>
                  </a:lnTo>
                  <a:lnTo>
                    <a:pt x="36" y="272"/>
                  </a:lnTo>
                  <a:lnTo>
                    <a:pt x="28" y="271"/>
                  </a:lnTo>
                  <a:lnTo>
                    <a:pt x="23" y="265"/>
                  </a:lnTo>
                  <a:lnTo>
                    <a:pt x="20" y="265"/>
                  </a:lnTo>
                  <a:lnTo>
                    <a:pt x="15" y="267"/>
                  </a:lnTo>
                  <a:lnTo>
                    <a:pt x="12" y="267"/>
                  </a:lnTo>
                  <a:lnTo>
                    <a:pt x="11" y="260"/>
                  </a:lnTo>
                  <a:lnTo>
                    <a:pt x="12" y="253"/>
                  </a:lnTo>
                  <a:lnTo>
                    <a:pt x="11" y="245"/>
                  </a:lnTo>
                  <a:lnTo>
                    <a:pt x="4" y="240"/>
                  </a:lnTo>
                  <a:lnTo>
                    <a:pt x="0" y="228"/>
                  </a:lnTo>
                  <a:lnTo>
                    <a:pt x="0" y="215"/>
                  </a:lnTo>
                  <a:close/>
                </a:path>
              </a:pathLst>
            </a:custGeom>
            <a:solidFill>
              <a:schemeClr val="accent2">
                <a:lumMod val="40000"/>
                <a:lumOff val="60000"/>
              </a:schemeClr>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60" name="Freeform 123"/>
            <p:cNvSpPr>
              <a:spLocks/>
            </p:cNvSpPr>
            <p:nvPr/>
          </p:nvSpPr>
          <p:spPr bwMode="auto">
            <a:xfrm>
              <a:off x="6819900" y="2771779"/>
              <a:ext cx="254000" cy="606425"/>
            </a:xfrm>
            <a:custGeom>
              <a:avLst/>
              <a:gdLst>
                <a:gd name="T0" fmla="*/ 126 w 160"/>
                <a:gd name="T1" fmla="*/ 178 h 382"/>
                <a:gd name="T2" fmla="*/ 108 w 160"/>
                <a:gd name="T3" fmla="*/ 201 h 382"/>
                <a:gd name="T4" fmla="*/ 112 w 160"/>
                <a:gd name="T5" fmla="*/ 223 h 382"/>
                <a:gd name="T6" fmla="*/ 135 w 160"/>
                <a:gd name="T7" fmla="*/ 252 h 382"/>
                <a:gd name="T8" fmla="*/ 125 w 160"/>
                <a:gd name="T9" fmla="*/ 274 h 382"/>
                <a:gd name="T10" fmla="*/ 144 w 160"/>
                <a:gd name="T11" fmla="*/ 301 h 382"/>
                <a:gd name="T12" fmla="*/ 148 w 160"/>
                <a:gd name="T13" fmla="*/ 322 h 382"/>
                <a:gd name="T14" fmla="*/ 149 w 160"/>
                <a:gd name="T15" fmla="*/ 361 h 382"/>
                <a:gd name="T16" fmla="*/ 139 w 160"/>
                <a:gd name="T17" fmla="*/ 367 h 382"/>
                <a:gd name="T18" fmla="*/ 136 w 160"/>
                <a:gd name="T19" fmla="*/ 338 h 382"/>
                <a:gd name="T20" fmla="*/ 126 w 160"/>
                <a:gd name="T21" fmla="*/ 305 h 382"/>
                <a:gd name="T22" fmla="*/ 112 w 160"/>
                <a:gd name="T23" fmla="*/ 254 h 382"/>
                <a:gd name="T24" fmla="*/ 91 w 160"/>
                <a:gd name="T25" fmla="*/ 247 h 382"/>
                <a:gd name="T26" fmla="*/ 62 w 160"/>
                <a:gd name="T27" fmla="*/ 260 h 382"/>
                <a:gd name="T28" fmla="*/ 53 w 160"/>
                <a:gd name="T29" fmla="*/ 229 h 382"/>
                <a:gd name="T30" fmla="*/ 29 w 160"/>
                <a:gd name="T31" fmla="*/ 186 h 382"/>
                <a:gd name="T32" fmla="*/ 19 w 160"/>
                <a:gd name="T33" fmla="*/ 176 h 382"/>
                <a:gd name="T34" fmla="*/ 0 w 160"/>
                <a:gd name="T35" fmla="*/ 142 h 382"/>
                <a:gd name="T36" fmla="*/ 4 w 160"/>
                <a:gd name="T37" fmla="*/ 131 h 382"/>
                <a:gd name="T38" fmla="*/ 9 w 160"/>
                <a:gd name="T39" fmla="*/ 117 h 382"/>
                <a:gd name="T40" fmla="*/ 9 w 160"/>
                <a:gd name="T41" fmla="*/ 88 h 382"/>
                <a:gd name="T42" fmla="*/ 28 w 160"/>
                <a:gd name="T43" fmla="*/ 76 h 382"/>
                <a:gd name="T44" fmla="*/ 33 w 160"/>
                <a:gd name="T45" fmla="*/ 48 h 382"/>
                <a:gd name="T46" fmla="*/ 50 w 160"/>
                <a:gd name="T47" fmla="*/ 22 h 382"/>
                <a:gd name="T48" fmla="*/ 59 w 160"/>
                <a:gd name="T49" fmla="*/ 13 h 382"/>
                <a:gd name="T50" fmla="*/ 61 w 160"/>
                <a:gd name="T51" fmla="*/ 1 h 382"/>
                <a:gd name="T52" fmla="*/ 80 w 160"/>
                <a:gd name="T53" fmla="*/ 12 h 382"/>
                <a:gd name="T54" fmla="*/ 93 w 160"/>
                <a:gd name="T55" fmla="*/ 33 h 382"/>
                <a:gd name="T56" fmla="*/ 83 w 160"/>
                <a:gd name="T57" fmla="*/ 67 h 382"/>
                <a:gd name="T58" fmla="*/ 104 w 160"/>
                <a:gd name="T59" fmla="*/ 89 h 382"/>
                <a:gd name="T60" fmla="*/ 124 w 160"/>
                <a:gd name="T61" fmla="*/ 112 h 382"/>
                <a:gd name="T62" fmla="*/ 137 w 160"/>
                <a:gd name="T63" fmla="*/ 137 h 382"/>
                <a:gd name="T64" fmla="*/ 158 w 160"/>
                <a:gd name="T65" fmla="*/ 134 h 382"/>
                <a:gd name="T66" fmla="*/ 147 w 160"/>
                <a:gd name="T67" fmla="*/ 156 h 382"/>
                <a:gd name="T68" fmla="*/ 135 w 160"/>
                <a:gd name="T69" fmla="*/ 169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382">
                  <a:moveTo>
                    <a:pt x="135" y="169"/>
                  </a:moveTo>
                  <a:lnTo>
                    <a:pt x="126" y="178"/>
                  </a:lnTo>
                  <a:lnTo>
                    <a:pt x="113" y="179"/>
                  </a:lnTo>
                  <a:lnTo>
                    <a:pt x="108" y="201"/>
                  </a:lnTo>
                  <a:lnTo>
                    <a:pt x="101" y="205"/>
                  </a:lnTo>
                  <a:lnTo>
                    <a:pt x="112" y="223"/>
                  </a:lnTo>
                  <a:lnTo>
                    <a:pt x="126" y="239"/>
                  </a:lnTo>
                  <a:lnTo>
                    <a:pt x="135" y="252"/>
                  </a:lnTo>
                  <a:lnTo>
                    <a:pt x="131" y="270"/>
                  </a:lnTo>
                  <a:lnTo>
                    <a:pt x="125" y="274"/>
                  </a:lnTo>
                  <a:lnTo>
                    <a:pt x="130" y="285"/>
                  </a:lnTo>
                  <a:lnTo>
                    <a:pt x="144" y="301"/>
                  </a:lnTo>
                  <a:lnTo>
                    <a:pt x="147" y="313"/>
                  </a:lnTo>
                  <a:lnTo>
                    <a:pt x="148" y="322"/>
                  </a:lnTo>
                  <a:lnTo>
                    <a:pt x="157" y="341"/>
                  </a:lnTo>
                  <a:lnTo>
                    <a:pt x="149" y="361"/>
                  </a:lnTo>
                  <a:lnTo>
                    <a:pt x="142" y="382"/>
                  </a:lnTo>
                  <a:lnTo>
                    <a:pt x="139" y="367"/>
                  </a:lnTo>
                  <a:lnTo>
                    <a:pt x="143" y="351"/>
                  </a:lnTo>
                  <a:lnTo>
                    <a:pt x="136" y="338"/>
                  </a:lnTo>
                  <a:lnTo>
                    <a:pt x="135" y="316"/>
                  </a:lnTo>
                  <a:lnTo>
                    <a:pt x="126" y="305"/>
                  </a:lnTo>
                  <a:lnTo>
                    <a:pt x="118" y="280"/>
                  </a:lnTo>
                  <a:lnTo>
                    <a:pt x="112" y="254"/>
                  </a:lnTo>
                  <a:lnTo>
                    <a:pt x="102" y="237"/>
                  </a:lnTo>
                  <a:lnTo>
                    <a:pt x="91" y="247"/>
                  </a:lnTo>
                  <a:lnTo>
                    <a:pt x="72" y="262"/>
                  </a:lnTo>
                  <a:lnTo>
                    <a:pt x="62" y="260"/>
                  </a:lnTo>
                  <a:lnTo>
                    <a:pt x="50" y="255"/>
                  </a:lnTo>
                  <a:lnTo>
                    <a:pt x="53" y="229"/>
                  </a:lnTo>
                  <a:lnTo>
                    <a:pt x="46" y="210"/>
                  </a:lnTo>
                  <a:lnTo>
                    <a:pt x="29" y="186"/>
                  </a:lnTo>
                  <a:lnTo>
                    <a:pt x="30" y="179"/>
                  </a:lnTo>
                  <a:lnTo>
                    <a:pt x="19" y="176"/>
                  </a:lnTo>
                  <a:lnTo>
                    <a:pt x="4" y="159"/>
                  </a:lnTo>
                  <a:lnTo>
                    <a:pt x="0" y="142"/>
                  </a:lnTo>
                  <a:lnTo>
                    <a:pt x="7" y="145"/>
                  </a:lnTo>
                  <a:lnTo>
                    <a:pt x="4" y="131"/>
                  </a:lnTo>
                  <a:lnTo>
                    <a:pt x="12" y="125"/>
                  </a:lnTo>
                  <a:lnTo>
                    <a:pt x="9" y="117"/>
                  </a:lnTo>
                  <a:lnTo>
                    <a:pt x="12" y="110"/>
                  </a:lnTo>
                  <a:lnTo>
                    <a:pt x="9" y="88"/>
                  </a:lnTo>
                  <a:lnTo>
                    <a:pt x="23" y="93"/>
                  </a:lnTo>
                  <a:lnTo>
                    <a:pt x="28" y="76"/>
                  </a:lnTo>
                  <a:lnTo>
                    <a:pt x="27" y="66"/>
                  </a:lnTo>
                  <a:lnTo>
                    <a:pt x="33" y="48"/>
                  </a:lnTo>
                  <a:lnTo>
                    <a:pt x="30" y="36"/>
                  </a:lnTo>
                  <a:lnTo>
                    <a:pt x="50" y="22"/>
                  </a:lnTo>
                  <a:lnTo>
                    <a:pt x="64" y="26"/>
                  </a:lnTo>
                  <a:lnTo>
                    <a:pt x="59" y="13"/>
                  </a:lnTo>
                  <a:lnTo>
                    <a:pt x="64" y="9"/>
                  </a:lnTo>
                  <a:lnTo>
                    <a:pt x="61" y="1"/>
                  </a:lnTo>
                  <a:lnTo>
                    <a:pt x="71" y="0"/>
                  </a:lnTo>
                  <a:lnTo>
                    <a:pt x="80" y="12"/>
                  </a:lnTo>
                  <a:lnTo>
                    <a:pt x="89" y="17"/>
                  </a:lnTo>
                  <a:lnTo>
                    <a:pt x="93" y="33"/>
                  </a:lnTo>
                  <a:lnTo>
                    <a:pt x="96" y="50"/>
                  </a:lnTo>
                  <a:lnTo>
                    <a:pt x="83" y="67"/>
                  </a:lnTo>
                  <a:lnTo>
                    <a:pt x="86" y="92"/>
                  </a:lnTo>
                  <a:lnTo>
                    <a:pt x="104" y="89"/>
                  </a:lnTo>
                  <a:lnTo>
                    <a:pt x="112" y="108"/>
                  </a:lnTo>
                  <a:lnTo>
                    <a:pt x="124" y="112"/>
                  </a:lnTo>
                  <a:lnTo>
                    <a:pt x="122" y="129"/>
                  </a:lnTo>
                  <a:lnTo>
                    <a:pt x="137" y="137"/>
                  </a:lnTo>
                  <a:lnTo>
                    <a:pt x="146" y="141"/>
                  </a:lnTo>
                  <a:lnTo>
                    <a:pt x="158" y="134"/>
                  </a:lnTo>
                  <a:lnTo>
                    <a:pt x="160" y="143"/>
                  </a:lnTo>
                  <a:lnTo>
                    <a:pt x="147" y="156"/>
                  </a:lnTo>
                  <a:lnTo>
                    <a:pt x="144" y="164"/>
                  </a:lnTo>
                  <a:lnTo>
                    <a:pt x="135" y="169"/>
                  </a:lnTo>
                  <a:close/>
                </a:path>
              </a:pathLst>
            </a:custGeom>
            <a:solidFill>
              <a:srgbClr val="C0504D"/>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61" name="Freeform 124"/>
            <p:cNvSpPr>
              <a:spLocks/>
            </p:cNvSpPr>
            <p:nvPr/>
          </p:nvSpPr>
          <p:spPr bwMode="auto">
            <a:xfrm>
              <a:off x="4672012" y="2273304"/>
              <a:ext cx="49213" cy="53975"/>
            </a:xfrm>
            <a:custGeom>
              <a:avLst/>
              <a:gdLst>
                <a:gd name="T0" fmla="*/ 22 w 31"/>
                <a:gd name="T1" fmla="*/ 21 h 34"/>
                <a:gd name="T2" fmla="*/ 21 w 31"/>
                <a:gd name="T3" fmla="*/ 17 h 34"/>
                <a:gd name="T4" fmla="*/ 15 w 31"/>
                <a:gd name="T5" fmla="*/ 27 h 34"/>
                <a:gd name="T6" fmla="*/ 16 w 31"/>
                <a:gd name="T7" fmla="*/ 34 h 34"/>
                <a:gd name="T8" fmla="*/ 13 w 31"/>
                <a:gd name="T9" fmla="*/ 32 h 34"/>
                <a:gd name="T10" fmla="*/ 7 w 31"/>
                <a:gd name="T11" fmla="*/ 25 h 34"/>
                <a:gd name="T12" fmla="*/ 0 w 31"/>
                <a:gd name="T13" fmla="*/ 21 h 34"/>
                <a:gd name="T14" fmla="*/ 1 w 31"/>
                <a:gd name="T15" fmla="*/ 18 h 34"/>
                <a:gd name="T16" fmla="*/ 3 w 31"/>
                <a:gd name="T17" fmla="*/ 7 h 34"/>
                <a:gd name="T18" fmla="*/ 8 w 31"/>
                <a:gd name="T19" fmla="*/ 2 h 34"/>
                <a:gd name="T20" fmla="*/ 11 w 31"/>
                <a:gd name="T21" fmla="*/ 0 h 34"/>
                <a:gd name="T22" fmla="*/ 16 w 31"/>
                <a:gd name="T23" fmla="*/ 3 h 34"/>
                <a:gd name="T24" fmla="*/ 18 w 31"/>
                <a:gd name="T25" fmla="*/ 6 h 34"/>
                <a:gd name="T26" fmla="*/ 24 w 31"/>
                <a:gd name="T27" fmla="*/ 9 h 34"/>
                <a:gd name="T28" fmla="*/ 31 w 31"/>
                <a:gd name="T29" fmla="*/ 13 h 34"/>
                <a:gd name="T30" fmla="*/ 29 w 31"/>
                <a:gd name="T31" fmla="*/ 14 h 34"/>
                <a:gd name="T32" fmla="*/ 27 w 31"/>
                <a:gd name="T33" fmla="*/ 19 h 34"/>
                <a:gd name="T34" fmla="*/ 22 w 31"/>
                <a:gd name="T35"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 h="34">
                  <a:moveTo>
                    <a:pt x="22" y="21"/>
                  </a:moveTo>
                  <a:lnTo>
                    <a:pt x="21" y="17"/>
                  </a:lnTo>
                  <a:lnTo>
                    <a:pt x="15" y="27"/>
                  </a:lnTo>
                  <a:lnTo>
                    <a:pt x="16" y="34"/>
                  </a:lnTo>
                  <a:lnTo>
                    <a:pt x="13" y="32"/>
                  </a:lnTo>
                  <a:lnTo>
                    <a:pt x="7" y="25"/>
                  </a:lnTo>
                  <a:lnTo>
                    <a:pt x="0" y="21"/>
                  </a:lnTo>
                  <a:lnTo>
                    <a:pt x="1" y="18"/>
                  </a:lnTo>
                  <a:lnTo>
                    <a:pt x="3" y="7"/>
                  </a:lnTo>
                  <a:lnTo>
                    <a:pt x="8" y="2"/>
                  </a:lnTo>
                  <a:lnTo>
                    <a:pt x="11" y="0"/>
                  </a:lnTo>
                  <a:lnTo>
                    <a:pt x="16" y="3"/>
                  </a:lnTo>
                  <a:lnTo>
                    <a:pt x="18" y="6"/>
                  </a:lnTo>
                  <a:lnTo>
                    <a:pt x="24" y="9"/>
                  </a:lnTo>
                  <a:lnTo>
                    <a:pt x="31" y="13"/>
                  </a:lnTo>
                  <a:lnTo>
                    <a:pt x="29" y="14"/>
                  </a:lnTo>
                  <a:lnTo>
                    <a:pt x="27" y="19"/>
                  </a:lnTo>
                  <a:lnTo>
                    <a:pt x="22" y="21"/>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62" name="Freeform 125"/>
            <p:cNvSpPr>
              <a:spLocks/>
            </p:cNvSpPr>
            <p:nvPr/>
          </p:nvSpPr>
          <p:spPr bwMode="auto">
            <a:xfrm>
              <a:off x="6416675" y="1998666"/>
              <a:ext cx="865188" cy="338138"/>
            </a:xfrm>
            <a:custGeom>
              <a:avLst/>
              <a:gdLst>
                <a:gd name="T0" fmla="*/ 15 w 545"/>
                <a:gd name="T1" fmla="*/ 52 h 213"/>
                <a:gd name="T2" fmla="*/ 57 w 545"/>
                <a:gd name="T3" fmla="*/ 25 h 213"/>
                <a:gd name="T4" fmla="*/ 90 w 545"/>
                <a:gd name="T5" fmla="*/ 31 h 213"/>
                <a:gd name="T6" fmla="*/ 122 w 545"/>
                <a:gd name="T7" fmla="*/ 42 h 213"/>
                <a:gd name="T8" fmla="*/ 156 w 545"/>
                <a:gd name="T9" fmla="*/ 33 h 213"/>
                <a:gd name="T10" fmla="*/ 148 w 545"/>
                <a:gd name="T11" fmla="*/ 0 h 213"/>
                <a:gd name="T12" fmla="*/ 186 w 545"/>
                <a:gd name="T13" fmla="*/ 10 h 213"/>
                <a:gd name="T14" fmla="*/ 219 w 545"/>
                <a:gd name="T15" fmla="*/ 31 h 213"/>
                <a:gd name="T16" fmla="*/ 259 w 545"/>
                <a:gd name="T17" fmla="*/ 35 h 213"/>
                <a:gd name="T18" fmla="*/ 296 w 545"/>
                <a:gd name="T19" fmla="*/ 35 h 213"/>
                <a:gd name="T20" fmla="*/ 333 w 545"/>
                <a:gd name="T21" fmla="*/ 55 h 213"/>
                <a:gd name="T22" fmla="*/ 370 w 545"/>
                <a:gd name="T23" fmla="*/ 59 h 213"/>
                <a:gd name="T24" fmla="*/ 400 w 545"/>
                <a:gd name="T25" fmla="*/ 50 h 213"/>
                <a:gd name="T26" fmla="*/ 426 w 545"/>
                <a:gd name="T27" fmla="*/ 38 h 213"/>
                <a:gd name="T28" fmla="*/ 456 w 545"/>
                <a:gd name="T29" fmla="*/ 43 h 213"/>
                <a:gd name="T30" fmla="*/ 459 w 545"/>
                <a:gd name="T31" fmla="*/ 79 h 213"/>
                <a:gd name="T32" fmla="*/ 476 w 545"/>
                <a:gd name="T33" fmla="*/ 84 h 213"/>
                <a:gd name="T34" fmla="*/ 502 w 545"/>
                <a:gd name="T35" fmla="*/ 80 h 213"/>
                <a:gd name="T36" fmla="*/ 542 w 545"/>
                <a:gd name="T37" fmla="*/ 101 h 213"/>
                <a:gd name="T38" fmla="*/ 530 w 545"/>
                <a:gd name="T39" fmla="*/ 106 h 213"/>
                <a:gd name="T40" fmla="*/ 500 w 545"/>
                <a:gd name="T41" fmla="*/ 114 h 213"/>
                <a:gd name="T42" fmla="*/ 475 w 545"/>
                <a:gd name="T43" fmla="*/ 136 h 213"/>
                <a:gd name="T44" fmla="*/ 445 w 545"/>
                <a:gd name="T45" fmla="*/ 143 h 213"/>
                <a:gd name="T46" fmla="*/ 433 w 545"/>
                <a:gd name="T47" fmla="*/ 154 h 213"/>
                <a:gd name="T48" fmla="*/ 449 w 545"/>
                <a:gd name="T49" fmla="*/ 168 h 213"/>
                <a:gd name="T50" fmla="*/ 434 w 545"/>
                <a:gd name="T51" fmla="*/ 186 h 213"/>
                <a:gd name="T52" fmla="*/ 393 w 545"/>
                <a:gd name="T53" fmla="*/ 194 h 213"/>
                <a:gd name="T54" fmla="*/ 355 w 545"/>
                <a:gd name="T55" fmla="*/ 213 h 213"/>
                <a:gd name="T56" fmla="*/ 324 w 545"/>
                <a:gd name="T57" fmla="*/ 206 h 213"/>
                <a:gd name="T58" fmla="*/ 276 w 545"/>
                <a:gd name="T59" fmla="*/ 191 h 213"/>
                <a:gd name="T60" fmla="*/ 219 w 545"/>
                <a:gd name="T61" fmla="*/ 189 h 213"/>
                <a:gd name="T62" fmla="*/ 186 w 545"/>
                <a:gd name="T63" fmla="*/ 177 h 213"/>
                <a:gd name="T64" fmla="*/ 159 w 545"/>
                <a:gd name="T65" fmla="*/ 156 h 213"/>
                <a:gd name="T66" fmla="*/ 110 w 545"/>
                <a:gd name="T67" fmla="*/ 140 h 213"/>
                <a:gd name="T68" fmla="*/ 79 w 545"/>
                <a:gd name="T69" fmla="*/ 128 h 213"/>
                <a:gd name="T70" fmla="*/ 56 w 545"/>
                <a:gd name="T71" fmla="*/ 88 h 213"/>
                <a:gd name="T72" fmla="*/ 11 w 545"/>
                <a:gd name="T73" fmla="*/ 69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5" h="213">
                  <a:moveTo>
                    <a:pt x="0" y="55"/>
                  </a:moveTo>
                  <a:lnTo>
                    <a:pt x="15" y="52"/>
                  </a:lnTo>
                  <a:lnTo>
                    <a:pt x="37" y="34"/>
                  </a:lnTo>
                  <a:lnTo>
                    <a:pt x="57" y="25"/>
                  </a:lnTo>
                  <a:lnTo>
                    <a:pt x="74" y="31"/>
                  </a:lnTo>
                  <a:lnTo>
                    <a:pt x="90" y="31"/>
                  </a:lnTo>
                  <a:lnTo>
                    <a:pt x="106" y="41"/>
                  </a:lnTo>
                  <a:lnTo>
                    <a:pt x="122" y="42"/>
                  </a:lnTo>
                  <a:lnTo>
                    <a:pt x="148" y="46"/>
                  </a:lnTo>
                  <a:lnTo>
                    <a:pt x="156" y="33"/>
                  </a:lnTo>
                  <a:lnTo>
                    <a:pt x="143" y="21"/>
                  </a:lnTo>
                  <a:lnTo>
                    <a:pt x="148" y="0"/>
                  </a:lnTo>
                  <a:lnTo>
                    <a:pt x="170" y="8"/>
                  </a:lnTo>
                  <a:lnTo>
                    <a:pt x="186" y="10"/>
                  </a:lnTo>
                  <a:lnTo>
                    <a:pt x="207" y="16"/>
                  </a:lnTo>
                  <a:lnTo>
                    <a:pt x="219" y="31"/>
                  </a:lnTo>
                  <a:lnTo>
                    <a:pt x="246" y="39"/>
                  </a:lnTo>
                  <a:lnTo>
                    <a:pt x="259" y="35"/>
                  </a:lnTo>
                  <a:lnTo>
                    <a:pt x="278" y="33"/>
                  </a:lnTo>
                  <a:lnTo>
                    <a:pt x="296" y="35"/>
                  </a:lnTo>
                  <a:lnTo>
                    <a:pt x="317" y="45"/>
                  </a:lnTo>
                  <a:lnTo>
                    <a:pt x="333" y="55"/>
                  </a:lnTo>
                  <a:lnTo>
                    <a:pt x="348" y="55"/>
                  </a:lnTo>
                  <a:lnTo>
                    <a:pt x="370" y="59"/>
                  </a:lnTo>
                  <a:lnTo>
                    <a:pt x="381" y="53"/>
                  </a:lnTo>
                  <a:lnTo>
                    <a:pt x="400" y="50"/>
                  </a:lnTo>
                  <a:lnTo>
                    <a:pt x="415" y="36"/>
                  </a:lnTo>
                  <a:lnTo>
                    <a:pt x="426" y="38"/>
                  </a:lnTo>
                  <a:lnTo>
                    <a:pt x="439" y="45"/>
                  </a:lnTo>
                  <a:lnTo>
                    <a:pt x="456" y="43"/>
                  </a:lnTo>
                  <a:lnTo>
                    <a:pt x="458" y="59"/>
                  </a:lnTo>
                  <a:lnTo>
                    <a:pt x="459" y="79"/>
                  </a:lnTo>
                  <a:lnTo>
                    <a:pt x="468" y="87"/>
                  </a:lnTo>
                  <a:lnTo>
                    <a:pt x="476" y="84"/>
                  </a:lnTo>
                  <a:lnTo>
                    <a:pt x="494" y="88"/>
                  </a:lnTo>
                  <a:lnTo>
                    <a:pt x="502" y="80"/>
                  </a:lnTo>
                  <a:lnTo>
                    <a:pt x="519" y="87"/>
                  </a:lnTo>
                  <a:lnTo>
                    <a:pt x="542" y="101"/>
                  </a:lnTo>
                  <a:lnTo>
                    <a:pt x="545" y="108"/>
                  </a:lnTo>
                  <a:lnTo>
                    <a:pt x="530" y="106"/>
                  </a:lnTo>
                  <a:lnTo>
                    <a:pt x="508" y="109"/>
                  </a:lnTo>
                  <a:lnTo>
                    <a:pt x="500" y="114"/>
                  </a:lnTo>
                  <a:lnTo>
                    <a:pt x="496" y="128"/>
                  </a:lnTo>
                  <a:lnTo>
                    <a:pt x="475" y="136"/>
                  </a:lnTo>
                  <a:lnTo>
                    <a:pt x="464" y="147"/>
                  </a:lnTo>
                  <a:lnTo>
                    <a:pt x="445" y="143"/>
                  </a:lnTo>
                  <a:lnTo>
                    <a:pt x="435" y="141"/>
                  </a:lnTo>
                  <a:lnTo>
                    <a:pt x="433" y="154"/>
                  </a:lnTo>
                  <a:lnTo>
                    <a:pt x="443" y="162"/>
                  </a:lnTo>
                  <a:lnTo>
                    <a:pt x="449" y="168"/>
                  </a:lnTo>
                  <a:lnTo>
                    <a:pt x="441" y="175"/>
                  </a:lnTo>
                  <a:lnTo>
                    <a:pt x="434" y="186"/>
                  </a:lnTo>
                  <a:lnTo>
                    <a:pt x="418" y="194"/>
                  </a:lnTo>
                  <a:lnTo>
                    <a:pt x="393" y="194"/>
                  </a:lnTo>
                  <a:lnTo>
                    <a:pt x="370" y="202"/>
                  </a:lnTo>
                  <a:lnTo>
                    <a:pt x="355" y="213"/>
                  </a:lnTo>
                  <a:lnTo>
                    <a:pt x="345" y="206"/>
                  </a:lnTo>
                  <a:lnTo>
                    <a:pt x="324" y="206"/>
                  </a:lnTo>
                  <a:lnTo>
                    <a:pt x="294" y="194"/>
                  </a:lnTo>
                  <a:lnTo>
                    <a:pt x="276" y="191"/>
                  </a:lnTo>
                  <a:lnTo>
                    <a:pt x="255" y="194"/>
                  </a:lnTo>
                  <a:lnTo>
                    <a:pt x="219" y="189"/>
                  </a:lnTo>
                  <a:lnTo>
                    <a:pt x="201" y="189"/>
                  </a:lnTo>
                  <a:lnTo>
                    <a:pt x="186" y="177"/>
                  </a:lnTo>
                  <a:lnTo>
                    <a:pt x="170" y="158"/>
                  </a:lnTo>
                  <a:lnTo>
                    <a:pt x="159" y="156"/>
                  </a:lnTo>
                  <a:lnTo>
                    <a:pt x="133" y="143"/>
                  </a:lnTo>
                  <a:lnTo>
                    <a:pt x="110" y="140"/>
                  </a:lnTo>
                  <a:lnTo>
                    <a:pt x="89" y="137"/>
                  </a:lnTo>
                  <a:lnTo>
                    <a:pt x="79" y="128"/>
                  </a:lnTo>
                  <a:lnTo>
                    <a:pt x="75" y="104"/>
                  </a:lnTo>
                  <a:lnTo>
                    <a:pt x="56" y="88"/>
                  </a:lnTo>
                  <a:lnTo>
                    <a:pt x="29" y="80"/>
                  </a:lnTo>
                  <a:lnTo>
                    <a:pt x="11" y="69"/>
                  </a:lnTo>
                  <a:lnTo>
                    <a:pt x="0" y="55"/>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63" name="Freeform 126"/>
            <p:cNvSpPr>
              <a:spLocks/>
            </p:cNvSpPr>
            <p:nvPr/>
          </p:nvSpPr>
          <p:spPr bwMode="auto">
            <a:xfrm>
              <a:off x="5054600" y="4046542"/>
              <a:ext cx="306388" cy="541338"/>
            </a:xfrm>
            <a:custGeom>
              <a:avLst/>
              <a:gdLst>
                <a:gd name="T0" fmla="*/ 96 w 193"/>
                <a:gd name="T1" fmla="*/ 23 h 341"/>
                <a:gd name="T2" fmla="*/ 122 w 193"/>
                <a:gd name="T3" fmla="*/ 26 h 341"/>
                <a:gd name="T4" fmla="*/ 142 w 193"/>
                <a:gd name="T5" fmla="*/ 20 h 341"/>
                <a:gd name="T6" fmla="*/ 173 w 193"/>
                <a:gd name="T7" fmla="*/ 12 h 341"/>
                <a:gd name="T8" fmla="*/ 190 w 193"/>
                <a:gd name="T9" fmla="*/ 9 h 341"/>
                <a:gd name="T10" fmla="*/ 191 w 193"/>
                <a:gd name="T11" fmla="*/ 48 h 341"/>
                <a:gd name="T12" fmla="*/ 193 w 193"/>
                <a:gd name="T13" fmla="*/ 91 h 341"/>
                <a:gd name="T14" fmla="*/ 179 w 193"/>
                <a:gd name="T15" fmla="*/ 120 h 341"/>
                <a:gd name="T16" fmla="*/ 150 w 193"/>
                <a:gd name="T17" fmla="*/ 141 h 341"/>
                <a:gd name="T18" fmla="*/ 107 w 193"/>
                <a:gd name="T19" fmla="*/ 173 h 341"/>
                <a:gd name="T20" fmla="*/ 86 w 193"/>
                <a:gd name="T21" fmla="*/ 192 h 341"/>
                <a:gd name="T22" fmla="*/ 76 w 193"/>
                <a:gd name="T23" fmla="*/ 211 h 341"/>
                <a:gd name="T24" fmla="*/ 87 w 193"/>
                <a:gd name="T25" fmla="*/ 239 h 341"/>
                <a:gd name="T26" fmla="*/ 90 w 193"/>
                <a:gd name="T27" fmla="*/ 244 h 341"/>
                <a:gd name="T28" fmla="*/ 84 w 193"/>
                <a:gd name="T29" fmla="*/ 274 h 341"/>
                <a:gd name="T30" fmla="*/ 85 w 193"/>
                <a:gd name="T31" fmla="*/ 287 h 341"/>
                <a:gd name="T32" fmla="*/ 62 w 193"/>
                <a:gd name="T33" fmla="*/ 301 h 341"/>
                <a:gd name="T34" fmla="*/ 31 w 193"/>
                <a:gd name="T35" fmla="*/ 320 h 341"/>
                <a:gd name="T36" fmla="*/ 36 w 193"/>
                <a:gd name="T37" fmla="*/ 330 h 341"/>
                <a:gd name="T38" fmla="*/ 20 w 193"/>
                <a:gd name="T39" fmla="*/ 341 h 341"/>
                <a:gd name="T40" fmla="*/ 18 w 193"/>
                <a:gd name="T41" fmla="*/ 322 h 341"/>
                <a:gd name="T42" fmla="*/ 21 w 193"/>
                <a:gd name="T43" fmla="*/ 292 h 341"/>
                <a:gd name="T44" fmla="*/ 11 w 193"/>
                <a:gd name="T45" fmla="*/ 248 h 341"/>
                <a:gd name="T46" fmla="*/ 37 w 193"/>
                <a:gd name="T47" fmla="*/ 209 h 341"/>
                <a:gd name="T48" fmla="*/ 42 w 193"/>
                <a:gd name="T49" fmla="*/ 195 h 341"/>
                <a:gd name="T50" fmla="*/ 41 w 193"/>
                <a:gd name="T51" fmla="*/ 173 h 341"/>
                <a:gd name="T52" fmla="*/ 47 w 193"/>
                <a:gd name="T53" fmla="*/ 133 h 341"/>
                <a:gd name="T54" fmla="*/ 29 w 193"/>
                <a:gd name="T55" fmla="*/ 124 h 341"/>
                <a:gd name="T56" fmla="*/ 17 w 193"/>
                <a:gd name="T57" fmla="*/ 115 h 341"/>
                <a:gd name="T58" fmla="*/ 1 w 193"/>
                <a:gd name="T59" fmla="*/ 108 h 341"/>
                <a:gd name="T60" fmla="*/ 56 w 193"/>
                <a:gd name="T61" fmla="*/ 76 h 341"/>
                <a:gd name="T62" fmla="*/ 71 w 193"/>
                <a:gd name="T63" fmla="*/ 84 h 341"/>
                <a:gd name="T64" fmla="*/ 79 w 193"/>
                <a:gd name="T65" fmla="*/ 97 h 341"/>
                <a:gd name="T66" fmla="*/ 75 w 193"/>
                <a:gd name="T67" fmla="*/ 122 h 341"/>
                <a:gd name="T68" fmla="*/ 92 w 193"/>
                <a:gd name="T69" fmla="*/ 120 h 341"/>
                <a:gd name="T70" fmla="*/ 100 w 193"/>
                <a:gd name="T71" fmla="*/ 89 h 341"/>
                <a:gd name="T72" fmla="*/ 87 w 193"/>
                <a:gd name="T73" fmla="*/ 67 h 341"/>
                <a:gd name="T74" fmla="*/ 76 w 193"/>
                <a:gd name="T75" fmla="*/ 4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3" h="341">
                  <a:moveTo>
                    <a:pt x="82" y="25"/>
                  </a:moveTo>
                  <a:lnTo>
                    <a:pt x="96" y="23"/>
                  </a:lnTo>
                  <a:lnTo>
                    <a:pt x="117" y="29"/>
                  </a:lnTo>
                  <a:lnTo>
                    <a:pt x="122" y="26"/>
                  </a:lnTo>
                  <a:lnTo>
                    <a:pt x="135" y="26"/>
                  </a:lnTo>
                  <a:lnTo>
                    <a:pt x="142" y="20"/>
                  </a:lnTo>
                  <a:lnTo>
                    <a:pt x="153" y="20"/>
                  </a:lnTo>
                  <a:lnTo>
                    <a:pt x="173" y="12"/>
                  </a:lnTo>
                  <a:lnTo>
                    <a:pt x="188" y="0"/>
                  </a:lnTo>
                  <a:lnTo>
                    <a:pt x="190" y="9"/>
                  </a:lnTo>
                  <a:lnTo>
                    <a:pt x="189" y="30"/>
                  </a:lnTo>
                  <a:lnTo>
                    <a:pt x="191" y="48"/>
                  </a:lnTo>
                  <a:lnTo>
                    <a:pt x="190" y="81"/>
                  </a:lnTo>
                  <a:lnTo>
                    <a:pt x="193" y="91"/>
                  </a:lnTo>
                  <a:lnTo>
                    <a:pt x="186" y="105"/>
                  </a:lnTo>
                  <a:lnTo>
                    <a:pt x="179" y="120"/>
                  </a:lnTo>
                  <a:lnTo>
                    <a:pt x="166" y="133"/>
                  </a:lnTo>
                  <a:lnTo>
                    <a:pt x="150" y="141"/>
                  </a:lnTo>
                  <a:lnTo>
                    <a:pt x="129" y="151"/>
                  </a:lnTo>
                  <a:lnTo>
                    <a:pt x="107" y="173"/>
                  </a:lnTo>
                  <a:lnTo>
                    <a:pt x="100" y="177"/>
                  </a:lnTo>
                  <a:lnTo>
                    <a:pt x="86" y="192"/>
                  </a:lnTo>
                  <a:lnTo>
                    <a:pt x="79" y="196"/>
                  </a:lnTo>
                  <a:lnTo>
                    <a:pt x="76" y="211"/>
                  </a:lnTo>
                  <a:lnTo>
                    <a:pt x="84" y="227"/>
                  </a:lnTo>
                  <a:lnTo>
                    <a:pt x="87" y="239"/>
                  </a:lnTo>
                  <a:lnTo>
                    <a:pt x="86" y="245"/>
                  </a:lnTo>
                  <a:lnTo>
                    <a:pt x="90" y="244"/>
                  </a:lnTo>
                  <a:lnTo>
                    <a:pt x="88" y="265"/>
                  </a:lnTo>
                  <a:lnTo>
                    <a:pt x="84" y="274"/>
                  </a:lnTo>
                  <a:lnTo>
                    <a:pt x="88" y="278"/>
                  </a:lnTo>
                  <a:lnTo>
                    <a:pt x="85" y="287"/>
                  </a:lnTo>
                  <a:lnTo>
                    <a:pt x="77" y="294"/>
                  </a:lnTo>
                  <a:lnTo>
                    <a:pt x="62" y="301"/>
                  </a:lnTo>
                  <a:lnTo>
                    <a:pt x="39" y="312"/>
                  </a:lnTo>
                  <a:lnTo>
                    <a:pt x="31" y="320"/>
                  </a:lnTo>
                  <a:lnTo>
                    <a:pt x="32" y="329"/>
                  </a:lnTo>
                  <a:lnTo>
                    <a:pt x="36" y="330"/>
                  </a:lnTo>
                  <a:lnTo>
                    <a:pt x="34" y="341"/>
                  </a:lnTo>
                  <a:lnTo>
                    <a:pt x="20" y="341"/>
                  </a:lnTo>
                  <a:lnTo>
                    <a:pt x="20" y="332"/>
                  </a:lnTo>
                  <a:lnTo>
                    <a:pt x="18" y="322"/>
                  </a:lnTo>
                  <a:lnTo>
                    <a:pt x="17" y="315"/>
                  </a:lnTo>
                  <a:lnTo>
                    <a:pt x="21" y="292"/>
                  </a:lnTo>
                  <a:lnTo>
                    <a:pt x="18" y="277"/>
                  </a:lnTo>
                  <a:lnTo>
                    <a:pt x="11" y="248"/>
                  </a:lnTo>
                  <a:lnTo>
                    <a:pt x="31" y="224"/>
                  </a:lnTo>
                  <a:lnTo>
                    <a:pt x="37" y="209"/>
                  </a:lnTo>
                  <a:lnTo>
                    <a:pt x="39" y="207"/>
                  </a:lnTo>
                  <a:lnTo>
                    <a:pt x="42" y="195"/>
                  </a:lnTo>
                  <a:lnTo>
                    <a:pt x="40" y="189"/>
                  </a:lnTo>
                  <a:lnTo>
                    <a:pt x="41" y="173"/>
                  </a:lnTo>
                  <a:lnTo>
                    <a:pt x="46" y="159"/>
                  </a:lnTo>
                  <a:lnTo>
                    <a:pt x="47" y="133"/>
                  </a:lnTo>
                  <a:lnTo>
                    <a:pt x="38" y="126"/>
                  </a:lnTo>
                  <a:lnTo>
                    <a:pt x="29" y="124"/>
                  </a:lnTo>
                  <a:lnTo>
                    <a:pt x="25" y="119"/>
                  </a:lnTo>
                  <a:lnTo>
                    <a:pt x="17" y="115"/>
                  </a:lnTo>
                  <a:lnTo>
                    <a:pt x="2" y="115"/>
                  </a:lnTo>
                  <a:lnTo>
                    <a:pt x="1" y="108"/>
                  </a:lnTo>
                  <a:lnTo>
                    <a:pt x="0" y="93"/>
                  </a:lnTo>
                  <a:lnTo>
                    <a:pt x="56" y="76"/>
                  </a:lnTo>
                  <a:lnTo>
                    <a:pt x="66" y="86"/>
                  </a:lnTo>
                  <a:lnTo>
                    <a:pt x="71" y="84"/>
                  </a:lnTo>
                  <a:lnTo>
                    <a:pt x="78" y="89"/>
                  </a:lnTo>
                  <a:lnTo>
                    <a:pt x="79" y="97"/>
                  </a:lnTo>
                  <a:lnTo>
                    <a:pt x="74" y="107"/>
                  </a:lnTo>
                  <a:lnTo>
                    <a:pt x="75" y="122"/>
                  </a:lnTo>
                  <a:lnTo>
                    <a:pt x="86" y="134"/>
                  </a:lnTo>
                  <a:lnTo>
                    <a:pt x="92" y="120"/>
                  </a:lnTo>
                  <a:lnTo>
                    <a:pt x="100" y="116"/>
                  </a:lnTo>
                  <a:lnTo>
                    <a:pt x="100" y="89"/>
                  </a:lnTo>
                  <a:lnTo>
                    <a:pt x="93" y="74"/>
                  </a:lnTo>
                  <a:lnTo>
                    <a:pt x="87" y="67"/>
                  </a:lnTo>
                  <a:lnTo>
                    <a:pt x="80" y="68"/>
                  </a:lnTo>
                  <a:lnTo>
                    <a:pt x="76" y="40"/>
                  </a:lnTo>
                  <a:lnTo>
                    <a:pt x="82" y="25"/>
                  </a:lnTo>
                  <a:close/>
                </a:path>
              </a:pathLst>
            </a:custGeom>
            <a:solidFill>
              <a:schemeClr val="accent2">
                <a:lumMod val="40000"/>
                <a:lumOff val="60000"/>
              </a:schemeClr>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64" name="Freeform 127"/>
            <p:cNvSpPr>
              <a:spLocks/>
            </p:cNvSpPr>
            <p:nvPr/>
          </p:nvSpPr>
          <p:spPr bwMode="auto">
            <a:xfrm>
              <a:off x="3694112" y="2801941"/>
              <a:ext cx="347663" cy="422275"/>
            </a:xfrm>
            <a:custGeom>
              <a:avLst/>
              <a:gdLst>
                <a:gd name="T0" fmla="*/ 86 w 219"/>
                <a:gd name="T1" fmla="*/ 266 h 266"/>
                <a:gd name="T2" fmla="*/ 74 w 219"/>
                <a:gd name="T3" fmla="*/ 251 h 266"/>
                <a:gd name="T4" fmla="*/ 63 w 219"/>
                <a:gd name="T5" fmla="*/ 236 h 266"/>
                <a:gd name="T6" fmla="*/ 51 w 219"/>
                <a:gd name="T7" fmla="*/ 231 h 266"/>
                <a:gd name="T8" fmla="*/ 43 w 219"/>
                <a:gd name="T9" fmla="*/ 225 h 266"/>
                <a:gd name="T10" fmla="*/ 33 w 219"/>
                <a:gd name="T11" fmla="*/ 225 h 266"/>
                <a:gd name="T12" fmla="*/ 24 w 219"/>
                <a:gd name="T13" fmla="*/ 229 h 266"/>
                <a:gd name="T14" fmla="*/ 15 w 219"/>
                <a:gd name="T15" fmla="*/ 227 h 266"/>
                <a:gd name="T16" fmla="*/ 8 w 219"/>
                <a:gd name="T17" fmla="*/ 234 h 266"/>
                <a:gd name="T18" fmla="*/ 7 w 219"/>
                <a:gd name="T19" fmla="*/ 223 h 266"/>
                <a:gd name="T20" fmla="*/ 12 w 219"/>
                <a:gd name="T21" fmla="*/ 213 h 266"/>
                <a:gd name="T22" fmla="*/ 15 w 219"/>
                <a:gd name="T23" fmla="*/ 193 h 266"/>
                <a:gd name="T24" fmla="*/ 13 w 219"/>
                <a:gd name="T25" fmla="*/ 173 h 266"/>
                <a:gd name="T26" fmla="*/ 11 w 219"/>
                <a:gd name="T27" fmla="*/ 162 h 266"/>
                <a:gd name="T28" fmla="*/ 14 w 219"/>
                <a:gd name="T29" fmla="*/ 152 h 266"/>
                <a:gd name="T30" fmla="*/ 9 w 219"/>
                <a:gd name="T31" fmla="*/ 142 h 266"/>
                <a:gd name="T32" fmla="*/ 0 w 219"/>
                <a:gd name="T33" fmla="*/ 133 h 266"/>
                <a:gd name="T34" fmla="*/ 4 w 219"/>
                <a:gd name="T35" fmla="*/ 126 h 266"/>
                <a:gd name="T36" fmla="*/ 75 w 219"/>
                <a:gd name="T37" fmla="*/ 126 h 266"/>
                <a:gd name="T38" fmla="*/ 72 w 219"/>
                <a:gd name="T39" fmla="*/ 96 h 266"/>
                <a:gd name="T40" fmla="*/ 77 w 219"/>
                <a:gd name="T41" fmla="*/ 86 h 266"/>
                <a:gd name="T42" fmla="*/ 93 w 219"/>
                <a:gd name="T43" fmla="*/ 84 h 266"/>
                <a:gd name="T44" fmla="*/ 94 w 219"/>
                <a:gd name="T45" fmla="*/ 31 h 266"/>
                <a:gd name="T46" fmla="*/ 153 w 219"/>
                <a:gd name="T47" fmla="*/ 32 h 266"/>
                <a:gd name="T48" fmla="*/ 153 w 219"/>
                <a:gd name="T49" fmla="*/ 0 h 266"/>
                <a:gd name="T50" fmla="*/ 219 w 219"/>
                <a:gd name="T51" fmla="*/ 51 h 266"/>
                <a:gd name="T52" fmla="*/ 192 w 219"/>
                <a:gd name="T53" fmla="*/ 51 h 266"/>
                <a:gd name="T54" fmla="*/ 200 w 219"/>
                <a:gd name="T55" fmla="*/ 141 h 266"/>
                <a:gd name="T56" fmla="*/ 208 w 219"/>
                <a:gd name="T57" fmla="*/ 230 h 266"/>
                <a:gd name="T58" fmla="*/ 211 w 219"/>
                <a:gd name="T59" fmla="*/ 233 h 266"/>
                <a:gd name="T60" fmla="*/ 207 w 219"/>
                <a:gd name="T61" fmla="*/ 247 h 266"/>
                <a:gd name="T62" fmla="*/ 134 w 219"/>
                <a:gd name="T63" fmla="*/ 248 h 266"/>
                <a:gd name="T64" fmla="*/ 131 w 219"/>
                <a:gd name="T65" fmla="*/ 252 h 266"/>
                <a:gd name="T66" fmla="*/ 124 w 219"/>
                <a:gd name="T67" fmla="*/ 251 h 266"/>
                <a:gd name="T68" fmla="*/ 114 w 219"/>
                <a:gd name="T69" fmla="*/ 255 h 266"/>
                <a:gd name="T70" fmla="*/ 101 w 219"/>
                <a:gd name="T71" fmla="*/ 249 h 266"/>
                <a:gd name="T72" fmla="*/ 95 w 219"/>
                <a:gd name="T73" fmla="*/ 250 h 266"/>
                <a:gd name="T74" fmla="*/ 92 w 219"/>
                <a:gd name="T75" fmla="*/ 262 h 266"/>
                <a:gd name="T76" fmla="*/ 86 w 219"/>
                <a:gd name="T77"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66">
                  <a:moveTo>
                    <a:pt x="86" y="266"/>
                  </a:moveTo>
                  <a:lnTo>
                    <a:pt x="74" y="251"/>
                  </a:lnTo>
                  <a:lnTo>
                    <a:pt x="63" y="236"/>
                  </a:lnTo>
                  <a:lnTo>
                    <a:pt x="51" y="231"/>
                  </a:lnTo>
                  <a:lnTo>
                    <a:pt x="43" y="225"/>
                  </a:lnTo>
                  <a:lnTo>
                    <a:pt x="33" y="225"/>
                  </a:lnTo>
                  <a:lnTo>
                    <a:pt x="24" y="229"/>
                  </a:lnTo>
                  <a:lnTo>
                    <a:pt x="15" y="227"/>
                  </a:lnTo>
                  <a:lnTo>
                    <a:pt x="8" y="234"/>
                  </a:lnTo>
                  <a:lnTo>
                    <a:pt x="7" y="223"/>
                  </a:lnTo>
                  <a:lnTo>
                    <a:pt x="12" y="213"/>
                  </a:lnTo>
                  <a:lnTo>
                    <a:pt x="15" y="193"/>
                  </a:lnTo>
                  <a:lnTo>
                    <a:pt x="13" y="173"/>
                  </a:lnTo>
                  <a:lnTo>
                    <a:pt x="11" y="162"/>
                  </a:lnTo>
                  <a:lnTo>
                    <a:pt x="14" y="152"/>
                  </a:lnTo>
                  <a:lnTo>
                    <a:pt x="9" y="142"/>
                  </a:lnTo>
                  <a:lnTo>
                    <a:pt x="0" y="133"/>
                  </a:lnTo>
                  <a:lnTo>
                    <a:pt x="4" y="126"/>
                  </a:lnTo>
                  <a:lnTo>
                    <a:pt x="75" y="126"/>
                  </a:lnTo>
                  <a:lnTo>
                    <a:pt x="72" y="96"/>
                  </a:lnTo>
                  <a:lnTo>
                    <a:pt x="77" y="86"/>
                  </a:lnTo>
                  <a:lnTo>
                    <a:pt x="93" y="84"/>
                  </a:lnTo>
                  <a:lnTo>
                    <a:pt x="94" y="31"/>
                  </a:lnTo>
                  <a:lnTo>
                    <a:pt x="153" y="32"/>
                  </a:lnTo>
                  <a:lnTo>
                    <a:pt x="153" y="0"/>
                  </a:lnTo>
                  <a:lnTo>
                    <a:pt x="219" y="51"/>
                  </a:lnTo>
                  <a:lnTo>
                    <a:pt x="192" y="51"/>
                  </a:lnTo>
                  <a:lnTo>
                    <a:pt x="200" y="141"/>
                  </a:lnTo>
                  <a:lnTo>
                    <a:pt x="208" y="230"/>
                  </a:lnTo>
                  <a:lnTo>
                    <a:pt x="211" y="233"/>
                  </a:lnTo>
                  <a:lnTo>
                    <a:pt x="207" y="247"/>
                  </a:lnTo>
                  <a:lnTo>
                    <a:pt x="134" y="248"/>
                  </a:lnTo>
                  <a:lnTo>
                    <a:pt x="131" y="252"/>
                  </a:lnTo>
                  <a:lnTo>
                    <a:pt x="124" y="251"/>
                  </a:lnTo>
                  <a:lnTo>
                    <a:pt x="114" y="255"/>
                  </a:lnTo>
                  <a:lnTo>
                    <a:pt x="101" y="249"/>
                  </a:lnTo>
                  <a:lnTo>
                    <a:pt x="95" y="250"/>
                  </a:lnTo>
                  <a:lnTo>
                    <a:pt x="92" y="262"/>
                  </a:lnTo>
                  <a:lnTo>
                    <a:pt x="86" y="266"/>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65" name="Freeform 128"/>
            <p:cNvSpPr>
              <a:spLocks/>
            </p:cNvSpPr>
            <p:nvPr/>
          </p:nvSpPr>
          <p:spPr bwMode="auto">
            <a:xfrm>
              <a:off x="5127625" y="4010029"/>
              <a:ext cx="85725" cy="249238"/>
            </a:xfrm>
            <a:custGeom>
              <a:avLst/>
              <a:gdLst>
                <a:gd name="T0" fmla="*/ 36 w 54"/>
                <a:gd name="T1" fmla="*/ 48 h 157"/>
                <a:gd name="T2" fmla="*/ 30 w 54"/>
                <a:gd name="T3" fmla="*/ 63 h 157"/>
                <a:gd name="T4" fmla="*/ 34 w 54"/>
                <a:gd name="T5" fmla="*/ 91 h 157"/>
                <a:gd name="T6" fmla="*/ 41 w 54"/>
                <a:gd name="T7" fmla="*/ 90 h 157"/>
                <a:gd name="T8" fmla="*/ 47 w 54"/>
                <a:gd name="T9" fmla="*/ 97 h 157"/>
                <a:gd name="T10" fmla="*/ 54 w 54"/>
                <a:gd name="T11" fmla="*/ 112 h 157"/>
                <a:gd name="T12" fmla="*/ 54 w 54"/>
                <a:gd name="T13" fmla="*/ 139 h 157"/>
                <a:gd name="T14" fmla="*/ 46 w 54"/>
                <a:gd name="T15" fmla="*/ 143 h 157"/>
                <a:gd name="T16" fmla="*/ 40 w 54"/>
                <a:gd name="T17" fmla="*/ 157 h 157"/>
                <a:gd name="T18" fmla="*/ 29 w 54"/>
                <a:gd name="T19" fmla="*/ 145 h 157"/>
                <a:gd name="T20" fmla="*/ 28 w 54"/>
                <a:gd name="T21" fmla="*/ 130 h 157"/>
                <a:gd name="T22" fmla="*/ 33 w 54"/>
                <a:gd name="T23" fmla="*/ 120 h 157"/>
                <a:gd name="T24" fmla="*/ 32 w 54"/>
                <a:gd name="T25" fmla="*/ 112 h 157"/>
                <a:gd name="T26" fmla="*/ 25 w 54"/>
                <a:gd name="T27" fmla="*/ 107 h 157"/>
                <a:gd name="T28" fmla="*/ 20 w 54"/>
                <a:gd name="T29" fmla="*/ 109 h 157"/>
                <a:gd name="T30" fmla="*/ 10 w 54"/>
                <a:gd name="T31" fmla="*/ 99 h 157"/>
                <a:gd name="T32" fmla="*/ 0 w 54"/>
                <a:gd name="T33" fmla="*/ 93 h 157"/>
                <a:gd name="T34" fmla="*/ 6 w 54"/>
                <a:gd name="T35" fmla="*/ 74 h 157"/>
                <a:gd name="T36" fmla="*/ 12 w 54"/>
                <a:gd name="T37" fmla="*/ 67 h 157"/>
                <a:gd name="T38" fmla="*/ 9 w 54"/>
                <a:gd name="T39" fmla="*/ 50 h 157"/>
                <a:gd name="T40" fmla="*/ 13 w 54"/>
                <a:gd name="T41" fmla="*/ 33 h 157"/>
                <a:gd name="T42" fmla="*/ 17 w 54"/>
                <a:gd name="T43" fmla="*/ 27 h 157"/>
                <a:gd name="T44" fmla="*/ 13 w 54"/>
                <a:gd name="T45" fmla="*/ 10 h 157"/>
                <a:gd name="T46" fmla="*/ 4 w 54"/>
                <a:gd name="T47" fmla="*/ 0 h 157"/>
                <a:gd name="T48" fmla="*/ 22 w 54"/>
                <a:gd name="T49" fmla="*/ 4 h 157"/>
                <a:gd name="T50" fmla="*/ 25 w 54"/>
                <a:gd name="T51" fmla="*/ 10 h 157"/>
                <a:gd name="T52" fmla="*/ 32 w 54"/>
                <a:gd name="T53" fmla="*/ 20 h 157"/>
                <a:gd name="T54" fmla="*/ 36 w 54"/>
                <a:gd name="T55" fmla="*/ 4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57">
                  <a:moveTo>
                    <a:pt x="36" y="48"/>
                  </a:moveTo>
                  <a:lnTo>
                    <a:pt x="30" y="63"/>
                  </a:lnTo>
                  <a:lnTo>
                    <a:pt x="34" y="91"/>
                  </a:lnTo>
                  <a:lnTo>
                    <a:pt x="41" y="90"/>
                  </a:lnTo>
                  <a:lnTo>
                    <a:pt x="47" y="97"/>
                  </a:lnTo>
                  <a:lnTo>
                    <a:pt x="54" y="112"/>
                  </a:lnTo>
                  <a:lnTo>
                    <a:pt x="54" y="139"/>
                  </a:lnTo>
                  <a:lnTo>
                    <a:pt x="46" y="143"/>
                  </a:lnTo>
                  <a:lnTo>
                    <a:pt x="40" y="157"/>
                  </a:lnTo>
                  <a:lnTo>
                    <a:pt x="29" y="145"/>
                  </a:lnTo>
                  <a:lnTo>
                    <a:pt x="28" y="130"/>
                  </a:lnTo>
                  <a:lnTo>
                    <a:pt x="33" y="120"/>
                  </a:lnTo>
                  <a:lnTo>
                    <a:pt x="32" y="112"/>
                  </a:lnTo>
                  <a:lnTo>
                    <a:pt x="25" y="107"/>
                  </a:lnTo>
                  <a:lnTo>
                    <a:pt x="20" y="109"/>
                  </a:lnTo>
                  <a:lnTo>
                    <a:pt x="10" y="99"/>
                  </a:lnTo>
                  <a:lnTo>
                    <a:pt x="0" y="93"/>
                  </a:lnTo>
                  <a:lnTo>
                    <a:pt x="6" y="74"/>
                  </a:lnTo>
                  <a:lnTo>
                    <a:pt x="12" y="67"/>
                  </a:lnTo>
                  <a:lnTo>
                    <a:pt x="9" y="50"/>
                  </a:lnTo>
                  <a:lnTo>
                    <a:pt x="13" y="33"/>
                  </a:lnTo>
                  <a:lnTo>
                    <a:pt x="17" y="27"/>
                  </a:lnTo>
                  <a:lnTo>
                    <a:pt x="13" y="10"/>
                  </a:lnTo>
                  <a:lnTo>
                    <a:pt x="4" y="0"/>
                  </a:lnTo>
                  <a:lnTo>
                    <a:pt x="22" y="4"/>
                  </a:lnTo>
                  <a:lnTo>
                    <a:pt x="25" y="10"/>
                  </a:lnTo>
                  <a:lnTo>
                    <a:pt x="32" y="20"/>
                  </a:lnTo>
                  <a:lnTo>
                    <a:pt x="36" y="48"/>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66" name="Freeform 129"/>
            <p:cNvSpPr>
              <a:spLocks noEditPoints="1"/>
            </p:cNvSpPr>
            <p:nvPr/>
          </p:nvSpPr>
          <p:spPr bwMode="auto">
            <a:xfrm>
              <a:off x="7096125" y="3478217"/>
              <a:ext cx="557213" cy="201613"/>
            </a:xfrm>
            <a:custGeom>
              <a:avLst/>
              <a:gdLst>
                <a:gd name="T0" fmla="*/ 1401 w 1439"/>
                <a:gd name="T1" fmla="*/ 208 h 524"/>
                <a:gd name="T2" fmla="*/ 1346 w 1439"/>
                <a:gd name="T3" fmla="*/ 237 h 524"/>
                <a:gd name="T4" fmla="*/ 1281 w 1439"/>
                <a:gd name="T5" fmla="*/ 223 h 524"/>
                <a:gd name="T6" fmla="*/ 1194 w 1439"/>
                <a:gd name="T7" fmla="*/ 223 h 524"/>
                <a:gd name="T8" fmla="*/ 1171 w 1439"/>
                <a:gd name="T9" fmla="*/ 320 h 524"/>
                <a:gd name="T10" fmla="*/ 1143 w 1439"/>
                <a:gd name="T11" fmla="*/ 349 h 524"/>
                <a:gd name="T12" fmla="*/ 1107 w 1439"/>
                <a:gd name="T13" fmla="*/ 468 h 524"/>
                <a:gd name="T14" fmla="*/ 1045 w 1439"/>
                <a:gd name="T15" fmla="*/ 486 h 524"/>
                <a:gd name="T16" fmla="*/ 974 w 1439"/>
                <a:gd name="T17" fmla="*/ 462 h 524"/>
                <a:gd name="T18" fmla="*/ 938 w 1439"/>
                <a:gd name="T19" fmla="*/ 469 h 524"/>
                <a:gd name="T20" fmla="*/ 894 w 1439"/>
                <a:gd name="T21" fmla="*/ 512 h 524"/>
                <a:gd name="T22" fmla="*/ 846 w 1439"/>
                <a:gd name="T23" fmla="*/ 506 h 524"/>
                <a:gd name="T24" fmla="*/ 798 w 1439"/>
                <a:gd name="T25" fmla="*/ 524 h 524"/>
                <a:gd name="T26" fmla="*/ 746 w 1439"/>
                <a:gd name="T27" fmla="*/ 476 h 524"/>
                <a:gd name="T28" fmla="*/ 733 w 1439"/>
                <a:gd name="T29" fmla="*/ 419 h 524"/>
                <a:gd name="T30" fmla="*/ 788 w 1439"/>
                <a:gd name="T31" fmla="*/ 448 h 524"/>
                <a:gd name="T32" fmla="*/ 846 w 1439"/>
                <a:gd name="T33" fmla="*/ 432 h 524"/>
                <a:gd name="T34" fmla="*/ 860 w 1439"/>
                <a:gd name="T35" fmla="*/ 360 h 524"/>
                <a:gd name="T36" fmla="*/ 892 w 1439"/>
                <a:gd name="T37" fmla="*/ 344 h 524"/>
                <a:gd name="T38" fmla="*/ 981 w 1439"/>
                <a:gd name="T39" fmla="*/ 325 h 524"/>
                <a:gd name="T40" fmla="*/ 1033 w 1439"/>
                <a:gd name="T41" fmla="*/ 258 h 524"/>
                <a:gd name="T42" fmla="*/ 1068 w 1439"/>
                <a:gd name="T43" fmla="*/ 204 h 524"/>
                <a:gd name="T44" fmla="*/ 1104 w 1439"/>
                <a:gd name="T45" fmla="*/ 248 h 524"/>
                <a:gd name="T46" fmla="*/ 1119 w 1439"/>
                <a:gd name="T47" fmla="*/ 219 h 524"/>
                <a:gd name="T48" fmla="*/ 1155 w 1439"/>
                <a:gd name="T49" fmla="*/ 222 h 524"/>
                <a:gd name="T50" fmla="*/ 1157 w 1439"/>
                <a:gd name="T51" fmla="*/ 168 h 524"/>
                <a:gd name="T52" fmla="*/ 1159 w 1439"/>
                <a:gd name="T53" fmla="*/ 126 h 524"/>
                <a:gd name="T54" fmla="*/ 1214 w 1439"/>
                <a:gd name="T55" fmla="*/ 66 h 524"/>
                <a:gd name="T56" fmla="*/ 1248 w 1439"/>
                <a:gd name="T57" fmla="*/ 0 h 524"/>
                <a:gd name="T58" fmla="*/ 1278 w 1439"/>
                <a:gd name="T59" fmla="*/ 0 h 524"/>
                <a:gd name="T60" fmla="*/ 1319 w 1439"/>
                <a:gd name="T61" fmla="*/ 43 h 524"/>
                <a:gd name="T62" fmla="*/ 1325 w 1439"/>
                <a:gd name="T63" fmla="*/ 80 h 524"/>
                <a:gd name="T64" fmla="*/ 1375 w 1439"/>
                <a:gd name="T65" fmla="*/ 103 h 524"/>
                <a:gd name="T66" fmla="*/ 1439 w 1439"/>
                <a:gd name="T67" fmla="*/ 129 h 524"/>
                <a:gd name="T68" fmla="*/ 1436 w 1439"/>
                <a:gd name="T69" fmla="*/ 162 h 524"/>
                <a:gd name="T70" fmla="*/ 1385 w 1439"/>
                <a:gd name="T71" fmla="*/ 167 h 524"/>
                <a:gd name="T72" fmla="*/ 1401 w 1439"/>
                <a:gd name="T73" fmla="*/ 208 h 524"/>
                <a:gd name="T74" fmla="*/ 75 w 1439"/>
                <a:gd name="T75" fmla="*/ 61 h 524"/>
                <a:gd name="T76" fmla="*/ 83 w 1439"/>
                <a:gd name="T77" fmla="*/ 105 h 524"/>
                <a:gd name="T78" fmla="*/ 133 w 1439"/>
                <a:gd name="T79" fmla="*/ 95 h 524"/>
                <a:gd name="T80" fmla="*/ 155 w 1439"/>
                <a:gd name="T81" fmla="*/ 60 h 524"/>
                <a:gd name="T82" fmla="*/ 173 w 1439"/>
                <a:gd name="T83" fmla="*/ 68 h 524"/>
                <a:gd name="T84" fmla="*/ 220 w 1439"/>
                <a:gd name="T85" fmla="*/ 119 h 524"/>
                <a:gd name="T86" fmla="*/ 254 w 1439"/>
                <a:gd name="T87" fmla="*/ 176 h 524"/>
                <a:gd name="T88" fmla="*/ 260 w 1439"/>
                <a:gd name="T89" fmla="*/ 233 h 524"/>
                <a:gd name="T90" fmla="*/ 253 w 1439"/>
                <a:gd name="T91" fmla="*/ 272 h 524"/>
                <a:gd name="T92" fmla="*/ 261 w 1439"/>
                <a:gd name="T93" fmla="*/ 301 h 524"/>
                <a:gd name="T94" fmla="*/ 268 w 1439"/>
                <a:gd name="T95" fmla="*/ 352 h 524"/>
                <a:gd name="T96" fmla="*/ 295 w 1439"/>
                <a:gd name="T97" fmla="*/ 375 h 524"/>
                <a:gd name="T98" fmla="*/ 326 w 1439"/>
                <a:gd name="T99" fmla="*/ 451 h 524"/>
                <a:gd name="T100" fmla="*/ 325 w 1439"/>
                <a:gd name="T101" fmla="*/ 479 h 524"/>
                <a:gd name="T102" fmla="*/ 271 w 1439"/>
                <a:gd name="T103" fmla="*/ 485 h 524"/>
                <a:gd name="T104" fmla="*/ 199 w 1439"/>
                <a:gd name="T105" fmla="*/ 422 h 524"/>
                <a:gd name="T106" fmla="*/ 109 w 1439"/>
                <a:gd name="T107" fmla="*/ 354 h 524"/>
                <a:gd name="T108" fmla="*/ 99 w 1439"/>
                <a:gd name="T109" fmla="*/ 311 h 524"/>
                <a:gd name="T110" fmla="*/ 54 w 1439"/>
                <a:gd name="T111" fmla="*/ 254 h 524"/>
                <a:gd name="T112" fmla="*/ 42 w 1439"/>
                <a:gd name="T113" fmla="*/ 184 h 524"/>
                <a:gd name="T114" fmla="*/ 13 w 1439"/>
                <a:gd name="T115" fmla="*/ 137 h 524"/>
                <a:gd name="T116" fmla="*/ 18 w 1439"/>
                <a:gd name="T117" fmla="*/ 75 h 524"/>
                <a:gd name="T118" fmla="*/ 0 w 1439"/>
                <a:gd name="T119" fmla="*/ 39 h 524"/>
                <a:gd name="T120" fmla="*/ 12 w 1439"/>
                <a:gd name="T121" fmla="*/ 24 h 524"/>
                <a:gd name="T122" fmla="*/ 75 w 1439"/>
                <a:gd name="T123" fmla="*/ 6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39" h="524">
                  <a:moveTo>
                    <a:pt x="1401" y="208"/>
                  </a:moveTo>
                  <a:lnTo>
                    <a:pt x="1346" y="237"/>
                  </a:lnTo>
                  <a:lnTo>
                    <a:pt x="1281" y="223"/>
                  </a:lnTo>
                  <a:lnTo>
                    <a:pt x="1194" y="223"/>
                  </a:lnTo>
                  <a:lnTo>
                    <a:pt x="1171" y="320"/>
                  </a:lnTo>
                  <a:lnTo>
                    <a:pt x="1143" y="349"/>
                  </a:lnTo>
                  <a:lnTo>
                    <a:pt x="1107" y="468"/>
                  </a:lnTo>
                  <a:lnTo>
                    <a:pt x="1045" y="486"/>
                  </a:lnTo>
                  <a:lnTo>
                    <a:pt x="974" y="462"/>
                  </a:lnTo>
                  <a:lnTo>
                    <a:pt x="938" y="469"/>
                  </a:lnTo>
                  <a:lnTo>
                    <a:pt x="894" y="512"/>
                  </a:lnTo>
                  <a:lnTo>
                    <a:pt x="846" y="506"/>
                  </a:lnTo>
                  <a:lnTo>
                    <a:pt x="798" y="524"/>
                  </a:lnTo>
                  <a:lnTo>
                    <a:pt x="746" y="476"/>
                  </a:lnTo>
                  <a:lnTo>
                    <a:pt x="733" y="419"/>
                  </a:lnTo>
                  <a:lnTo>
                    <a:pt x="788" y="448"/>
                  </a:lnTo>
                  <a:lnTo>
                    <a:pt x="846" y="432"/>
                  </a:lnTo>
                  <a:lnTo>
                    <a:pt x="860" y="360"/>
                  </a:lnTo>
                  <a:lnTo>
                    <a:pt x="892" y="344"/>
                  </a:lnTo>
                  <a:lnTo>
                    <a:pt x="981" y="325"/>
                  </a:lnTo>
                  <a:lnTo>
                    <a:pt x="1033" y="258"/>
                  </a:lnTo>
                  <a:lnTo>
                    <a:pt x="1068" y="204"/>
                  </a:lnTo>
                  <a:lnTo>
                    <a:pt x="1104" y="248"/>
                  </a:lnTo>
                  <a:lnTo>
                    <a:pt x="1119" y="219"/>
                  </a:lnTo>
                  <a:lnTo>
                    <a:pt x="1155" y="222"/>
                  </a:lnTo>
                  <a:lnTo>
                    <a:pt x="1157" y="168"/>
                  </a:lnTo>
                  <a:lnTo>
                    <a:pt x="1159" y="126"/>
                  </a:lnTo>
                  <a:lnTo>
                    <a:pt x="1214" y="66"/>
                  </a:lnTo>
                  <a:lnTo>
                    <a:pt x="1248" y="0"/>
                  </a:lnTo>
                  <a:lnTo>
                    <a:pt x="1278" y="0"/>
                  </a:lnTo>
                  <a:lnTo>
                    <a:pt x="1319" y="43"/>
                  </a:lnTo>
                  <a:lnTo>
                    <a:pt x="1325" y="80"/>
                  </a:lnTo>
                  <a:lnTo>
                    <a:pt x="1375" y="103"/>
                  </a:lnTo>
                  <a:lnTo>
                    <a:pt x="1439" y="129"/>
                  </a:lnTo>
                  <a:lnTo>
                    <a:pt x="1436" y="162"/>
                  </a:lnTo>
                  <a:lnTo>
                    <a:pt x="1385" y="167"/>
                  </a:lnTo>
                  <a:lnTo>
                    <a:pt x="1401" y="208"/>
                  </a:lnTo>
                  <a:moveTo>
                    <a:pt x="75" y="61"/>
                  </a:moveTo>
                  <a:lnTo>
                    <a:pt x="83" y="105"/>
                  </a:lnTo>
                  <a:lnTo>
                    <a:pt x="133" y="95"/>
                  </a:lnTo>
                  <a:lnTo>
                    <a:pt x="155" y="60"/>
                  </a:lnTo>
                  <a:lnTo>
                    <a:pt x="173" y="68"/>
                  </a:lnTo>
                  <a:lnTo>
                    <a:pt x="220" y="119"/>
                  </a:lnTo>
                  <a:lnTo>
                    <a:pt x="254" y="176"/>
                  </a:lnTo>
                  <a:lnTo>
                    <a:pt x="260" y="233"/>
                  </a:lnTo>
                  <a:lnTo>
                    <a:pt x="253" y="272"/>
                  </a:lnTo>
                  <a:lnTo>
                    <a:pt x="261" y="301"/>
                  </a:lnTo>
                  <a:lnTo>
                    <a:pt x="268" y="352"/>
                  </a:lnTo>
                  <a:lnTo>
                    <a:pt x="295" y="375"/>
                  </a:lnTo>
                  <a:lnTo>
                    <a:pt x="326" y="451"/>
                  </a:lnTo>
                  <a:lnTo>
                    <a:pt x="325" y="479"/>
                  </a:lnTo>
                  <a:lnTo>
                    <a:pt x="271" y="485"/>
                  </a:lnTo>
                  <a:lnTo>
                    <a:pt x="199" y="422"/>
                  </a:lnTo>
                  <a:lnTo>
                    <a:pt x="109" y="354"/>
                  </a:lnTo>
                  <a:lnTo>
                    <a:pt x="99" y="311"/>
                  </a:lnTo>
                  <a:lnTo>
                    <a:pt x="54" y="254"/>
                  </a:lnTo>
                  <a:lnTo>
                    <a:pt x="42" y="184"/>
                  </a:lnTo>
                  <a:lnTo>
                    <a:pt x="13" y="137"/>
                  </a:lnTo>
                  <a:lnTo>
                    <a:pt x="18" y="75"/>
                  </a:lnTo>
                  <a:lnTo>
                    <a:pt x="0" y="39"/>
                  </a:lnTo>
                  <a:lnTo>
                    <a:pt x="12" y="24"/>
                  </a:lnTo>
                  <a:lnTo>
                    <a:pt x="75" y="61"/>
                  </a:lnTo>
                </a:path>
              </a:pathLst>
            </a:custGeom>
            <a:solidFill>
              <a:srgbClr val="4F81BD"/>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67" name="Freeform 130"/>
            <p:cNvSpPr>
              <a:spLocks/>
            </p:cNvSpPr>
            <p:nvPr/>
          </p:nvSpPr>
          <p:spPr bwMode="auto">
            <a:xfrm>
              <a:off x="4519612" y="4264029"/>
              <a:ext cx="384175" cy="400050"/>
            </a:xfrm>
            <a:custGeom>
              <a:avLst/>
              <a:gdLst>
                <a:gd name="T0" fmla="*/ 76 w 242"/>
                <a:gd name="T1" fmla="*/ 242 h 252"/>
                <a:gd name="T2" fmla="*/ 64 w 242"/>
                <a:gd name="T3" fmla="*/ 226 h 252"/>
                <a:gd name="T4" fmla="*/ 58 w 242"/>
                <a:gd name="T5" fmla="*/ 211 h 252"/>
                <a:gd name="T6" fmla="*/ 54 w 242"/>
                <a:gd name="T7" fmla="*/ 191 h 252"/>
                <a:gd name="T8" fmla="*/ 50 w 242"/>
                <a:gd name="T9" fmla="*/ 176 h 252"/>
                <a:gd name="T10" fmla="*/ 45 w 242"/>
                <a:gd name="T11" fmla="*/ 144 h 252"/>
                <a:gd name="T12" fmla="*/ 46 w 242"/>
                <a:gd name="T13" fmla="*/ 119 h 252"/>
                <a:gd name="T14" fmla="*/ 44 w 242"/>
                <a:gd name="T15" fmla="*/ 108 h 252"/>
                <a:gd name="T16" fmla="*/ 37 w 242"/>
                <a:gd name="T17" fmla="*/ 99 h 252"/>
                <a:gd name="T18" fmla="*/ 28 w 242"/>
                <a:gd name="T19" fmla="*/ 82 h 252"/>
                <a:gd name="T20" fmla="*/ 19 w 242"/>
                <a:gd name="T21" fmla="*/ 57 h 252"/>
                <a:gd name="T22" fmla="*/ 15 w 242"/>
                <a:gd name="T23" fmla="*/ 44 h 252"/>
                <a:gd name="T24" fmla="*/ 1 w 242"/>
                <a:gd name="T25" fmla="*/ 24 h 252"/>
                <a:gd name="T26" fmla="*/ 0 w 242"/>
                <a:gd name="T27" fmla="*/ 8 h 252"/>
                <a:gd name="T28" fmla="*/ 9 w 242"/>
                <a:gd name="T29" fmla="*/ 4 h 252"/>
                <a:gd name="T30" fmla="*/ 20 w 242"/>
                <a:gd name="T31" fmla="*/ 0 h 252"/>
                <a:gd name="T32" fmla="*/ 32 w 242"/>
                <a:gd name="T33" fmla="*/ 1 h 252"/>
                <a:gd name="T34" fmla="*/ 42 w 242"/>
                <a:gd name="T35" fmla="*/ 10 h 252"/>
                <a:gd name="T36" fmla="*/ 45 w 242"/>
                <a:gd name="T37" fmla="*/ 9 h 252"/>
                <a:gd name="T38" fmla="*/ 119 w 242"/>
                <a:gd name="T39" fmla="*/ 8 h 252"/>
                <a:gd name="T40" fmla="*/ 131 w 242"/>
                <a:gd name="T41" fmla="*/ 18 h 252"/>
                <a:gd name="T42" fmla="*/ 175 w 242"/>
                <a:gd name="T43" fmla="*/ 21 h 252"/>
                <a:gd name="T44" fmla="*/ 208 w 242"/>
                <a:gd name="T45" fmla="*/ 13 h 252"/>
                <a:gd name="T46" fmla="*/ 223 w 242"/>
                <a:gd name="T47" fmla="*/ 8 h 252"/>
                <a:gd name="T48" fmla="*/ 235 w 242"/>
                <a:gd name="T49" fmla="*/ 9 h 252"/>
                <a:gd name="T50" fmla="*/ 242 w 242"/>
                <a:gd name="T51" fmla="*/ 14 h 252"/>
                <a:gd name="T52" fmla="*/ 242 w 242"/>
                <a:gd name="T53" fmla="*/ 15 h 252"/>
                <a:gd name="T54" fmla="*/ 232 w 242"/>
                <a:gd name="T55" fmla="*/ 20 h 252"/>
                <a:gd name="T56" fmla="*/ 226 w 242"/>
                <a:gd name="T57" fmla="*/ 20 h 252"/>
                <a:gd name="T58" fmla="*/ 214 w 242"/>
                <a:gd name="T59" fmla="*/ 28 h 252"/>
                <a:gd name="T60" fmla="*/ 208 w 242"/>
                <a:gd name="T61" fmla="*/ 20 h 252"/>
                <a:gd name="T62" fmla="*/ 179 w 242"/>
                <a:gd name="T63" fmla="*/ 27 h 252"/>
                <a:gd name="T64" fmla="*/ 166 w 242"/>
                <a:gd name="T65" fmla="*/ 28 h 252"/>
                <a:gd name="T66" fmla="*/ 163 w 242"/>
                <a:gd name="T67" fmla="*/ 102 h 252"/>
                <a:gd name="T68" fmla="*/ 145 w 242"/>
                <a:gd name="T69" fmla="*/ 102 h 252"/>
                <a:gd name="T70" fmla="*/ 143 w 242"/>
                <a:gd name="T71" fmla="*/ 163 h 252"/>
                <a:gd name="T72" fmla="*/ 139 w 242"/>
                <a:gd name="T73" fmla="*/ 240 h 252"/>
                <a:gd name="T74" fmla="*/ 123 w 242"/>
                <a:gd name="T75" fmla="*/ 250 h 252"/>
                <a:gd name="T76" fmla="*/ 114 w 242"/>
                <a:gd name="T77" fmla="*/ 252 h 252"/>
                <a:gd name="T78" fmla="*/ 103 w 242"/>
                <a:gd name="T79" fmla="*/ 248 h 252"/>
                <a:gd name="T80" fmla="*/ 95 w 242"/>
                <a:gd name="T81" fmla="*/ 246 h 252"/>
                <a:gd name="T82" fmla="*/ 92 w 242"/>
                <a:gd name="T83" fmla="*/ 238 h 252"/>
                <a:gd name="T84" fmla="*/ 85 w 242"/>
                <a:gd name="T85" fmla="*/ 232 h 252"/>
                <a:gd name="T86" fmla="*/ 76 w 242"/>
                <a:gd name="T87" fmla="*/ 24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2" h="252">
                  <a:moveTo>
                    <a:pt x="76" y="242"/>
                  </a:moveTo>
                  <a:lnTo>
                    <a:pt x="64" y="226"/>
                  </a:lnTo>
                  <a:lnTo>
                    <a:pt x="58" y="211"/>
                  </a:lnTo>
                  <a:lnTo>
                    <a:pt x="54" y="191"/>
                  </a:lnTo>
                  <a:lnTo>
                    <a:pt x="50" y="176"/>
                  </a:lnTo>
                  <a:lnTo>
                    <a:pt x="45" y="144"/>
                  </a:lnTo>
                  <a:lnTo>
                    <a:pt x="46" y="119"/>
                  </a:lnTo>
                  <a:lnTo>
                    <a:pt x="44" y="108"/>
                  </a:lnTo>
                  <a:lnTo>
                    <a:pt x="37" y="99"/>
                  </a:lnTo>
                  <a:lnTo>
                    <a:pt x="28" y="82"/>
                  </a:lnTo>
                  <a:lnTo>
                    <a:pt x="19" y="57"/>
                  </a:lnTo>
                  <a:lnTo>
                    <a:pt x="15" y="44"/>
                  </a:lnTo>
                  <a:lnTo>
                    <a:pt x="1" y="24"/>
                  </a:lnTo>
                  <a:lnTo>
                    <a:pt x="0" y="8"/>
                  </a:lnTo>
                  <a:lnTo>
                    <a:pt x="9" y="4"/>
                  </a:lnTo>
                  <a:lnTo>
                    <a:pt x="20" y="0"/>
                  </a:lnTo>
                  <a:lnTo>
                    <a:pt x="32" y="1"/>
                  </a:lnTo>
                  <a:lnTo>
                    <a:pt x="42" y="10"/>
                  </a:lnTo>
                  <a:lnTo>
                    <a:pt x="45" y="9"/>
                  </a:lnTo>
                  <a:lnTo>
                    <a:pt x="119" y="8"/>
                  </a:lnTo>
                  <a:lnTo>
                    <a:pt x="131" y="18"/>
                  </a:lnTo>
                  <a:lnTo>
                    <a:pt x="175" y="21"/>
                  </a:lnTo>
                  <a:lnTo>
                    <a:pt x="208" y="13"/>
                  </a:lnTo>
                  <a:lnTo>
                    <a:pt x="223" y="8"/>
                  </a:lnTo>
                  <a:lnTo>
                    <a:pt x="235" y="9"/>
                  </a:lnTo>
                  <a:lnTo>
                    <a:pt x="242" y="14"/>
                  </a:lnTo>
                  <a:lnTo>
                    <a:pt x="242" y="15"/>
                  </a:lnTo>
                  <a:lnTo>
                    <a:pt x="232" y="20"/>
                  </a:lnTo>
                  <a:lnTo>
                    <a:pt x="226" y="20"/>
                  </a:lnTo>
                  <a:lnTo>
                    <a:pt x="214" y="28"/>
                  </a:lnTo>
                  <a:lnTo>
                    <a:pt x="208" y="20"/>
                  </a:lnTo>
                  <a:lnTo>
                    <a:pt x="179" y="27"/>
                  </a:lnTo>
                  <a:lnTo>
                    <a:pt x="166" y="28"/>
                  </a:lnTo>
                  <a:lnTo>
                    <a:pt x="163" y="102"/>
                  </a:lnTo>
                  <a:lnTo>
                    <a:pt x="145" y="102"/>
                  </a:lnTo>
                  <a:lnTo>
                    <a:pt x="143" y="163"/>
                  </a:lnTo>
                  <a:lnTo>
                    <a:pt x="139" y="240"/>
                  </a:lnTo>
                  <a:lnTo>
                    <a:pt x="123" y="250"/>
                  </a:lnTo>
                  <a:lnTo>
                    <a:pt x="114" y="252"/>
                  </a:lnTo>
                  <a:lnTo>
                    <a:pt x="103" y="248"/>
                  </a:lnTo>
                  <a:lnTo>
                    <a:pt x="95" y="246"/>
                  </a:lnTo>
                  <a:lnTo>
                    <a:pt x="92" y="238"/>
                  </a:lnTo>
                  <a:lnTo>
                    <a:pt x="85" y="232"/>
                  </a:lnTo>
                  <a:lnTo>
                    <a:pt x="76" y="242"/>
                  </a:lnTo>
                  <a:close/>
                </a:path>
              </a:pathLst>
            </a:custGeom>
            <a:solidFill>
              <a:schemeClr val="accent1"/>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68" name="Freeform 131"/>
            <p:cNvSpPr>
              <a:spLocks/>
            </p:cNvSpPr>
            <p:nvPr/>
          </p:nvSpPr>
          <p:spPr bwMode="auto">
            <a:xfrm>
              <a:off x="8882062" y="4368804"/>
              <a:ext cx="68263" cy="76200"/>
            </a:xfrm>
            <a:custGeom>
              <a:avLst/>
              <a:gdLst>
                <a:gd name="T0" fmla="*/ 26 w 43"/>
                <a:gd name="T1" fmla="*/ 20 h 48"/>
                <a:gd name="T2" fmla="*/ 37 w 43"/>
                <a:gd name="T3" fmla="*/ 33 h 48"/>
                <a:gd name="T4" fmla="*/ 43 w 43"/>
                <a:gd name="T5" fmla="*/ 43 h 48"/>
                <a:gd name="T6" fmla="*/ 35 w 43"/>
                <a:gd name="T7" fmla="*/ 48 h 48"/>
                <a:gd name="T8" fmla="*/ 27 w 43"/>
                <a:gd name="T9" fmla="*/ 42 h 48"/>
                <a:gd name="T10" fmla="*/ 17 w 43"/>
                <a:gd name="T11" fmla="*/ 33 h 48"/>
                <a:gd name="T12" fmla="*/ 8 w 43"/>
                <a:gd name="T13" fmla="*/ 22 h 48"/>
                <a:gd name="T14" fmla="*/ 0 w 43"/>
                <a:gd name="T15" fmla="*/ 7 h 48"/>
                <a:gd name="T16" fmla="*/ 0 w 43"/>
                <a:gd name="T17" fmla="*/ 0 h 48"/>
                <a:gd name="T18" fmla="*/ 7 w 43"/>
                <a:gd name="T19" fmla="*/ 0 h 48"/>
                <a:gd name="T20" fmla="*/ 16 w 43"/>
                <a:gd name="T21" fmla="*/ 8 h 48"/>
                <a:gd name="T22" fmla="*/ 22 w 43"/>
                <a:gd name="T23" fmla="*/ 15 h 48"/>
                <a:gd name="T24" fmla="*/ 26 w 43"/>
                <a:gd name="T25"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48">
                  <a:moveTo>
                    <a:pt x="26" y="20"/>
                  </a:moveTo>
                  <a:lnTo>
                    <a:pt x="37" y="33"/>
                  </a:lnTo>
                  <a:lnTo>
                    <a:pt x="43" y="43"/>
                  </a:lnTo>
                  <a:lnTo>
                    <a:pt x="35" y="48"/>
                  </a:lnTo>
                  <a:lnTo>
                    <a:pt x="27" y="42"/>
                  </a:lnTo>
                  <a:lnTo>
                    <a:pt x="17" y="33"/>
                  </a:lnTo>
                  <a:lnTo>
                    <a:pt x="8" y="22"/>
                  </a:lnTo>
                  <a:lnTo>
                    <a:pt x="0" y="7"/>
                  </a:lnTo>
                  <a:lnTo>
                    <a:pt x="0" y="0"/>
                  </a:lnTo>
                  <a:lnTo>
                    <a:pt x="7" y="0"/>
                  </a:lnTo>
                  <a:lnTo>
                    <a:pt x="16" y="8"/>
                  </a:lnTo>
                  <a:lnTo>
                    <a:pt x="22" y="15"/>
                  </a:lnTo>
                  <a:lnTo>
                    <a:pt x="26" y="2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69" name="Freeform 132"/>
            <p:cNvSpPr>
              <a:spLocks/>
            </p:cNvSpPr>
            <p:nvPr/>
          </p:nvSpPr>
          <p:spPr bwMode="auto">
            <a:xfrm>
              <a:off x="4191000" y="2932116"/>
              <a:ext cx="446088" cy="388938"/>
            </a:xfrm>
            <a:custGeom>
              <a:avLst/>
              <a:gdLst>
                <a:gd name="T0" fmla="*/ 34 w 281"/>
                <a:gd name="T1" fmla="*/ 239 h 245"/>
                <a:gd name="T2" fmla="*/ 34 w 281"/>
                <a:gd name="T3" fmla="*/ 225 h 245"/>
                <a:gd name="T4" fmla="*/ 13 w 281"/>
                <a:gd name="T5" fmla="*/ 220 h 245"/>
                <a:gd name="T6" fmla="*/ 12 w 281"/>
                <a:gd name="T7" fmla="*/ 210 h 245"/>
                <a:gd name="T8" fmla="*/ 2 w 281"/>
                <a:gd name="T9" fmla="*/ 197 h 245"/>
                <a:gd name="T10" fmla="*/ 0 w 281"/>
                <a:gd name="T11" fmla="*/ 187 h 245"/>
                <a:gd name="T12" fmla="*/ 1 w 281"/>
                <a:gd name="T13" fmla="*/ 177 h 245"/>
                <a:gd name="T14" fmla="*/ 13 w 281"/>
                <a:gd name="T15" fmla="*/ 176 h 245"/>
                <a:gd name="T16" fmla="*/ 19 w 281"/>
                <a:gd name="T17" fmla="*/ 169 h 245"/>
                <a:gd name="T18" fmla="*/ 44 w 281"/>
                <a:gd name="T19" fmla="*/ 167 h 245"/>
                <a:gd name="T20" fmla="*/ 60 w 281"/>
                <a:gd name="T21" fmla="*/ 164 h 245"/>
                <a:gd name="T22" fmla="*/ 62 w 281"/>
                <a:gd name="T23" fmla="*/ 151 h 245"/>
                <a:gd name="T24" fmla="*/ 72 w 281"/>
                <a:gd name="T25" fmla="*/ 137 h 245"/>
                <a:gd name="T26" fmla="*/ 71 w 281"/>
                <a:gd name="T27" fmla="*/ 89 h 245"/>
                <a:gd name="T28" fmla="*/ 97 w 281"/>
                <a:gd name="T29" fmla="*/ 80 h 245"/>
                <a:gd name="T30" fmla="*/ 149 w 281"/>
                <a:gd name="T31" fmla="*/ 39 h 245"/>
                <a:gd name="T32" fmla="*/ 209 w 281"/>
                <a:gd name="T33" fmla="*/ 0 h 245"/>
                <a:gd name="T34" fmla="*/ 238 w 281"/>
                <a:gd name="T35" fmla="*/ 9 h 245"/>
                <a:gd name="T36" fmla="*/ 248 w 281"/>
                <a:gd name="T37" fmla="*/ 20 h 245"/>
                <a:gd name="T38" fmla="*/ 261 w 281"/>
                <a:gd name="T39" fmla="*/ 12 h 245"/>
                <a:gd name="T40" fmla="*/ 266 w 281"/>
                <a:gd name="T41" fmla="*/ 45 h 245"/>
                <a:gd name="T42" fmla="*/ 273 w 281"/>
                <a:gd name="T43" fmla="*/ 50 h 245"/>
                <a:gd name="T44" fmla="*/ 274 w 281"/>
                <a:gd name="T45" fmla="*/ 57 h 245"/>
                <a:gd name="T46" fmla="*/ 281 w 281"/>
                <a:gd name="T47" fmla="*/ 64 h 245"/>
                <a:gd name="T48" fmla="*/ 278 w 281"/>
                <a:gd name="T49" fmla="*/ 73 h 245"/>
                <a:gd name="T50" fmla="*/ 271 w 281"/>
                <a:gd name="T51" fmla="*/ 115 h 245"/>
                <a:gd name="T52" fmla="*/ 271 w 281"/>
                <a:gd name="T53" fmla="*/ 142 h 245"/>
                <a:gd name="T54" fmla="*/ 248 w 281"/>
                <a:gd name="T55" fmla="*/ 162 h 245"/>
                <a:gd name="T56" fmla="*/ 241 w 281"/>
                <a:gd name="T57" fmla="*/ 189 h 245"/>
                <a:gd name="T58" fmla="*/ 249 w 281"/>
                <a:gd name="T59" fmla="*/ 197 h 245"/>
                <a:gd name="T60" fmla="*/ 249 w 281"/>
                <a:gd name="T61" fmla="*/ 210 h 245"/>
                <a:gd name="T62" fmla="*/ 260 w 281"/>
                <a:gd name="T63" fmla="*/ 210 h 245"/>
                <a:gd name="T64" fmla="*/ 259 w 281"/>
                <a:gd name="T65" fmla="*/ 220 h 245"/>
                <a:gd name="T66" fmla="*/ 254 w 281"/>
                <a:gd name="T67" fmla="*/ 221 h 245"/>
                <a:gd name="T68" fmla="*/ 253 w 281"/>
                <a:gd name="T69" fmla="*/ 228 h 245"/>
                <a:gd name="T70" fmla="*/ 250 w 281"/>
                <a:gd name="T71" fmla="*/ 228 h 245"/>
                <a:gd name="T72" fmla="*/ 237 w 281"/>
                <a:gd name="T73" fmla="*/ 206 h 245"/>
                <a:gd name="T74" fmla="*/ 233 w 281"/>
                <a:gd name="T75" fmla="*/ 205 h 245"/>
                <a:gd name="T76" fmla="*/ 219 w 281"/>
                <a:gd name="T77" fmla="*/ 216 h 245"/>
                <a:gd name="T78" fmla="*/ 205 w 281"/>
                <a:gd name="T79" fmla="*/ 210 h 245"/>
                <a:gd name="T80" fmla="*/ 195 w 281"/>
                <a:gd name="T81" fmla="*/ 209 h 245"/>
                <a:gd name="T82" fmla="*/ 189 w 281"/>
                <a:gd name="T83" fmla="*/ 212 h 245"/>
                <a:gd name="T84" fmla="*/ 179 w 281"/>
                <a:gd name="T85" fmla="*/ 212 h 245"/>
                <a:gd name="T86" fmla="*/ 168 w 281"/>
                <a:gd name="T87" fmla="*/ 220 h 245"/>
                <a:gd name="T88" fmla="*/ 159 w 281"/>
                <a:gd name="T89" fmla="*/ 221 h 245"/>
                <a:gd name="T90" fmla="*/ 137 w 281"/>
                <a:gd name="T91" fmla="*/ 210 h 245"/>
                <a:gd name="T92" fmla="*/ 128 w 281"/>
                <a:gd name="T93" fmla="*/ 215 h 245"/>
                <a:gd name="T94" fmla="*/ 119 w 281"/>
                <a:gd name="T95" fmla="*/ 215 h 245"/>
                <a:gd name="T96" fmla="*/ 112 w 281"/>
                <a:gd name="T97" fmla="*/ 207 h 245"/>
                <a:gd name="T98" fmla="*/ 93 w 281"/>
                <a:gd name="T99" fmla="*/ 199 h 245"/>
                <a:gd name="T100" fmla="*/ 74 w 281"/>
                <a:gd name="T101" fmla="*/ 202 h 245"/>
                <a:gd name="T102" fmla="*/ 69 w 281"/>
                <a:gd name="T103" fmla="*/ 206 h 245"/>
                <a:gd name="T104" fmla="*/ 67 w 281"/>
                <a:gd name="T105" fmla="*/ 218 h 245"/>
                <a:gd name="T106" fmla="*/ 61 w 281"/>
                <a:gd name="T107" fmla="*/ 227 h 245"/>
                <a:gd name="T108" fmla="*/ 60 w 281"/>
                <a:gd name="T109" fmla="*/ 245 h 245"/>
                <a:gd name="T110" fmla="*/ 46 w 281"/>
                <a:gd name="T111" fmla="*/ 233 h 245"/>
                <a:gd name="T112" fmla="*/ 40 w 281"/>
                <a:gd name="T113" fmla="*/ 233 h 245"/>
                <a:gd name="T114" fmla="*/ 34 w 281"/>
                <a:gd name="T115" fmla="*/ 23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1" h="245">
                  <a:moveTo>
                    <a:pt x="34" y="239"/>
                  </a:moveTo>
                  <a:lnTo>
                    <a:pt x="34" y="225"/>
                  </a:lnTo>
                  <a:lnTo>
                    <a:pt x="13" y="220"/>
                  </a:lnTo>
                  <a:lnTo>
                    <a:pt x="12" y="210"/>
                  </a:lnTo>
                  <a:lnTo>
                    <a:pt x="2" y="197"/>
                  </a:lnTo>
                  <a:lnTo>
                    <a:pt x="0" y="187"/>
                  </a:lnTo>
                  <a:lnTo>
                    <a:pt x="1" y="177"/>
                  </a:lnTo>
                  <a:lnTo>
                    <a:pt x="13" y="176"/>
                  </a:lnTo>
                  <a:lnTo>
                    <a:pt x="19" y="169"/>
                  </a:lnTo>
                  <a:lnTo>
                    <a:pt x="44" y="167"/>
                  </a:lnTo>
                  <a:lnTo>
                    <a:pt x="60" y="164"/>
                  </a:lnTo>
                  <a:lnTo>
                    <a:pt x="62" y="151"/>
                  </a:lnTo>
                  <a:lnTo>
                    <a:pt x="72" y="137"/>
                  </a:lnTo>
                  <a:lnTo>
                    <a:pt x="71" y="89"/>
                  </a:lnTo>
                  <a:lnTo>
                    <a:pt x="97" y="80"/>
                  </a:lnTo>
                  <a:lnTo>
                    <a:pt x="149" y="39"/>
                  </a:lnTo>
                  <a:lnTo>
                    <a:pt x="209" y="0"/>
                  </a:lnTo>
                  <a:lnTo>
                    <a:pt x="238" y="9"/>
                  </a:lnTo>
                  <a:lnTo>
                    <a:pt x="248" y="20"/>
                  </a:lnTo>
                  <a:lnTo>
                    <a:pt x="261" y="12"/>
                  </a:lnTo>
                  <a:lnTo>
                    <a:pt x="266" y="45"/>
                  </a:lnTo>
                  <a:lnTo>
                    <a:pt x="273" y="50"/>
                  </a:lnTo>
                  <a:lnTo>
                    <a:pt x="274" y="57"/>
                  </a:lnTo>
                  <a:lnTo>
                    <a:pt x="281" y="64"/>
                  </a:lnTo>
                  <a:lnTo>
                    <a:pt x="278" y="73"/>
                  </a:lnTo>
                  <a:lnTo>
                    <a:pt x="271" y="115"/>
                  </a:lnTo>
                  <a:lnTo>
                    <a:pt x="271" y="142"/>
                  </a:lnTo>
                  <a:lnTo>
                    <a:pt x="248" y="162"/>
                  </a:lnTo>
                  <a:lnTo>
                    <a:pt x="241" y="189"/>
                  </a:lnTo>
                  <a:lnTo>
                    <a:pt x="249" y="197"/>
                  </a:lnTo>
                  <a:lnTo>
                    <a:pt x="249" y="210"/>
                  </a:lnTo>
                  <a:lnTo>
                    <a:pt x="260" y="210"/>
                  </a:lnTo>
                  <a:lnTo>
                    <a:pt x="259" y="220"/>
                  </a:lnTo>
                  <a:lnTo>
                    <a:pt x="254" y="221"/>
                  </a:lnTo>
                  <a:lnTo>
                    <a:pt x="253" y="228"/>
                  </a:lnTo>
                  <a:lnTo>
                    <a:pt x="250" y="228"/>
                  </a:lnTo>
                  <a:lnTo>
                    <a:pt x="237" y="206"/>
                  </a:lnTo>
                  <a:lnTo>
                    <a:pt x="233" y="205"/>
                  </a:lnTo>
                  <a:lnTo>
                    <a:pt x="219" y="216"/>
                  </a:lnTo>
                  <a:lnTo>
                    <a:pt x="205" y="210"/>
                  </a:lnTo>
                  <a:lnTo>
                    <a:pt x="195" y="209"/>
                  </a:lnTo>
                  <a:lnTo>
                    <a:pt x="189" y="212"/>
                  </a:lnTo>
                  <a:lnTo>
                    <a:pt x="179" y="212"/>
                  </a:lnTo>
                  <a:lnTo>
                    <a:pt x="168" y="220"/>
                  </a:lnTo>
                  <a:lnTo>
                    <a:pt x="159" y="221"/>
                  </a:lnTo>
                  <a:lnTo>
                    <a:pt x="137" y="210"/>
                  </a:lnTo>
                  <a:lnTo>
                    <a:pt x="128" y="215"/>
                  </a:lnTo>
                  <a:lnTo>
                    <a:pt x="119" y="215"/>
                  </a:lnTo>
                  <a:lnTo>
                    <a:pt x="112" y="207"/>
                  </a:lnTo>
                  <a:lnTo>
                    <a:pt x="93" y="199"/>
                  </a:lnTo>
                  <a:lnTo>
                    <a:pt x="74" y="202"/>
                  </a:lnTo>
                  <a:lnTo>
                    <a:pt x="69" y="206"/>
                  </a:lnTo>
                  <a:lnTo>
                    <a:pt x="67" y="218"/>
                  </a:lnTo>
                  <a:lnTo>
                    <a:pt x="61" y="227"/>
                  </a:lnTo>
                  <a:lnTo>
                    <a:pt x="60" y="245"/>
                  </a:lnTo>
                  <a:lnTo>
                    <a:pt x="46" y="233"/>
                  </a:lnTo>
                  <a:lnTo>
                    <a:pt x="40" y="233"/>
                  </a:lnTo>
                  <a:lnTo>
                    <a:pt x="34" y="239"/>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70" name="Freeform 133"/>
            <p:cNvSpPr>
              <a:spLocks/>
            </p:cNvSpPr>
            <p:nvPr/>
          </p:nvSpPr>
          <p:spPr bwMode="auto">
            <a:xfrm>
              <a:off x="4260850" y="3248029"/>
              <a:ext cx="342900" cy="317500"/>
            </a:xfrm>
            <a:custGeom>
              <a:avLst/>
              <a:gdLst>
                <a:gd name="T0" fmla="*/ 106 w 216"/>
                <a:gd name="T1" fmla="*/ 189 h 200"/>
                <a:gd name="T2" fmla="*/ 87 w 216"/>
                <a:gd name="T3" fmla="*/ 197 h 200"/>
                <a:gd name="T4" fmla="*/ 80 w 216"/>
                <a:gd name="T5" fmla="*/ 196 h 200"/>
                <a:gd name="T6" fmla="*/ 73 w 216"/>
                <a:gd name="T7" fmla="*/ 200 h 200"/>
                <a:gd name="T8" fmla="*/ 59 w 216"/>
                <a:gd name="T9" fmla="*/ 200 h 200"/>
                <a:gd name="T10" fmla="*/ 49 w 216"/>
                <a:gd name="T11" fmla="*/ 187 h 200"/>
                <a:gd name="T12" fmla="*/ 43 w 216"/>
                <a:gd name="T13" fmla="*/ 172 h 200"/>
                <a:gd name="T14" fmla="*/ 30 w 216"/>
                <a:gd name="T15" fmla="*/ 158 h 200"/>
                <a:gd name="T16" fmla="*/ 16 w 216"/>
                <a:gd name="T17" fmla="*/ 158 h 200"/>
                <a:gd name="T18" fmla="*/ 0 w 216"/>
                <a:gd name="T19" fmla="*/ 158 h 200"/>
                <a:gd name="T20" fmla="*/ 1 w 216"/>
                <a:gd name="T21" fmla="*/ 125 h 200"/>
                <a:gd name="T22" fmla="*/ 0 w 216"/>
                <a:gd name="T23" fmla="*/ 112 h 200"/>
                <a:gd name="T24" fmla="*/ 4 w 216"/>
                <a:gd name="T25" fmla="*/ 98 h 200"/>
                <a:gd name="T26" fmla="*/ 9 w 216"/>
                <a:gd name="T27" fmla="*/ 92 h 200"/>
                <a:gd name="T28" fmla="*/ 18 w 216"/>
                <a:gd name="T29" fmla="*/ 79 h 200"/>
                <a:gd name="T30" fmla="*/ 16 w 216"/>
                <a:gd name="T31" fmla="*/ 74 h 200"/>
                <a:gd name="T32" fmla="*/ 20 w 216"/>
                <a:gd name="T33" fmla="*/ 65 h 200"/>
                <a:gd name="T34" fmla="*/ 16 w 216"/>
                <a:gd name="T35" fmla="*/ 53 h 200"/>
                <a:gd name="T36" fmla="*/ 16 w 216"/>
                <a:gd name="T37" fmla="*/ 46 h 200"/>
                <a:gd name="T38" fmla="*/ 17 w 216"/>
                <a:gd name="T39" fmla="*/ 28 h 200"/>
                <a:gd name="T40" fmla="*/ 23 w 216"/>
                <a:gd name="T41" fmla="*/ 19 h 200"/>
                <a:gd name="T42" fmla="*/ 25 w 216"/>
                <a:gd name="T43" fmla="*/ 7 h 200"/>
                <a:gd name="T44" fmla="*/ 30 w 216"/>
                <a:gd name="T45" fmla="*/ 3 h 200"/>
                <a:gd name="T46" fmla="*/ 49 w 216"/>
                <a:gd name="T47" fmla="*/ 0 h 200"/>
                <a:gd name="T48" fmla="*/ 68 w 216"/>
                <a:gd name="T49" fmla="*/ 8 h 200"/>
                <a:gd name="T50" fmla="*/ 75 w 216"/>
                <a:gd name="T51" fmla="*/ 16 h 200"/>
                <a:gd name="T52" fmla="*/ 84 w 216"/>
                <a:gd name="T53" fmla="*/ 16 h 200"/>
                <a:gd name="T54" fmla="*/ 93 w 216"/>
                <a:gd name="T55" fmla="*/ 11 h 200"/>
                <a:gd name="T56" fmla="*/ 115 w 216"/>
                <a:gd name="T57" fmla="*/ 22 h 200"/>
                <a:gd name="T58" fmla="*/ 124 w 216"/>
                <a:gd name="T59" fmla="*/ 21 h 200"/>
                <a:gd name="T60" fmla="*/ 135 w 216"/>
                <a:gd name="T61" fmla="*/ 13 h 200"/>
                <a:gd name="T62" fmla="*/ 145 w 216"/>
                <a:gd name="T63" fmla="*/ 13 h 200"/>
                <a:gd name="T64" fmla="*/ 151 w 216"/>
                <a:gd name="T65" fmla="*/ 10 h 200"/>
                <a:gd name="T66" fmla="*/ 161 w 216"/>
                <a:gd name="T67" fmla="*/ 11 h 200"/>
                <a:gd name="T68" fmla="*/ 175 w 216"/>
                <a:gd name="T69" fmla="*/ 17 h 200"/>
                <a:gd name="T70" fmla="*/ 189 w 216"/>
                <a:gd name="T71" fmla="*/ 6 h 200"/>
                <a:gd name="T72" fmla="*/ 193 w 216"/>
                <a:gd name="T73" fmla="*/ 7 h 200"/>
                <a:gd name="T74" fmla="*/ 206 w 216"/>
                <a:gd name="T75" fmla="*/ 29 h 200"/>
                <a:gd name="T76" fmla="*/ 209 w 216"/>
                <a:gd name="T77" fmla="*/ 29 h 200"/>
                <a:gd name="T78" fmla="*/ 216 w 216"/>
                <a:gd name="T79" fmla="*/ 37 h 200"/>
                <a:gd name="T80" fmla="*/ 214 w 216"/>
                <a:gd name="T81" fmla="*/ 41 h 200"/>
                <a:gd name="T82" fmla="*/ 214 w 216"/>
                <a:gd name="T83" fmla="*/ 48 h 200"/>
                <a:gd name="T84" fmla="*/ 199 w 216"/>
                <a:gd name="T85" fmla="*/ 64 h 200"/>
                <a:gd name="T86" fmla="*/ 194 w 216"/>
                <a:gd name="T87" fmla="*/ 77 h 200"/>
                <a:gd name="T88" fmla="*/ 191 w 216"/>
                <a:gd name="T89" fmla="*/ 88 h 200"/>
                <a:gd name="T90" fmla="*/ 187 w 216"/>
                <a:gd name="T91" fmla="*/ 93 h 200"/>
                <a:gd name="T92" fmla="*/ 184 w 216"/>
                <a:gd name="T93" fmla="*/ 107 h 200"/>
                <a:gd name="T94" fmla="*/ 174 w 216"/>
                <a:gd name="T95" fmla="*/ 116 h 200"/>
                <a:gd name="T96" fmla="*/ 172 w 216"/>
                <a:gd name="T97" fmla="*/ 126 h 200"/>
                <a:gd name="T98" fmla="*/ 167 w 216"/>
                <a:gd name="T99" fmla="*/ 135 h 200"/>
                <a:gd name="T100" fmla="*/ 166 w 216"/>
                <a:gd name="T101" fmla="*/ 143 h 200"/>
                <a:gd name="T102" fmla="*/ 153 w 216"/>
                <a:gd name="T103" fmla="*/ 150 h 200"/>
                <a:gd name="T104" fmla="*/ 143 w 216"/>
                <a:gd name="T105" fmla="*/ 142 h 200"/>
                <a:gd name="T106" fmla="*/ 136 w 216"/>
                <a:gd name="T107" fmla="*/ 142 h 200"/>
                <a:gd name="T108" fmla="*/ 125 w 216"/>
                <a:gd name="T109" fmla="*/ 154 h 200"/>
                <a:gd name="T110" fmla="*/ 120 w 216"/>
                <a:gd name="T111" fmla="*/ 155 h 200"/>
                <a:gd name="T112" fmla="*/ 111 w 216"/>
                <a:gd name="T113" fmla="*/ 175 h 200"/>
                <a:gd name="T114" fmla="*/ 106 w 216"/>
                <a:gd name="T115"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6" h="200">
                  <a:moveTo>
                    <a:pt x="106" y="189"/>
                  </a:moveTo>
                  <a:lnTo>
                    <a:pt x="87" y="197"/>
                  </a:lnTo>
                  <a:lnTo>
                    <a:pt x="80" y="196"/>
                  </a:lnTo>
                  <a:lnTo>
                    <a:pt x="73" y="200"/>
                  </a:lnTo>
                  <a:lnTo>
                    <a:pt x="59" y="200"/>
                  </a:lnTo>
                  <a:lnTo>
                    <a:pt x="49" y="187"/>
                  </a:lnTo>
                  <a:lnTo>
                    <a:pt x="43" y="172"/>
                  </a:lnTo>
                  <a:lnTo>
                    <a:pt x="30" y="158"/>
                  </a:lnTo>
                  <a:lnTo>
                    <a:pt x="16" y="158"/>
                  </a:lnTo>
                  <a:lnTo>
                    <a:pt x="0" y="158"/>
                  </a:lnTo>
                  <a:lnTo>
                    <a:pt x="1" y="125"/>
                  </a:lnTo>
                  <a:lnTo>
                    <a:pt x="0" y="112"/>
                  </a:lnTo>
                  <a:lnTo>
                    <a:pt x="4" y="98"/>
                  </a:lnTo>
                  <a:lnTo>
                    <a:pt x="9" y="92"/>
                  </a:lnTo>
                  <a:lnTo>
                    <a:pt x="18" y="79"/>
                  </a:lnTo>
                  <a:lnTo>
                    <a:pt x="16" y="74"/>
                  </a:lnTo>
                  <a:lnTo>
                    <a:pt x="20" y="65"/>
                  </a:lnTo>
                  <a:lnTo>
                    <a:pt x="16" y="53"/>
                  </a:lnTo>
                  <a:lnTo>
                    <a:pt x="16" y="46"/>
                  </a:lnTo>
                  <a:lnTo>
                    <a:pt x="17" y="28"/>
                  </a:lnTo>
                  <a:lnTo>
                    <a:pt x="23" y="19"/>
                  </a:lnTo>
                  <a:lnTo>
                    <a:pt x="25" y="7"/>
                  </a:lnTo>
                  <a:lnTo>
                    <a:pt x="30" y="3"/>
                  </a:lnTo>
                  <a:lnTo>
                    <a:pt x="49" y="0"/>
                  </a:lnTo>
                  <a:lnTo>
                    <a:pt x="68" y="8"/>
                  </a:lnTo>
                  <a:lnTo>
                    <a:pt x="75" y="16"/>
                  </a:lnTo>
                  <a:lnTo>
                    <a:pt x="84" y="16"/>
                  </a:lnTo>
                  <a:lnTo>
                    <a:pt x="93" y="11"/>
                  </a:lnTo>
                  <a:lnTo>
                    <a:pt x="115" y="22"/>
                  </a:lnTo>
                  <a:lnTo>
                    <a:pt x="124" y="21"/>
                  </a:lnTo>
                  <a:lnTo>
                    <a:pt x="135" y="13"/>
                  </a:lnTo>
                  <a:lnTo>
                    <a:pt x="145" y="13"/>
                  </a:lnTo>
                  <a:lnTo>
                    <a:pt x="151" y="10"/>
                  </a:lnTo>
                  <a:lnTo>
                    <a:pt x="161" y="11"/>
                  </a:lnTo>
                  <a:lnTo>
                    <a:pt x="175" y="17"/>
                  </a:lnTo>
                  <a:lnTo>
                    <a:pt x="189" y="6"/>
                  </a:lnTo>
                  <a:lnTo>
                    <a:pt x="193" y="7"/>
                  </a:lnTo>
                  <a:lnTo>
                    <a:pt x="206" y="29"/>
                  </a:lnTo>
                  <a:lnTo>
                    <a:pt x="209" y="29"/>
                  </a:lnTo>
                  <a:lnTo>
                    <a:pt x="216" y="37"/>
                  </a:lnTo>
                  <a:lnTo>
                    <a:pt x="214" y="41"/>
                  </a:lnTo>
                  <a:lnTo>
                    <a:pt x="214" y="48"/>
                  </a:lnTo>
                  <a:lnTo>
                    <a:pt x="199" y="64"/>
                  </a:lnTo>
                  <a:lnTo>
                    <a:pt x="194" y="77"/>
                  </a:lnTo>
                  <a:lnTo>
                    <a:pt x="191" y="88"/>
                  </a:lnTo>
                  <a:lnTo>
                    <a:pt x="187" y="93"/>
                  </a:lnTo>
                  <a:lnTo>
                    <a:pt x="184" y="107"/>
                  </a:lnTo>
                  <a:lnTo>
                    <a:pt x="174" y="116"/>
                  </a:lnTo>
                  <a:lnTo>
                    <a:pt x="172" y="126"/>
                  </a:lnTo>
                  <a:lnTo>
                    <a:pt x="167" y="135"/>
                  </a:lnTo>
                  <a:lnTo>
                    <a:pt x="166" y="143"/>
                  </a:lnTo>
                  <a:lnTo>
                    <a:pt x="153" y="150"/>
                  </a:lnTo>
                  <a:lnTo>
                    <a:pt x="143" y="142"/>
                  </a:lnTo>
                  <a:lnTo>
                    <a:pt x="136" y="142"/>
                  </a:lnTo>
                  <a:lnTo>
                    <a:pt x="125" y="154"/>
                  </a:lnTo>
                  <a:lnTo>
                    <a:pt x="120" y="155"/>
                  </a:lnTo>
                  <a:lnTo>
                    <a:pt x="111" y="175"/>
                  </a:lnTo>
                  <a:lnTo>
                    <a:pt x="106" y="189"/>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71" name="Freeform 134"/>
            <p:cNvSpPr>
              <a:spLocks/>
            </p:cNvSpPr>
            <p:nvPr/>
          </p:nvSpPr>
          <p:spPr bwMode="auto">
            <a:xfrm>
              <a:off x="1643062" y="3209929"/>
              <a:ext cx="136525" cy="142875"/>
            </a:xfrm>
            <a:custGeom>
              <a:avLst/>
              <a:gdLst>
                <a:gd name="T0" fmla="*/ 33 w 86"/>
                <a:gd name="T1" fmla="*/ 82 h 90"/>
                <a:gd name="T2" fmla="*/ 27 w 86"/>
                <a:gd name="T3" fmla="*/ 75 h 90"/>
                <a:gd name="T4" fmla="*/ 19 w 86"/>
                <a:gd name="T5" fmla="*/ 67 h 90"/>
                <a:gd name="T6" fmla="*/ 15 w 86"/>
                <a:gd name="T7" fmla="*/ 60 h 90"/>
                <a:gd name="T8" fmla="*/ 8 w 86"/>
                <a:gd name="T9" fmla="*/ 54 h 90"/>
                <a:gd name="T10" fmla="*/ 0 w 86"/>
                <a:gd name="T11" fmla="*/ 44 h 90"/>
                <a:gd name="T12" fmla="*/ 2 w 86"/>
                <a:gd name="T13" fmla="*/ 41 h 90"/>
                <a:gd name="T14" fmla="*/ 5 w 86"/>
                <a:gd name="T15" fmla="*/ 44 h 90"/>
                <a:gd name="T16" fmla="*/ 6 w 86"/>
                <a:gd name="T17" fmla="*/ 43 h 90"/>
                <a:gd name="T18" fmla="*/ 12 w 86"/>
                <a:gd name="T19" fmla="*/ 42 h 90"/>
                <a:gd name="T20" fmla="*/ 15 w 86"/>
                <a:gd name="T21" fmla="*/ 37 h 90"/>
                <a:gd name="T22" fmla="*/ 18 w 86"/>
                <a:gd name="T23" fmla="*/ 37 h 90"/>
                <a:gd name="T24" fmla="*/ 18 w 86"/>
                <a:gd name="T25" fmla="*/ 27 h 90"/>
                <a:gd name="T26" fmla="*/ 23 w 86"/>
                <a:gd name="T27" fmla="*/ 26 h 90"/>
                <a:gd name="T28" fmla="*/ 26 w 86"/>
                <a:gd name="T29" fmla="*/ 26 h 90"/>
                <a:gd name="T30" fmla="*/ 31 w 86"/>
                <a:gd name="T31" fmla="*/ 21 h 90"/>
                <a:gd name="T32" fmla="*/ 36 w 86"/>
                <a:gd name="T33" fmla="*/ 25 h 90"/>
                <a:gd name="T34" fmla="*/ 38 w 86"/>
                <a:gd name="T35" fmla="*/ 22 h 90"/>
                <a:gd name="T36" fmla="*/ 41 w 86"/>
                <a:gd name="T37" fmla="*/ 20 h 90"/>
                <a:gd name="T38" fmla="*/ 48 w 86"/>
                <a:gd name="T39" fmla="*/ 14 h 90"/>
                <a:gd name="T40" fmla="*/ 49 w 86"/>
                <a:gd name="T41" fmla="*/ 10 h 90"/>
                <a:gd name="T42" fmla="*/ 51 w 86"/>
                <a:gd name="T43" fmla="*/ 10 h 90"/>
                <a:gd name="T44" fmla="*/ 54 w 86"/>
                <a:gd name="T45" fmla="*/ 5 h 90"/>
                <a:gd name="T46" fmla="*/ 56 w 86"/>
                <a:gd name="T47" fmla="*/ 5 h 90"/>
                <a:gd name="T48" fmla="*/ 58 w 86"/>
                <a:gd name="T49" fmla="*/ 8 h 90"/>
                <a:gd name="T50" fmla="*/ 62 w 86"/>
                <a:gd name="T51" fmla="*/ 9 h 90"/>
                <a:gd name="T52" fmla="*/ 66 w 86"/>
                <a:gd name="T53" fmla="*/ 6 h 90"/>
                <a:gd name="T54" fmla="*/ 71 w 86"/>
                <a:gd name="T55" fmla="*/ 6 h 90"/>
                <a:gd name="T56" fmla="*/ 77 w 86"/>
                <a:gd name="T57" fmla="*/ 3 h 90"/>
                <a:gd name="T58" fmla="*/ 80 w 86"/>
                <a:gd name="T59" fmla="*/ 0 h 90"/>
                <a:gd name="T60" fmla="*/ 86 w 86"/>
                <a:gd name="T61" fmla="*/ 1 h 90"/>
                <a:gd name="T62" fmla="*/ 85 w 86"/>
                <a:gd name="T63" fmla="*/ 3 h 90"/>
                <a:gd name="T64" fmla="*/ 83 w 86"/>
                <a:gd name="T65" fmla="*/ 8 h 90"/>
                <a:gd name="T66" fmla="*/ 84 w 86"/>
                <a:gd name="T67" fmla="*/ 15 h 90"/>
                <a:gd name="T68" fmla="*/ 79 w 86"/>
                <a:gd name="T69" fmla="*/ 22 h 90"/>
                <a:gd name="T70" fmla="*/ 77 w 86"/>
                <a:gd name="T71" fmla="*/ 30 h 90"/>
                <a:gd name="T72" fmla="*/ 76 w 86"/>
                <a:gd name="T73" fmla="*/ 40 h 90"/>
                <a:gd name="T74" fmla="*/ 76 w 86"/>
                <a:gd name="T75" fmla="*/ 45 h 90"/>
                <a:gd name="T76" fmla="*/ 76 w 86"/>
                <a:gd name="T77" fmla="*/ 54 h 90"/>
                <a:gd name="T78" fmla="*/ 73 w 86"/>
                <a:gd name="T79" fmla="*/ 56 h 90"/>
                <a:gd name="T80" fmla="*/ 70 w 86"/>
                <a:gd name="T81" fmla="*/ 65 h 90"/>
                <a:gd name="T82" fmla="*/ 71 w 86"/>
                <a:gd name="T83" fmla="*/ 71 h 90"/>
                <a:gd name="T84" fmla="*/ 67 w 86"/>
                <a:gd name="T85" fmla="*/ 76 h 90"/>
                <a:gd name="T86" fmla="*/ 67 w 86"/>
                <a:gd name="T87" fmla="*/ 82 h 90"/>
                <a:gd name="T88" fmla="*/ 70 w 86"/>
                <a:gd name="T89" fmla="*/ 85 h 90"/>
                <a:gd name="T90" fmla="*/ 65 w 86"/>
                <a:gd name="T91" fmla="*/ 90 h 90"/>
                <a:gd name="T92" fmla="*/ 60 w 86"/>
                <a:gd name="T93" fmla="*/ 88 h 90"/>
                <a:gd name="T94" fmla="*/ 57 w 86"/>
                <a:gd name="T95" fmla="*/ 84 h 90"/>
                <a:gd name="T96" fmla="*/ 52 w 86"/>
                <a:gd name="T97" fmla="*/ 82 h 90"/>
                <a:gd name="T98" fmla="*/ 47 w 86"/>
                <a:gd name="T99" fmla="*/ 85 h 90"/>
                <a:gd name="T100" fmla="*/ 36 w 86"/>
                <a:gd name="T101" fmla="*/ 79 h 90"/>
                <a:gd name="T102" fmla="*/ 33 w 86"/>
                <a:gd name="T103" fmla="*/ 8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90">
                  <a:moveTo>
                    <a:pt x="33" y="82"/>
                  </a:moveTo>
                  <a:lnTo>
                    <a:pt x="27" y="75"/>
                  </a:lnTo>
                  <a:lnTo>
                    <a:pt x="19" y="67"/>
                  </a:lnTo>
                  <a:lnTo>
                    <a:pt x="15" y="60"/>
                  </a:lnTo>
                  <a:lnTo>
                    <a:pt x="8" y="54"/>
                  </a:lnTo>
                  <a:lnTo>
                    <a:pt x="0" y="44"/>
                  </a:lnTo>
                  <a:lnTo>
                    <a:pt x="2" y="41"/>
                  </a:lnTo>
                  <a:lnTo>
                    <a:pt x="5" y="44"/>
                  </a:lnTo>
                  <a:lnTo>
                    <a:pt x="6" y="43"/>
                  </a:lnTo>
                  <a:lnTo>
                    <a:pt x="12" y="42"/>
                  </a:lnTo>
                  <a:lnTo>
                    <a:pt x="15" y="37"/>
                  </a:lnTo>
                  <a:lnTo>
                    <a:pt x="18" y="37"/>
                  </a:lnTo>
                  <a:lnTo>
                    <a:pt x="18" y="27"/>
                  </a:lnTo>
                  <a:lnTo>
                    <a:pt x="23" y="26"/>
                  </a:lnTo>
                  <a:lnTo>
                    <a:pt x="26" y="26"/>
                  </a:lnTo>
                  <a:lnTo>
                    <a:pt x="31" y="21"/>
                  </a:lnTo>
                  <a:lnTo>
                    <a:pt x="36" y="25"/>
                  </a:lnTo>
                  <a:lnTo>
                    <a:pt x="38" y="22"/>
                  </a:lnTo>
                  <a:lnTo>
                    <a:pt x="41" y="20"/>
                  </a:lnTo>
                  <a:lnTo>
                    <a:pt x="48" y="14"/>
                  </a:lnTo>
                  <a:lnTo>
                    <a:pt x="49" y="10"/>
                  </a:lnTo>
                  <a:lnTo>
                    <a:pt x="51" y="10"/>
                  </a:lnTo>
                  <a:lnTo>
                    <a:pt x="54" y="5"/>
                  </a:lnTo>
                  <a:lnTo>
                    <a:pt x="56" y="5"/>
                  </a:lnTo>
                  <a:lnTo>
                    <a:pt x="58" y="8"/>
                  </a:lnTo>
                  <a:lnTo>
                    <a:pt x="62" y="9"/>
                  </a:lnTo>
                  <a:lnTo>
                    <a:pt x="66" y="6"/>
                  </a:lnTo>
                  <a:lnTo>
                    <a:pt x="71" y="6"/>
                  </a:lnTo>
                  <a:lnTo>
                    <a:pt x="77" y="3"/>
                  </a:lnTo>
                  <a:lnTo>
                    <a:pt x="80" y="0"/>
                  </a:lnTo>
                  <a:lnTo>
                    <a:pt x="86" y="1"/>
                  </a:lnTo>
                  <a:lnTo>
                    <a:pt x="85" y="3"/>
                  </a:lnTo>
                  <a:lnTo>
                    <a:pt x="83" y="8"/>
                  </a:lnTo>
                  <a:lnTo>
                    <a:pt x="84" y="15"/>
                  </a:lnTo>
                  <a:lnTo>
                    <a:pt x="79" y="22"/>
                  </a:lnTo>
                  <a:lnTo>
                    <a:pt x="77" y="30"/>
                  </a:lnTo>
                  <a:lnTo>
                    <a:pt x="76" y="40"/>
                  </a:lnTo>
                  <a:lnTo>
                    <a:pt x="76" y="45"/>
                  </a:lnTo>
                  <a:lnTo>
                    <a:pt x="76" y="54"/>
                  </a:lnTo>
                  <a:lnTo>
                    <a:pt x="73" y="56"/>
                  </a:lnTo>
                  <a:lnTo>
                    <a:pt x="70" y="65"/>
                  </a:lnTo>
                  <a:lnTo>
                    <a:pt x="71" y="71"/>
                  </a:lnTo>
                  <a:lnTo>
                    <a:pt x="67" y="76"/>
                  </a:lnTo>
                  <a:lnTo>
                    <a:pt x="67" y="82"/>
                  </a:lnTo>
                  <a:lnTo>
                    <a:pt x="70" y="85"/>
                  </a:lnTo>
                  <a:lnTo>
                    <a:pt x="65" y="90"/>
                  </a:lnTo>
                  <a:lnTo>
                    <a:pt x="60" y="88"/>
                  </a:lnTo>
                  <a:lnTo>
                    <a:pt x="57" y="84"/>
                  </a:lnTo>
                  <a:lnTo>
                    <a:pt x="52" y="82"/>
                  </a:lnTo>
                  <a:lnTo>
                    <a:pt x="47" y="85"/>
                  </a:lnTo>
                  <a:lnTo>
                    <a:pt x="36" y="79"/>
                  </a:lnTo>
                  <a:lnTo>
                    <a:pt x="33" y="82"/>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72" name="Freeform 135"/>
            <p:cNvSpPr>
              <a:spLocks/>
            </p:cNvSpPr>
            <p:nvPr/>
          </p:nvSpPr>
          <p:spPr bwMode="auto">
            <a:xfrm>
              <a:off x="4265612" y="1952629"/>
              <a:ext cx="92075" cy="85725"/>
            </a:xfrm>
            <a:custGeom>
              <a:avLst/>
              <a:gdLst>
                <a:gd name="T0" fmla="*/ 42 w 58"/>
                <a:gd name="T1" fmla="*/ 0 h 54"/>
                <a:gd name="T2" fmla="*/ 55 w 58"/>
                <a:gd name="T3" fmla="*/ 0 h 54"/>
                <a:gd name="T4" fmla="*/ 58 w 58"/>
                <a:gd name="T5" fmla="*/ 7 h 54"/>
                <a:gd name="T6" fmla="*/ 55 w 58"/>
                <a:gd name="T7" fmla="*/ 25 h 54"/>
                <a:gd name="T8" fmla="*/ 51 w 58"/>
                <a:gd name="T9" fmla="*/ 33 h 54"/>
                <a:gd name="T10" fmla="*/ 42 w 58"/>
                <a:gd name="T11" fmla="*/ 33 h 54"/>
                <a:gd name="T12" fmla="*/ 45 w 58"/>
                <a:gd name="T13" fmla="*/ 54 h 54"/>
                <a:gd name="T14" fmla="*/ 36 w 58"/>
                <a:gd name="T15" fmla="*/ 49 h 54"/>
                <a:gd name="T16" fmla="*/ 26 w 58"/>
                <a:gd name="T17" fmla="*/ 40 h 54"/>
                <a:gd name="T18" fmla="*/ 11 w 58"/>
                <a:gd name="T19" fmla="*/ 44 h 54"/>
                <a:gd name="T20" fmla="*/ 0 w 58"/>
                <a:gd name="T21" fmla="*/ 43 h 54"/>
                <a:gd name="T22" fmla="*/ 8 w 58"/>
                <a:gd name="T23" fmla="*/ 37 h 54"/>
                <a:gd name="T24" fmla="*/ 21 w 58"/>
                <a:gd name="T25" fmla="*/ 8 h 54"/>
                <a:gd name="T26" fmla="*/ 42 w 58"/>
                <a:gd name="T2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4">
                  <a:moveTo>
                    <a:pt x="42" y="0"/>
                  </a:moveTo>
                  <a:lnTo>
                    <a:pt x="55" y="0"/>
                  </a:lnTo>
                  <a:lnTo>
                    <a:pt x="58" y="7"/>
                  </a:lnTo>
                  <a:lnTo>
                    <a:pt x="55" y="25"/>
                  </a:lnTo>
                  <a:lnTo>
                    <a:pt x="51" y="33"/>
                  </a:lnTo>
                  <a:lnTo>
                    <a:pt x="42" y="33"/>
                  </a:lnTo>
                  <a:lnTo>
                    <a:pt x="45" y="54"/>
                  </a:lnTo>
                  <a:lnTo>
                    <a:pt x="36" y="49"/>
                  </a:lnTo>
                  <a:lnTo>
                    <a:pt x="26" y="40"/>
                  </a:lnTo>
                  <a:lnTo>
                    <a:pt x="11" y="44"/>
                  </a:lnTo>
                  <a:lnTo>
                    <a:pt x="0" y="43"/>
                  </a:lnTo>
                  <a:lnTo>
                    <a:pt x="8" y="37"/>
                  </a:lnTo>
                  <a:lnTo>
                    <a:pt x="21" y="8"/>
                  </a:lnTo>
                  <a:lnTo>
                    <a:pt x="42"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73" name="Freeform 136"/>
            <p:cNvSpPr>
              <a:spLocks/>
            </p:cNvSpPr>
            <p:nvPr/>
          </p:nvSpPr>
          <p:spPr bwMode="auto">
            <a:xfrm>
              <a:off x="4295775" y="1425579"/>
              <a:ext cx="539750" cy="382588"/>
            </a:xfrm>
            <a:custGeom>
              <a:avLst/>
              <a:gdLst>
                <a:gd name="T0" fmla="*/ 294 w 340"/>
                <a:gd name="T1" fmla="*/ 0 h 241"/>
                <a:gd name="T2" fmla="*/ 338 w 340"/>
                <a:gd name="T3" fmla="*/ 13 h 241"/>
                <a:gd name="T4" fmla="*/ 322 w 340"/>
                <a:gd name="T5" fmla="*/ 17 h 241"/>
                <a:gd name="T6" fmla="*/ 340 w 340"/>
                <a:gd name="T7" fmla="*/ 28 h 241"/>
                <a:gd name="T8" fmla="*/ 319 w 340"/>
                <a:gd name="T9" fmla="*/ 35 h 241"/>
                <a:gd name="T10" fmla="*/ 309 w 340"/>
                <a:gd name="T11" fmla="*/ 37 h 241"/>
                <a:gd name="T12" fmla="*/ 311 w 340"/>
                <a:gd name="T13" fmla="*/ 24 h 241"/>
                <a:gd name="T14" fmla="*/ 293 w 340"/>
                <a:gd name="T15" fmla="*/ 18 h 241"/>
                <a:gd name="T16" fmla="*/ 274 w 340"/>
                <a:gd name="T17" fmla="*/ 23 h 241"/>
                <a:gd name="T18" fmla="*/ 270 w 340"/>
                <a:gd name="T19" fmla="*/ 36 h 241"/>
                <a:gd name="T20" fmla="*/ 259 w 340"/>
                <a:gd name="T21" fmla="*/ 44 h 241"/>
                <a:gd name="T22" fmla="*/ 244 w 340"/>
                <a:gd name="T23" fmla="*/ 40 h 241"/>
                <a:gd name="T24" fmla="*/ 227 w 340"/>
                <a:gd name="T25" fmla="*/ 40 h 241"/>
                <a:gd name="T26" fmla="*/ 210 w 340"/>
                <a:gd name="T27" fmla="*/ 31 h 241"/>
                <a:gd name="T28" fmla="*/ 203 w 340"/>
                <a:gd name="T29" fmla="*/ 36 h 241"/>
                <a:gd name="T30" fmla="*/ 195 w 340"/>
                <a:gd name="T31" fmla="*/ 37 h 241"/>
                <a:gd name="T32" fmla="*/ 195 w 340"/>
                <a:gd name="T33" fmla="*/ 48 h 241"/>
                <a:gd name="T34" fmla="*/ 170 w 340"/>
                <a:gd name="T35" fmla="*/ 45 h 241"/>
                <a:gd name="T36" fmla="*/ 168 w 340"/>
                <a:gd name="T37" fmla="*/ 55 h 241"/>
                <a:gd name="T38" fmla="*/ 155 w 340"/>
                <a:gd name="T39" fmla="*/ 55 h 241"/>
                <a:gd name="T40" fmla="*/ 148 w 340"/>
                <a:gd name="T41" fmla="*/ 68 h 241"/>
                <a:gd name="T42" fmla="*/ 137 w 340"/>
                <a:gd name="T43" fmla="*/ 88 h 241"/>
                <a:gd name="T44" fmla="*/ 118 w 340"/>
                <a:gd name="T45" fmla="*/ 114 h 241"/>
                <a:gd name="T46" fmla="*/ 124 w 340"/>
                <a:gd name="T47" fmla="*/ 120 h 241"/>
                <a:gd name="T48" fmla="*/ 120 w 340"/>
                <a:gd name="T49" fmla="*/ 127 h 241"/>
                <a:gd name="T50" fmla="*/ 106 w 340"/>
                <a:gd name="T51" fmla="*/ 127 h 241"/>
                <a:gd name="T52" fmla="*/ 98 w 340"/>
                <a:gd name="T53" fmla="*/ 145 h 241"/>
                <a:gd name="T54" fmla="*/ 102 w 340"/>
                <a:gd name="T55" fmla="*/ 170 h 241"/>
                <a:gd name="T56" fmla="*/ 112 w 340"/>
                <a:gd name="T57" fmla="*/ 179 h 241"/>
                <a:gd name="T58" fmla="*/ 109 w 340"/>
                <a:gd name="T59" fmla="*/ 202 h 241"/>
                <a:gd name="T60" fmla="*/ 98 w 340"/>
                <a:gd name="T61" fmla="*/ 215 h 241"/>
                <a:gd name="T62" fmla="*/ 92 w 340"/>
                <a:gd name="T63" fmla="*/ 226 h 241"/>
                <a:gd name="T64" fmla="*/ 81 w 340"/>
                <a:gd name="T65" fmla="*/ 214 h 241"/>
                <a:gd name="T66" fmla="*/ 54 w 340"/>
                <a:gd name="T67" fmla="*/ 237 h 241"/>
                <a:gd name="T68" fmla="*/ 34 w 340"/>
                <a:gd name="T69" fmla="*/ 241 h 241"/>
                <a:gd name="T70" fmla="*/ 13 w 340"/>
                <a:gd name="T71" fmla="*/ 231 h 241"/>
                <a:gd name="T72" fmla="*/ 7 w 340"/>
                <a:gd name="T73" fmla="*/ 211 h 241"/>
                <a:gd name="T74" fmla="*/ 0 w 340"/>
                <a:gd name="T75" fmla="*/ 166 h 241"/>
                <a:gd name="T76" fmla="*/ 13 w 340"/>
                <a:gd name="T77" fmla="*/ 154 h 241"/>
                <a:gd name="T78" fmla="*/ 50 w 340"/>
                <a:gd name="T79" fmla="*/ 139 h 241"/>
                <a:gd name="T80" fmla="*/ 76 w 340"/>
                <a:gd name="T81" fmla="*/ 119 h 241"/>
                <a:gd name="T82" fmla="*/ 99 w 340"/>
                <a:gd name="T83" fmla="*/ 94 h 241"/>
                <a:gd name="T84" fmla="*/ 128 w 340"/>
                <a:gd name="T85" fmla="*/ 59 h 241"/>
                <a:gd name="T86" fmla="*/ 149 w 340"/>
                <a:gd name="T87" fmla="*/ 45 h 241"/>
                <a:gd name="T88" fmla="*/ 182 w 340"/>
                <a:gd name="T89" fmla="*/ 24 h 241"/>
                <a:gd name="T90" fmla="*/ 209 w 340"/>
                <a:gd name="T91" fmla="*/ 16 h 241"/>
                <a:gd name="T92" fmla="*/ 231 w 340"/>
                <a:gd name="T93" fmla="*/ 17 h 241"/>
                <a:gd name="T94" fmla="*/ 247 w 340"/>
                <a:gd name="T95" fmla="*/ 3 h 241"/>
                <a:gd name="T96" fmla="*/ 271 w 340"/>
                <a:gd name="T97" fmla="*/ 3 h 241"/>
                <a:gd name="T98" fmla="*/ 294 w 340"/>
                <a:gd name="T99"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0" h="241">
                  <a:moveTo>
                    <a:pt x="294" y="0"/>
                  </a:moveTo>
                  <a:lnTo>
                    <a:pt x="338" y="13"/>
                  </a:lnTo>
                  <a:lnTo>
                    <a:pt x="322" y="17"/>
                  </a:lnTo>
                  <a:lnTo>
                    <a:pt x="340" y="28"/>
                  </a:lnTo>
                  <a:lnTo>
                    <a:pt x="319" y="35"/>
                  </a:lnTo>
                  <a:lnTo>
                    <a:pt x="309" y="37"/>
                  </a:lnTo>
                  <a:lnTo>
                    <a:pt x="311" y="24"/>
                  </a:lnTo>
                  <a:lnTo>
                    <a:pt x="293" y="18"/>
                  </a:lnTo>
                  <a:lnTo>
                    <a:pt x="274" y="23"/>
                  </a:lnTo>
                  <a:lnTo>
                    <a:pt x="270" y="36"/>
                  </a:lnTo>
                  <a:lnTo>
                    <a:pt x="259" y="44"/>
                  </a:lnTo>
                  <a:lnTo>
                    <a:pt x="244" y="40"/>
                  </a:lnTo>
                  <a:lnTo>
                    <a:pt x="227" y="40"/>
                  </a:lnTo>
                  <a:lnTo>
                    <a:pt x="210" y="31"/>
                  </a:lnTo>
                  <a:lnTo>
                    <a:pt x="203" y="36"/>
                  </a:lnTo>
                  <a:lnTo>
                    <a:pt x="195" y="37"/>
                  </a:lnTo>
                  <a:lnTo>
                    <a:pt x="195" y="48"/>
                  </a:lnTo>
                  <a:lnTo>
                    <a:pt x="170" y="45"/>
                  </a:lnTo>
                  <a:lnTo>
                    <a:pt x="168" y="55"/>
                  </a:lnTo>
                  <a:lnTo>
                    <a:pt x="155" y="55"/>
                  </a:lnTo>
                  <a:lnTo>
                    <a:pt x="148" y="68"/>
                  </a:lnTo>
                  <a:lnTo>
                    <a:pt x="137" y="88"/>
                  </a:lnTo>
                  <a:lnTo>
                    <a:pt x="118" y="114"/>
                  </a:lnTo>
                  <a:lnTo>
                    <a:pt x="124" y="120"/>
                  </a:lnTo>
                  <a:lnTo>
                    <a:pt x="120" y="127"/>
                  </a:lnTo>
                  <a:lnTo>
                    <a:pt x="106" y="127"/>
                  </a:lnTo>
                  <a:lnTo>
                    <a:pt x="98" y="145"/>
                  </a:lnTo>
                  <a:lnTo>
                    <a:pt x="102" y="170"/>
                  </a:lnTo>
                  <a:lnTo>
                    <a:pt x="112" y="179"/>
                  </a:lnTo>
                  <a:lnTo>
                    <a:pt x="109" y="202"/>
                  </a:lnTo>
                  <a:lnTo>
                    <a:pt x="98" y="215"/>
                  </a:lnTo>
                  <a:lnTo>
                    <a:pt x="92" y="226"/>
                  </a:lnTo>
                  <a:lnTo>
                    <a:pt x="81" y="214"/>
                  </a:lnTo>
                  <a:lnTo>
                    <a:pt x="54" y="237"/>
                  </a:lnTo>
                  <a:lnTo>
                    <a:pt x="34" y="241"/>
                  </a:lnTo>
                  <a:lnTo>
                    <a:pt x="13" y="231"/>
                  </a:lnTo>
                  <a:lnTo>
                    <a:pt x="7" y="211"/>
                  </a:lnTo>
                  <a:lnTo>
                    <a:pt x="0" y="166"/>
                  </a:lnTo>
                  <a:lnTo>
                    <a:pt x="13" y="154"/>
                  </a:lnTo>
                  <a:lnTo>
                    <a:pt x="50" y="139"/>
                  </a:lnTo>
                  <a:lnTo>
                    <a:pt x="76" y="119"/>
                  </a:lnTo>
                  <a:lnTo>
                    <a:pt x="99" y="94"/>
                  </a:lnTo>
                  <a:lnTo>
                    <a:pt x="128" y="59"/>
                  </a:lnTo>
                  <a:lnTo>
                    <a:pt x="149" y="45"/>
                  </a:lnTo>
                  <a:lnTo>
                    <a:pt x="182" y="24"/>
                  </a:lnTo>
                  <a:lnTo>
                    <a:pt x="209" y="16"/>
                  </a:lnTo>
                  <a:lnTo>
                    <a:pt x="231" y="17"/>
                  </a:lnTo>
                  <a:lnTo>
                    <a:pt x="247" y="3"/>
                  </a:lnTo>
                  <a:lnTo>
                    <a:pt x="271" y="3"/>
                  </a:lnTo>
                  <a:lnTo>
                    <a:pt x="294"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74" name="Freeform 137"/>
            <p:cNvSpPr>
              <a:spLocks/>
            </p:cNvSpPr>
            <p:nvPr/>
          </p:nvSpPr>
          <p:spPr bwMode="auto">
            <a:xfrm>
              <a:off x="4570412" y="1244604"/>
              <a:ext cx="76200" cy="23813"/>
            </a:xfrm>
            <a:custGeom>
              <a:avLst/>
              <a:gdLst>
                <a:gd name="T0" fmla="*/ 48 w 48"/>
                <a:gd name="T1" fmla="*/ 9 h 15"/>
                <a:gd name="T2" fmla="*/ 23 w 48"/>
                <a:gd name="T3" fmla="*/ 15 h 15"/>
                <a:gd name="T4" fmla="*/ 1 w 48"/>
                <a:gd name="T5" fmla="*/ 11 h 15"/>
                <a:gd name="T6" fmla="*/ 8 w 48"/>
                <a:gd name="T7" fmla="*/ 8 h 15"/>
                <a:gd name="T8" fmla="*/ 0 w 48"/>
                <a:gd name="T9" fmla="*/ 3 h 15"/>
                <a:gd name="T10" fmla="*/ 24 w 48"/>
                <a:gd name="T11" fmla="*/ 0 h 15"/>
                <a:gd name="T12" fmla="*/ 30 w 48"/>
                <a:gd name="T13" fmla="*/ 5 h 15"/>
                <a:gd name="T14" fmla="*/ 48 w 48"/>
                <a:gd name="T15" fmla="*/ 9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5">
                  <a:moveTo>
                    <a:pt x="48" y="9"/>
                  </a:moveTo>
                  <a:lnTo>
                    <a:pt x="23" y="15"/>
                  </a:lnTo>
                  <a:lnTo>
                    <a:pt x="1" y="11"/>
                  </a:lnTo>
                  <a:lnTo>
                    <a:pt x="8" y="8"/>
                  </a:lnTo>
                  <a:lnTo>
                    <a:pt x="0" y="3"/>
                  </a:lnTo>
                  <a:lnTo>
                    <a:pt x="24" y="0"/>
                  </a:lnTo>
                  <a:lnTo>
                    <a:pt x="30" y="5"/>
                  </a:lnTo>
                  <a:lnTo>
                    <a:pt x="48" y="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75" name="Freeform 138"/>
            <p:cNvSpPr>
              <a:spLocks/>
            </p:cNvSpPr>
            <p:nvPr/>
          </p:nvSpPr>
          <p:spPr bwMode="auto">
            <a:xfrm>
              <a:off x="4373562" y="1209679"/>
              <a:ext cx="206375" cy="74613"/>
            </a:xfrm>
            <a:custGeom>
              <a:avLst/>
              <a:gdLst>
                <a:gd name="T0" fmla="*/ 89 w 130"/>
                <a:gd name="T1" fmla="*/ 4 h 47"/>
                <a:gd name="T2" fmla="*/ 130 w 130"/>
                <a:gd name="T3" fmla="*/ 15 h 47"/>
                <a:gd name="T4" fmla="*/ 102 w 130"/>
                <a:gd name="T5" fmla="*/ 21 h 47"/>
                <a:gd name="T6" fmla="*/ 98 w 130"/>
                <a:gd name="T7" fmla="*/ 31 h 47"/>
                <a:gd name="T8" fmla="*/ 88 w 130"/>
                <a:gd name="T9" fmla="*/ 34 h 47"/>
                <a:gd name="T10" fmla="*/ 85 w 130"/>
                <a:gd name="T11" fmla="*/ 46 h 47"/>
                <a:gd name="T12" fmla="*/ 70 w 130"/>
                <a:gd name="T13" fmla="*/ 47 h 47"/>
                <a:gd name="T14" fmla="*/ 43 w 130"/>
                <a:gd name="T15" fmla="*/ 38 h 47"/>
                <a:gd name="T16" fmla="*/ 53 w 130"/>
                <a:gd name="T17" fmla="*/ 32 h 47"/>
                <a:gd name="T18" fmla="*/ 35 w 130"/>
                <a:gd name="T19" fmla="*/ 28 h 47"/>
                <a:gd name="T20" fmla="*/ 10 w 130"/>
                <a:gd name="T21" fmla="*/ 16 h 47"/>
                <a:gd name="T22" fmla="*/ 0 w 130"/>
                <a:gd name="T23" fmla="*/ 5 h 47"/>
                <a:gd name="T24" fmla="*/ 30 w 130"/>
                <a:gd name="T25" fmla="*/ 0 h 47"/>
                <a:gd name="T26" fmla="*/ 37 w 130"/>
                <a:gd name="T27" fmla="*/ 5 h 47"/>
                <a:gd name="T28" fmla="*/ 54 w 130"/>
                <a:gd name="T29" fmla="*/ 5 h 47"/>
                <a:gd name="T30" fmla="*/ 57 w 130"/>
                <a:gd name="T31" fmla="*/ 0 h 47"/>
                <a:gd name="T32" fmla="*/ 74 w 130"/>
                <a:gd name="T33" fmla="*/ 0 h 47"/>
                <a:gd name="T34" fmla="*/ 89 w 130"/>
                <a:gd name="T35"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47">
                  <a:moveTo>
                    <a:pt x="89" y="4"/>
                  </a:moveTo>
                  <a:lnTo>
                    <a:pt x="130" y="15"/>
                  </a:lnTo>
                  <a:lnTo>
                    <a:pt x="102" y="21"/>
                  </a:lnTo>
                  <a:lnTo>
                    <a:pt x="98" y="31"/>
                  </a:lnTo>
                  <a:lnTo>
                    <a:pt x="88" y="34"/>
                  </a:lnTo>
                  <a:lnTo>
                    <a:pt x="85" y="46"/>
                  </a:lnTo>
                  <a:lnTo>
                    <a:pt x="70" y="47"/>
                  </a:lnTo>
                  <a:lnTo>
                    <a:pt x="43" y="38"/>
                  </a:lnTo>
                  <a:lnTo>
                    <a:pt x="53" y="32"/>
                  </a:lnTo>
                  <a:lnTo>
                    <a:pt x="35" y="28"/>
                  </a:lnTo>
                  <a:lnTo>
                    <a:pt x="10" y="16"/>
                  </a:lnTo>
                  <a:lnTo>
                    <a:pt x="0" y="5"/>
                  </a:lnTo>
                  <a:lnTo>
                    <a:pt x="30" y="0"/>
                  </a:lnTo>
                  <a:lnTo>
                    <a:pt x="37" y="5"/>
                  </a:lnTo>
                  <a:lnTo>
                    <a:pt x="54" y="5"/>
                  </a:lnTo>
                  <a:lnTo>
                    <a:pt x="57" y="0"/>
                  </a:lnTo>
                  <a:lnTo>
                    <a:pt x="74" y="0"/>
                  </a:lnTo>
                  <a:lnTo>
                    <a:pt x="89" y="4"/>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76" name="Freeform 139"/>
            <p:cNvSpPr>
              <a:spLocks/>
            </p:cNvSpPr>
            <p:nvPr/>
          </p:nvSpPr>
          <p:spPr bwMode="auto">
            <a:xfrm>
              <a:off x="4495800" y="1196979"/>
              <a:ext cx="184150" cy="26988"/>
            </a:xfrm>
            <a:custGeom>
              <a:avLst/>
              <a:gdLst>
                <a:gd name="T0" fmla="*/ 92 w 116"/>
                <a:gd name="T1" fmla="*/ 3 h 17"/>
                <a:gd name="T2" fmla="*/ 116 w 116"/>
                <a:gd name="T3" fmla="*/ 8 h 17"/>
                <a:gd name="T4" fmla="*/ 101 w 116"/>
                <a:gd name="T5" fmla="*/ 15 h 17"/>
                <a:gd name="T6" fmla="*/ 68 w 116"/>
                <a:gd name="T7" fmla="*/ 17 h 17"/>
                <a:gd name="T8" fmla="*/ 34 w 116"/>
                <a:gd name="T9" fmla="*/ 14 h 17"/>
                <a:gd name="T10" fmla="*/ 31 w 116"/>
                <a:gd name="T11" fmla="*/ 11 h 17"/>
                <a:gd name="T12" fmla="*/ 14 w 116"/>
                <a:gd name="T13" fmla="*/ 11 h 17"/>
                <a:gd name="T14" fmla="*/ 0 w 116"/>
                <a:gd name="T15" fmla="*/ 4 h 17"/>
                <a:gd name="T16" fmla="*/ 35 w 116"/>
                <a:gd name="T17" fmla="*/ 1 h 17"/>
                <a:gd name="T18" fmla="*/ 52 w 116"/>
                <a:gd name="T19" fmla="*/ 4 h 17"/>
                <a:gd name="T20" fmla="*/ 62 w 116"/>
                <a:gd name="T21" fmla="*/ 0 h 17"/>
                <a:gd name="T22" fmla="*/ 92 w 116"/>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 h="17">
                  <a:moveTo>
                    <a:pt x="92" y="3"/>
                  </a:moveTo>
                  <a:lnTo>
                    <a:pt x="116" y="8"/>
                  </a:lnTo>
                  <a:lnTo>
                    <a:pt x="101" y="15"/>
                  </a:lnTo>
                  <a:lnTo>
                    <a:pt x="68" y="17"/>
                  </a:lnTo>
                  <a:lnTo>
                    <a:pt x="34" y="14"/>
                  </a:lnTo>
                  <a:lnTo>
                    <a:pt x="31" y="11"/>
                  </a:lnTo>
                  <a:lnTo>
                    <a:pt x="14" y="11"/>
                  </a:lnTo>
                  <a:lnTo>
                    <a:pt x="0" y="4"/>
                  </a:lnTo>
                  <a:lnTo>
                    <a:pt x="35" y="1"/>
                  </a:lnTo>
                  <a:lnTo>
                    <a:pt x="52" y="4"/>
                  </a:lnTo>
                  <a:lnTo>
                    <a:pt x="62" y="0"/>
                  </a:lnTo>
                  <a:lnTo>
                    <a:pt x="92" y="3"/>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77" name="Freeform 140"/>
            <p:cNvSpPr>
              <a:spLocks/>
            </p:cNvSpPr>
            <p:nvPr/>
          </p:nvSpPr>
          <p:spPr bwMode="auto">
            <a:xfrm>
              <a:off x="6429375" y="2703516"/>
              <a:ext cx="241300" cy="131763"/>
            </a:xfrm>
            <a:custGeom>
              <a:avLst/>
              <a:gdLst>
                <a:gd name="T0" fmla="*/ 146 w 152"/>
                <a:gd name="T1" fmla="*/ 52 h 83"/>
                <a:gd name="T2" fmla="*/ 146 w 152"/>
                <a:gd name="T3" fmla="*/ 61 h 83"/>
                <a:gd name="T4" fmla="*/ 152 w 152"/>
                <a:gd name="T5" fmla="*/ 75 h 83"/>
                <a:gd name="T6" fmla="*/ 151 w 152"/>
                <a:gd name="T7" fmla="*/ 83 h 83"/>
                <a:gd name="T8" fmla="*/ 136 w 152"/>
                <a:gd name="T9" fmla="*/ 83 h 83"/>
                <a:gd name="T10" fmla="*/ 114 w 152"/>
                <a:gd name="T11" fmla="*/ 78 h 83"/>
                <a:gd name="T12" fmla="*/ 100 w 152"/>
                <a:gd name="T13" fmla="*/ 76 h 83"/>
                <a:gd name="T14" fmla="*/ 88 w 152"/>
                <a:gd name="T15" fmla="*/ 66 h 83"/>
                <a:gd name="T16" fmla="*/ 63 w 152"/>
                <a:gd name="T17" fmla="*/ 63 h 83"/>
                <a:gd name="T18" fmla="*/ 37 w 152"/>
                <a:gd name="T19" fmla="*/ 51 h 83"/>
                <a:gd name="T20" fmla="*/ 18 w 152"/>
                <a:gd name="T21" fmla="*/ 41 h 83"/>
                <a:gd name="T22" fmla="*/ 0 w 152"/>
                <a:gd name="T23" fmla="*/ 33 h 83"/>
                <a:gd name="T24" fmla="*/ 3 w 152"/>
                <a:gd name="T25" fmla="*/ 14 h 83"/>
                <a:gd name="T26" fmla="*/ 12 w 152"/>
                <a:gd name="T27" fmla="*/ 4 h 83"/>
                <a:gd name="T28" fmla="*/ 18 w 152"/>
                <a:gd name="T29" fmla="*/ 0 h 83"/>
                <a:gd name="T30" fmla="*/ 34 w 152"/>
                <a:gd name="T31" fmla="*/ 6 h 83"/>
                <a:gd name="T32" fmla="*/ 54 w 152"/>
                <a:gd name="T33" fmla="*/ 19 h 83"/>
                <a:gd name="T34" fmla="*/ 65 w 152"/>
                <a:gd name="T35" fmla="*/ 22 h 83"/>
                <a:gd name="T36" fmla="*/ 73 w 152"/>
                <a:gd name="T37" fmla="*/ 32 h 83"/>
                <a:gd name="T38" fmla="*/ 88 w 152"/>
                <a:gd name="T39" fmla="*/ 36 h 83"/>
                <a:gd name="T40" fmla="*/ 104 w 152"/>
                <a:gd name="T41" fmla="*/ 45 h 83"/>
                <a:gd name="T42" fmla="*/ 125 w 152"/>
                <a:gd name="T43" fmla="*/ 50 h 83"/>
                <a:gd name="T44" fmla="*/ 146 w 152"/>
                <a:gd name="T45" fmla="*/ 5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2" h="83">
                  <a:moveTo>
                    <a:pt x="146" y="52"/>
                  </a:moveTo>
                  <a:lnTo>
                    <a:pt x="146" y="61"/>
                  </a:lnTo>
                  <a:lnTo>
                    <a:pt x="152" y="75"/>
                  </a:lnTo>
                  <a:lnTo>
                    <a:pt x="151" y="83"/>
                  </a:lnTo>
                  <a:lnTo>
                    <a:pt x="136" y="83"/>
                  </a:lnTo>
                  <a:lnTo>
                    <a:pt x="114" y="78"/>
                  </a:lnTo>
                  <a:lnTo>
                    <a:pt x="100" y="76"/>
                  </a:lnTo>
                  <a:lnTo>
                    <a:pt x="88" y="66"/>
                  </a:lnTo>
                  <a:lnTo>
                    <a:pt x="63" y="63"/>
                  </a:lnTo>
                  <a:lnTo>
                    <a:pt x="37" y="51"/>
                  </a:lnTo>
                  <a:lnTo>
                    <a:pt x="18" y="41"/>
                  </a:lnTo>
                  <a:lnTo>
                    <a:pt x="0" y="33"/>
                  </a:lnTo>
                  <a:lnTo>
                    <a:pt x="3" y="14"/>
                  </a:lnTo>
                  <a:lnTo>
                    <a:pt x="12" y="4"/>
                  </a:lnTo>
                  <a:lnTo>
                    <a:pt x="18" y="0"/>
                  </a:lnTo>
                  <a:lnTo>
                    <a:pt x="34" y="6"/>
                  </a:lnTo>
                  <a:lnTo>
                    <a:pt x="54" y="19"/>
                  </a:lnTo>
                  <a:lnTo>
                    <a:pt x="65" y="22"/>
                  </a:lnTo>
                  <a:lnTo>
                    <a:pt x="73" y="32"/>
                  </a:lnTo>
                  <a:lnTo>
                    <a:pt x="88" y="36"/>
                  </a:lnTo>
                  <a:lnTo>
                    <a:pt x="104" y="45"/>
                  </a:lnTo>
                  <a:lnTo>
                    <a:pt x="125" y="50"/>
                  </a:lnTo>
                  <a:lnTo>
                    <a:pt x="146" y="52"/>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78" name="Freeform 141"/>
            <p:cNvSpPr>
              <a:spLocks noEditPoints="1"/>
            </p:cNvSpPr>
            <p:nvPr/>
          </p:nvSpPr>
          <p:spPr bwMode="auto">
            <a:xfrm>
              <a:off x="8512175" y="4841879"/>
              <a:ext cx="517525" cy="398463"/>
            </a:xfrm>
            <a:custGeom>
              <a:avLst/>
              <a:gdLst>
                <a:gd name="T0" fmla="*/ 1141 w 1337"/>
                <a:gd name="T1" fmla="*/ 233 h 1028"/>
                <a:gd name="T2" fmla="*/ 1195 w 1337"/>
                <a:gd name="T3" fmla="*/ 199 h 1028"/>
                <a:gd name="T4" fmla="*/ 1204 w 1337"/>
                <a:gd name="T5" fmla="*/ 290 h 1028"/>
                <a:gd name="T6" fmla="*/ 1308 w 1337"/>
                <a:gd name="T7" fmla="*/ 265 h 1028"/>
                <a:gd name="T8" fmla="*/ 1271 w 1337"/>
                <a:gd name="T9" fmla="*/ 350 h 1028"/>
                <a:gd name="T10" fmla="*/ 1164 w 1337"/>
                <a:gd name="T11" fmla="*/ 397 h 1028"/>
                <a:gd name="T12" fmla="*/ 1109 w 1337"/>
                <a:gd name="T13" fmla="*/ 459 h 1028"/>
                <a:gd name="T14" fmla="*/ 1030 w 1337"/>
                <a:gd name="T15" fmla="*/ 521 h 1028"/>
                <a:gd name="T16" fmla="*/ 876 w 1337"/>
                <a:gd name="T17" fmla="*/ 612 h 1028"/>
                <a:gd name="T18" fmla="*/ 861 w 1337"/>
                <a:gd name="T19" fmla="*/ 578 h 1028"/>
                <a:gd name="T20" fmla="*/ 960 w 1337"/>
                <a:gd name="T21" fmla="*/ 462 h 1028"/>
                <a:gd name="T22" fmla="*/ 931 w 1337"/>
                <a:gd name="T23" fmla="*/ 397 h 1028"/>
                <a:gd name="T24" fmla="*/ 1055 w 1337"/>
                <a:gd name="T25" fmla="*/ 303 h 1028"/>
                <a:gd name="T26" fmla="*/ 1093 w 1337"/>
                <a:gd name="T27" fmla="*/ 191 h 1028"/>
                <a:gd name="T28" fmla="*/ 1092 w 1337"/>
                <a:gd name="T29" fmla="*/ 141 h 1028"/>
                <a:gd name="T30" fmla="*/ 1084 w 1337"/>
                <a:gd name="T31" fmla="*/ 6 h 1028"/>
                <a:gd name="T32" fmla="*/ 1126 w 1337"/>
                <a:gd name="T33" fmla="*/ 47 h 1028"/>
                <a:gd name="T34" fmla="*/ 1144 w 1337"/>
                <a:gd name="T35" fmla="*/ 144 h 1028"/>
                <a:gd name="T36" fmla="*/ 761 w 1337"/>
                <a:gd name="T37" fmla="*/ 582 h 1028"/>
                <a:gd name="T38" fmla="*/ 829 w 1337"/>
                <a:gd name="T39" fmla="*/ 583 h 1028"/>
                <a:gd name="T40" fmla="*/ 749 w 1337"/>
                <a:gd name="T41" fmla="*/ 658 h 1028"/>
                <a:gd name="T42" fmla="*/ 597 w 1337"/>
                <a:gd name="T43" fmla="*/ 754 h 1028"/>
                <a:gd name="T44" fmla="*/ 537 w 1337"/>
                <a:gd name="T45" fmla="*/ 795 h 1028"/>
                <a:gd name="T46" fmla="*/ 393 w 1337"/>
                <a:gd name="T47" fmla="*/ 882 h 1028"/>
                <a:gd name="T48" fmla="*/ 202 w 1337"/>
                <a:gd name="T49" fmla="*/ 1004 h 1028"/>
                <a:gd name="T50" fmla="*/ 88 w 1337"/>
                <a:gd name="T51" fmla="*/ 1026 h 1028"/>
                <a:gd name="T52" fmla="*/ 0 w 1337"/>
                <a:gd name="T53" fmla="*/ 993 h 1028"/>
                <a:gd name="T54" fmla="*/ 99 w 1337"/>
                <a:gd name="T55" fmla="*/ 900 h 1028"/>
                <a:gd name="T56" fmla="*/ 304 w 1337"/>
                <a:gd name="T57" fmla="*/ 801 h 1028"/>
                <a:gd name="T58" fmla="*/ 469 w 1337"/>
                <a:gd name="T59" fmla="*/ 725 h 1028"/>
                <a:gd name="T60" fmla="*/ 619 w 1337"/>
                <a:gd name="T61" fmla="*/ 619 h 1028"/>
                <a:gd name="T62" fmla="*/ 704 w 1337"/>
                <a:gd name="T63" fmla="*/ 550 h 1028"/>
                <a:gd name="T64" fmla="*/ 770 w 1337"/>
                <a:gd name="T65" fmla="*/ 547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7" h="1028">
                  <a:moveTo>
                    <a:pt x="1144" y="144"/>
                  </a:moveTo>
                  <a:lnTo>
                    <a:pt x="1141" y="233"/>
                  </a:lnTo>
                  <a:lnTo>
                    <a:pt x="1178" y="176"/>
                  </a:lnTo>
                  <a:lnTo>
                    <a:pt x="1195" y="199"/>
                  </a:lnTo>
                  <a:lnTo>
                    <a:pt x="1166" y="263"/>
                  </a:lnTo>
                  <a:lnTo>
                    <a:pt x="1204" y="290"/>
                  </a:lnTo>
                  <a:lnTo>
                    <a:pt x="1247" y="297"/>
                  </a:lnTo>
                  <a:lnTo>
                    <a:pt x="1308" y="265"/>
                  </a:lnTo>
                  <a:lnTo>
                    <a:pt x="1337" y="275"/>
                  </a:lnTo>
                  <a:lnTo>
                    <a:pt x="1271" y="350"/>
                  </a:lnTo>
                  <a:lnTo>
                    <a:pt x="1216" y="399"/>
                  </a:lnTo>
                  <a:lnTo>
                    <a:pt x="1164" y="397"/>
                  </a:lnTo>
                  <a:lnTo>
                    <a:pt x="1128" y="423"/>
                  </a:lnTo>
                  <a:lnTo>
                    <a:pt x="1109" y="459"/>
                  </a:lnTo>
                  <a:lnTo>
                    <a:pt x="1088" y="475"/>
                  </a:lnTo>
                  <a:lnTo>
                    <a:pt x="1030" y="521"/>
                  </a:lnTo>
                  <a:lnTo>
                    <a:pt x="954" y="578"/>
                  </a:lnTo>
                  <a:lnTo>
                    <a:pt x="876" y="612"/>
                  </a:lnTo>
                  <a:lnTo>
                    <a:pt x="881" y="590"/>
                  </a:lnTo>
                  <a:lnTo>
                    <a:pt x="861" y="578"/>
                  </a:lnTo>
                  <a:lnTo>
                    <a:pt x="950" y="508"/>
                  </a:lnTo>
                  <a:lnTo>
                    <a:pt x="960" y="462"/>
                  </a:lnTo>
                  <a:lnTo>
                    <a:pt x="908" y="428"/>
                  </a:lnTo>
                  <a:lnTo>
                    <a:pt x="931" y="397"/>
                  </a:lnTo>
                  <a:lnTo>
                    <a:pt x="1001" y="368"/>
                  </a:lnTo>
                  <a:lnTo>
                    <a:pt x="1055" y="303"/>
                  </a:lnTo>
                  <a:lnTo>
                    <a:pt x="1087" y="248"/>
                  </a:lnTo>
                  <a:lnTo>
                    <a:pt x="1093" y="191"/>
                  </a:lnTo>
                  <a:lnTo>
                    <a:pt x="1104" y="176"/>
                  </a:lnTo>
                  <a:lnTo>
                    <a:pt x="1092" y="141"/>
                  </a:lnTo>
                  <a:lnTo>
                    <a:pt x="1080" y="66"/>
                  </a:lnTo>
                  <a:lnTo>
                    <a:pt x="1084" y="6"/>
                  </a:lnTo>
                  <a:lnTo>
                    <a:pt x="1114" y="0"/>
                  </a:lnTo>
                  <a:lnTo>
                    <a:pt x="1126" y="47"/>
                  </a:lnTo>
                  <a:lnTo>
                    <a:pt x="1169" y="69"/>
                  </a:lnTo>
                  <a:lnTo>
                    <a:pt x="1144" y="144"/>
                  </a:lnTo>
                  <a:moveTo>
                    <a:pt x="770" y="547"/>
                  </a:moveTo>
                  <a:lnTo>
                    <a:pt x="761" y="582"/>
                  </a:lnTo>
                  <a:lnTo>
                    <a:pt x="834" y="548"/>
                  </a:lnTo>
                  <a:lnTo>
                    <a:pt x="829" y="583"/>
                  </a:lnTo>
                  <a:lnTo>
                    <a:pt x="803" y="619"/>
                  </a:lnTo>
                  <a:lnTo>
                    <a:pt x="749" y="658"/>
                  </a:lnTo>
                  <a:lnTo>
                    <a:pt x="657" y="720"/>
                  </a:lnTo>
                  <a:lnTo>
                    <a:pt x="597" y="754"/>
                  </a:lnTo>
                  <a:lnTo>
                    <a:pt x="590" y="794"/>
                  </a:lnTo>
                  <a:lnTo>
                    <a:pt x="537" y="795"/>
                  </a:lnTo>
                  <a:lnTo>
                    <a:pt x="454" y="827"/>
                  </a:lnTo>
                  <a:lnTo>
                    <a:pt x="393" y="882"/>
                  </a:lnTo>
                  <a:lnTo>
                    <a:pt x="285" y="966"/>
                  </a:lnTo>
                  <a:lnTo>
                    <a:pt x="202" y="1004"/>
                  </a:lnTo>
                  <a:lnTo>
                    <a:pt x="148" y="1028"/>
                  </a:lnTo>
                  <a:lnTo>
                    <a:pt x="88" y="1026"/>
                  </a:lnTo>
                  <a:lnTo>
                    <a:pt x="68" y="998"/>
                  </a:lnTo>
                  <a:lnTo>
                    <a:pt x="0" y="993"/>
                  </a:lnTo>
                  <a:lnTo>
                    <a:pt x="13" y="962"/>
                  </a:lnTo>
                  <a:lnTo>
                    <a:pt x="99" y="900"/>
                  </a:lnTo>
                  <a:lnTo>
                    <a:pt x="248" y="817"/>
                  </a:lnTo>
                  <a:lnTo>
                    <a:pt x="304" y="801"/>
                  </a:lnTo>
                  <a:lnTo>
                    <a:pt x="378" y="769"/>
                  </a:lnTo>
                  <a:lnTo>
                    <a:pt x="469" y="725"/>
                  </a:lnTo>
                  <a:lnTo>
                    <a:pt x="543" y="681"/>
                  </a:lnTo>
                  <a:lnTo>
                    <a:pt x="619" y="619"/>
                  </a:lnTo>
                  <a:lnTo>
                    <a:pt x="661" y="597"/>
                  </a:lnTo>
                  <a:lnTo>
                    <a:pt x="704" y="550"/>
                  </a:lnTo>
                  <a:lnTo>
                    <a:pt x="780" y="511"/>
                  </a:lnTo>
                  <a:lnTo>
                    <a:pt x="770" y="547"/>
                  </a:lnTo>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79" name="Freeform 142"/>
            <p:cNvSpPr>
              <a:spLocks/>
            </p:cNvSpPr>
            <p:nvPr/>
          </p:nvSpPr>
          <p:spPr bwMode="auto">
            <a:xfrm>
              <a:off x="5675312" y="2884491"/>
              <a:ext cx="212725" cy="273050"/>
            </a:xfrm>
            <a:custGeom>
              <a:avLst/>
              <a:gdLst>
                <a:gd name="T0" fmla="*/ 120 w 134"/>
                <a:gd name="T1" fmla="*/ 79 h 172"/>
                <a:gd name="T2" fmla="*/ 114 w 134"/>
                <a:gd name="T3" fmla="*/ 93 h 172"/>
                <a:gd name="T4" fmla="*/ 106 w 134"/>
                <a:gd name="T5" fmla="*/ 92 h 172"/>
                <a:gd name="T6" fmla="*/ 103 w 134"/>
                <a:gd name="T7" fmla="*/ 97 h 172"/>
                <a:gd name="T8" fmla="*/ 101 w 134"/>
                <a:gd name="T9" fmla="*/ 107 h 172"/>
                <a:gd name="T10" fmla="*/ 104 w 134"/>
                <a:gd name="T11" fmla="*/ 121 h 172"/>
                <a:gd name="T12" fmla="*/ 103 w 134"/>
                <a:gd name="T13" fmla="*/ 124 h 172"/>
                <a:gd name="T14" fmla="*/ 95 w 134"/>
                <a:gd name="T15" fmla="*/ 124 h 172"/>
                <a:gd name="T16" fmla="*/ 84 w 134"/>
                <a:gd name="T17" fmla="*/ 132 h 172"/>
                <a:gd name="T18" fmla="*/ 83 w 134"/>
                <a:gd name="T19" fmla="*/ 142 h 172"/>
                <a:gd name="T20" fmla="*/ 79 w 134"/>
                <a:gd name="T21" fmla="*/ 146 h 172"/>
                <a:gd name="T22" fmla="*/ 68 w 134"/>
                <a:gd name="T23" fmla="*/ 146 h 172"/>
                <a:gd name="T24" fmla="*/ 61 w 134"/>
                <a:gd name="T25" fmla="*/ 151 h 172"/>
                <a:gd name="T26" fmla="*/ 62 w 134"/>
                <a:gd name="T27" fmla="*/ 159 h 172"/>
                <a:gd name="T28" fmla="*/ 54 w 134"/>
                <a:gd name="T29" fmla="*/ 165 h 172"/>
                <a:gd name="T30" fmla="*/ 43 w 134"/>
                <a:gd name="T31" fmla="*/ 163 h 172"/>
                <a:gd name="T32" fmla="*/ 32 w 134"/>
                <a:gd name="T33" fmla="*/ 170 h 172"/>
                <a:gd name="T34" fmla="*/ 23 w 134"/>
                <a:gd name="T35" fmla="*/ 172 h 172"/>
                <a:gd name="T36" fmla="*/ 16 w 134"/>
                <a:gd name="T37" fmla="*/ 157 h 172"/>
                <a:gd name="T38" fmla="*/ 0 w 134"/>
                <a:gd name="T39" fmla="*/ 123 h 172"/>
                <a:gd name="T40" fmla="*/ 52 w 134"/>
                <a:gd name="T41" fmla="*/ 102 h 172"/>
                <a:gd name="T42" fmla="*/ 60 w 134"/>
                <a:gd name="T43" fmla="*/ 60 h 172"/>
                <a:gd name="T44" fmla="*/ 51 w 134"/>
                <a:gd name="T45" fmla="*/ 46 h 172"/>
                <a:gd name="T46" fmla="*/ 50 w 134"/>
                <a:gd name="T47" fmla="*/ 37 h 172"/>
                <a:gd name="T48" fmla="*/ 54 w 134"/>
                <a:gd name="T49" fmla="*/ 29 h 172"/>
                <a:gd name="T50" fmla="*/ 54 w 134"/>
                <a:gd name="T51" fmla="*/ 20 h 172"/>
                <a:gd name="T52" fmla="*/ 61 w 134"/>
                <a:gd name="T53" fmla="*/ 16 h 172"/>
                <a:gd name="T54" fmla="*/ 58 w 134"/>
                <a:gd name="T55" fmla="*/ 13 h 172"/>
                <a:gd name="T56" fmla="*/ 57 w 134"/>
                <a:gd name="T57" fmla="*/ 0 h 172"/>
                <a:gd name="T58" fmla="*/ 67 w 134"/>
                <a:gd name="T59" fmla="*/ 0 h 172"/>
                <a:gd name="T60" fmla="*/ 76 w 134"/>
                <a:gd name="T61" fmla="*/ 14 h 172"/>
                <a:gd name="T62" fmla="*/ 87 w 134"/>
                <a:gd name="T63" fmla="*/ 21 h 172"/>
                <a:gd name="T64" fmla="*/ 101 w 134"/>
                <a:gd name="T65" fmla="*/ 24 h 172"/>
                <a:gd name="T66" fmla="*/ 112 w 134"/>
                <a:gd name="T67" fmla="*/ 28 h 172"/>
                <a:gd name="T68" fmla="*/ 121 w 134"/>
                <a:gd name="T69" fmla="*/ 40 h 172"/>
                <a:gd name="T70" fmla="*/ 127 w 134"/>
                <a:gd name="T71" fmla="*/ 47 h 172"/>
                <a:gd name="T72" fmla="*/ 134 w 134"/>
                <a:gd name="T73" fmla="*/ 49 h 172"/>
                <a:gd name="T74" fmla="*/ 134 w 134"/>
                <a:gd name="T75" fmla="*/ 54 h 172"/>
                <a:gd name="T76" fmla="*/ 129 w 134"/>
                <a:gd name="T77" fmla="*/ 66 h 172"/>
                <a:gd name="T78" fmla="*/ 127 w 134"/>
                <a:gd name="T79" fmla="*/ 72 h 172"/>
                <a:gd name="T80" fmla="*/ 120 w 134"/>
                <a:gd name="T81" fmla="*/ 7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4" h="172">
                  <a:moveTo>
                    <a:pt x="120" y="79"/>
                  </a:moveTo>
                  <a:lnTo>
                    <a:pt x="114" y="93"/>
                  </a:lnTo>
                  <a:lnTo>
                    <a:pt x="106" y="92"/>
                  </a:lnTo>
                  <a:lnTo>
                    <a:pt x="103" y="97"/>
                  </a:lnTo>
                  <a:lnTo>
                    <a:pt x="101" y="107"/>
                  </a:lnTo>
                  <a:lnTo>
                    <a:pt x="104" y="121"/>
                  </a:lnTo>
                  <a:lnTo>
                    <a:pt x="103" y="124"/>
                  </a:lnTo>
                  <a:lnTo>
                    <a:pt x="95" y="124"/>
                  </a:lnTo>
                  <a:lnTo>
                    <a:pt x="84" y="132"/>
                  </a:lnTo>
                  <a:lnTo>
                    <a:pt x="83" y="142"/>
                  </a:lnTo>
                  <a:lnTo>
                    <a:pt x="79" y="146"/>
                  </a:lnTo>
                  <a:lnTo>
                    <a:pt x="68" y="146"/>
                  </a:lnTo>
                  <a:lnTo>
                    <a:pt x="61" y="151"/>
                  </a:lnTo>
                  <a:lnTo>
                    <a:pt x="62" y="159"/>
                  </a:lnTo>
                  <a:lnTo>
                    <a:pt x="54" y="165"/>
                  </a:lnTo>
                  <a:lnTo>
                    <a:pt x="43" y="163"/>
                  </a:lnTo>
                  <a:lnTo>
                    <a:pt x="32" y="170"/>
                  </a:lnTo>
                  <a:lnTo>
                    <a:pt x="23" y="172"/>
                  </a:lnTo>
                  <a:lnTo>
                    <a:pt x="16" y="157"/>
                  </a:lnTo>
                  <a:lnTo>
                    <a:pt x="0" y="123"/>
                  </a:lnTo>
                  <a:lnTo>
                    <a:pt x="52" y="102"/>
                  </a:lnTo>
                  <a:lnTo>
                    <a:pt x="60" y="60"/>
                  </a:lnTo>
                  <a:lnTo>
                    <a:pt x="51" y="46"/>
                  </a:lnTo>
                  <a:lnTo>
                    <a:pt x="50" y="37"/>
                  </a:lnTo>
                  <a:lnTo>
                    <a:pt x="54" y="29"/>
                  </a:lnTo>
                  <a:lnTo>
                    <a:pt x="54" y="20"/>
                  </a:lnTo>
                  <a:lnTo>
                    <a:pt x="61" y="16"/>
                  </a:lnTo>
                  <a:lnTo>
                    <a:pt x="58" y="13"/>
                  </a:lnTo>
                  <a:lnTo>
                    <a:pt x="57" y="0"/>
                  </a:lnTo>
                  <a:lnTo>
                    <a:pt x="67" y="0"/>
                  </a:lnTo>
                  <a:lnTo>
                    <a:pt x="76" y="14"/>
                  </a:lnTo>
                  <a:lnTo>
                    <a:pt x="87" y="21"/>
                  </a:lnTo>
                  <a:lnTo>
                    <a:pt x="101" y="24"/>
                  </a:lnTo>
                  <a:lnTo>
                    <a:pt x="112" y="28"/>
                  </a:lnTo>
                  <a:lnTo>
                    <a:pt x="121" y="40"/>
                  </a:lnTo>
                  <a:lnTo>
                    <a:pt x="127" y="47"/>
                  </a:lnTo>
                  <a:lnTo>
                    <a:pt x="134" y="49"/>
                  </a:lnTo>
                  <a:lnTo>
                    <a:pt x="134" y="54"/>
                  </a:lnTo>
                  <a:lnTo>
                    <a:pt x="129" y="66"/>
                  </a:lnTo>
                  <a:lnTo>
                    <a:pt x="127" y="72"/>
                  </a:lnTo>
                  <a:lnTo>
                    <a:pt x="120" y="7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80" name="Freeform 143"/>
            <p:cNvSpPr>
              <a:spLocks/>
            </p:cNvSpPr>
            <p:nvPr/>
          </p:nvSpPr>
          <p:spPr bwMode="auto">
            <a:xfrm>
              <a:off x="5884862" y="2482854"/>
              <a:ext cx="430213" cy="441325"/>
            </a:xfrm>
            <a:custGeom>
              <a:avLst/>
              <a:gdLst>
                <a:gd name="T0" fmla="*/ 232 w 271"/>
                <a:gd name="T1" fmla="*/ 9 h 278"/>
                <a:gd name="T2" fmla="*/ 271 w 271"/>
                <a:gd name="T3" fmla="*/ 33 h 278"/>
                <a:gd name="T4" fmla="*/ 241 w 271"/>
                <a:gd name="T5" fmla="*/ 54 h 278"/>
                <a:gd name="T6" fmla="*/ 207 w 271"/>
                <a:gd name="T7" fmla="*/ 58 h 278"/>
                <a:gd name="T8" fmla="*/ 226 w 271"/>
                <a:gd name="T9" fmla="*/ 90 h 278"/>
                <a:gd name="T10" fmla="*/ 230 w 271"/>
                <a:gd name="T11" fmla="*/ 112 h 278"/>
                <a:gd name="T12" fmla="*/ 221 w 271"/>
                <a:gd name="T13" fmla="*/ 148 h 278"/>
                <a:gd name="T14" fmla="*/ 199 w 271"/>
                <a:gd name="T15" fmla="*/ 191 h 278"/>
                <a:gd name="T16" fmla="*/ 162 w 271"/>
                <a:gd name="T17" fmla="*/ 211 h 278"/>
                <a:gd name="T18" fmla="*/ 180 w 271"/>
                <a:gd name="T19" fmla="*/ 236 h 278"/>
                <a:gd name="T20" fmla="*/ 198 w 271"/>
                <a:gd name="T21" fmla="*/ 265 h 278"/>
                <a:gd name="T22" fmla="*/ 149 w 271"/>
                <a:gd name="T23" fmla="*/ 278 h 278"/>
                <a:gd name="T24" fmla="*/ 127 w 271"/>
                <a:gd name="T25" fmla="*/ 258 h 278"/>
                <a:gd name="T26" fmla="*/ 79 w 271"/>
                <a:gd name="T27" fmla="*/ 246 h 278"/>
                <a:gd name="T28" fmla="*/ 25 w 271"/>
                <a:gd name="T29" fmla="*/ 249 h 278"/>
                <a:gd name="T30" fmla="*/ 53 w 271"/>
                <a:gd name="T31" fmla="*/ 214 h 278"/>
                <a:gd name="T32" fmla="*/ 41 w 271"/>
                <a:gd name="T33" fmla="*/ 202 h 278"/>
                <a:gd name="T34" fmla="*/ 19 w 271"/>
                <a:gd name="T35" fmla="*/ 174 h 278"/>
                <a:gd name="T36" fmla="*/ 0 w 271"/>
                <a:gd name="T37" fmla="*/ 151 h 278"/>
                <a:gd name="T38" fmla="*/ 48 w 271"/>
                <a:gd name="T39" fmla="*/ 158 h 278"/>
                <a:gd name="T40" fmla="*/ 62 w 271"/>
                <a:gd name="T41" fmla="*/ 156 h 278"/>
                <a:gd name="T42" fmla="*/ 96 w 271"/>
                <a:gd name="T43" fmla="*/ 150 h 278"/>
                <a:gd name="T44" fmla="*/ 101 w 271"/>
                <a:gd name="T45" fmla="*/ 120 h 278"/>
                <a:gd name="T46" fmla="*/ 115 w 271"/>
                <a:gd name="T47" fmla="*/ 114 h 278"/>
                <a:gd name="T48" fmla="*/ 135 w 271"/>
                <a:gd name="T49" fmla="*/ 114 h 278"/>
                <a:gd name="T50" fmla="*/ 137 w 271"/>
                <a:gd name="T51" fmla="*/ 95 h 278"/>
                <a:gd name="T52" fmla="*/ 152 w 271"/>
                <a:gd name="T53" fmla="*/ 78 h 278"/>
                <a:gd name="T54" fmla="*/ 158 w 271"/>
                <a:gd name="T55" fmla="*/ 65 h 278"/>
                <a:gd name="T56" fmla="*/ 159 w 271"/>
                <a:gd name="T57" fmla="*/ 49 h 278"/>
                <a:gd name="T58" fmla="*/ 161 w 271"/>
                <a:gd name="T59" fmla="*/ 30 h 278"/>
                <a:gd name="T60" fmla="*/ 163 w 271"/>
                <a:gd name="T61" fmla="*/ 12 h 278"/>
                <a:gd name="T62" fmla="*/ 199 w 271"/>
                <a:gd name="T63" fmla="*/ 6 h 278"/>
                <a:gd name="T64" fmla="*/ 216 w 271"/>
                <a:gd name="T6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1" h="278">
                  <a:moveTo>
                    <a:pt x="216" y="0"/>
                  </a:moveTo>
                  <a:lnTo>
                    <a:pt x="232" y="9"/>
                  </a:lnTo>
                  <a:lnTo>
                    <a:pt x="241" y="25"/>
                  </a:lnTo>
                  <a:lnTo>
                    <a:pt x="271" y="33"/>
                  </a:lnTo>
                  <a:lnTo>
                    <a:pt x="259" y="51"/>
                  </a:lnTo>
                  <a:lnTo>
                    <a:pt x="241" y="54"/>
                  </a:lnTo>
                  <a:lnTo>
                    <a:pt x="213" y="49"/>
                  </a:lnTo>
                  <a:lnTo>
                    <a:pt x="207" y="58"/>
                  </a:lnTo>
                  <a:lnTo>
                    <a:pt x="217" y="76"/>
                  </a:lnTo>
                  <a:lnTo>
                    <a:pt x="226" y="90"/>
                  </a:lnTo>
                  <a:lnTo>
                    <a:pt x="243" y="100"/>
                  </a:lnTo>
                  <a:lnTo>
                    <a:pt x="230" y="112"/>
                  </a:lnTo>
                  <a:lnTo>
                    <a:pt x="234" y="127"/>
                  </a:lnTo>
                  <a:lnTo>
                    <a:pt x="221" y="148"/>
                  </a:lnTo>
                  <a:lnTo>
                    <a:pt x="214" y="169"/>
                  </a:lnTo>
                  <a:lnTo>
                    <a:pt x="199" y="191"/>
                  </a:lnTo>
                  <a:lnTo>
                    <a:pt x="178" y="189"/>
                  </a:lnTo>
                  <a:lnTo>
                    <a:pt x="162" y="211"/>
                  </a:lnTo>
                  <a:lnTo>
                    <a:pt x="176" y="220"/>
                  </a:lnTo>
                  <a:lnTo>
                    <a:pt x="180" y="236"/>
                  </a:lnTo>
                  <a:lnTo>
                    <a:pt x="192" y="246"/>
                  </a:lnTo>
                  <a:lnTo>
                    <a:pt x="198" y="265"/>
                  </a:lnTo>
                  <a:lnTo>
                    <a:pt x="159" y="264"/>
                  </a:lnTo>
                  <a:lnTo>
                    <a:pt x="149" y="278"/>
                  </a:lnTo>
                  <a:lnTo>
                    <a:pt x="135" y="273"/>
                  </a:lnTo>
                  <a:lnTo>
                    <a:pt x="127" y="258"/>
                  </a:lnTo>
                  <a:lnTo>
                    <a:pt x="111" y="242"/>
                  </a:lnTo>
                  <a:lnTo>
                    <a:pt x="79" y="246"/>
                  </a:lnTo>
                  <a:lnTo>
                    <a:pt x="50" y="246"/>
                  </a:lnTo>
                  <a:lnTo>
                    <a:pt x="25" y="249"/>
                  </a:lnTo>
                  <a:lnTo>
                    <a:pt x="29" y="225"/>
                  </a:lnTo>
                  <a:lnTo>
                    <a:pt x="53" y="214"/>
                  </a:lnTo>
                  <a:lnTo>
                    <a:pt x="50" y="205"/>
                  </a:lnTo>
                  <a:lnTo>
                    <a:pt x="41" y="202"/>
                  </a:lnTo>
                  <a:lnTo>
                    <a:pt x="38" y="183"/>
                  </a:lnTo>
                  <a:lnTo>
                    <a:pt x="19" y="174"/>
                  </a:lnTo>
                  <a:lnTo>
                    <a:pt x="10" y="162"/>
                  </a:lnTo>
                  <a:lnTo>
                    <a:pt x="0" y="151"/>
                  </a:lnTo>
                  <a:lnTo>
                    <a:pt x="31" y="161"/>
                  </a:lnTo>
                  <a:lnTo>
                    <a:pt x="48" y="158"/>
                  </a:lnTo>
                  <a:lnTo>
                    <a:pt x="59" y="161"/>
                  </a:lnTo>
                  <a:lnTo>
                    <a:pt x="62" y="156"/>
                  </a:lnTo>
                  <a:lnTo>
                    <a:pt x="75" y="158"/>
                  </a:lnTo>
                  <a:lnTo>
                    <a:pt x="96" y="150"/>
                  </a:lnTo>
                  <a:lnTo>
                    <a:pt x="93" y="132"/>
                  </a:lnTo>
                  <a:lnTo>
                    <a:pt x="101" y="120"/>
                  </a:lnTo>
                  <a:lnTo>
                    <a:pt x="114" y="120"/>
                  </a:lnTo>
                  <a:lnTo>
                    <a:pt x="115" y="114"/>
                  </a:lnTo>
                  <a:lnTo>
                    <a:pt x="128" y="112"/>
                  </a:lnTo>
                  <a:lnTo>
                    <a:pt x="135" y="114"/>
                  </a:lnTo>
                  <a:lnTo>
                    <a:pt x="140" y="108"/>
                  </a:lnTo>
                  <a:lnTo>
                    <a:pt x="137" y="95"/>
                  </a:lnTo>
                  <a:lnTo>
                    <a:pt x="142" y="83"/>
                  </a:lnTo>
                  <a:lnTo>
                    <a:pt x="152" y="78"/>
                  </a:lnTo>
                  <a:lnTo>
                    <a:pt x="142" y="64"/>
                  </a:lnTo>
                  <a:lnTo>
                    <a:pt x="158" y="65"/>
                  </a:lnTo>
                  <a:lnTo>
                    <a:pt x="162" y="57"/>
                  </a:lnTo>
                  <a:lnTo>
                    <a:pt x="159" y="49"/>
                  </a:lnTo>
                  <a:lnTo>
                    <a:pt x="165" y="41"/>
                  </a:lnTo>
                  <a:lnTo>
                    <a:pt x="161" y="30"/>
                  </a:lnTo>
                  <a:lnTo>
                    <a:pt x="155" y="22"/>
                  </a:lnTo>
                  <a:lnTo>
                    <a:pt x="163" y="12"/>
                  </a:lnTo>
                  <a:lnTo>
                    <a:pt x="180" y="8"/>
                  </a:lnTo>
                  <a:lnTo>
                    <a:pt x="199" y="6"/>
                  </a:lnTo>
                  <a:lnTo>
                    <a:pt x="207" y="2"/>
                  </a:lnTo>
                  <a:lnTo>
                    <a:pt x="216" y="0"/>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81" name="Freeform 144"/>
            <p:cNvSpPr>
              <a:spLocks/>
            </p:cNvSpPr>
            <p:nvPr/>
          </p:nvSpPr>
          <p:spPr bwMode="auto">
            <a:xfrm>
              <a:off x="1768475" y="3389317"/>
              <a:ext cx="166688" cy="77788"/>
            </a:xfrm>
            <a:custGeom>
              <a:avLst/>
              <a:gdLst>
                <a:gd name="T0" fmla="*/ 92 w 105"/>
                <a:gd name="T1" fmla="*/ 49 h 49"/>
                <a:gd name="T2" fmla="*/ 87 w 105"/>
                <a:gd name="T3" fmla="*/ 43 h 49"/>
                <a:gd name="T4" fmla="*/ 83 w 105"/>
                <a:gd name="T5" fmla="*/ 32 h 49"/>
                <a:gd name="T6" fmla="*/ 88 w 105"/>
                <a:gd name="T7" fmla="*/ 27 h 49"/>
                <a:gd name="T8" fmla="*/ 83 w 105"/>
                <a:gd name="T9" fmla="*/ 25 h 49"/>
                <a:gd name="T10" fmla="*/ 80 w 105"/>
                <a:gd name="T11" fmla="*/ 18 h 49"/>
                <a:gd name="T12" fmla="*/ 72 w 105"/>
                <a:gd name="T13" fmla="*/ 12 h 49"/>
                <a:gd name="T14" fmla="*/ 63 w 105"/>
                <a:gd name="T15" fmla="*/ 14 h 49"/>
                <a:gd name="T16" fmla="*/ 59 w 105"/>
                <a:gd name="T17" fmla="*/ 21 h 49"/>
                <a:gd name="T18" fmla="*/ 52 w 105"/>
                <a:gd name="T19" fmla="*/ 26 h 49"/>
                <a:gd name="T20" fmla="*/ 48 w 105"/>
                <a:gd name="T21" fmla="*/ 27 h 49"/>
                <a:gd name="T22" fmla="*/ 46 w 105"/>
                <a:gd name="T23" fmla="*/ 31 h 49"/>
                <a:gd name="T24" fmla="*/ 54 w 105"/>
                <a:gd name="T25" fmla="*/ 43 h 49"/>
                <a:gd name="T26" fmla="*/ 49 w 105"/>
                <a:gd name="T27" fmla="*/ 45 h 49"/>
                <a:gd name="T28" fmla="*/ 46 w 105"/>
                <a:gd name="T29" fmla="*/ 48 h 49"/>
                <a:gd name="T30" fmla="*/ 37 w 105"/>
                <a:gd name="T31" fmla="*/ 49 h 49"/>
                <a:gd name="T32" fmla="*/ 35 w 105"/>
                <a:gd name="T33" fmla="*/ 37 h 49"/>
                <a:gd name="T34" fmla="*/ 32 w 105"/>
                <a:gd name="T35" fmla="*/ 40 h 49"/>
                <a:gd name="T36" fmla="*/ 26 w 105"/>
                <a:gd name="T37" fmla="*/ 39 h 49"/>
                <a:gd name="T38" fmla="*/ 23 w 105"/>
                <a:gd name="T39" fmla="*/ 31 h 49"/>
                <a:gd name="T40" fmla="*/ 16 w 105"/>
                <a:gd name="T41" fmla="*/ 29 h 49"/>
                <a:gd name="T42" fmla="*/ 11 w 105"/>
                <a:gd name="T43" fmla="*/ 27 h 49"/>
                <a:gd name="T44" fmla="*/ 3 w 105"/>
                <a:gd name="T45" fmla="*/ 27 h 49"/>
                <a:gd name="T46" fmla="*/ 2 w 105"/>
                <a:gd name="T47" fmla="*/ 32 h 49"/>
                <a:gd name="T48" fmla="*/ 0 w 105"/>
                <a:gd name="T49" fmla="*/ 29 h 49"/>
                <a:gd name="T50" fmla="*/ 1 w 105"/>
                <a:gd name="T51" fmla="*/ 24 h 49"/>
                <a:gd name="T52" fmla="*/ 3 w 105"/>
                <a:gd name="T53" fmla="*/ 20 h 49"/>
                <a:gd name="T54" fmla="*/ 3 w 105"/>
                <a:gd name="T55" fmla="*/ 16 h 49"/>
                <a:gd name="T56" fmla="*/ 6 w 105"/>
                <a:gd name="T57" fmla="*/ 14 h 49"/>
                <a:gd name="T58" fmla="*/ 2 w 105"/>
                <a:gd name="T59" fmla="*/ 11 h 49"/>
                <a:gd name="T60" fmla="*/ 2 w 105"/>
                <a:gd name="T61" fmla="*/ 2 h 49"/>
                <a:gd name="T62" fmla="*/ 9 w 105"/>
                <a:gd name="T63" fmla="*/ 1 h 49"/>
                <a:gd name="T64" fmla="*/ 16 w 105"/>
                <a:gd name="T65" fmla="*/ 8 h 49"/>
                <a:gd name="T66" fmla="*/ 15 w 105"/>
                <a:gd name="T67" fmla="*/ 12 h 49"/>
                <a:gd name="T68" fmla="*/ 22 w 105"/>
                <a:gd name="T69" fmla="*/ 13 h 49"/>
                <a:gd name="T70" fmla="*/ 24 w 105"/>
                <a:gd name="T71" fmla="*/ 12 h 49"/>
                <a:gd name="T72" fmla="*/ 29 w 105"/>
                <a:gd name="T73" fmla="*/ 17 h 49"/>
                <a:gd name="T74" fmla="*/ 38 w 105"/>
                <a:gd name="T75" fmla="*/ 15 h 49"/>
                <a:gd name="T76" fmla="*/ 46 w 105"/>
                <a:gd name="T77" fmla="*/ 10 h 49"/>
                <a:gd name="T78" fmla="*/ 57 w 105"/>
                <a:gd name="T79" fmla="*/ 6 h 49"/>
                <a:gd name="T80" fmla="*/ 64 w 105"/>
                <a:gd name="T81" fmla="*/ 0 h 49"/>
                <a:gd name="T82" fmla="*/ 74 w 105"/>
                <a:gd name="T83" fmla="*/ 1 h 49"/>
                <a:gd name="T84" fmla="*/ 73 w 105"/>
                <a:gd name="T85" fmla="*/ 3 h 49"/>
                <a:gd name="T86" fmla="*/ 83 w 105"/>
                <a:gd name="T87" fmla="*/ 4 h 49"/>
                <a:gd name="T88" fmla="*/ 91 w 105"/>
                <a:gd name="T89" fmla="*/ 7 h 49"/>
                <a:gd name="T90" fmla="*/ 97 w 105"/>
                <a:gd name="T91" fmla="*/ 14 h 49"/>
                <a:gd name="T92" fmla="*/ 103 w 105"/>
                <a:gd name="T93" fmla="*/ 19 h 49"/>
                <a:gd name="T94" fmla="*/ 101 w 105"/>
                <a:gd name="T95" fmla="*/ 22 h 49"/>
                <a:gd name="T96" fmla="*/ 105 w 105"/>
                <a:gd name="T97" fmla="*/ 35 h 49"/>
                <a:gd name="T98" fmla="*/ 101 w 105"/>
                <a:gd name="T99" fmla="*/ 41 h 49"/>
                <a:gd name="T100" fmla="*/ 95 w 105"/>
                <a:gd name="T101" fmla="*/ 39 h 49"/>
                <a:gd name="T102" fmla="*/ 92 w 105"/>
                <a:gd name="T10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5" h="49">
                  <a:moveTo>
                    <a:pt x="92" y="49"/>
                  </a:moveTo>
                  <a:lnTo>
                    <a:pt x="87" y="43"/>
                  </a:lnTo>
                  <a:lnTo>
                    <a:pt x="83" y="32"/>
                  </a:lnTo>
                  <a:lnTo>
                    <a:pt x="88" y="27"/>
                  </a:lnTo>
                  <a:lnTo>
                    <a:pt x="83" y="25"/>
                  </a:lnTo>
                  <a:lnTo>
                    <a:pt x="80" y="18"/>
                  </a:lnTo>
                  <a:lnTo>
                    <a:pt x="72" y="12"/>
                  </a:lnTo>
                  <a:lnTo>
                    <a:pt x="63" y="14"/>
                  </a:lnTo>
                  <a:lnTo>
                    <a:pt x="59" y="21"/>
                  </a:lnTo>
                  <a:lnTo>
                    <a:pt x="52" y="26"/>
                  </a:lnTo>
                  <a:lnTo>
                    <a:pt x="48" y="27"/>
                  </a:lnTo>
                  <a:lnTo>
                    <a:pt x="46" y="31"/>
                  </a:lnTo>
                  <a:lnTo>
                    <a:pt x="54" y="43"/>
                  </a:lnTo>
                  <a:lnTo>
                    <a:pt x="49" y="45"/>
                  </a:lnTo>
                  <a:lnTo>
                    <a:pt x="46" y="48"/>
                  </a:lnTo>
                  <a:lnTo>
                    <a:pt x="37" y="49"/>
                  </a:lnTo>
                  <a:lnTo>
                    <a:pt x="35" y="37"/>
                  </a:lnTo>
                  <a:lnTo>
                    <a:pt x="32" y="40"/>
                  </a:lnTo>
                  <a:lnTo>
                    <a:pt x="26" y="39"/>
                  </a:lnTo>
                  <a:lnTo>
                    <a:pt x="23" y="31"/>
                  </a:lnTo>
                  <a:lnTo>
                    <a:pt x="16" y="29"/>
                  </a:lnTo>
                  <a:lnTo>
                    <a:pt x="11" y="27"/>
                  </a:lnTo>
                  <a:lnTo>
                    <a:pt x="3" y="27"/>
                  </a:lnTo>
                  <a:lnTo>
                    <a:pt x="2" y="32"/>
                  </a:lnTo>
                  <a:lnTo>
                    <a:pt x="0" y="29"/>
                  </a:lnTo>
                  <a:lnTo>
                    <a:pt x="1" y="24"/>
                  </a:lnTo>
                  <a:lnTo>
                    <a:pt x="3" y="20"/>
                  </a:lnTo>
                  <a:lnTo>
                    <a:pt x="3" y="16"/>
                  </a:lnTo>
                  <a:lnTo>
                    <a:pt x="6" y="14"/>
                  </a:lnTo>
                  <a:lnTo>
                    <a:pt x="2" y="11"/>
                  </a:lnTo>
                  <a:lnTo>
                    <a:pt x="2" y="2"/>
                  </a:lnTo>
                  <a:lnTo>
                    <a:pt x="9" y="1"/>
                  </a:lnTo>
                  <a:lnTo>
                    <a:pt x="16" y="8"/>
                  </a:lnTo>
                  <a:lnTo>
                    <a:pt x="15" y="12"/>
                  </a:lnTo>
                  <a:lnTo>
                    <a:pt x="22" y="13"/>
                  </a:lnTo>
                  <a:lnTo>
                    <a:pt x="24" y="12"/>
                  </a:lnTo>
                  <a:lnTo>
                    <a:pt x="29" y="17"/>
                  </a:lnTo>
                  <a:lnTo>
                    <a:pt x="38" y="15"/>
                  </a:lnTo>
                  <a:lnTo>
                    <a:pt x="46" y="10"/>
                  </a:lnTo>
                  <a:lnTo>
                    <a:pt x="57" y="6"/>
                  </a:lnTo>
                  <a:lnTo>
                    <a:pt x="64" y="0"/>
                  </a:lnTo>
                  <a:lnTo>
                    <a:pt x="74" y="1"/>
                  </a:lnTo>
                  <a:lnTo>
                    <a:pt x="73" y="3"/>
                  </a:lnTo>
                  <a:lnTo>
                    <a:pt x="83" y="4"/>
                  </a:lnTo>
                  <a:lnTo>
                    <a:pt x="91" y="7"/>
                  </a:lnTo>
                  <a:lnTo>
                    <a:pt x="97" y="14"/>
                  </a:lnTo>
                  <a:lnTo>
                    <a:pt x="103" y="19"/>
                  </a:lnTo>
                  <a:lnTo>
                    <a:pt x="101" y="22"/>
                  </a:lnTo>
                  <a:lnTo>
                    <a:pt x="105" y="35"/>
                  </a:lnTo>
                  <a:lnTo>
                    <a:pt x="101" y="41"/>
                  </a:lnTo>
                  <a:lnTo>
                    <a:pt x="95" y="39"/>
                  </a:lnTo>
                  <a:lnTo>
                    <a:pt x="92" y="4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82" name="Freeform 145"/>
            <p:cNvSpPr>
              <a:spLocks/>
            </p:cNvSpPr>
            <p:nvPr/>
          </p:nvSpPr>
          <p:spPr bwMode="auto">
            <a:xfrm>
              <a:off x="1809750" y="3708404"/>
              <a:ext cx="384175" cy="603250"/>
            </a:xfrm>
            <a:custGeom>
              <a:avLst/>
              <a:gdLst>
                <a:gd name="T0" fmla="*/ 229 w 242"/>
                <a:gd name="T1" fmla="*/ 374 h 380"/>
                <a:gd name="T2" fmla="*/ 201 w 242"/>
                <a:gd name="T3" fmla="*/ 368 h 380"/>
                <a:gd name="T4" fmla="*/ 160 w 242"/>
                <a:gd name="T5" fmla="*/ 338 h 380"/>
                <a:gd name="T6" fmla="*/ 111 w 242"/>
                <a:gd name="T7" fmla="*/ 303 h 380"/>
                <a:gd name="T8" fmla="*/ 104 w 242"/>
                <a:gd name="T9" fmla="*/ 280 h 380"/>
                <a:gd name="T10" fmla="*/ 66 w 242"/>
                <a:gd name="T11" fmla="*/ 214 h 380"/>
                <a:gd name="T12" fmla="*/ 38 w 242"/>
                <a:gd name="T13" fmla="*/ 163 h 380"/>
                <a:gd name="T14" fmla="*/ 17 w 242"/>
                <a:gd name="T15" fmla="*/ 134 h 380"/>
                <a:gd name="T16" fmla="*/ 9 w 242"/>
                <a:gd name="T17" fmla="*/ 117 h 380"/>
                <a:gd name="T18" fmla="*/ 5 w 242"/>
                <a:gd name="T19" fmla="*/ 82 h 380"/>
                <a:gd name="T20" fmla="*/ 22 w 242"/>
                <a:gd name="T21" fmla="*/ 78 h 380"/>
                <a:gd name="T22" fmla="*/ 17 w 242"/>
                <a:gd name="T23" fmla="*/ 90 h 380"/>
                <a:gd name="T24" fmla="*/ 33 w 242"/>
                <a:gd name="T25" fmla="*/ 91 h 380"/>
                <a:gd name="T26" fmla="*/ 51 w 242"/>
                <a:gd name="T27" fmla="*/ 93 h 380"/>
                <a:gd name="T28" fmla="*/ 65 w 242"/>
                <a:gd name="T29" fmla="*/ 61 h 380"/>
                <a:gd name="T30" fmla="*/ 106 w 242"/>
                <a:gd name="T31" fmla="*/ 31 h 380"/>
                <a:gd name="T32" fmla="*/ 109 w 242"/>
                <a:gd name="T33" fmla="*/ 1 h 380"/>
                <a:gd name="T34" fmla="*/ 127 w 242"/>
                <a:gd name="T35" fmla="*/ 10 h 380"/>
                <a:gd name="T36" fmla="*/ 141 w 242"/>
                <a:gd name="T37" fmla="*/ 25 h 380"/>
                <a:gd name="T38" fmla="*/ 166 w 242"/>
                <a:gd name="T39" fmla="*/ 49 h 380"/>
                <a:gd name="T40" fmla="*/ 182 w 242"/>
                <a:gd name="T41" fmla="*/ 47 h 380"/>
                <a:gd name="T42" fmla="*/ 208 w 242"/>
                <a:gd name="T43" fmla="*/ 55 h 380"/>
                <a:gd name="T44" fmla="*/ 202 w 242"/>
                <a:gd name="T45" fmla="*/ 77 h 380"/>
                <a:gd name="T46" fmla="*/ 194 w 242"/>
                <a:gd name="T47" fmla="*/ 87 h 380"/>
                <a:gd name="T48" fmla="*/ 177 w 242"/>
                <a:gd name="T49" fmla="*/ 94 h 380"/>
                <a:gd name="T50" fmla="*/ 156 w 242"/>
                <a:gd name="T51" fmla="*/ 118 h 380"/>
                <a:gd name="T52" fmla="*/ 153 w 242"/>
                <a:gd name="T53" fmla="*/ 136 h 380"/>
                <a:gd name="T54" fmla="*/ 143 w 242"/>
                <a:gd name="T55" fmla="*/ 151 h 380"/>
                <a:gd name="T56" fmla="*/ 147 w 242"/>
                <a:gd name="T57" fmla="*/ 173 h 380"/>
                <a:gd name="T58" fmla="*/ 154 w 242"/>
                <a:gd name="T59" fmla="*/ 195 h 380"/>
                <a:gd name="T60" fmla="*/ 174 w 242"/>
                <a:gd name="T61" fmla="*/ 207 h 380"/>
                <a:gd name="T62" fmla="*/ 204 w 242"/>
                <a:gd name="T63" fmla="*/ 196 h 380"/>
                <a:gd name="T64" fmla="*/ 213 w 242"/>
                <a:gd name="T65" fmla="*/ 230 h 380"/>
                <a:gd name="T66" fmla="*/ 241 w 242"/>
                <a:gd name="T67" fmla="*/ 259 h 380"/>
                <a:gd name="T68" fmla="*/ 238 w 242"/>
                <a:gd name="T69" fmla="*/ 281 h 380"/>
                <a:gd name="T70" fmla="*/ 233 w 242"/>
                <a:gd name="T71" fmla="*/ 309 h 380"/>
                <a:gd name="T72" fmla="*/ 233 w 242"/>
                <a:gd name="T73" fmla="*/ 324 h 380"/>
                <a:gd name="T74" fmla="*/ 233 w 242"/>
                <a:gd name="T75" fmla="*/ 36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2" h="380">
                  <a:moveTo>
                    <a:pt x="233" y="364"/>
                  </a:moveTo>
                  <a:lnTo>
                    <a:pt x="229" y="374"/>
                  </a:lnTo>
                  <a:lnTo>
                    <a:pt x="220" y="380"/>
                  </a:lnTo>
                  <a:lnTo>
                    <a:pt x="201" y="368"/>
                  </a:lnTo>
                  <a:lnTo>
                    <a:pt x="199" y="359"/>
                  </a:lnTo>
                  <a:lnTo>
                    <a:pt x="160" y="338"/>
                  </a:lnTo>
                  <a:lnTo>
                    <a:pt x="126" y="315"/>
                  </a:lnTo>
                  <a:lnTo>
                    <a:pt x="111" y="303"/>
                  </a:lnTo>
                  <a:lnTo>
                    <a:pt x="102" y="286"/>
                  </a:lnTo>
                  <a:lnTo>
                    <a:pt x="104" y="280"/>
                  </a:lnTo>
                  <a:lnTo>
                    <a:pt x="87" y="252"/>
                  </a:lnTo>
                  <a:lnTo>
                    <a:pt x="66" y="214"/>
                  </a:lnTo>
                  <a:lnTo>
                    <a:pt x="46" y="173"/>
                  </a:lnTo>
                  <a:lnTo>
                    <a:pt x="38" y="163"/>
                  </a:lnTo>
                  <a:lnTo>
                    <a:pt x="32" y="148"/>
                  </a:lnTo>
                  <a:lnTo>
                    <a:pt x="17" y="134"/>
                  </a:lnTo>
                  <a:lnTo>
                    <a:pt x="4" y="126"/>
                  </a:lnTo>
                  <a:lnTo>
                    <a:pt x="9" y="117"/>
                  </a:lnTo>
                  <a:lnTo>
                    <a:pt x="0" y="97"/>
                  </a:lnTo>
                  <a:lnTo>
                    <a:pt x="5" y="82"/>
                  </a:lnTo>
                  <a:lnTo>
                    <a:pt x="20" y="69"/>
                  </a:lnTo>
                  <a:lnTo>
                    <a:pt x="22" y="78"/>
                  </a:lnTo>
                  <a:lnTo>
                    <a:pt x="17" y="83"/>
                  </a:lnTo>
                  <a:lnTo>
                    <a:pt x="17" y="90"/>
                  </a:lnTo>
                  <a:lnTo>
                    <a:pt x="25" y="89"/>
                  </a:lnTo>
                  <a:lnTo>
                    <a:pt x="33" y="91"/>
                  </a:lnTo>
                  <a:lnTo>
                    <a:pt x="41" y="101"/>
                  </a:lnTo>
                  <a:lnTo>
                    <a:pt x="51" y="93"/>
                  </a:lnTo>
                  <a:lnTo>
                    <a:pt x="54" y="79"/>
                  </a:lnTo>
                  <a:lnTo>
                    <a:pt x="65" y="61"/>
                  </a:lnTo>
                  <a:lnTo>
                    <a:pt x="87" y="53"/>
                  </a:lnTo>
                  <a:lnTo>
                    <a:pt x="106" y="31"/>
                  </a:lnTo>
                  <a:lnTo>
                    <a:pt x="112" y="17"/>
                  </a:lnTo>
                  <a:lnTo>
                    <a:pt x="109" y="1"/>
                  </a:lnTo>
                  <a:lnTo>
                    <a:pt x="114" y="0"/>
                  </a:lnTo>
                  <a:lnTo>
                    <a:pt x="127" y="10"/>
                  </a:lnTo>
                  <a:lnTo>
                    <a:pt x="132" y="19"/>
                  </a:lnTo>
                  <a:lnTo>
                    <a:pt x="141" y="25"/>
                  </a:lnTo>
                  <a:lnTo>
                    <a:pt x="152" y="46"/>
                  </a:lnTo>
                  <a:lnTo>
                    <a:pt x="166" y="49"/>
                  </a:lnTo>
                  <a:lnTo>
                    <a:pt x="176" y="43"/>
                  </a:lnTo>
                  <a:lnTo>
                    <a:pt x="182" y="47"/>
                  </a:lnTo>
                  <a:lnTo>
                    <a:pt x="193" y="45"/>
                  </a:lnTo>
                  <a:lnTo>
                    <a:pt x="208" y="55"/>
                  </a:lnTo>
                  <a:lnTo>
                    <a:pt x="196" y="76"/>
                  </a:lnTo>
                  <a:lnTo>
                    <a:pt x="202" y="77"/>
                  </a:lnTo>
                  <a:lnTo>
                    <a:pt x="211" y="88"/>
                  </a:lnTo>
                  <a:lnTo>
                    <a:pt x="194" y="87"/>
                  </a:lnTo>
                  <a:lnTo>
                    <a:pt x="192" y="90"/>
                  </a:lnTo>
                  <a:lnTo>
                    <a:pt x="177" y="94"/>
                  </a:lnTo>
                  <a:lnTo>
                    <a:pt x="157" y="108"/>
                  </a:lnTo>
                  <a:lnTo>
                    <a:pt x="156" y="118"/>
                  </a:lnTo>
                  <a:lnTo>
                    <a:pt x="151" y="125"/>
                  </a:lnTo>
                  <a:lnTo>
                    <a:pt x="153" y="136"/>
                  </a:lnTo>
                  <a:lnTo>
                    <a:pt x="142" y="142"/>
                  </a:lnTo>
                  <a:lnTo>
                    <a:pt x="143" y="151"/>
                  </a:lnTo>
                  <a:lnTo>
                    <a:pt x="138" y="155"/>
                  </a:lnTo>
                  <a:lnTo>
                    <a:pt x="147" y="173"/>
                  </a:lnTo>
                  <a:lnTo>
                    <a:pt x="157" y="186"/>
                  </a:lnTo>
                  <a:lnTo>
                    <a:pt x="154" y="195"/>
                  </a:lnTo>
                  <a:lnTo>
                    <a:pt x="166" y="196"/>
                  </a:lnTo>
                  <a:lnTo>
                    <a:pt x="174" y="207"/>
                  </a:lnTo>
                  <a:lnTo>
                    <a:pt x="190" y="208"/>
                  </a:lnTo>
                  <a:lnTo>
                    <a:pt x="204" y="196"/>
                  </a:lnTo>
                  <a:lnTo>
                    <a:pt x="205" y="227"/>
                  </a:lnTo>
                  <a:lnTo>
                    <a:pt x="213" y="230"/>
                  </a:lnTo>
                  <a:lnTo>
                    <a:pt x="223" y="226"/>
                  </a:lnTo>
                  <a:lnTo>
                    <a:pt x="241" y="259"/>
                  </a:lnTo>
                  <a:lnTo>
                    <a:pt x="238" y="266"/>
                  </a:lnTo>
                  <a:lnTo>
                    <a:pt x="238" y="281"/>
                  </a:lnTo>
                  <a:lnTo>
                    <a:pt x="239" y="299"/>
                  </a:lnTo>
                  <a:lnTo>
                    <a:pt x="233" y="309"/>
                  </a:lnTo>
                  <a:lnTo>
                    <a:pt x="236" y="317"/>
                  </a:lnTo>
                  <a:lnTo>
                    <a:pt x="233" y="324"/>
                  </a:lnTo>
                  <a:lnTo>
                    <a:pt x="242" y="341"/>
                  </a:lnTo>
                  <a:lnTo>
                    <a:pt x="233" y="364"/>
                  </a:lnTo>
                  <a:close/>
                </a:path>
              </a:pathLst>
            </a:custGeom>
            <a:solidFill>
              <a:schemeClr val="accent3">
                <a:lumMod val="60000"/>
                <a:lumOff val="40000"/>
              </a:schemeClr>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83" name="Freeform 146"/>
            <p:cNvSpPr>
              <a:spLocks noEditPoints="1"/>
            </p:cNvSpPr>
            <p:nvPr/>
          </p:nvSpPr>
          <p:spPr bwMode="auto">
            <a:xfrm>
              <a:off x="7589837" y="3095629"/>
              <a:ext cx="274638" cy="425450"/>
            </a:xfrm>
            <a:custGeom>
              <a:avLst/>
              <a:gdLst>
                <a:gd name="T0" fmla="*/ 252 w 710"/>
                <a:gd name="T1" fmla="*/ 24 h 1100"/>
                <a:gd name="T2" fmla="*/ 282 w 710"/>
                <a:gd name="T3" fmla="*/ 24 h 1100"/>
                <a:gd name="T4" fmla="*/ 311 w 710"/>
                <a:gd name="T5" fmla="*/ 120 h 1100"/>
                <a:gd name="T6" fmla="*/ 264 w 710"/>
                <a:gd name="T7" fmla="*/ 219 h 1100"/>
                <a:gd name="T8" fmla="*/ 288 w 710"/>
                <a:gd name="T9" fmla="*/ 355 h 1100"/>
                <a:gd name="T10" fmla="*/ 361 w 710"/>
                <a:gd name="T11" fmla="*/ 355 h 1100"/>
                <a:gd name="T12" fmla="*/ 459 w 710"/>
                <a:gd name="T13" fmla="*/ 448 h 1100"/>
                <a:gd name="T14" fmla="*/ 483 w 710"/>
                <a:gd name="T15" fmla="*/ 508 h 1100"/>
                <a:gd name="T16" fmla="*/ 387 w 710"/>
                <a:gd name="T17" fmla="*/ 421 h 1100"/>
                <a:gd name="T18" fmla="*/ 317 w 710"/>
                <a:gd name="T19" fmla="*/ 402 h 1100"/>
                <a:gd name="T20" fmla="*/ 212 w 710"/>
                <a:gd name="T21" fmla="*/ 395 h 1100"/>
                <a:gd name="T22" fmla="*/ 231 w 710"/>
                <a:gd name="T23" fmla="*/ 339 h 1100"/>
                <a:gd name="T24" fmla="*/ 201 w 710"/>
                <a:gd name="T25" fmla="*/ 350 h 1100"/>
                <a:gd name="T26" fmla="*/ 141 w 710"/>
                <a:gd name="T27" fmla="*/ 264 h 1100"/>
                <a:gd name="T28" fmla="*/ 160 w 710"/>
                <a:gd name="T29" fmla="*/ 210 h 1100"/>
                <a:gd name="T30" fmla="*/ 157 w 710"/>
                <a:gd name="T31" fmla="*/ 0 h 1100"/>
                <a:gd name="T32" fmla="*/ 287 w 710"/>
                <a:gd name="T33" fmla="*/ 463 h 1100"/>
                <a:gd name="T34" fmla="*/ 239 w 710"/>
                <a:gd name="T35" fmla="*/ 494 h 1100"/>
                <a:gd name="T36" fmla="*/ 257 w 710"/>
                <a:gd name="T37" fmla="*/ 432 h 1100"/>
                <a:gd name="T38" fmla="*/ 594 w 710"/>
                <a:gd name="T39" fmla="*/ 540 h 1100"/>
                <a:gd name="T40" fmla="*/ 565 w 710"/>
                <a:gd name="T41" fmla="*/ 612 h 1100"/>
                <a:gd name="T42" fmla="*/ 593 w 710"/>
                <a:gd name="T43" fmla="*/ 693 h 1100"/>
                <a:gd name="T44" fmla="*/ 550 w 710"/>
                <a:gd name="T45" fmla="*/ 653 h 1100"/>
                <a:gd name="T46" fmla="*/ 510 w 710"/>
                <a:gd name="T47" fmla="*/ 597 h 1100"/>
                <a:gd name="T48" fmla="*/ 550 w 710"/>
                <a:gd name="T49" fmla="*/ 571 h 1100"/>
                <a:gd name="T50" fmla="*/ 569 w 710"/>
                <a:gd name="T51" fmla="*/ 508 h 1100"/>
                <a:gd name="T52" fmla="*/ 325 w 710"/>
                <a:gd name="T53" fmla="*/ 563 h 1100"/>
                <a:gd name="T54" fmla="*/ 421 w 710"/>
                <a:gd name="T55" fmla="*/ 589 h 1100"/>
                <a:gd name="T56" fmla="*/ 392 w 710"/>
                <a:gd name="T57" fmla="*/ 661 h 1100"/>
                <a:gd name="T58" fmla="*/ 341 w 710"/>
                <a:gd name="T59" fmla="*/ 647 h 1100"/>
                <a:gd name="T60" fmla="*/ 325 w 710"/>
                <a:gd name="T61" fmla="*/ 563 h 1100"/>
                <a:gd name="T62" fmla="*/ 0 w 710"/>
                <a:gd name="T63" fmla="*/ 863 h 1100"/>
                <a:gd name="T64" fmla="*/ 82 w 710"/>
                <a:gd name="T65" fmla="*/ 751 h 1100"/>
                <a:gd name="T66" fmla="*/ 153 w 710"/>
                <a:gd name="T67" fmla="*/ 607 h 1100"/>
                <a:gd name="T68" fmla="*/ 128 w 710"/>
                <a:gd name="T69" fmla="*/ 724 h 1100"/>
                <a:gd name="T70" fmla="*/ 497 w 710"/>
                <a:gd name="T71" fmla="*/ 700 h 1100"/>
                <a:gd name="T72" fmla="*/ 454 w 710"/>
                <a:gd name="T73" fmla="*/ 782 h 1100"/>
                <a:gd name="T74" fmla="*/ 381 w 710"/>
                <a:gd name="T75" fmla="*/ 748 h 1100"/>
                <a:gd name="T76" fmla="*/ 411 w 710"/>
                <a:gd name="T77" fmla="*/ 702 h 1100"/>
                <a:gd name="T78" fmla="*/ 455 w 710"/>
                <a:gd name="T79" fmla="*/ 644 h 1100"/>
                <a:gd name="T80" fmla="*/ 496 w 710"/>
                <a:gd name="T81" fmla="*/ 619 h 1100"/>
                <a:gd name="T82" fmla="*/ 690 w 710"/>
                <a:gd name="T83" fmla="*/ 859 h 1100"/>
                <a:gd name="T84" fmla="*/ 710 w 710"/>
                <a:gd name="T85" fmla="*/ 963 h 1100"/>
                <a:gd name="T86" fmla="*/ 657 w 710"/>
                <a:gd name="T87" fmla="*/ 954 h 1100"/>
                <a:gd name="T88" fmla="*/ 652 w 710"/>
                <a:gd name="T89" fmla="*/ 1060 h 1100"/>
                <a:gd name="T90" fmla="*/ 542 w 710"/>
                <a:gd name="T91" fmla="*/ 1051 h 1100"/>
                <a:gd name="T92" fmla="*/ 537 w 710"/>
                <a:gd name="T93" fmla="*/ 949 h 1100"/>
                <a:gd name="T94" fmla="*/ 466 w 710"/>
                <a:gd name="T95" fmla="*/ 944 h 1100"/>
                <a:gd name="T96" fmla="*/ 378 w 710"/>
                <a:gd name="T97" fmla="*/ 988 h 1100"/>
                <a:gd name="T98" fmla="*/ 388 w 710"/>
                <a:gd name="T99" fmla="*/ 891 h 1100"/>
                <a:gd name="T100" fmla="*/ 472 w 710"/>
                <a:gd name="T101" fmla="*/ 835 h 1100"/>
                <a:gd name="T102" fmla="*/ 557 w 710"/>
                <a:gd name="T103" fmla="*/ 850 h 1100"/>
                <a:gd name="T104" fmla="*/ 619 w 710"/>
                <a:gd name="T105" fmla="*/ 810 h 1100"/>
                <a:gd name="T106" fmla="*/ 673 w 710"/>
                <a:gd name="T107" fmla="*/ 785 h 1100"/>
                <a:gd name="T108" fmla="*/ 690 w 710"/>
                <a:gd name="T109" fmla="*/ 859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0" h="1100">
                  <a:moveTo>
                    <a:pt x="202" y="0"/>
                  </a:moveTo>
                  <a:lnTo>
                    <a:pt x="252" y="24"/>
                  </a:lnTo>
                  <a:lnTo>
                    <a:pt x="271" y="2"/>
                  </a:lnTo>
                  <a:lnTo>
                    <a:pt x="282" y="24"/>
                  </a:lnTo>
                  <a:lnTo>
                    <a:pt x="276" y="59"/>
                  </a:lnTo>
                  <a:lnTo>
                    <a:pt x="311" y="120"/>
                  </a:lnTo>
                  <a:lnTo>
                    <a:pt x="303" y="191"/>
                  </a:lnTo>
                  <a:lnTo>
                    <a:pt x="264" y="219"/>
                  </a:lnTo>
                  <a:lnTo>
                    <a:pt x="262" y="288"/>
                  </a:lnTo>
                  <a:lnTo>
                    <a:pt x="288" y="355"/>
                  </a:lnTo>
                  <a:lnTo>
                    <a:pt x="329" y="365"/>
                  </a:lnTo>
                  <a:lnTo>
                    <a:pt x="361" y="355"/>
                  </a:lnTo>
                  <a:lnTo>
                    <a:pt x="460" y="402"/>
                  </a:lnTo>
                  <a:lnTo>
                    <a:pt x="459" y="448"/>
                  </a:lnTo>
                  <a:lnTo>
                    <a:pt x="486" y="469"/>
                  </a:lnTo>
                  <a:lnTo>
                    <a:pt x="483" y="508"/>
                  </a:lnTo>
                  <a:lnTo>
                    <a:pt x="420" y="466"/>
                  </a:lnTo>
                  <a:lnTo>
                    <a:pt x="387" y="421"/>
                  </a:lnTo>
                  <a:lnTo>
                    <a:pt x="371" y="453"/>
                  </a:lnTo>
                  <a:lnTo>
                    <a:pt x="317" y="402"/>
                  </a:lnTo>
                  <a:lnTo>
                    <a:pt x="251" y="414"/>
                  </a:lnTo>
                  <a:lnTo>
                    <a:pt x="212" y="395"/>
                  </a:lnTo>
                  <a:lnTo>
                    <a:pt x="211" y="360"/>
                  </a:lnTo>
                  <a:lnTo>
                    <a:pt x="231" y="339"/>
                  </a:lnTo>
                  <a:lnTo>
                    <a:pt x="206" y="319"/>
                  </a:lnTo>
                  <a:lnTo>
                    <a:pt x="201" y="350"/>
                  </a:lnTo>
                  <a:lnTo>
                    <a:pt x="157" y="301"/>
                  </a:lnTo>
                  <a:lnTo>
                    <a:pt x="141" y="264"/>
                  </a:lnTo>
                  <a:lnTo>
                    <a:pt x="126" y="182"/>
                  </a:lnTo>
                  <a:lnTo>
                    <a:pt x="160" y="210"/>
                  </a:lnTo>
                  <a:lnTo>
                    <a:pt x="146" y="77"/>
                  </a:lnTo>
                  <a:lnTo>
                    <a:pt x="157" y="0"/>
                  </a:lnTo>
                  <a:lnTo>
                    <a:pt x="202" y="0"/>
                  </a:lnTo>
                  <a:moveTo>
                    <a:pt x="287" y="463"/>
                  </a:moveTo>
                  <a:lnTo>
                    <a:pt x="276" y="536"/>
                  </a:lnTo>
                  <a:lnTo>
                    <a:pt x="239" y="494"/>
                  </a:lnTo>
                  <a:lnTo>
                    <a:pt x="193" y="429"/>
                  </a:lnTo>
                  <a:lnTo>
                    <a:pt x="257" y="432"/>
                  </a:lnTo>
                  <a:lnTo>
                    <a:pt x="287" y="463"/>
                  </a:lnTo>
                  <a:moveTo>
                    <a:pt x="594" y="540"/>
                  </a:moveTo>
                  <a:lnTo>
                    <a:pt x="625" y="635"/>
                  </a:lnTo>
                  <a:lnTo>
                    <a:pt x="565" y="612"/>
                  </a:lnTo>
                  <a:lnTo>
                    <a:pt x="570" y="641"/>
                  </a:lnTo>
                  <a:lnTo>
                    <a:pt x="593" y="693"/>
                  </a:lnTo>
                  <a:lnTo>
                    <a:pt x="559" y="712"/>
                  </a:lnTo>
                  <a:lnTo>
                    <a:pt x="550" y="653"/>
                  </a:lnTo>
                  <a:lnTo>
                    <a:pt x="527" y="648"/>
                  </a:lnTo>
                  <a:lnTo>
                    <a:pt x="510" y="597"/>
                  </a:lnTo>
                  <a:lnTo>
                    <a:pt x="555" y="603"/>
                  </a:lnTo>
                  <a:lnTo>
                    <a:pt x="550" y="571"/>
                  </a:lnTo>
                  <a:lnTo>
                    <a:pt x="497" y="506"/>
                  </a:lnTo>
                  <a:lnTo>
                    <a:pt x="569" y="508"/>
                  </a:lnTo>
                  <a:lnTo>
                    <a:pt x="594" y="540"/>
                  </a:lnTo>
                  <a:moveTo>
                    <a:pt x="325" y="563"/>
                  </a:moveTo>
                  <a:lnTo>
                    <a:pt x="373" y="589"/>
                  </a:lnTo>
                  <a:lnTo>
                    <a:pt x="421" y="589"/>
                  </a:lnTo>
                  <a:lnTo>
                    <a:pt x="423" y="625"/>
                  </a:lnTo>
                  <a:lnTo>
                    <a:pt x="392" y="661"/>
                  </a:lnTo>
                  <a:lnTo>
                    <a:pt x="347" y="686"/>
                  </a:lnTo>
                  <a:lnTo>
                    <a:pt x="341" y="647"/>
                  </a:lnTo>
                  <a:lnTo>
                    <a:pt x="341" y="603"/>
                  </a:lnTo>
                  <a:lnTo>
                    <a:pt x="325" y="563"/>
                  </a:lnTo>
                  <a:moveTo>
                    <a:pt x="94" y="782"/>
                  </a:moveTo>
                  <a:lnTo>
                    <a:pt x="0" y="863"/>
                  </a:lnTo>
                  <a:lnTo>
                    <a:pt x="32" y="803"/>
                  </a:lnTo>
                  <a:lnTo>
                    <a:pt x="82" y="751"/>
                  </a:lnTo>
                  <a:lnTo>
                    <a:pt x="122" y="692"/>
                  </a:lnTo>
                  <a:lnTo>
                    <a:pt x="153" y="607"/>
                  </a:lnTo>
                  <a:lnTo>
                    <a:pt x="173" y="677"/>
                  </a:lnTo>
                  <a:lnTo>
                    <a:pt x="128" y="724"/>
                  </a:lnTo>
                  <a:lnTo>
                    <a:pt x="94" y="782"/>
                  </a:lnTo>
                  <a:moveTo>
                    <a:pt x="497" y="700"/>
                  </a:moveTo>
                  <a:lnTo>
                    <a:pt x="473" y="728"/>
                  </a:lnTo>
                  <a:lnTo>
                    <a:pt x="454" y="782"/>
                  </a:lnTo>
                  <a:lnTo>
                    <a:pt x="433" y="807"/>
                  </a:lnTo>
                  <a:lnTo>
                    <a:pt x="381" y="748"/>
                  </a:lnTo>
                  <a:lnTo>
                    <a:pt x="395" y="726"/>
                  </a:lnTo>
                  <a:lnTo>
                    <a:pt x="411" y="702"/>
                  </a:lnTo>
                  <a:lnTo>
                    <a:pt x="414" y="649"/>
                  </a:lnTo>
                  <a:lnTo>
                    <a:pt x="455" y="644"/>
                  </a:lnTo>
                  <a:lnTo>
                    <a:pt x="449" y="701"/>
                  </a:lnTo>
                  <a:lnTo>
                    <a:pt x="496" y="619"/>
                  </a:lnTo>
                  <a:lnTo>
                    <a:pt x="497" y="700"/>
                  </a:lnTo>
                  <a:moveTo>
                    <a:pt x="690" y="859"/>
                  </a:moveTo>
                  <a:lnTo>
                    <a:pt x="702" y="916"/>
                  </a:lnTo>
                  <a:lnTo>
                    <a:pt x="710" y="963"/>
                  </a:lnTo>
                  <a:lnTo>
                    <a:pt x="690" y="1041"/>
                  </a:lnTo>
                  <a:lnTo>
                    <a:pt x="657" y="954"/>
                  </a:lnTo>
                  <a:lnTo>
                    <a:pt x="624" y="998"/>
                  </a:lnTo>
                  <a:lnTo>
                    <a:pt x="652" y="1060"/>
                  </a:lnTo>
                  <a:lnTo>
                    <a:pt x="633" y="1100"/>
                  </a:lnTo>
                  <a:lnTo>
                    <a:pt x="542" y="1051"/>
                  </a:lnTo>
                  <a:lnTo>
                    <a:pt x="517" y="989"/>
                  </a:lnTo>
                  <a:lnTo>
                    <a:pt x="537" y="949"/>
                  </a:lnTo>
                  <a:lnTo>
                    <a:pt x="487" y="908"/>
                  </a:lnTo>
                  <a:lnTo>
                    <a:pt x="466" y="944"/>
                  </a:lnTo>
                  <a:lnTo>
                    <a:pt x="430" y="940"/>
                  </a:lnTo>
                  <a:lnTo>
                    <a:pt x="378" y="988"/>
                  </a:lnTo>
                  <a:lnTo>
                    <a:pt x="364" y="963"/>
                  </a:lnTo>
                  <a:lnTo>
                    <a:pt x="388" y="891"/>
                  </a:lnTo>
                  <a:lnTo>
                    <a:pt x="433" y="867"/>
                  </a:lnTo>
                  <a:lnTo>
                    <a:pt x="472" y="835"/>
                  </a:lnTo>
                  <a:lnTo>
                    <a:pt x="501" y="874"/>
                  </a:lnTo>
                  <a:lnTo>
                    <a:pt x="557" y="850"/>
                  </a:lnTo>
                  <a:lnTo>
                    <a:pt x="566" y="812"/>
                  </a:lnTo>
                  <a:lnTo>
                    <a:pt x="619" y="810"/>
                  </a:lnTo>
                  <a:lnTo>
                    <a:pt x="608" y="744"/>
                  </a:lnTo>
                  <a:lnTo>
                    <a:pt x="673" y="785"/>
                  </a:lnTo>
                  <a:lnTo>
                    <a:pt x="683" y="828"/>
                  </a:lnTo>
                  <a:lnTo>
                    <a:pt x="690" y="859"/>
                  </a:lnTo>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84" name="Freeform 147"/>
            <p:cNvSpPr>
              <a:spLocks/>
            </p:cNvSpPr>
            <p:nvPr/>
          </p:nvSpPr>
          <p:spPr bwMode="auto">
            <a:xfrm>
              <a:off x="8683625" y="3871917"/>
              <a:ext cx="41275" cy="61913"/>
            </a:xfrm>
            <a:custGeom>
              <a:avLst/>
              <a:gdLst>
                <a:gd name="T0" fmla="*/ 23 w 26"/>
                <a:gd name="T1" fmla="*/ 37 h 39"/>
                <a:gd name="T2" fmla="*/ 18 w 26"/>
                <a:gd name="T3" fmla="*/ 39 h 39"/>
                <a:gd name="T4" fmla="*/ 10 w 26"/>
                <a:gd name="T5" fmla="*/ 31 h 39"/>
                <a:gd name="T6" fmla="*/ 3 w 26"/>
                <a:gd name="T7" fmla="*/ 18 h 39"/>
                <a:gd name="T8" fmla="*/ 0 w 26"/>
                <a:gd name="T9" fmla="*/ 2 h 39"/>
                <a:gd name="T10" fmla="*/ 3 w 26"/>
                <a:gd name="T11" fmla="*/ 0 h 39"/>
                <a:gd name="T12" fmla="*/ 5 w 26"/>
                <a:gd name="T13" fmla="*/ 6 h 39"/>
                <a:gd name="T14" fmla="*/ 10 w 26"/>
                <a:gd name="T15" fmla="*/ 11 h 39"/>
                <a:gd name="T16" fmla="*/ 18 w 26"/>
                <a:gd name="T17" fmla="*/ 24 h 39"/>
                <a:gd name="T18" fmla="*/ 26 w 26"/>
                <a:gd name="T19" fmla="*/ 31 h 39"/>
                <a:gd name="T20" fmla="*/ 23 w 26"/>
                <a:gd name="T21"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9">
                  <a:moveTo>
                    <a:pt x="23" y="37"/>
                  </a:moveTo>
                  <a:lnTo>
                    <a:pt x="18" y="39"/>
                  </a:lnTo>
                  <a:lnTo>
                    <a:pt x="10" y="31"/>
                  </a:lnTo>
                  <a:lnTo>
                    <a:pt x="3" y="18"/>
                  </a:lnTo>
                  <a:lnTo>
                    <a:pt x="0" y="2"/>
                  </a:lnTo>
                  <a:lnTo>
                    <a:pt x="3" y="0"/>
                  </a:lnTo>
                  <a:lnTo>
                    <a:pt x="5" y="6"/>
                  </a:lnTo>
                  <a:lnTo>
                    <a:pt x="10" y="11"/>
                  </a:lnTo>
                  <a:lnTo>
                    <a:pt x="18" y="24"/>
                  </a:lnTo>
                  <a:lnTo>
                    <a:pt x="26" y="31"/>
                  </a:lnTo>
                  <a:lnTo>
                    <a:pt x="23" y="3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85" name="Freeform 148"/>
            <p:cNvSpPr>
              <a:spLocks/>
            </p:cNvSpPr>
            <p:nvPr/>
          </p:nvSpPr>
          <p:spPr bwMode="auto">
            <a:xfrm>
              <a:off x="8502650" y="3843342"/>
              <a:ext cx="119063" cy="71438"/>
            </a:xfrm>
            <a:custGeom>
              <a:avLst/>
              <a:gdLst>
                <a:gd name="T0" fmla="*/ 68 w 75"/>
                <a:gd name="T1" fmla="*/ 27 h 45"/>
                <a:gd name="T2" fmla="*/ 58 w 75"/>
                <a:gd name="T3" fmla="*/ 29 h 45"/>
                <a:gd name="T4" fmla="*/ 54 w 75"/>
                <a:gd name="T5" fmla="*/ 35 h 45"/>
                <a:gd name="T6" fmla="*/ 44 w 75"/>
                <a:gd name="T7" fmla="*/ 40 h 45"/>
                <a:gd name="T8" fmla="*/ 34 w 75"/>
                <a:gd name="T9" fmla="*/ 45 h 45"/>
                <a:gd name="T10" fmla="*/ 25 w 75"/>
                <a:gd name="T11" fmla="*/ 45 h 45"/>
                <a:gd name="T12" fmla="*/ 10 w 75"/>
                <a:gd name="T13" fmla="*/ 39 h 45"/>
                <a:gd name="T14" fmla="*/ 0 w 75"/>
                <a:gd name="T15" fmla="*/ 33 h 45"/>
                <a:gd name="T16" fmla="*/ 2 w 75"/>
                <a:gd name="T17" fmla="*/ 26 h 45"/>
                <a:gd name="T18" fmla="*/ 18 w 75"/>
                <a:gd name="T19" fmla="*/ 29 h 45"/>
                <a:gd name="T20" fmla="*/ 28 w 75"/>
                <a:gd name="T21" fmla="*/ 28 h 45"/>
                <a:gd name="T22" fmla="*/ 31 w 75"/>
                <a:gd name="T23" fmla="*/ 18 h 45"/>
                <a:gd name="T24" fmla="*/ 34 w 75"/>
                <a:gd name="T25" fmla="*/ 17 h 45"/>
                <a:gd name="T26" fmla="*/ 35 w 75"/>
                <a:gd name="T27" fmla="*/ 28 h 45"/>
                <a:gd name="T28" fmla="*/ 46 w 75"/>
                <a:gd name="T29" fmla="*/ 27 h 45"/>
                <a:gd name="T30" fmla="*/ 51 w 75"/>
                <a:gd name="T31" fmla="*/ 20 h 45"/>
                <a:gd name="T32" fmla="*/ 62 w 75"/>
                <a:gd name="T33" fmla="*/ 12 h 45"/>
                <a:gd name="T34" fmla="*/ 61 w 75"/>
                <a:gd name="T35" fmla="*/ 0 h 45"/>
                <a:gd name="T36" fmla="*/ 72 w 75"/>
                <a:gd name="T37" fmla="*/ 0 h 45"/>
                <a:gd name="T38" fmla="*/ 75 w 75"/>
                <a:gd name="T39" fmla="*/ 3 h 45"/>
                <a:gd name="T40" fmla="*/ 74 w 75"/>
                <a:gd name="T41" fmla="*/ 15 h 45"/>
                <a:gd name="T42" fmla="*/ 68 w 75"/>
                <a:gd name="T43"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45">
                  <a:moveTo>
                    <a:pt x="68" y="27"/>
                  </a:moveTo>
                  <a:lnTo>
                    <a:pt x="58" y="29"/>
                  </a:lnTo>
                  <a:lnTo>
                    <a:pt x="54" y="35"/>
                  </a:lnTo>
                  <a:lnTo>
                    <a:pt x="44" y="40"/>
                  </a:lnTo>
                  <a:lnTo>
                    <a:pt x="34" y="45"/>
                  </a:lnTo>
                  <a:lnTo>
                    <a:pt x="25" y="45"/>
                  </a:lnTo>
                  <a:lnTo>
                    <a:pt x="10" y="39"/>
                  </a:lnTo>
                  <a:lnTo>
                    <a:pt x="0" y="33"/>
                  </a:lnTo>
                  <a:lnTo>
                    <a:pt x="2" y="26"/>
                  </a:lnTo>
                  <a:lnTo>
                    <a:pt x="18" y="29"/>
                  </a:lnTo>
                  <a:lnTo>
                    <a:pt x="28" y="28"/>
                  </a:lnTo>
                  <a:lnTo>
                    <a:pt x="31" y="18"/>
                  </a:lnTo>
                  <a:lnTo>
                    <a:pt x="34" y="17"/>
                  </a:lnTo>
                  <a:lnTo>
                    <a:pt x="35" y="28"/>
                  </a:lnTo>
                  <a:lnTo>
                    <a:pt x="46" y="27"/>
                  </a:lnTo>
                  <a:lnTo>
                    <a:pt x="51" y="20"/>
                  </a:lnTo>
                  <a:lnTo>
                    <a:pt x="62" y="12"/>
                  </a:lnTo>
                  <a:lnTo>
                    <a:pt x="61" y="0"/>
                  </a:lnTo>
                  <a:lnTo>
                    <a:pt x="72" y="0"/>
                  </a:lnTo>
                  <a:lnTo>
                    <a:pt x="75" y="3"/>
                  </a:lnTo>
                  <a:lnTo>
                    <a:pt x="74" y="15"/>
                  </a:lnTo>
                  <a:lnTo>
                    <a:pt x="68" y="2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86" name="Freeform 149"/>
            <p:cNvSpPr>
              <a:spLocks/>
            </p:cNvSpPr>
            <p:nvPr/>
          </p:nvSpPr>
          <p:spPr bwMode="auto">
            <a:xfrm>
              <a:off x="8281987" y="3790954"/>
              <a:ext cx="279400" cy="266700"/>
            </a:xfrm>
            <a:custGeom>
              <a:avLst/>
              <a:gdLst>
                <a:gd name="T0" fmla="*/ 116 w 176"/>
                <a:gd name="T1" fmla="*/ 100 h 168"/>
                <a:gd name="T2" fmla="*/ 131 w 176"/>
                <a:gd name="T3" fmla="*/ 114 h 168"/>
                <a:gd name="T4" fmla="*/ 141 w 176"/>
                <a:gd name="T5" fmla="*/ 136 h 168"/>
                <a:gd name="T6" fmla="*/ 151 w 176"/>
                <a:gd name="T7" fmla="*/ 135 h 168"/>
                <a:gd name="T8" fmla="*/ 149 w 176"/>
                <a:gd name="T9" fmla="*/ 144 h 168"/>
                <a:gd name="T10" fmla="*/ 163 w 176"/>
                <a:gd name="T11" fmla="*/ 148 h 168"/>
                <a:gd name="T12" fmla="*/ 157 w 176"/>
                <a:gd name="T13" fmla="*/ 151 h 168"/>
                <a:gd name="T14" fmla="*/ 176 w 176"/>
                <a:gd name="T15" fmla="*/ 160 h 168"/>
                <a:gd name="T16" fmla="*/ 173 w 176"/>
                <a:gd name="T17" fmla="*/ 166 h 168"/>
                <a:gd name="T18" fmla="*/ 161 w 176"/>
                <a:gd name="T19" fmla="*/ 168 h 168"/>
                <a:gd name="T20" fmla="*/ 157 w 176"/>
                <a:gd name="T21" fmla="*/ 162 h 168"/>
                <a:gd name="T22" fmla="*/ 141 w 176"/>
                <a:gd name="T23" fmla="*/ 160 h 168"/>
                <a:gd name="T24" fmla="*/ 123 w 176"/>
                <a:gd name="T25" fmla="*/ 157 h 168"/>
                <a:gd name="T26" fmla="*/ 111 w 176"/>
                <a:gd name="T27" fmla="*/ 144 h 168"/>
                <a:gd name="T28" fmla="*/ 101 w 176"/>
                <a:gd name="T29" fmla="*/ 132 h 168"/>
                <a:gd name="T30" fmla="*/ 93 w 176"/>
                <a:gd name="T31" fmla="*/ 114 h 168"/>
                <a:gd name="T32" fmla="*/ 70 w 176"/>
                <a:gd name="T33" fmla="*/ 105 h 168"/>
                <a:gd name="T34" fmla="*/ 54 w 176"/>
                <a:gd name="T35" fmla="*/ 111 h 168"/>
                <a:gd name="T36" fmla="*/ 43 w 176"/>
                <a:gd name="T37" fmla="*/ 118 h 168"/>
                <a:gd name="T38" fmla="*/ 43 w 176"/>
                <a:gd name="T39" fmla="*/ 133 h 168"/>
                <a:gd name="T40" fmla="*/ 28 w 176"/>
                <a:gd name="T41" fmla="*/ 140 h 168"/>
                <a:gd name="T42" fmla="*/ 19 w 176"/>
                <a:gd name="T43" fmla="*/ 137 h 168"/>
                <a:gd name="T44" fmla="*/ 0 w 176"/>
                <a:gd name="T45" fmla="*/ 136 h 168"/>
                <a:gd name="T46" fmla="*/ 5 w 176"/>
                <a:gd name="T47" fmla="*/ 68 h 168"/>
                <a:gd name="T48" fmla="*/ 7 w 176"/>
                <a:gd name="T49" fmla="*/ 0 h 168"/>
                <a:gd name="T50" fmla="*/ 39 w 176"/>
                <a:gd name="T51" fmla="*/ 15 h 168"/>
                <a:gd name="T52" fmla="*/ 72 w 176"/>
                <a:gd name="T53" fmla="*/ 27 h 168"/>
                <a:gd name="T54" fmla="*/ 84 w 176"/>
                <a:gd name="T55" fmla="*/ 37 h 168"/>
                <a:gd name="T56" fmla="*/ 94 w 176"/>
                <a:gd name="T57" fmla="*/ 48 h 168"/>
                <a:gd name="T58" fmla="*/ 96 w 176"/>
                <a:gd name="T59" fmla="*/ 60 h 168"/>
                <a:gd name="T60" fmla="*/ 126 w 176"/>
                <a:gd name="T61" fmla="*/ 73 h 168"/>
                <a:gd name="T62" fmla="*/ 130 w 176"/>
                <a:gd name="T63" fmla="*/ 84 h 168"/>
                <a:gd name="T64" fmla="*/ 113 w 176"/>
                <a:gd name="T65" fmla="*/ 86 h 168"/>
                <a:gd name="T66" fmla="*/ 116 w 176"/>
                <a:gd name="T67" fmla="*/ 10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68">
                  <a:moveTo>
                    <a:pt x="116" y="100"/>
                  </a:moveTo>
                  <a:lnTo>
                    <a:pt x="131" y="114"/>
                  </a:lnTo>
                  <a:lnTo>
                    <a:pt x="141" y="136"/>
                  </a:lnTo>
                  <a:lnTo>
                    <a:pt x="151" y="135"/>
                  </a:lnTo>
                  <a:lnTo>
                    <a:pt x="149" y="144"/>
                  </a:lnTo>
                  <a:lnTo>
                    <a:pt x="163" y="148"/>
                  </a:lnTo>
                  <a:lnTo>
                    <a:pt x="157" y="151"/>
                  </a:lnTo>
                  <a:lnTo>
                    <a:pt x="176" y="160"/>
                  </a:lnTo>
                  <a:lnTo>
                    <a:pt x="173" y="166"/>
                  </a:lnTo>
                  <a:lnTo>
                    <a:pt x="161" y="168"/>
                  </a:lnTo>
                  <a:lnTo>
                    <a:pt x="157" y="162"/>
                  </a:lnTo>
                  <a:lnTo>
                    <a:pt x="141" y="160"/>
                  </a:lnTo>
                  <a:lnTo>
                    <a:pt x="123" y="157"/>
                  </a:lnTo>
                  <a:lnTo>
                    <a:pt x="111" y="144"/>
                  </a:lnTo>
                  <a:lnTo>
                    <a:pt x="101" y="132"/>
                  </a:lnTo>
                  <a:lnTo>
                    <a:pt x="93" y="114"/>
                  </a:lnTo>
                  <a:lnTo>
                    <a:pt x="70" y="105"/>
                  </a:lnTo>
                  <a:lnTo>
                    <a:pt x="54" y="111"/>
                  </a:lnTo>
                  <a:lnTo>
                    <a:pt x="43" y="118"/>
                  </a:lnTo>
                  <a:lnTo>
                    <a:pt x="43" y="133"/>
                  </a:lnTo>
                  <a:lnTo>
                    <a:pt x="28" y="140"/>
                  </a:lnTo>
                  <a:lnTo>
                    <a:pt x="19" y="137"/>
                  </a:lnTo>
                  <a:lnTo>
                    <a:pt x="0" y="136"/>
                  </a:lnTo>
                  <a:lnTo>
                    <a:pt x="5" y="68"/>
                  </a:lnTo>
                  <a:lnTo>
                    <a:pt x="7" y="0"/>
                  </a:lnTo>
                  <a:lnTo>
                    <a:pt x="39" y="15"/>
                  </a:lnTo>
                  <a:lnTo>
                    <a:pt x="72" y="27"/>
                  </a:lnTo>
                  <a:lnTo>
                    <a:pt x="84" y="37"/>
                  </a:lnTo>
                  <a:lnTo>
                    <a:pt x="94" y="48"/>
                  </a:lnTo>
                  <a:lnTo>
                    <a:pt x="96" y="60"/>
                  </a:lnTo>
                  <a:lnTo>
                    <a:pt x="126" y="73"/>
                  </a:lnTo>
                  <a:lnTo>
                    <a:pt x="130" y="84"/>
                  </a:lnTo>
                  <a:lnTo>
                    <a:pt x="113" y="86"/>
                  </a:lnTo>
                  <a:lnTo>
                    <a:pt x="116" y="100"/>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87" name="Freeform 150"/>
            <p:cNvSpPr>
              <a:spLocks/>
            </p:cNvSpPr>
            <p:nvPr/>
          </p:nvSpPr>
          <p:spPr bwMode="auto">
            <a:xfrm>
              <a:off x="8575675" y="3787779"/>
              <a:ext cx="69850" cy="74613"/>
            </a:xfrm>
            <a:custGeom>
              <a:avLst/>
              <a:gdLst>
                <a:gd name="T0" fmla="*/ 44 w 44"/>
                <a:gd name="T1" fmla="*/ 42 h 47"/>
                <a:gd name="T2" fmla="*/ 38 w 44"/>
                <a:gd name="T3" fmla="*/ 47 h 47"/>
                <a:gd name="T4" fmla="*/ 35 w 44"/>
                <a:gd name="T5" fmla="*/ 35 h 47"/>
                <a:gd name="T6" fmla="*/ 31 w 44"/>
                <a:gd name="T7" fmla="*/ 27 h 47"/>
                <a:gd name="T8" fmla="*/ 23 w 44"/>
                <a:gd name="T9" fmla="*/ 20 h 47"/>
                <a:gd name="T10" fmla="*/ 13 w 44"/>
                <a:gd name="T11" fmla="*/ 11 h 47"/>
                <a:gd name="T12" fmla="*/ 0 w 44"/>
                <a:gd name="T13" fmla="*/ 5 h 47"/>
                <a:gd name="T14" fmla="*/ 5 w 44"/>
                <a:gd name="T15" fmla="*/ 0 h 47"/>
                <a:gd name="T16" fmla="*/ 15 w 44"/>
                <a:gd name="T17" fmla="*/ 6 h 47"/>
                <a:gd name="T18" fmla="*/ 21 w 44"/>
                <a:gd name="T19" fmla="*/ 11 h 47"/>
                <a:gd name="T20" fmla="*/ 28 w 44"/>
                <a:gd name="T21" fmla="*/ 16 h 47"/>
                <a:gd name="T22" fmla="*/ 35 w 44"/>
                <a:gd name="T23" fmla="*/ 24 h 47"/>
                <a:gd name="T24" fmla="*/ 42 w 44"/>
                <a:gd name="T25" fmla="*/ 31 h 47"/>
                <a:gd name="T26" fmla="*/ 44 w 44"/>
                <a:gd name="T27" fmla="*/ 4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7">
                  <a:moveTo>
                    <a:pt x="44" y="42"/>
                  </a:moveTo>
                  <a:lnTo>
                    <a:pt x="38" y="47"/>
                  </a:lnTo>
                  <a:lnTo>
                    <a:pt x="35" y="35"/>
                  </a:lnTo>
                  <a:lnTo>
                    <a:pt x="31" y="27"/>
                  </a:lnTo>
                  <a:lnTo>
                    <a:pt x="23" y="20"/>
                  </a:lnTo>
                  <a:lnTo>
                    <a:pt x="13" y="11"/>
                  </a:lnTo>
                  <a:lnTo>
                    <a:pt x="0" y="5"/>
                  </a:lnTo>
                  <a:lnTo>
                    <a:pt x="5" y="0"/>
                  </a:lnTo>
                  <a:lnTo>
                    <a:pt x="15" y="6"/>
                  </a:lnTo>
                  <a:lnTo>
                    <a:pt x="21" y="11"/>
                  </a:lnTo>
                  <a:lnTo>
                    <a:pt x="28" y="16"/>
                  </a:lnTo>
                  <a:lnTo>
                    <a:pt x="35" y="24"/>
                  </a:lnTo>
                  <a:lnTo>
                    <a:pt x="42" y="31"/>
                  </a:lnTo>
                  <a:lnTo>
                    <a:pt x="44" y="42"/>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88" name="Freeform 151"/>
            <p:cNvSpPr>
              <a:spLocks/>
            </p:cNvSpPr>
            <p:nvPr/>
          </p:nvSpPr>
          <p:spPr bwMode="auto">
            <a:xfrm>
              <a:off x="4530725" y="1909766"/>
              <a:ext cx="257175" cy="185738"/>
            </a:xfrm>
            <a:custGeom>
              <a:avLst/>
              <a:gdLst>
                <a:gd name="T0" fmla="*/ 18 w 162"/>
                <a:gd name="T1" fmla="*/ 75 h 117"/>
                <a:gd name="T2" fmla="*/ 11 w 162"/>
                <a:gd name="T3" fmla="*/ 62 h 117"/>
                <a:gd name="T4" fmla="*/ 11 w 162"/>
                <a:gd name="T5" fmla="*/ 55 h 117"/>
                <a:gd name="T6" fmla="*/ 6 w 162"/>
                <a:gd name="T7" fmla="*/ 44 h 117"/>
                <a:gd name="T8" fmla="*/ 0 w 162"/>
                <a:gd name="T9" fmla="*/ 37 h 117"/>
                <a:gd name="T10" fmla="*/ 4 w 162"/>
                <a:gd name="T11" fmla="*/ 32 h 117"/>
                <a:gd name="T12" fmla="*/ 0 w 162"/>
                <a:gd name="T13" fmla="*/ 22 h 117"/>
                <a:gd name="T14" fmla="*/ 10 w 162"/>
                <a:gd name="T15" fmla="*/ 16 h 117"/>
                <a:gd name="T16" fmla="*/ 33 w 162"/>
                <a:gd name="T17" fmla="*/ 7 h 117"/>
                <a:gd name="T18" fmla="*/ 52 w 162"/>
                <a:gd name="T19" fmla="*/ 0 h 117"/>
                <a:gd name="T20" fmla="*/ 67 w 162"/>
                <a:gd name="T21" fmla="*/ 3 h 117"/>
                <a:gd name="T22" fmla="*/ 69 w 162"/>
                <a:gd name="T23" fmla="*/ 8 h 117"/>
                <a:gd name="T24" fmla="*/ 84 w 162"/>
                <a:gd name="T25" fmla="*/ 8 h 117"/>
                <a:gd name="T26" fmla="*/ 103 w 162"/>
                <a:gd name="T27" fmla="*/ 10 h 117"/>
                <a:gd name="T28" fmla="*/ 132 w 162"/>
                <a:gd name="T29" fmla="*/ 10 h 117"/>
                <a:gd name="T30" fmla="*/ 140 w 162"/>
                <a:gd name="T31" fmla="*/ 12 h 117"/>
                <a:gd name="T32" fmla="*/ 145 w 162"/>
                <a:gd name="T33" fmla="*/ 18 h 117"/>
                <a:gd name="T34" fmla="*/ 147 w 162"/>
                <a:gd name="T35" fmla="*/ 27 h 117"/>
                <a:gd name="T36" fmla="*/ 152 w 162"/>
                <a:gd name="T37" fmla="*/ 35 h 117"/>
                <a:gd name="T38" fmla="*/ 153 w 162"/>
                <a:gd name="T39" fmla="*/ 43 h 117"/>
                <a:gd name="T40" fmla="*/ 144 w 162"/>
                <a:gd name="T41" fmla="*/ 47 h 117"/>
                <a:gd name="T42" fmla="*/ 150 w 162"/>
                <a:gd name="T43" fmla="*/ 56 h 117"/>
                <a:gd name="T44" fmla="*/ 152 w 162"/>
                <a:gd name="T45" fmla="*/ 65 h 117"/>
                <a:gd name="T46" fmla="*/ 162 w 162"/>
                <a:gd name="T47" fmla="*/ 83 h 117"/>
                <a:gd name="T48" fmla="*/ 161 w 162"/>
                <a:gd name="T49" fmla="*/ 89 h 117"/>
                <a:gd name="T50" fmla="*/ 154 w 162"/>
                <a:gd name="T51" fmla="*/ 91 h 117"/>
                <a:gd name="T52" fmla="*/ 141 w 162"/>
                <a:gd name="T53" fmla="*/ 108 h 117"/>
                <a:gd name="T54" fmla="*/ 146 w 162"/>
                <a:gd name="T55" fmla="*/ 117 h 117"/>
                <a:gd name="T56" fmla="*/ 143 w 162"/>
                <a:gd name="T57" fmla="*/ 116 h 117"/>
                <a:gd name="T58" fmla="*/ 127 w 162"/>
                <a:gd name="T59" fmla="*/ 108 h 117"/>
                <a:gd name="T60" fmla="*/ 115 w 162"/>
                <a:gd name="T61" fmla="*/ 110 h 117"/>
                <a:gd name="T62" fmla="*/ 107 w 162"/>
                <a:gd name="T63" fmla="*/ 109 h 117"/>
                <a:gd name="T64" fmla="*/ 98 w 162"/>
                <a:gd name="T65" fmla="*/ 113 h 117"/>
                <a:gd name="T66" fmla="*/ 90 w 162"/>
                <a:gd name="T67" fmla="*/ 106 h 117"/>
                <a:gd name="T68" fmla="*/ 83 w 162"/>
                <a:gd name="T69" fmla="*/ 109 h 117"/>
                <a:gd name="T70" fmla="*/ 82 w 162"/>
                <a:gd name="T71" fmla="*/ 107 h 117"/>
                <a:gd name="T72" fmla="*/ 74 w 162"/>
                <a:gd name="T73" fmla="*/ 97 h 117"/>
                <a:gd name="T74" fmla="*/ 62 w 162"/>
                <a:gd name="T75" fmla="*/ 96 h 117"/>
                <a:gd name="T76" fmla="*/ 60 w 162"/>
                <a:gd name="T77" fmla="*/ 90 h 117"/>
                <a:gd name="T78" fmla="*/ 49 w 162"/>
                <a:gd name="T79" fmla="*/ 88 h 117"/>
                <a:gd name="T80" fmla="*/ 47 w 162"/>
                <a:gd name="T81" fmla="*/ 93 h 117"/>
                <a:gd name="T82" fmla="*/ 38 w 162"/>
                <a:gd name="T83" fmla="*/ 89 h 117"/>
                <a:gd name="T84" fmla="*/ 38 w 162"/>
                <a:gd name="T85" fmla="*/ 83 h 117"/>
                <a:gd name="T86" fmla="*/ 26 w 162"/>
                <a:gd name="T87" fmla="*/ 81 h 117"/>
                <a:gd name="T88" fmla="*/ 18 w 162"/>
                <a:gd name="T89" fmla="*/ 7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17">
                  <a:moveTo>
                    <a:pt x="18" y="75"/>
                  </a:moveTo>
                  <a:lnTo>
                    <a:pt x="11" y="62"/>
                  </a:lnTo>
                  <a:lnTo>
                    <a:pt x="11" y="55"/>
                  </a:lnTo>
                  <a:lnTo>
                    <a:pt x="6" y="44"/>
                  </a:lnTo>
                  <a:lnTo>
                    <a:pt x="0" y="37"/>
                  </a:lnTo>
                  <a:lnTo>
                    <a:pt x="4" y="32"/>
                  </a:lnTo>
                  <a:lnTo>
                    <a:pt x="0" y="22"/>
                  </a:lnTo>
                  <a:lnTo>
                    <a:pt x="10" y="16"/>
                  </a:lnTo>
                  <a:lnTo>
                    <a:pt x="33" y="7"/>
                  </a:lnTo>
                  <a:lnTo>
                    <a:pt x="52" y="0"/>
                  </a:lnTo>
                  <a:lnTo>
                    <a:pt x="67" y="3"/>
                  </a:lnTo>
                  <a:lnTo>
                    <a:pt x="69" y="8"/>
                  </a:lnTo>
                  <a:lnTo>
                    <a:pt x="84" y="8"/>
                  </a:lnTo>
                  <a:lnTo>
                    <a:pt x="103" y="10"/>
                  </a:lnTo>
                  <a:lnTo>
                    <a:pt x="132" y="10"/>
                  </a:lnTo>
                  <a:lnTo>
                    <a:pt x="140" y="12"/>
                  </a:lnTo>
                  <a:lnTo>
                    <a:pt x="145" y="18"/>
                  </a:lnTo>
                  <a:lnTo>
                    <a:pt x="147" y="27"/>
                  </a:lnTo>
                  <a:lnTo>
                    <a:pt x="152" y="35"/>
                  </a:lnTo>
                  <a:lnTo>
                    <a:pt x="153" y="43"/>
                  </a:lnTo>
                  <a:lnTo>
                    <a:pt x="144" y="47"/>
                  </a:lnTo>
                  <a:lnTo>
                    <a:pt x="150" y="56"/>
                  </a:lnTo>
                  <a:lnTo>
                    <a:pt x="152" y="65"/>
                  </a:lnTo>
                  <a:lnTo>
                    <a:pt x="162" y="83"/>
                  </a:lnTo>
                  <a:lnTo>
                    <a:pt x="161" y="89"/>
                  </a:lnTo>
                  <a:lnTo>
                    <a:pt x="154" y="91"/>
                  </a:lnTo>
                  <a:lnTo>
                    <a:pt x="141" y="108"/>
                  </a:lnTo>
                  <a:lnTo>
                    <a:pt x="146" y="117"/>
                  </a:lnTo>
                  <a:lnTo>
                    <a:pt x="143" y="116"/>
                  </a:lnTo>
                  <a:lnTo>
                    <a:pt x="127" y="108"/>
                  </a:lnTo>
                  <a:lnTo>
                    <a:pt x="115" y="110"/>
                  </a:lnTo>
                  <a:lnTo>
                    <a:pt x="107" y="109"/>
                  </a:lnTo>
                  <a:lnTo>
                    <a:pt x="98" y="113"/>
                  </a:lnTo>
                  <a:lnTo>
                    <a:pt x="90" y="106"/>
                  </a:lnTo>
                  <a:lnTo>
                    <a:pt x="83" y="109"/>
                  </a:lnTo>
                  <a:lnTo>
                    <a:pt x="82" y="107"/>
                  </a:lnTo>
                  <a:lnTo>
                    <a:pt x="74" y="97"/>
                  </a:lnTo>
                  <a:lnTo>
                    <a:pt x="62" y="96"/>
                  </a:lnTo>
                  <a:lnTo>
                    <a:pt x="60" y="90"/>
                  </a:lnTo>
                  <a:lnTo>
                    <a:pt x="49" y="88"/>
                  </a:lnTo>
                  <a:lnTo>
                    <a:pt x="47" y="93"/>
                  </a:lnTo>
                  <a:lnTo>
                    <a:pt x="38" y="89"/>
                  </a:lnTo>
                  <a:lnTo>
                    <a:pt x="38" y="83"/>
                  </a:lnTo>
                  <a:lnTo>
                    <a:pt x="26" y="81"/>
                  </a:lnTo>
                  <a:lnTo>
                    <a:pt x="18" y="75"/>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89" name="Freeform 152"/>
            <p:cNvSpPr>
              <a:spLocks/>
            </p:cNvSpPr>
            <p:nvPr/>
          </p:nvSpPr>
          <p:spPr bwMode="auto">
            <a:xfrm>
              <a:off x="2249487" y="3095629"/>
              <a:ext cx="47625" cy="17463"/>
            </a:xfrm>
            <a:custGeom>
              <a:avLst/>
              <a:gdLst>
                <a:gd name="T0" fmla="*/ 18 w 30"/>
                <a:gd name="T1" fmla="*/ 0 h 11"/>
                <a:gd name="T2" fmla="*/ 27 w 30"/>
                <a:gd name="T3" fmla="*/ 1 h 11"/>
                <a:gd name="T4" fmla="*/ 30 w 30"/>
                <a:gd name="T5" fmla="*/ 6 h 11"/>
                <a:gd name="T6" fmla="*/ 24 w 30"/>
                <a:gd name="T7" fmla="*/ 11 h 11"/>
                <a:gd name="T8" fmla="*/ 11 w 30"/>
                <a:gd name="T9" fmla="*/ 11 h 11"/>
                <a:gd name="T10" fmla="*/ 0 w 30"/>
                <a:gd name="T11" fmla="*/ 11 h 11"/>
                <a:gd name="T12" fmla="*/ 0 w 30"/>
                <a:gd name="T13" fmla="*/ 3 h 11"/>
                <a:gd name="T14" fmla="*/ 3 w 30"/>
                <a:gd name="T15" fmla="*/ 0 h 11"/>
                <a:gd name="T16" fmla="*/ 18 w 30"/>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1">
                  <a:moveTo>
                    <a:pt x="18" y="0"/>
                  </a:moveTo>
                  <a:lnTo>
                    <a:pt x="27" y="1"/>
                  </a:lnTo>
                  <a:lnTo>
                    <a:pt x="30" y="6"/>
                  </a:lnTo>
                  <a:lnTo>
                    <a:pt x="24" y="11"/>
                  </a:lnTo>
                  <a:lnTo>
                    <a:pt x="11" y="11"/>
                  </a:lnTo>
                  <a:lnTo>
                    <a:pt x="0" y="11"/>
                  </a:lnTo>
                  <a:lnTo>
                    <a:pt x="0" y="3"/>
                  </a:lnTo>
                  <a:lnTo>
                    <a:pt x="3" y="0"/>
                  </a:lnTo>
                  <a:lnTo>
                    <a:pt x="18"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90" name="Freeform 153"/>
            <p:cNvSpPr>
              <a:spLocks/>
            </p:cNvSpPr>
            <p:nvPr/>
          </p:nvSpPr>
          <p:spPr bwMode="auto">
            <a:xfrm>
              <a:off x="7521575" y="2290766"/>
              <a:ext cx="134938" cy="174625"/>
            </a:xfrm>
            <a:custGeom>
              <a:avLst/>
              <a:gdLst>
                <a:gd name="T0" fmla="*/ 81 w 85"/>
                <a:gd name="T1" fmla="*/ 12 h 110"/>
                <a:gd name="T2" fmla="*/ 85 w 85"/>
                <a:gd name="T3" fmla="*/ 16 h 110"/>
                <a:gd name="T4" fmla="*/ 78 w 85"/>
                <a:gd name="T5" fmla="*/ 14 h 110"/>
                <a:gd name="T6" fmla="*/ 75 w 85"/>
                <a:gd name="T7" fmla="*/ 21 h 110"/>
                <a:gd name="T8" fmla="*/ 74 w 85"/>
                <a:gd name="T9" fmla="*/ 28 h 110"/>
                <a:gd name="T10" fmla="*/ 82 w 85"/>
                <a:gd name="T11" fmla="*/ 43 h 110"/>
                <a:gd name="T12" fmla="*/ 76 w 85"/>
                <a:gd name="T13" fmla="*/ 48 h 110"/>
                <a:gd name="T14" fmla="*/ 75 w 85"/>
                <a:gd name="T15" fmla="*/ 52 h 110"/>
                <a:gd name="T16" fmla="*/ 72 w 85"/>
                <a:gd name="T17" fmla="*/ 58 h 110"/>
                <a:gd name="T18" fmla="*/ 62 w 85"/>
                <a:gd name="T19" fmla="*/ 61 h 110"/>
                <a:gd name="T20" fmla="*/ 58 w 85"/>
                <a:gd name="T21" fmla="*/ 66 h 110"/>
                <a:gd name="T22" fmla="*/ 61 w 85"/>
                <a:gd name="T23" fmla="*/ 75 h 110"/>
                <a:gd name="T24" fmla="*/ 61 w 85"/>
                <a:gd name="T25" fmla="*/ 78 h 110"/>
                <a:gd name="T26" fmla="*/ 69 w 85"/>
                <a:gd name="T27" fmla="*/ 81 h 110"/>
                <a:gd name="T28" fmla="*/ 83 w 85"/>
                <a:gd name="T29" fmla="*/ 90 h 110"/>
                <a:gd name="T30" fmla="*/ 83 w 85"/>
                <a:gd name="T31" fmla="*/ 95 h 110"/>
                <a:gd name="T32" fmla="*/ 76 w 85"/>
                <a:gd name="T33" fmla="*/ 96 h 110"/>
                <a:gd name="T34" fmla="*/ 65 w 85"/>
                <a:gd name="T35" fmla="*/ 97 h 110"/>
                <a:gd name="T36" fmla="*/ 62 w 85"/>
                <a:gd name="T37" fmla="*/ 107 h 110"/>
                <a:gd name="T38" fmla="*/ 55 w 85"/>
                <a:gd name="T39" fmla="*/ 106 h 110"/>
                <a:gd name="T40" fmla="*/ 54 w 85"/>
                <a:gd name="T41" fmla="*/ 108 h 110"/>
                <a:gd name="T42" fmla="*/ 44 w 85"/>
                <a:gd name="T43" fmla="*/ 104 h 110"/>
                <a:gd name="T44" fmla="*/ 44 w 85"/>
                <a:gd name="T45" fmla="*/ 108 h 110"/>
                <a:gd name="T46" fmla="*/ 40 w 85"/>
                <a:gd name="T47" fmla="*/ 110 h 110"/>
                <a:gd name="T48" fmla="*/ 37 w 85"/>
                <a:gd name="T49" fmla="*/ 106 h 110"/>
                <a:gd name="T50" fmla="*/ 32 w 85"/>
                <a:gd name="T51" fmla="*/ 104 h 110"/>
                <a:gd name="T52" fmla="*/ 26 w 85"/>
                <a:gd name="T53" fmla="*/ 100 h 110"/>
                <a:gd name="T54" fmla="*/ 26 w 85"/>
                <a:gd name="T55" fmla="*/ 91 h 110"/>
                <a:gd name="T56" fmla="*/ 29 w 85"/>
                <a:gd name="T57" fmla="*/ 89 h 110"/>
                <a:gd name="T58" fmla="*/ 26 w 85"/>
                <a:gd name="T59" fmla="*/ 85 h 110"/>
                <a:gd name="T60" fmla="*/ 25 w 85"/>
                <a:gd name="T61" fmla="*/ 74 h 110"/>
                <a:gd name="T62" fmla="*/ 22 w 85"/>
                <a:gd name="T63" fmla="*/ 71 h 110"/>
                <a:gd name="T64" fmla="*/ 11 w 85"/>
                <a:gd name="T65" fmla="*/ 68 h 110"/>
                <a:gd name="T66" fmla="*/ 0 w 85"/>
                <a:gd name="T67" fmla="*/ 63 h 110"/>
                <a:gd name="T68" fmla="*/ 8 w 85"/>
                <a:gd name="T69" fmla="*/ 50 h 110"/>
                <a:gd name="T70" fmla="*/ 20 w 85"/>
                <a:gd name="T71" fmla="*/ 39 h 110"/>
                <a:gd name="T72" fmla="*/ 24 w 85"/>
                <a:gd name="T73" fmla="*/ 24 h 110"/>
                <a:gd name="T74" fmla="*/ 36 w 85"/>
                <a:gd name="T75" fmla="*/ 31 h 110"/>
                <a:gd name="T76" fmla="*/ 51 w 85"/>
                <a:gd name="T77" fmla="*/ 31 h 110"/>
                <a:gd name="T78" fmla="*/ 42 w 85"/>
                <a:gd name="T79" fmla="*/ 20 h 110"/>
                <a:gd name="T80" fmla="*/ 63 w 85"/>
                <a:gd name="T81" fmla="*/ 11 h 110"/>
                <a:gd name="T82" fmla="*/ 63 w 85"/>
                <a:gd name="T83" fmla="*/ 0 h 110"/>
                <a:gd name="T84" fmla="*/ 81 w 85"/>
                <a:gd name="T85" fmla="*/ 1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5" h="110">
                  <a:moveTo>
                    <a:pt x="81" y="12"/>
                  </a:moveTo>
                  <a:lnTo>
                    <a:pt x="85" y="16"/>
                  </a:lnTo>
                  <a:lnTo>
                    <a:pt x="78" y="14"/>
                  </a:lnTo>
                  <a:lnTo>
                    <a:pt x="75" y="21"/>
                  </a:lnTo>
                  <a:lnTo>
                    <a:pt x="74" y="28"/>
                  </a:lnTo>
                  <a:lnTo>
                    <a:pt x="82" y="43"/>
                  </a:lnTo>
                  <a:lnTo>
                    <a:pt x="76" y="48"/>
                  </a:lnTo>
                  <a:lnTo>
                    <a:pt x="75" y="52"/>
                  </a:lnTo>
                  <a:lnTo>
                    <a:pt x="72" y="58"/>
                  </a:lnTo>
                  <a:lnTo>
                    <a:pt x="62" y="61"/>
                  </a:lnTo>
                  <a:lnTo>
                    <a:pt x="58" y="66"/>
                  </a:lnTo>
                  <a:lnTo>
                    <a:pt x="61" y="75"/>
                  </a:lnTo>
                  <a:lnTo>
                    <a:pt x="61" y="78"/>
                  </a:lnTo>
                  <a:lnTo>
                    <a:pt x="69" y="81"/>
                  </a:lnTo>
                  <a:lnTo>
                    <a:pt x="83" y="90"/>
                  </a:lnTo>
                  <a:lnTo>
                    <a:pt x="83" y="95"/>
                  </a:lnTo>
                  <a:lnTo>
                    <a:pt x="76" y="96"/>
                  </a:lnTo>
                  <a:lnTo>
                    <a:pt x="65" y="97"/>
                  </a:lnTo>
                  <a:lnTo>
                    <a:pt x="62" y="107"/>
                  </a:lnTo>
                  <a:lnTo>
                    <a:pt x="55" y="106"/>
                  </a:lnTo>
                  <a:lnTo>
                    <a:pt x="54" y="108"/>
                  </a:lnTo>
                  <a:lnTo>
                    <a:pt x="44" y="104"/>
                  </a:lnTo>
                  <a:lnTo>
                    <a:pt x="44" y="108"/>
                  </a:lnTo>
                  <a:lnTo>
                    <a:pt x="40" y="110"/>
                  </a:lnTo>
                  <a:lnTo>
                    <a:pt x="37" y="106"/>
                  </a:lnTo>
                  <a:lnTo>
                    <a:pt x="32" y="104"/>
                  </a:lnTo>
                  <a:lnTo>
                    <a:pt x="26" y="100"/>
                  </a:lnTo>
                  <a:lnTo>
                    <a:pt x="26" y="91"/>
                  </a:lnTo>
                  <a:lnTo>
                    <a:pt x="29" y="89"/>
                  </a:lnTo>
                  <a:lnTo>
                    <a:pt x="26" y="85"/>
                  </a:lnTo>
                  <a:lnTo>
                    <a:pt x="25" y="74"/>
                  </a:lnTo>
                  <a:lnTo>
                    <a:pt x="22" y="71"/>
                  </a:lnTo>
                  <a:lnTo>
                    <a:pt x="11" y="68"/>
                  </a:lnTo>
                  <a:lnTo>
                    <a:pt x="0" y="63"/>
                  </a:lnTo>
                  <a:lnTo>
                    <a:pt x="8" y="50"/>
                  </a:lnTo>
                  <a:lnTo>
                    <a:pt x="20" y="39"/>
                  </a:lnTo>
                  <a:lnTo>
                    <a:pt x="24" y="24"/>
                  </a:lnTo>
                  <a:lnTo>
                    <a:pt x="36" y="31"/>
                  </a:lnTo>
                  <a:lnTo>
                    <a:pt x="51" y="31"/>
                  </a:lnTo>
                  <a:lnTo>
                    <a:pt x="42" y="20"/>
                  </a:lnTo>
                  <a:lnTo>
                    <a:pt x="63" y="11"/>
                  </a:lnTo>
                  <a:lnTo>
                    <a:pt x="63" y="0"/>
                  </a:lnTo>
                  <a:lnTo>
                    <a:pt x="81" y="12"/>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91" name="Freeform 154"/>
            <p:cNvSpPr>
              <a:spLocks/>
            </p:cNvSpPr>
            <p:nvPr/>
          </p:nvSpPr>
          <p:spPr bwMode="auto">
            <a:xfrm>
              <a:off x="3924300" y="2312991"/>
              <a:ext cx="87313" cy="179388"/>
            </a:xfrm>
            <a:custGeom>
              <a:avLst/>
              <a:gdLst>
                <a:gd name="T0" fmla="*/ 11 w 55"/>
                <a:gd name="T1" fmla="*/ 9 h 113"/>
                <a:gd name="T2" fmla="*/ 17 w 55"/>
                <a:gd name="T3" fmla="*/ 3 h 113"/>
                <a:gd name="T4" fmla="*/ 24 w 55"/>
                <a:gd name="T5" fmla="*/ 0 h 113"/>
                <a:gd name="T6" fmla="*/ 28 w 55"/>
                <a:gd name="T7" fmla="*/ 10 h 113"/>
                <a:gd name="T8" fmla="*/ 38 w 55"/>
                <a:gd name="T9" fmla="*/ 10 h 113"/>
                <a:gd name="T10" fmla="*/ 41 w 55"/>
                <a:gd name="T11" fmla="*/ 8 h 113"/>
                <a:gd name="T12" fmla="*/ 50 w 55"/>
                <a:gd name="T13" fmla="*/ 9 h 113"/>
                <a:gd name="T14" fmla="*/ 55 w 55"/>
                <a:gd name="T15" fmla="*/ 19 h 113"/>
                <a:gd name="T16" fmla="*/ 47 w 55"/>
                <a:gd name="T17" fmla="*/ 25 h 113"/>
                <a:gd name="T18" fmla="*/ 46 w 55"/>
                <a:gd name="T19" fmla="*/ 41 h 113"/>
                <a:gd name="T20" fmla="*/ 43 w 55"/>
                <a:gd name="T21" fmla="*/ 44 h 113"/>
                <a:gd name="T22" fmla="*/ 43 w 55"/>
                <a:gd name="T23" fmla="*/ 53 h 113"/>
                <a:gd name="T24" fmla="*/ 35 w 55"/>
                <a:gd name="T25" fmla="*/ 55 h 113"/>
                <a:gd name="T26" fmla="*/ 42 w 55"/>
                <a:gd name="T27" fmla="*/ 67 h 113"/>
                <a:gd name="T28" fmla="*/ 37 w 55"/>
                <a:gd name="T29" fmla="*/ 81 h 113"/>
                <a:gd name="T30" fmla="*/ 42 w 55"/>
                <a:gd name="T31" fmla="*/ 87 h 113"/>
                <a:gd name="T32" fmla="*/ 40 w 55"/>
                <a:gd name="T33" fmla="*/ 93 h 113"/>
                <a:gd name="T34" fmla="*/ 33 w 55"/>
                <a:gd name="T35" fmla="*/ 100 h 113"/>
                <a:gd name="T36" fmla="*/ 35 w 55"/>
                <a:gd name="T37" fmla="*/ 107 h 113"/>
                <a:gd name="T38" fmla="*/ 28 w 55"/>
                <a:gd name="T39" fmla="*/ 113 h 113"/>
                <a:gd name="T40" fmla="*/ 19 w 55"/>
                <a:gd name="T41" fmla="*/ 110 h 113"/>
                <a:gd name="T42" fmla="*/ 9 w 55"/>
                <a:gd name="T43" fmla="*/ 112 h 113"/>
                <a:gd name="T44" fmla="*/ 13 w 55"/>
                <a:gd name="T45" fmla="*/ 96 h 113"/>
                <a:gd name="T46" fmla="*/ 11 w 55"/>
                <a:gd name="T47" fmla="*/ 83 h 113"/>
                <a:gd name="T48" fmla="*/ 4 w 55"/>
                <a:gd name="T49" fmla="*/ 81 h 113"/>
                <a:gd name="T50" fmla="*/ 0 w 55"/>
                <a:gd name="T51" fmla="*/ 73 h 113"/>
                <a:gd name="T52" fmla="*/ 2 w 55"/>
                <a:gd name="T53" fmla="*/ 60 h 113"/>
                <a:gd name="T54" fmla="*/ 9 w 55"/>
                <a:gd name="T55" fmla="*/ 52 h 113"/>
                <a:gd name="T56" fmla="*/ 10 w 55"/>
                <a:gd name="T57" fmla="*/ 44 h 113"/>
                <a:gd name="T58" fmla="*/ 14 w 55"/>
                <a:gd name="T59" fmla="*/ 32 h 113"/>
                <a:gd name="T60" fmla="*/ 14 w 55"/>
                <a:gd name="T61" fmla="*/ 23 h 113"/>
                <a:gd name="T62" fmla="*/ 11 w 55"/>
                <a:gd name="T63" fmla="*/ 16 h 113"/>
                <a:gd name="T64" fmla="*/ 11 w 55"/>
                <a:gd name="T65"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113">
                  <a:moveTo>
                    <a:pt x="11" y="9"/>
                  </a:moveTo>
                  <a:lnTo>
                    <a:pt x="17" y="3"/>
                  </a:lnTo>
                  <a:lnTo>
                    <a:pt x="24" y="0"/>
                  </a:lnTo>
                  <a:lnTo>
                    <a:pt x="28" y="10"/>
                  </a:lnTo>
                  <a:lnTo>
                    <a:pt x="38" y="10"/>
                  </a:lnTo>
                  <a:lnTo>
                    <a:pt x="41" y="8"/>
                  </a:lnTo>
                  <a:lnTo>
                    <a:pt x="50" y="9"/>
                  </a:lnTo>
                  <a:lnTo>
                    <a:pt x="55" y="19"/>
                  </a:lnTo>
                  <a:lnTo>
                    <a:pt x="47" y="25"/>
                  </a:lnTo>
                  <a:lnTo>
                    <a:pt x="46" y="41"/>
                  </a:lnTo>
                  <a:lnTo>
                    <a:pt x="43" y="44"/>
                  </a:lnTo>
                  <a:lnTo>
                    <a:pt x="43" y="53"/>
                  </a:lnTo>
                  <a:lnTo>
                    <a:pt x="35" y="55"/>
                  </a:lnTo>
                  <a:lnTo>
                    <a:pt x="42" y="67"/>
                  </a:lnTo>
                  <a:lnTo>
                    <a:pt x="37" y="81"/>
                  </a:lnTo>
                  <a:lnTo>
                    <a:pt x="42" y="87"/>
                  </a:lnTo>
                  <a:lnTo>
                    <a:pt x="40" y="93"/>
                  </a:lnTo>
                  <a:lnTo>
                    <a:pt x="33" y="100"/>
                  </a:lnTo>
                  <a:lnTo>
                    <a:pt x="35" y="107"/>
                  </a:lnTo>
                  <a:lnTo>
                    <a:pt x="28" y="113"/>
                  </a:lnTo>
                  <a:lnTo>
                    <a:pt x="19" y="110"/>
                  </a:lnTo>
                  <a:lnTo>
                    <a:pt x="9" y="112"/>
                  </a:lnTo>
                  <a:lnTo>
                    <a:pt x="13" y="96"/>
                  </a:lnTo>
                  <a:lnTo>
                    <a:pt x="11" y="83"/>
                  </a:lnTo>
                  <a:lnTo>
                    <a:pt x="4" y="81"/>
                  </a:lnTo>
                  <a:lnTo>
                    <a:pt x="0" y="73"/>
                  </a:lnTo>
                  <a:lnTo>
                    <a:pt x="2" y="60"/>
                  </a:lnTo>
                  <a:lnTo>
                    <a:pt x="9" y="52"/>
                  </a:lnTo>
                  <a:lnTo>
                    <a:pt x="10" y="44"/>
                  </a:lnTo>
                  <a:lnTo>
                    <a:pt x="14" y="32"/>
                  </a:lnTo>
                  <a:lnTo>
                    <a:pt x="14" y="23"/>
                  </a:lnTo>
                  <a:lnTo>
                    <a:pt x="11" y="16"/>
                  </a:lnTo>
                  <a:lnTo>
                    <a:pt x="11" y="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92" name="Freeform 155"/>
            <p:cNvSpPr>
              <a:spLocks/>
            </p:cNvSpPr>
            <p:nvPr/>
          </p:nvSpPr>
          <p:spPr bwMode="auto">
            <a:xfrm>
              <a:off x="2393950" y="4343404"/>
              <a:ext cx="247650" cy="271463"/>
            </a:xfrm>
            <a:custGeom>
              <a:avLst/>
              <a:gdLst>
                <a:gd name="T0" fmla="*/ 0 w 156"/>
                <a:gd name="T1" fmla="*/ 61 h 171"/>
                <a:gd name="T2" fmla="*/ 4 w 156"/>
                <a:gd name="T3" fmla="*/ 36 h 171"/>
                <a:gd name="T4" fmla="*/ 3 w 156"/>
                <a:gd name="T5" fmla="*/ 25 h 171"/>
                <a:gd name="T6" fmla="*/ 10 w 156"/>
                <a:gd name="T7" fmla="*/ 6 h 171"/>
                <a:gd name="T8" fmla="*/ 41 w 156"/>
                <a:gd name="T9" fmla="*/ 0 h 171"/>
                <a:gd name="T10" fmla="*/ 58 w 156"/>
                <a:gd name="T11" fmla="*/ 1 h 171"/>
                <a:gd name="T12" fmla="*/ 76 w 156"/>
                <a:gd name="T13" fmla="*/ 11 h 171"/>
                <a:gd name="T14" fmla="*/ 77 w 156"/>
                <a:gd name="T15" fmla="*/ 18 h 171"/>
                <a:gd name="T16" fmla="*/ 83 w 156"/>
                <a:gd name="T17" fmla="*/ 29 h 171"/>
                <a:gd name="T18" fmla="*/ 85 w 156"/>
                <a:gd name="T19" fmla="*/ 57 h 171"/>
                <a:gd name="T20" fmla="*/ 104 w 156"/>
                <a:gd name="T21" fmla="*/ 61 h 171"/>
                <a:gd name="T22" fmla="*/ 111 w 156"/>
                <a:gd name="T23" fmla="*/ 57 h 171"/>
                <a:gd name="T24" fmla="*/ 124 w 156"/>
                <a:gd name="T25" fmla="*/ 63 h 171"/>
                <a:gd name="T26" fmla="*/ 128 w 156"/>
                <a:gd name="T27" fmla="*/ 69 h 171"/>
                <a:gd name="T28" fmla="*/ 132 w 156"/>
                <a:gd name="T29" fmla="*/ 88 h 171"/>
                <a:gd name="T30" fmla="*/ 135 w 156"/>
                <a:gd name="T31" fmla="*/ 96 h 171"/>
                <a:gd name="T32" fmla="*/ 141 w 156"/>
                <a:gd name="T33" fmla="*/ 97 h 171"/>
                <a:gd name="T34" fmla="*/ 148 w 156"/>
                <a:gd name="T35" fmla="*/ 94 h 171"/>
                <a:gd name="T36" fmla="*/ 155 w 156"/>
                <a:gd name="T37" fmla="*/ 97 h 171"/>
                <a:gd name="T38" fmla="*/ 156 w 156"/>
                <a:gd name="T39" fmla="*/ 109 h 171"/>
                <a:gd name="T40" fmla="*/ 155 w 156"/>
                <a:gd name="T41" fmla="*/ 121 h 171"/>
                <a:gd name="T42" fmla="*/ 153 w 156"/>
                <a:gd name="T43" fmla="*/ 133 h 171"/>
                <a:gd name="T44" fmla="*/ 152 w 156"/>
                <a:gd name="T45" fmla="*/ 151 h 171"/>
                <a:gd name="T46" fmla="*/ 138 w 156"/>
                <a:gd name="T47" fmla="*/ 167 h 171"/>
                <a:gd name="T48" fmla="*/ 124 w 156"/>
                <a:gd name="T49" fmla="*/ 171 h 171"/>
                <a:gd name="T50" fmla="*/ 104 w 156"/>
                <a:gd name="T51" fmla="*/ 167 h 171"/>
                <a:gd name="T52" fmla="*/ 85 w 156"/>
                <a:gd name="T53" fmla="*/ 162 h 171"/>
                <a:gd name="T54" fmla="*/ 99 w 156"/>
                <a:gd name="T55" fmla="*/ 130 h 171"/>
                <a:gd name="T56" fmla="*/ 95 w 156"/>
                <a:gd name="T57" fmla="*/ 121 h 171"/>
                <a:gd name="T58" fmla="*/ 76 w 156"/>
                <a:gd name="T59" fmla="*/ 113 h 171"/>
                <a:gd name="T60" fmla="*/ 52 w 156"/>
                <a:gd name="T61" fmla="*/ 98 h 171"/>
                <a:gd name="T62" fmla="*/ 37 w 156"/>
                <a:gd name="T63" fmla="*/ 95 h 171"/>
                <a:gd name="T64" fmla="*/ 0 w 156"/>
                <a:gd name="T65" fmla="*/ 6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6" h="171">
                  <a:moveTo>
                    <a:pt x="0" y="61"/>
                  </a:moveTo>
                  <a:lnTo>
                    <a:pt x="4" y="36"/>
                  </a:lnTo>
                  <a:lnTo>
                    <a:pt x="3" y="25"/>
                  </a:lnTo>
                  <a:lnTo>
                    <a:pt x="10" y="6"/>
                  </a:lnTo>
                  <a:lnTo>
                    <a:pt x="41" y="0"/>
                  </a:lnTo>
                  <a:lnTo>
                    <a:pt x="58" y="1"/>
                  </a:lnTo>
                  <a:lnTo>
                    <a:pt x="76" y="11"/>
                  </a:lnTo>
                  <a:lnTo>
                    <a:pt x="77" y="18"/>
                  </a:lnTo>
                  <a:lnTo>
                    <a:pt x="83" y="29"/>
                  </a:lnTo>
                  <a:lnTo>
                    <a:pt x="85" y="57"/>
                  </a:lnTo>
                  <a:lnTo>
                    <a:pt x="104" y="61"/>
                  </a:lnTo>
                  <a:lnTo>
                    <a:pt x="111" y="57"/>
                  </a:lnTo>
                  <a:lnTo>
                    <a:pt x="124" y="63"/>
                  </a:lnTo>
                  <a:lnTo>
                    <a:pt x="128" y="69"/>
                  </a:lnTo>
                  <a:lnTo>
                    <a:pt x="132" y="88"/>
                  </a:lnTo>
                  <a:lnTo>
                    <a:pt x="135" y="96"/>
                  </a:lnTo>
                  <a:lnTo>
                    <a:pt x="141" y="97"/>
                  </a:lnTo>
                  <a:lnTo>
                    <a:pt x="148" y="94"/>
                  </a:lnTo>
                  <a:lnTo>
                    <a:pt x="155" y="97"/>
                  </a:lnTo>
                  <a:lnTo>
                    <a:pt x="156" y="109"/>
                  </a:lnTo>
                  <a:lnTo>
                    <a:pt x="155" y="121"/>
                  </a:lnTo>
                  <a:lnTo>
                    <a:pt x="153" y="133"/>
                  </a:lnTo>
                  <a:lnTo>
                    <a:pt x="152" y="151"/>
                  </a:lnTo>
                  <a:lnTo>
                    <a:pt x="138" y="167"/>
                  </a:lnTo>
                  <a:lnTo>
                    <a:pt x="124" y="171"/>
                  </a:lnTo>
                  <a:lnTo>
                    <a:pt x="104" y="167"/>
                  </a:lnTo>
                  <a:lnTo>
                    <a:pt x="85" y="162"/>
                  </a:lnTo>
                  <a:lnTo>
                    <a:pt x="99" y="130"/>
                  </a:lnTo>
                  <a:lnTo>
                    <a:pt x="95" y="121"/>
                  </a:lnTo>
                  <a:lnTo>
                    <a:pt x="76" y="113"/>
                  </a:lnTo>
                  <a:lnTo>
                    <a:pt x="52" y="98"/>
                  </a:lnTo>
                  <a:lnTo>
                    <a:pt x="37" y="95"/>
                  </a:lnTo>
                  <a:lnTo>
                    <a:pt x="0" y="61"/>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93" name="Freeform 156"/>
            <p:cNvSpPr>
              <a:spLocks/>
            </p:cNvSpPr>
            <p:nvPr/>
          </p:nvSpPr>
          <p:spPr bwMode="auto">
            <a:xfrm>
              <a:off x="5153025" y="2633666"/>
              <a:ext cx="17463" cy="38100"/>
            </a:xfrm>
            <a:custGeom>
              <a:avLst/>
              <a:gdLst>
                <a:gd name="T0" fmla="*/ 9 w 11"/>
                <a:gd name="T1" fmla="*/ 3 h 24"/>
                <a:gd name="T2" fmla="*/ 11 w 11"/>
                <a:gd name="T3" fmla="*/ 15 h 24"/>
                <a:gd name="T4" fmla="*/ 9 w 11"/>
                <a:gd name="T5" fmla="*/ 21 h 24"/>
                <a:gd name="T6" fmla="*/ 1 w 11"/>
                <a:gd name="T7" fmla="*/ 24 h 24"/>
                <a:gd name="T8" fmla="*/ 1 w 11"/>
                <a:gd name="T9" fmla="*/ 19 h 24"/>
                <a:gd name="T10" fmla="*/ 5 w 11"/>
                <a:gd name="T11" fmla="*/ 16 h 24"/>
                <a:gd name="T12" fmla="*/ 0 w 11"/>
                <a:gd name="T13" fmla="*/ 14 h 24"/>
                <a:gd name="T14" fmla="*/ 3 w 11"/>
                <a:gd name="T15" fmla="*/ 0 h 24"/>
                <a:gd name="T16" fmla="*/ 9 w 11"/>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4">
                  <a:moveTo>
                    <a:pt x="9" y="3"/>
                  </a:moveTo>
                  <a:lnTo>
                    <a:pt x="11" y="15"/>
                  </a:lnTo>
                  <a:lnTo>
                    <a:pt x="9" y="21"/>
                  </a:lnTo>
                  <a:lnTo>
                    <a:pt x="1" y="24"/>
                  </a:lnTo>
                  <a:lnTo>
                    <a:pt x="1" y="19"/>
                  </a:lnTo>
                  <a:lnTo>
                    <a:pt x="5" y="16"/>
                  </a:lnTo>
                  <a:lnTo>
                    <a:pt x="0" y="14"/>
                  </a:lnTo>
                  <a:lnTo>
                    <a:pt x="3" y="0"/>
                  </a:lnTo>
                  <a:lnTo>
                    <a:pt x="9" y="3"/>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94" name="Freeform 157"/>
            <p:cNvSpPr>
              <a:spLocks/>
            </p:cNvSpPr>
            <p:nvPr/>
          </p:nvSpPr>
          <p:spPr bwMode="auto">
            <a:xfrm>
              <a:off x="5618162" y="2844804"/>
              <a:ext cx="26988" cy="50800"/>
            </a:xfrm>
            <a:custGeom>
              <a:avLst/>
              <a:gdLst>
                <a:gd name="T0" fmla="*/ 3 w 17"/>
                <a:gd name="T1" fmla="*/ 28 h 32"/>
                <a:gd name="T2" fmla="*/ 0 w 17"/>
                <a:gd name="T3" fmla="*/ 13 h 32"/>
                <a:gd name="T4" fmla="*/ 4 w 17"/>
                <a:gd name="T5" fmla="*/ 2 h 32"/>
                <a:gd name="T6" fmla="*/ 9 w 17"/>
                <a:gd name="T7" fmla="*/ 0 h 32"/>
                <a:gd name="T8" fmla="*/ 15 w 17"/>
                <a:gd name="T9" fmla="*/ 7 h 32"/>
                <a:gd name="T10" fmla="*/ 17 w 17"/>
                <a:gd name="T11" fmla="*/ 18 h 32"/>
                <a:gd name="T12" fmla="*/ 14 w 17"/>
                <a:gd name="T13" fmla="*/ 31 h 32"/>
                <a:gd name="T14" fmla="*/ 9 w 17"/>
                <a:gd name="T15" fmla="*/ 32 h 32"/>
                <a:gd name="T16" fmla="*/ 3 w 17"/>
                <a:gd name="T1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32">
                  <a:moveTo>
                    <a:pt x="3" y="28"/>
                  </a:moveTo>
                  <a:lnTo>
                    <a:pt x="0" y="13"/>
                  </a:lnTo>
                  <a:lnTo>
                    <a:pt x="4" y="2"/>
                  </a:lnTo>
                  <a:lnTo>
                    <a:pt x="9" y="0"/>
                  </a:lnTo>
                  <a:lnTo>
                    <a:pt x="15" y="7"/>
                  </a:lnTo>
                  <a:lnTo>
                    <a:pt x="17" y="18"/>
                  </a:lnTo>
                  <a:lnTo>
                    <a:pt x="14" y="31"/>
                  </a:lnTo>
                  <a:lnTo>
                    <a:pt x="9" y="32"/>
                  </a:lnTo>
                  <a:lnTo>
                    <a:pt x="3" y="28"/>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95" name="Freeform 158"/>
            <p:cNvSpPr>
              <a:spLocks/>
            </p:cNvSpPr>
            <p:nvPr/>
          </p:nvSpPr>
          <p:spPr bwMode="auto">
            <a:xfrm>
              <a:off x="4706937" y="2120904"/>
              <a:ext cx="250825" cy="147638"/>
            </a:xfrm>
            <a:custGeom>
              <a:avLst/>
              <a:gdLst>
                <a:gd name="T0" fmla="*/ 37 w 158"/>
                <a:gd name="T1" fmla="*/ 7 h 93"/>
                <a:gd name="T2" fmla="*/ 44 w 158"/>
                <a:gd name="T3" fmla="*/ 3 h 93"/>
                <a:gd name="T4" fmla="*/ 54 w 158"/>
                <a:gd name="T5" fmla="*/ 5 h 93"/>
                <a:gd name="T6" fmla="*/ 64 w 158"/>
                <a:gd name="T7" fmla="*/ 5 h 93"/>
                <a:gd name="T8" fmla="*/ 72 w 158"/>
                <a:gd name="T9" fmla="*/ 10 h 93"/>
                <a:gd name="T10" fmla="*/ 78 w 158"/>
                <a:gd name="T11" fmla="*/ 7 h 93"/>
                <a:gd name="T12" fmla="*/ 89 w 158"/>
                <a:gd name="T13" fmla="*/ 5 h 93"/>
                <a:gd name="T14" fmla="*/ 93 w 158"/>
                <a:gd name="T15" fmla="*/ 0 h 93"/>
                <a:gd name="T16" fmla="*/ 100 w 158"/>
                <a:gd name="T17" fmla="*/ 0 h 93"/>
                <a:gd name="T18" fmla="*/ 105 w 158"/>
                <a:gd name="T19" fmla="*/ 2 h 93"/>
                <a:gd name="T20" fmla="*/ 110 w 158"/>
                <a:gd name="T21" fmla="*/ 8 h 93"/>
                <a:gd name="T22" fmla="*/ 117 w 158"/>
                <a:gd name="T23" fmla="*/ 17 h 93"/>
                <a:gd name="T24" fmla="*/ 128 w 158"/>
                <a:gd name="T25" fmla="*/ 29 h 93"/>
                <a:gd name="T26" fmla="*/ 130 w 158"/>
                <a:gd name="T27" fmla="*/ 38 h 93"/>
                <a:gd name="T28" fmla="*/ 129 w 158"/>
                <a:gd name="T29" fmla="*/ 47 h 93"/>
                <a:gd name="T30" fmla="*/ 133 w 158"/>
                <a:gd name="T31" fmla="*/ 56 h 93"/>
                <a:gd name="T32" fmla="*/ 141 w 158"/>
                <a:gd name="T33" fmla="*/ 59 h 93"/>
                <a:gd name="T34" fmla="*/ 149 w 158"/>
                <a:gd name="T35" fmla="*/ 56 h 93"/>
                <a:gd name="T36" fmla="*/ 156 w 158"/>
                <a:gd name="T37" fmla="*/ 60 h 93"/>
                <a:gd name="T38" fmla="*/ 158 w 158"/>
                <a:gd name="T39" fmla="*/ 65 h 93"/>
                <a:gd name="T40" fmla="*/ 150 w 158"/>
                <a:gd name="T41" fmla="*/ 69 h 93"/>
                <a:gd name="T42" fmla="*/ 145 w 158"/>
                <a:gd name="T43" fmla="*/ 67 h 93"/>
                <a:gd name="T44" fmla="*/ 143 w 158"/>
                <a:gd name="T45" fmla="*/ 92 h 93"/>
                <a:gd name="T46" fmla="*/ 133 w 158"/>
                <a:gd name="T47" fmla="*/ 90 h 93"/>
                <a:gd name="T48" fmla="*/ 121 w 158"/>
                <a:gd name="T49" fmla="*/ 83 h 93"/>
                <a:gd name="T50" fmla="*/ 101 w 158"/>
                <a:gd name="T51" fmla="*/ 87 h 93"/>
                <a:gd name="T52" fmla="*/ 94 w 158"/>
                <a:gd name="T53" fmla="*/ 93 h 93"/>
                <a:gd name="T54" fmla="*/ 69 w 158"/>
                <a:gd name="T55" fmla="*/ 91 h 93"/>
                <a:gd name="T56" fmla="*/ 56 w 158"/>
                <a:gd name="T57" fmla="*/ 88 h 93"/>
                <a:gd name="T58" fmla="*/ 50 w 158"/>
                <a:gd name="T59" fmla="*/ 90 h 93"/>
                <a:gd name="T60" fmla="*/ 44 w 158"/>
                <a:gd name="T61" fmla="*/ 81 h 93"/>
                <a:gd name="T62" fmla="*/ 41 w 158"/>
                <a:gd name="T63" fmla="*/ 78 h 93"/>
                <a:gd name="T64" fmla="*/ 45 w 158"/>
                <a:gd name="T65" fmla="*/ 74 h 93"/>
                <a:gd name="T66" fmla="*/ 40 w 158"/>
                <a:gd name="T67" fmla="*/ 72 h 93"/>
                <a:gd name="T68" fmla="*/ 36 w 158"/>
                <a:gd name="T69" fmla="*/ 76 h 93"/>
                <a:gd name="T70" fmla="*/ 25 w 158"/>
                <a:gd name="T71" fmla="*/ 70 h 93"/>
                <a:gd name="T72" fmla="*/ 23 w 158"/>
                <a:gd name="T73" fmla="*/ 62 h 93"/>
                <a:gd name="T74" fmla="*/ 13 w 158"/>
                <a:gd name="T75" fmla="*/ 57 h 93"/>
                <a:gd name="T76" fmla="*/ 10 w 158"/>
                <a:gd name="T77" fmla="*/ 51 h 93"/>
                <a:gd name="T78" fmla="*/ 0 w 158"/>
                <a:gd name="T79" fmla="*/ 43 h 93"/>
                <a:gd name="T80" fmla="*/ 13 w 158"/>
                <a:gd name="T81" fmla="*/ 39 h 93"/>
                <a:gd name="T82" fmla="*/ 22 w 158"/>
                <a:gd name="T83" fmla="*/ 25 h 93"/>
                <a:gd name="T84" fmla="*/ 28 w 158"/>
                <a:gd name="T85" fmla="*/ 11 h 93"/>
                <a:gd name="T86" fmla="*/ 37 w 158"/>
                <a:gd name="T87"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 h="93">
                  <a:moveTo>
                    <a:pt x="37" y="7"/>
                  </a:moveTo>
                  <a:lnTo>
                    <a:pt x="44" y="3"/>
                  </a:lnTo>
                  <a:lnTo>
                    <a:pt x="54" y="5"/>
                  </a:lnTo>
                  <a:lnTo>
                    <a:pt x="64" y="5"/>
                  </a:lnTo>
                  <a:lnTo>
                    <a:pt x="72" y="10"/>
                  </a:lnTo>
                  <a:lnTo>
                    <a:pt x="78" y="7"/>
                  </a:lnTo>
                  <a:lnTo>
                    <a:pt x="89" y="5"/>
                  </a:lnTo>
                  <a:lnTo>
                    <a:pt x="93" y="0"/>
                  </a:lnTo>
                  <a:lnTo>
                    <a:pt x="100" y="0"/>
                  </a:lnTo>
                  <a:lnTo>
                    <a:pt x="105" y="2"/>
                  </a:lnTo>
                  <a:lnTo>
                    <a:pt x="110" y="8"/>
                  </a:lnTo>
                  <a:lnTo>
                    <a:pt x="117" y="17"/>
                  </a:lnTo>
                  <a:lnTo>
                    <a:pt x="128" y="29"/>
                  </a:lnTo>
                  <a:lnTo>
                    <a:pt x="130" y="38"/>
                  </a:lnTo>
                  <a:lnTo>
                    <a:pt x="129" y="47"/>
                  </a:lnTo>
                  <a:lnTo>
                    <a:pt x="133" y="56"/>
                  </a:lnTo>
                  <a:lnTo>
                    <a:pt x="141" y="59"/>
                  </a:lnTo>
                  <a:lnTo>
                    <a:pt x="149" y="56"/>
                  </a:lnTo>
                  <a:lnTo>
                    <a:pt x="156" y="60"/>
                  </a:lnTo>
                  <a:lnTo>
                    <a:pt x="158" y="65"/>
                  </a:lnTo>
                  <a:lnTo>
                    <a:pt x="150" y="69"/>
                  </a:lnTo>
                  <a:lnTo>
                    <a:pt x="145" y="67"/>
                  </a:lnTo>
                  <a:lnTo>
                    <a:pt x="143" y="92"/>
                  </a:lnTo>
                  <a:lnTo>
                    <a:pt x="133" y="90"/>
                  </a:lnTo>
                  <a:lnTo>
                    <a:pt x="121" y="83"/>
                  </a:lnTo>
                  <a:lnTo>
                    <a:pt x="101" y="87"/>
                  </a:lnTo>
                  <a:lnTo>
                    <a:pt x="94" y="93"/>
                  </a:lnTo>
                  <a:lnTo>
                    <a:pt x="69" y="91"/>
                  </a:lnTo>
                  <a:lnTo>
                    <a:pt x="56" y="88"/>
                  </a:lnTo>
                  <a:lnTo>
                    <a:pt x="50" y="90"/>
                  </a:lnTo>
                  <a:lnTo>
                    <a:pt x="44" y="81"/>
                  </a:lnTo>
                  <a:lnTo>
                    <a:pt x="41" y="78"/>
                  </a:lnTo>
                  <a:lnTo>
                    <a:pt x="45" y="74"/>
                  </a:lnTo>
                  <a:lnTo>
                    <a:pt x="40" y="72"/>
                  </a:lnTo>
                  <a:lnTo>
                    <a:pt x="36" y="76"/>
                  </a:lnTo>
                  <a:lnTo>
                    <a:pt x="25" y="70"/>
                  </a:lnTo>
                  <a:lnTo>
                    <a:pt x="23" y="62"/>
                  </a:lnTo>
                  <a:lnTo>
                    <a:pt x="13" y="57"/>
                  </a:lnTo>
                  <a:lnTo>
                    <a:pt x="10" y="51"/>
                  </a:lnTo>
                  <a:lnTo>
                    <a:pt x="0" y="43"/>
                  </a:lnTo>
                  <a:lnTo>
                    <a:pt x="13" y="39"/>
                  </a:lnTo>
                  <a:lnTo>
                    <a:pt x="22" y="25"/>
                  </a:lnTo>
                  <a:lnTo>
                    <a:pt x="28" y="11"/>
                  </a:lnTo>
                  <a:lnTo>
                    <a:pt x="37" y="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96" name="Freeform 159"/>
            <p:cNvSpPr>
              <a:spLocks/>
            </p:cNvSpPr>
            <p:nvPr/>
          </p:nvSpPr>
          <p:spPr bwMode="auto">
            <a:xfrm>
              <a:off x="7673975" y="1924054"/>
              <a:ext cx="238125" cy="269875"/>
            </a:xfrm>
            <a:custGeom>
              <a:avLst/>
              <a:gdLst>
                <a:gd name="T0" fmla="*/ 81 w 150"/>
                <a:gd name="T1" fmla="*/ 73 h 170"/>
                <a:gd name="T2" fmla="*/ 126 w 150"/>
                <a:gd name="T3" fmla="*/ 109 h 170"/>
                <a:gd name="T4" fmla="*/ 97 w 150"/>
                <a:gd name="T5" fmla="*/ 102 h 170"/>
                <a:gd name="T6" fmla="*/ 109 w 150"/>
                <a:gd name="T7" fmla="*/ 131 h 170"/>
                <a:gd name="T8" fmla="*/ 140 w 150"/>
                <a:gd name="T9" fmla="*/ 152 h 170"/>
                <a:gd name="T10" fmla="*/ 150 w 150"/>
                <a:gd name="T11" fmla="*/ 166 h 170"/>
                <a:gd name="T12" fmla="*/ 129 w 150"/>
                <a:gd name="T13" fmla="*/ 154 h 170"/>
                <a:gd name="T14" fmla="*/ 129 w 150"/>
                <a:gd name="T15" fmla="*/ 170 h 170"/>
                <a:gd name="T16" fmla="*/ 114 w 150"/>
                <a:gd name="T17" fmla="*/ 153 h 170"/>
                <a:gd name="T18" fmla="*/ 101 w 150"/>
                <a:gd name="T19" fmla="*/ 133 h 170"/>
                <a:gd name="T20" fmla="*/ 83 w 150"/>
                <a:gd name="T21" fmla="*/ 111 h 170"/>
                <a:gd name="T22" fmla="*/ 76 w 150"/>
                <a:gd name="T23" fmla="*/ 96 h 170"/>
                <a:gd name="T24" fmla="*/ 55 w 150"/>
                <a:gd name="T25" fmla="*/ 69 h 170"/>
                <a:gd name="T26" fmla="*/ 29 w 150"/>
                <a:gd name="T27" fmla="*/ 49 h 170"/>
                <a:gd name="T28" fmla="*/ 8 w 150"/>
                <a:gd name="T29" fmla="*/ 22 h 170"/>
                <a:gd name="T30" fmla="*/ 14 w 150"/>
                <a:gd name="T31" fmla="*/ 12 h 170"/>
                <a:gd name="T32" fmla="*/ 0 w 150"/>
                <a:gd name="T33" fmla="*/ 3 h 170"/>
                <a:gd name="T34" fmla="*/ 4 w 150"/>
                <a:gd name="T35" fmla="*/ 0 h 170"/>
                <a:gd name="T36" fmla="*/ 20 w 150"/>
                <a:gd name="T37" fmla="*/ 14 h 170"/>
                <a:gd name="T38" fmla="*/ 42 w 150"/>
                <a:gd name="T39" fmla="*/ 33 h 170"/>
                <a:gd name="T40" fmla="*/ 58 w 150"/>
                <a:gd name="T41" fmla="*/ 53 h 170"/>
                <a:gd name="T42" fmla="*/ 81 w 150"/>
                <a:gd name="T43" fmla="*/ 7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0" h="170">
                  <a:moveTo>
                    <a:pt x="81" y="73"/>
                  </a:moveTo>
                  <a:lnTo>
                    <a:pt x="126" y="109"/>
                  </a:lnTo>
                  <a:lnTo>
                    <a:pt x="97" y="102"/>
                  </a:lnTo>
                  <a:lnTo>
                    <a:pt x="109" y="131"/>
                  </a:lnTo>
                  <a:lnTo>
                    <a:pt x="140" y="152"/>
                  </a:lnTo>
                  <a:lnTo>
                    <a:pt x="150" y="166"/>
                  </a:lnTo>
                  <a:lnTo>
                    <a:pt x="129" y="154"/>
                  </a:lnTo>
                  <a:lnTo>
                    <a:pt x="129" y="170"/>
                  </a:lnTo>
                  <a:lnTo>
                    <a:pt x="114" y="153"/>
                  </a:lnTo>
                  <a:lnTo>
                    <a:pt x="101" y="133"/>
                  </a:lnTo>
                  <a:lnTo>
                    <a:pt x="83" y="111"/>
                  </a:lnTo>
                  <a:lnTo>
                    <a:pt x="76" y="96"/>
                  </a:lnTo>
                  <a:lnTo>
                    <a:pt x="55" y="69"/>
                  </a:lnTo>
                  <a:lnTo>
                    <a:pt x="29" y="49"/>
                  </a:lnTo>
                  <a:lnTo>
                    <a:pt x="8" y="22"/>
                  </a:lnTo>
                  <a:lnTo>
                    <a:pt x="14" y="12"/>
                  </a:lnTo>
                  <a:lnTo>
                    <a:pt x="0" y="3"/>
                  </a:lnTo>
                  <a:lnTo>
                    <a:pt x="4" y="0"/>
                  </a:lnTo>
                  <a:lnTo>
                    <a:pt x="20" y="14"/>
                  </a:lnTo>
                  <a:lnTo>
                    <a:pt x="42" y="33"/>
                  </a:lnTo>
                  <a:lnTo>
                    <a:pt x="58" y="53"/>
                  </a:lnTo>
                  <a:lnTo>
                    <a:pt x="81" y="73"/>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97" name="Freeform 160"/>
            <p:cNvSpPr>
              <a:spLocks/>
            </p:cNvSpPr>
            <p:nvPr/>
          </p:nvSpPr>
          <p:spPr bwMode="auto">
            <a:xfrm>
              <a:off x="4664075" y="1898654"/>
              <a:ext cx="76200" cy="26988"/>
            </a:xfrm>
            <a:custGeom>
              <a:avLst/>
              <a:gdLst>
                <a:gd name="T0" fmla="*/ 48 w 48"/>
                <a:gd name="T1" fmla="*/ 17 h 17"/>
                <a:gd name="T2" fmla="*/ 19 w 48"/>
                <a:gd name="T3" fmla="*/ 17 h 17"/>
                <a:gd name="T4" fmla="*/ 0 w 48"/>
                <a:gd name="T5" fmla="*/ 15 h 17"/>
                <a:gd name="T6" fmla="*/ 2 w 48"/>
                <a:gd name="T7" fmla="*/ 6 h 17"/>
                <a:gd name="T8" fmla="*/ 23 w 48"/>
                <a:gd name="T9" fmla="*/ 0 h 17"/>
                <a:gd name="T10" fmla="*/ 39 w 48"/>
                <a:gd name="T11" fmla="*/ 4 h 17"/>
                <a:gd name="T12" fmla="*/ 47 w 48"/>
                <a:gd name="T13" fmla="*/ 7 h 17"/>
                <a:gd name="T14" fmla="*/ 46 w 48"/>
                <a:gd name="T15" fmla="*/ 12 h 17"/>
                <a:gd name="T16" fmla="*/ 48 w 48"/>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7">
                  <a:moveTo>
                    <a:pt x="48" y="17"/>
                  </a:moveTo>
                  <a:lnTo>
                    <a:pt x="19" y="17"/>
                  </a:lnTo>
                  <a:lnTo>
                    <a:pt x="0" y="15"/>
                  </a:lnTo>
                  <a:lnTo>
                    <a:pt x="2" y="6"/>
                  </a:lnTo>
                  <a:lnTo>
                    <a:pt x="23" y="0"/>
                  </a:lnTo>
                  <a:lnTo>
                    <a:pt x="39" y="4"/>
                  </a:lnTo>
                  <a:lnTo>
                    <a:pt x="47" y="7"/>
                  </a:lnTo>
                  <a:lnTo>
                    <a:pt x="46" y="12"/>
                  </a:lnTo>
                  <a:lnTo>
                    <a:pt x="48" y="1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98" name="Freeform 161"/>
            <p:cNvSpPr>
              <a:spLocks/>
            </p:cNvSpPr>
            <p:nvPr/>
          </p:nvSpPr>
          <p:spPr bwMode="auto">
            <a:xfrm>
              <a:off x="6980237" y="1355729"/>
              <a:ext cx="80963" cy="17463"/>
            </a:xfrm>
            <a:custGeom>
              <a:avLst/>
              <a:gdLst>
                <a:gd name="T0" fmla="*/ 51 w 51"/>
                <a:gd name="T1" fmla="*/ 10 h 11"/>
                <a:gd name="T2" fmla="*/ 32 w 51"/>
                <a:gd name="T3" fmla="*/ 11 h 11"/>
                <a:gd name="T4" fmla="*/ 3 w 51"/>
                <a:gd name="T5" fmla="*/ 9 h 11"/>
                <a:gd name="T6" fmla="*/ 0 w 51"/>
                <a:gd name="T7" fmla="*/ 8 h 11"/>
                <a:gd name="T8" fmla="*/ 2 w 51"/>
                <a:gd name="T9" fmla="*/ 2 h 11"/>
                <a:gd name="T10" fmla="*/ 15 w 51"/>
                <a:gd name="T11" fmla="*/ 0 h 11"/>
                <a:gd name="T12" fmla="*/ 43 w 51"/>
                <a:gd name="T13" fmla="*/ 6 h 11"/>
                <a:gd name="T14" fmla="*/ 51 w 51"/>
                <a:gd name="T15" fmla="*/ 1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1">
                  <a:moveTo>
                    <a:pt x="51" y="10"/>
                  </a:moveTo>
                  <a:lnTo>
                    <a:pt x="32" y="11"/>
                  </a:lnTo>
                  <a:lnTo>
                    <a:pt x="3" y="9"/>
                  </a:lnTo>
                  <a:lnTo>
                    <a:pt x="0" y="8"/>
                  </a:lnTo>
                  <a:lnTo>
                    <a:pt x="2" y="2"/>
                  </a:lnTo>
                  <a:lnTo>
                    <a:pt x="15" y="0"/>
                  </a:lnTo>
                  <a:lnTo>
                    <a:pt x="43" y="6"/>
                  </a:lnTo>
                  <a:lnTo>
                    <a:pt x="51" y="1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199" name="Freeform 162"/>
            <p:cNvSpPr>
              <a:spLocks/>
            </p:cNvSpPr>
            <p:nvPr/>
          </p:nvSpPr>
          <p:spPr bwMode="auto">
            <a:xfrm>
              <a:off x="7024687" y="1314454"/>
              <a:ext cx="101600" cy="20638"/>
            </a:xfrm>
            <a:custGeom>
              <a:avLst/>
              <a:gdLst>
                <a:gd name="T0" fmla="*/ 64 w 64"/>
                <a:gd name="T1" fmla="*/ 7 h 13"/>
                <a:gd name="T2" fmla="*/ 60 w 64"/>
                <a:gd name="T3" fmla="*/ 13 h 13"/>
                <a:gd name="T4" fmla="*/ 38 w 64"/>
                <a:gd name="T5" fmla="*/ 11 h 13"/>
                <a:gd name="T6" fmla="*/ 5 w 64"/>
                <a:gd name="T7" fmla="*/ 5 h 13"/>
                <a:gd name="T8" fmla="*/ 0 w 64"/>
                <a:gd name="T9" fmla="*/ 0 h 13"/>
                <a:gd name="T10" fmla="*/ 27 w 64"/>
                <a:gd name="T11" fmla="*/ 2 h 13"/>
                <a:gd name="T12" fmla="*/ 64 w 64"/>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64" h="13">
                  <a:moveTo>
                    <a:pt x="64" y="7"/>
                  </a:moveTo>
                  <a:lnTo>
                    <a:pt x="60" y="13"/>
                  </a:lnTo>
                  <a:lnTo>
                    <a:pt x="38" y="11"/>
                  </a:lnTo>
                  <a:lnTo>
                    <a:pt x="5" y="5"/>
                  </a:lnTo>
                  <a:lnTo>
                    <a:pt x="0" y="0"/>
                  </a:lnTo>
                  <a:lnTo>
                    <a:pt x="27" y="2"/>
                  </a:lnTo>
                  <a:lnTo>
                    <a:pt x="64" y="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00" name="Freeform 163"/>
            <p:cNvSpPr>
              <a:spLocks/>
            </p:cNvSpPr>
            <p:nvPr/>
          </p:nvSpPr>
          <p:spPr bwMode="auto">
            <a:xfrm>
              <a:off x="6835775" y="1298579"/>
              <a:ext cx="176213" cy="38100"/>
            </a:xfrm>
            <a:custGeom>
              <a:avLst/>
              <a:gdLst>
                <a:gd name="T0" fmla="*/ 102 w 111"/>
                <a:gd name="T1" fmla="*/ 9 h 24"/>
                <a:gd name="T2" fmla="*/ 111 w 111"/>
                <a:gd name="T3" fmla="*/ 21 h 24"/>
                <a:gd name="T4" fmla="*/ 64 w 111"/>
                <a:gd name="T5" fmla="*/ 20 h 24"/>
                <a:gd name="T6" fmla="*/ 50 w 111"/>
                <a:gd name="T7" fmla="*/ 24 h 24"/>
                <a:gd name="T8" fmla="*/ 10 w 111"/>
                <a:gd name="T9" fmla="*/ 14 h 24"/>
                <a:gd name="T10" fmla="*/ 0 w 111"/>
                <a:gd name="T11" fmla="*/ 3 h 24"/>
                <a:gd name="T12" fmla="*/ 12 w 111"/>
                <a:gd name="T13" fmla="*/ 0 h 24"/>
                <a:gd name="T14" fmla="*/ 45 w 111"/>
                <a:gd name="T15" fmla="*/ 1 h 24"/>
                <a:gd name="T16" fmla="*/ 102 w 111"/>
                <a:gd name="T1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24">
                  <a:moveTo>
                    <a:pt x="102" y="9"/>
                  </a:moveTo>
                  <a:lnTo>
                    <a:pt x="111" y="21"/>
                  </a:lnTo>
                  <a:lnTo>
                    <a:pt x="64" y="20"/>
                  </a:lnTo>
                  <a:lnTo>
                    <a:pt x="50" y="24"/>
                  </a:lnTo>
                  <a:lnTo>
                    <a:pt x="10" y="14"/>
                  </a:lnTo>
                  <a:lnTo>
                    <a:pt x="0" y="3"/>
                  </a:lnTo>
                  <a:lnTo>
                    <a:pt x="12" y="0"/>
                  </a:lnTo>
                  <a:lnTo>
                    <a:pt x="45" y="1"/>
                  </a:lnTo>
                  <a:lnTo>
                    <a:pt x="102" y="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01" name="Freeform 164"/>
            <p:cNvSpPr>
              <a:spLocks/>
            </p:cNvSpPr>
            <p:nvPr/>
          </p:nvSpPr>
          <p:spPr bwMode="auto">
            <a:xfrm>
              <a:off x="5230812" y="1279529"/>
              <a:ext cx="268288" cy="160338"/>
            </a:xfrm>
            <a:custGeom>
              <a:avLst/>
              <a:gdLst>
                <a:gd name="T0" fmla="*/ 90 w 169"/>
                <a:gd name="T1" fmla="*/ 100 h 101"/>
                <a:gd name="T2" fmla="*/ 83 w 169"/>
                <a:gd name="T3" fmla="*/ 101 h 101"/>
                <a:gd name="T4" fmla="*/ 39 w 169"/>
                <a:gd name="T5" fmla="*/ 99 h 101"/>
                <a:gd name="T6" fmla="*/ 32 w 169"/>
                <a:gd name="T7" fmla="*/ 92 h 101"/>
                <a:gd name="T8" fmla="*/ 6 w 169"/>
                <a:gd name="T9" fmla="*/ 87 h 101"/>
                <a:gd name="T10" fmla="*/ 0 w 169"/>
                <a:gd name="T11" fmla="*/ 78 h 101"/>
                <a:gd name="T12" fmla="*/ 11 w 169"/>
                <a:gd name="T13" fmla="*/ 75 h 101"/>
                <a:gd name="T14" fmla="*/ 5 w 169"/>
                <a:gd name="T15" fmla="*/ 66 h 101"/>
                <a:gd name="T16" fmla="*/ 23 w 169"/>
                <a:gd name="T17" fmla="*/ 52 h 101"/>
                <a:gd name="T18" fmla="*/ 10 w 169"/>
                <a:gd name="T19" fmla="*/ 50 h 101"/>
                <a:gd name="T20" fmla="*/ 32 w 169"/>
                <a:gd name="T21" fmla="*/ 36 h 101"/>
                <a:gd name="T22" fmla="*/ 24 w 169"/>
                <a:gd name="T23" fmla="*/ 29 h 101"/>
                <a:gd name="T24" fmla="*/ 46 w 169"/>
                <a:gd name="T25" fmla="*/ 20 h 101"/>
                <a:gd name="T26" fmla="*/ 80 w 169"/>
                <a:gd name="T27" fmla="*/ 10 h 101"/>
                <a:gd name="T28" fmla="*/ 118 w 169"/>
                <a:gd name="T29" fmla="*/ 8 h 101"/>
                <a:gd name="T30" fmla="*/ 134 w 169"/>
                <a:gd name="T31" fmla="*/ 2 h 101"/>
                <a:gd name="T32" fmla="*/ 156 w 169"/>
                <a:gd name="T33" fmla="*/ 0 h 101"/>
                <a:gd name="T34" fmla="*/ 169 w 169"/>
                <a:gd name="T35" fmla="*/ 6 h 101"/>
                <a:gd name="T36" fmla="*/ 165 w 169"/>
                <a:gd name="T37" fmla="*/ 11 h 101"/>
                <a:gd name="T38" fmla="*/ 127 w 169"/>
                <a:gd name="T39" fmla="*/ 18 h 101"/>
                <a:gd name="T40" fmla="*/ 95 w 169"/>
                <a:gd name="T41" fmla="*/ 26 h 101"/>
                <a:gd name="T42" fmla="*/ 67 w 169"/>
                <a:gd name="T43" fmla="*/ 41 h 101"/>
                <a:gd name="T44" fmla="*/ 58 w 169"/>
                <a:gd name="T45" fmla="*/ 56 h 101"/>
                <a:gd name="T46" fmla="*/ 47 w 169"/>
                <a:gd name="T47" fmla="*/ 72 h 101"/>
                <a:gd name="T48" fmla="*/ 57 w 169"/>
                <a:gd name="T49" fmla="*/ 86 h 101"/>
                <a:gd name="T50" fmla="*/ 90 w 169"/>
                <a:gd name="T51" fmla="*/ 10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01">
                  <a:moveTo>
                    <a:pt x="90" y="100"/>
                  </a:moveTo>
                  <a:lnTo>
                    <a:pt x="83" y="101"/>
                  </a:lnTo>
                  <a:lnTo>
                    <a:pt x="39" y="99"/>
                  </a:lnTo>
                  <a:lnTo>
                    <a:pt x="32" y="92"/>
                  </a:lnTo>
                  <a:lnTo>
                    <a:pt x="6" y="87"/>
                  </a:lnTo>
                  <a:lnTo>
                    <a:pt x="0" y="78"/>
                  </a:lnTo>
                  <a:lnTo>
                    <a:pt x="11" y="75"/>
                  </a:lnTo>
                  <a:lnTo>
                    <a:pt x="5" y="66"/>
                  </a:lnTo>
                  <a:lnTo>
                    <a:pt x="23" y="52"/>
                  </a:lnTo>
                  <a:lnTo>
                    <a:pt x="10" y="50"/>
                  </a:lnTo>
                  <a:lnTo>
                    <a:pt x="32" y="36"/>
                  </a:lnTo>
                  <a:lnTo>
                    <a:pt x="24" y="29"/>
                  </a:lnTo>
                  <a:lnTo>
                    <a:pt x="46" y="20"/>
                  </a:lnTo>
                  <a:lnTo>
                    <a:pt x="80" y="10"/>
                  </a:lnTo>
                  <a:lnTo>
                    <a:pt x="118" y="8"/>
                  </a:lnTo>
                  <a:lnTo>
                    <a:pt x="134" y="2"/>
                  </a:lnTo>
                  <a:lnTo>
                    <a:pt x="156" y="0"/>
                  </a:lnTo>
                  <a:lnTo>
                    <a:pt x="169" y="6"/>
                  </a:lnTo>
                  <a:lnTo>
                    <a:pt x="165" y="11"/>
                  </a:lnTo>
                  <a:lnTo>
                    <a:pt x="127" y="18"/>
                  </a:lnTo>
                  <a:lnTo>
                    <a:pt x="95" y="26"/>
                  </a:lnTo>
                  <a:lnTo>
                    <a:pt x="67" y="41"/>
                  </a:lnTo>
                  <a:lnTo>
                    <a:pt x="58" y="56"/>
                  </a:lnTo>
                  <a:lnTo>
                    <a:pt x="47" y="72"/>
                  </a:lnTo>
                  <a:lnTo>
                    <a:pt x="57" y="86"/>
                  </a:lnTo>
                  <a:lnTo>
                    <a:pt x="90" y="10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02" name="Freeform 165"/>
            <p:cNvSpPr>
              <a:spLocks/>
            </p:cNvSpPr>
            <p:nvPr/>
          </p:nvSpPr>
          <p:spPr bwMode="auto">
            <a:xfrm>
              <a:off x="6043612" y="1223966"/>
              <a:ext cx="98425" cy="33338"/>
            </a:xfrm>
            <a:custGeom>
              <a:avLst/>
              <a:gdLst>
                <a:gd name="T0" fmla="*/ 62 w 62"/>
                <a:gd name="T1" fmla="*/ 15 h 21"/>
                <a:gd name="T2" fmla="*/ 2 w 62"/>
                <a:gd name="T3" fmla="*/ 21 h 21"/>
                <a:gd name="T4" fmla="*/ 0 w 62"/>
                <a:gd name="T5" fmla="*/ 2 h 21"/>
                <a:gd name="T6" fmla="*/ 8 w 62"/>
                <a:gd name="T7" fmla="*/ 0 h 21"/>
                <a:gd name="T8" fmla="*/ 18 w 62"/>
                <a:gd name="T9" fmla="*/ 1 h 21"/>
                <a:gd name="T10" fmla="*/ 58 w 62"/>
                <a:gd name="T11" fmla="*/ 9 h 21"/>
                <a:gd name="T12" fmla="*/ 62 w 62"/>
                <a:gd name="T13" fmla="*/ 15 h 21"/>
              </a:gdLst>
              <a:ahLst/>
              <a:cxnLst>
                <a:cxn ang="0">
                  <a:pos x="T0" y="T1"/>
                </a:cxn>
                <a:cxn ang="0">
                  <a:pos x="T2" y="T3"/>
                </a:cxn>
                <a:cxn ang="0">
                  <a:pos x="T4" y="T5"/>
                </a:cxn>
                <a:cxn ang="0">
                  <a:pos x="T6" y="T7"/>
                </a:cxn>
                <a:cxn ang="0">
                  <a:pos x="T8" y="T9"/>
                </a:cxn>
                <a:cxn ang="0">
                  <a:pos x="T10" y="T11"/>
                </a:cxn>
                <a:cxn ang="0">
                  <a:pos x="T12" y="T13"/>
                </a:cxn>
              </a:cxnLst>
              <a:rect l="0" t="0" r="r" b="b"/>
              <a:pathLst>
                <a:path w="62" h="21">
                  <a:moveTo>
                    <a:pt x="62" y="15"/>
                  </a:moveTo>
                  <a:lnTo>
                    <a:pt x="2" y="21"/>
                  </a:lnTo>
                  <a:lnTo>
                    <a:pt x="0" y="2"/>
                  </a:lnTo>
                  <a:lnTo>
                    <a:pt x="8" y="0"/>
                  </a:lnTo>
                  <a:lnTo>
                    <a:pt x="18" y="1"/>
                  </a:lnTo>
                  <a:lnTo>
                    <a:pt x="58" y="9"/>
                  </a:lnTo>
                  <a:lnTo>
                    <a:pt x="62" y="15"/>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03" name="Freeform 166"/>
            <p:cNvSpPr>
              <a:spLocks/>
            </p:cNvSpPr>
            <p:nvPr/>
          </p:nvSpPr>
          <p:spPr bwMode="auto">
            <a:xfrm>
              <a:off x="4989512" y="1190629"/>
              <a:ext cx="119063" cy="19050"/>
            </a:xfrm>
            <a:custGeom>
              <a:avLst/>
              <a:gdLst>
                <a:gd name="T0" fmla="*/ 72 w 75"/>
                <a:gd name="T1" fmla="*/ 5 h 12"/>
                <a:gd name="T2" fmla="*/ 58 w 75"/>
                <a:gd name="T3" fmla="*/ 7 h 12"/>
                <a:gd name="T4" fmla="*/ 48 w 75"/>
                <a:gd name="T5" fmla="*/ 8 h 12"/>
                <a:gd name="T6" fmla="*/ 48 w 75"/>
                <a:gd name="T7" fmla="*/ 10 h 12"/>
                <a:gd name="T8" fmla="*/ 36 w 75"/>
                <a:gd name="T9" fmla="*/ 12 h 12"/>
                <a:gd name="T10" fmla="*/ 22 w 75"/>
                <a:gd name="T11" fmla="*/ 9 h 12"/>
                <a:gd name="T12" fmla="*/ 26 w 75"/>
                <a:gd name="T13" fmla="*/ 5 h 12"/>
                <a:gd name="T14" fmla="*/ 0 w 75"/>
                <a:gd name="T15" fmla="*/ 5 h 12"/>
                <a:gd name="T16" fmla="*/ 21 w 75"/>
                <a:gd name="T17" fmla="*/ 2 h 12"/>
                <a:gd name="T18" fmla="*/ 38 w 75"/>
                <a:gd name="T19" fmla="*/ 2 h 12"/>
                <a:gd name="T20" fmla="*/ 43 w 75"/>
                <a:gd name="T21" fmla="*/ 5 h 12"/>
                <a:gd name="T22" fmla="*/ 47 w 75"/>
                <a:gd name="T23" fmla="*/ 2 h 12"/>
                <a:gd name="T24" fmla="*/ 56 w 75"/>
                <a:gd name="T25" fmla="*/ 0 h 12"/>
                <a:gd name="T26" fmla="*/ 75 w 75"/>
                <a:gd name="T27" fmla="*/ 3 h 12"/>
                <a:gd name="T28" fmla="*/ 72 w 75"/>
                <a:gd name="T29"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12">
                  <a:moveTo>
                    <a:pt x="72" y="5"/>
                  </a:moveTo>
                  <a:lnTo>
                    <a:pt x="58" y="7"/>
                  </a:lnTo>
                  <a:lnTo>
                    <a:pt x="48" y="8"/>
                  </a:lnTo>
                  <a:lnTo>
                    <a:pt x="48" y="10"/>
                  </a:lnTo>
                  <a:lnTo>
                    <a:pt x="36" y="12"/>
                  </a:lnTo>
                  <a:lnTo>
                    <a:pt x="22" y="9"/>
                  </a:lnTo>
                  <a:lnTo>
                    <a:pt x="26" y="5"/>
                  </a:lnTo>
                  <a:lnTo>
                    <a:pt x="0" y="5"/>
                  </a:lnTo>
                  <a:lnTo>
                    <a:pt x="21" y="2"/>
                  </a:lnTo>
                  <a:lnTo>
                    <a:pt x="38" y="2"/>
                  </a:lnTo>
                  <a:lnTo>
                    <a:pt x="43" y="5"/>
                  </a:lnTo>
                  <a:lnTo>
                    <a:pt x="47" y="2"/>
                  </a:lnTo>
                  <a:lnTo>
                    <a:pt x="56" y="0"/>
                  </a:lnTo>
                  <a:lnTo>
                    <a:pt x="75" y="3"/>
                  </a:lnTo>
                  <a:lnTo>
                    <a:pt x="72" y="5"/>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04" name="Freeform 167"/>
            <p:cNvSpPr>
              <a:spLocks/>
            </p:cNvSpPr>
            <p:nvPr/>
          </p:nvSpPr>
          <p:spPr bwMode="auto">
            <a:xfrm>
              <a:off x="5830887" y="1184279"/>
              <a:ext cx="198438" cy="53975"/>
            </a:xfrm>
            <a:custGeom>
              <a:avLst/>
              <a:gdLst>
                <a:gd name="T0" fmla="*/ 125 w 125"/>
                <a:gd name="T1" fmla="*/ 32 h 34"/>
                <a:gd name="T2" fmla="*/ 102 w 125"/>
                <a:gd name="T3" fmla="*/ 34 h 34"/>
                <a:gd name="T4" fmla="*/ 65 w 125"/>
                <a:gd name="T5" fmla="*/ 30 h 34"/>
                <a:gd name="T6" fmla="*/ 39 w 125"/>
                <a:gd name="T7" fmla="*/ 24 h 34"/>
                <a:gd name="T8" fmla="*/ 19 w 125"/>
                <a:gd name="T9" fmla="*/ 15 h 34"/>
                <a:gd name="T10" fmla="*/ 0 w 125"/>
                <a:gd name="T11" fmla="*/ 12 h 34"/>
                <a:gd name="T12" fmla="*/ 19 w 125"/>
                <a:gd name="T13" fmla="*/ 3 h 34"/>
                <a:gd name="T14" fmla="*/ 39 w 125"/>
                <a:gd name="T15" fmla="*/ 0 h 34"/>
                <a:gd name="T16" fmla="*/ 70 w 125"/>
                <a:gd name="T17" fmla="*/ 7 h 34"/>
                <a:gd name="T18" fmla="*/ 113 w 125"/>
                <a:gd name="T19" fmla="*/ 19 h 34"/>
                <a:gd name="T20" fmla="*/ 125 w 125"/>
                <a:gd name="T21"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34">
                  <a:moveTo>
                    <a:pt x="125" y="32"/>
                  </a:moveTo>
                  <a:lnTo>
                    <a:pt x="102" y="34"/>
                  </a:lnTo>
                  <a:lnTo>
                    <a:pt x="65" y="30"/>
                  </a:lnTo>
                  <a:lnTo>
                    <a:pt x="39" y="24"/>
                  </a:lnTo>
                  <a:lnTo>
                    <a:pt x="19" y="15"/>
                  </a:lnTo>
                  <a:lnTo>
                    <a:pt x="0" y="12"/>
                  </a:lnTo>
                  <a:lnTo>
                    <a:pt x="19" y="3"/>
                  </a:lnTo>
                  <a:lnTo>
                    <a:pt x="39" y="0"/>
                  </a:lnTo>
                  <a:lnTo>
                    <a:pt x="70" y="7"/>
                  </a:lnTo>
                  <a:lnTo>
                    <a:pt x="113" y="19"/>
                  </a:lnTo>
                  <a:lnTo>
                    <a:pt x="125" y="32"/>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05" name="Freeform 168"/>
            <p:cNvSpPr>
              <a:spLocks/>
            </p:cNvSpPr>
            <p:nvPr/>
          </p:nvSpPr>
          <p:spPr bwMode="auto">
            <a:xfrm>
              <a:off x="5029200" y="3743329"/>
              <a:ext cx="52388" cy="58738"/>
            </a:xfrm>
            <a:custGeom>
              <a:avLst/>
              <a:gdLst>
                <a:gd name="T0" fmla="*/ 25 w 33"/>
                <a:gd name="T1" fmla="*/ 0 h 37"/>
                <a:gd name="T2" fmla="*/ 33 w 33"/>
                <a:gd name="T3" fmla="*/ 12 h 37"/>
                <a:gd name="T4" fmla="*/ 31 w 33"/>
                <a:gd name="T5" fmla="*/ 24 h 37"/>
                <a:gd name="T6" fmla="*/ 26 w 33"/>
                <a:gd name="T7" fmla="*/ 27 h 37"/>
                <a:gd name="T8" fmla="*/ 16 w 33"/>
                <a:gd name="T9" fmla="*/ 25 h 37"/>
                <a:gd name="T10" fmla="*/ 11 w 33"/>
                <a:gd name="T11" fmla="*/ 37 h 37"/>
                <a:gd name="T12" fmla="*/ 0 w 33"/>
                <a:gd name="T13" fmla="*/ 35 h 37"/>
                <a:gd name="T14" fmla="*/ 1 w 33"/>
                <a:gd name="T15" fmla="*/ 24 h 37"/>
                <a:gd name="T16" fmla="*/ 4 w 33"/>
                <a:gd name="T17" fmla="*/ 22 h 37"/>
                <a:gd name="T18" fmla="*/ 4 w 33"/>
                <a:gd name="T19" fmla="*/ 10 h 37"/>
                <a:gd name="T20" fmla="*/ 10 w 33"/>
                <a:gd name="T21" fmla="*/ 4 h 37"/>
                <a:gd name="T22" fmla="*/ 14 w 33"/>
                <a:gd name="T23" fmla="*/ 6 h 37"/>
                <a:gd name="T24" fmla="*/ 25 w 33"/>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37">
                  <a:moveTo>
                    <a:pt x="25" y="0"/>
                  </a:moveTo>
                  <a:lnTo>
                    <a:pt x="33" y="12"/>
                  </a:lnTo>
                  <a:lnTo>
                    <a:pt x="31" y="24"/>
                  </a:lnTo>
                  <a:lnTo>
                    <a:pt x="26" y="27"/>
                  </a:lnTo>
                  <a:lnTo>
                    <a:pt x="16" y="25"/>
                  </a:lnTo>
                  <a:lnTo>
                    <a:pt x="11" y="37"/>
                  </a:lnTo>
                  <a:lnTo>
                    <a:pt x="0" y="35"/>
                  </a:lnTo>
                  <a:lnTo>
                    <a:pt x="1" y="24"/>
                  </a:lnTo>
                  <a:lnTo>
                    <a:pt x="4" y="22"/>
                  </a:lnTo>
                  <a:lnTo>
                    <a:pt x="4" y="10"/>
                  </a:lnTo>
                  <a:lnTo>
                    <a:pt x="10" y="4"/>
                  </a:lnTo>
                  <a:lnTo>
                    <a:pt x="14" y="6"/>
                  </a:lnTo>
                  <a:lnTo>
                    <a:pt x="25" y="0"/>
                  </a:lnTo>
                  <a:close/>
                </a:path>
              </a:pathLst>
            </a:custGeom>
            <a:solidFill>
              <a:schemeClr val="accent1"/>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06" name="Freeform 169"/>
            <p:cNvSpPr>
              <a:spLocks/>
            </p:cNvSpPr>
            <p:nvPr/>
          </p:nvSpPr>
          <p:spPr bwMode="auto">
            <a:xfrm>
              <a:off x="3694112" y="2794004"/>
              <a:ext cx="244475" cy="219075"/>
            </a:xfrm>
            <a:custGeom>
              <a:avLst/>
              <a:gdLst>
                <a:gd name="T0" fmla="*/ 151 w 154"/>
                <a:gd name="T1" fmla="*/ 11 h 138"/>
                <a:gd name="T2" fmla="*/ 151 w 154"/>
                <a:gd name="T3" fmla="*/ 0 h 138"/>
                <a:gd name="T4" fmla="*/ 154 w 154"/>
                <a:gd name="T5" fmla="*/ 0 h 138"/>
                <a:gd name="T6" fmla="*/ 154 w 154"/>
                <a:gd name="T7" fmla="*/ 1 h 138"/>
                <a:gd name="T8" fmla="*/ 153 w 154"/>
                <a:gd name="T9" fmla="*/ 5 h 138"/>
                <a:gd name="T10" fmla="*/ 153 w 154"/>
                <a:gd name="T11" fmla="*/ 37 h 138"/>
                <a:gd name="T12" fmla="*/ 94 w 154"/>
                <a:gd name="T13" fmla="*/ 36 h 138"/>
                <a:gd name="T14" fmla="*/ 93 w 154"/>
                <a:gd name="T15" fmla="*/ 89 h 138"/>
                <a:gd name="T16" fmla="*/ 77 w 154"/>
                <a:gd name="T17" fmla="*/ 91 h 138"/>
                <a:gd name="T18" fmla="*/ 72 w 154"/>
                <a:gd name="T19" fmla="*/ 101 h 138"/>
                <a:gd name="T20" fmla="*/ 75 w 154"/>
                <a:gd name="T21" fmla="*/ 131 h 138"/>
                <a:gd name="T22" fmla="*/ 4 w 154"/>
                <a:gd name="T23" fmla="*/ 131 h 138"/>
                <a:gd name="T24" fmla="*/ 0 w 154"/>
                <a:gd name="T25" fmla="*/ 138 h 138"/>
                <a:gd name="T26" fmla="*/ 1 w 154"/>
                <a:gd name="T27" fmla="*/ 129 h 138"/>
                <a:gd name="T28" fmla="*/ 1 w 154"/>
                <a:gd name="T29" fmla="*/ 129 h 138"/>
                <a:gd name="T30" fmla="*/ 42 w 154"/>
                <a:gd name="T31" fmla="*/ 128 h 138"/>
                <a:gd name="T32" fmla="*/ 44 w 154"/>
                <a:gd name="T33" fmla="*/ 120 h 138"/>
                <a:gd name="T34" fmla="*/ 52 w 154"/>
                <a:gd name="T35" fmla="*/ 111 h 138"/>
                <a:gd name="T36" fmla="*/ 59 w 154"/>
                <a:gd name="T37" fmla="*/ 82 h 138"/>
                <a:gd name="T38" fmla="*/ 84 w 154"/>
                <a:gd name="T39" fmla="*/ 60 h 138"/>
                <a:gd name="T40" fmla="*/ 93 w 154"/>
                <a:gd name="T41" fmla="*/ 34 h 138"/>
                <a:gd name="T42" fmla="*/ 99 w 154"/>
                <a:gd name="T43" fmla="*/ 32 h 138"/>
                <a:gd name="T44" fmla="*/ 105 w 154"/>
                <a:gd name="T45" fmla="*/ 16 h 138"/>
                <a:gd name="T46" fmla="*/ 120 w 154"/>
                <a:gd name="T47" fmla="*/ 14 h 138"/>
                <a:gd name="T48" fmla="*/ 126 w 154"/>
                <a:gd name="T49" fmla="*/ 16 h 138"/>
                <a:gd name="T50" fmla="*/ 134 w 154"/>
                <a:gd name="T51" fmla="*/ 16 h 138"/>
                <a:gd name="T52" fmla="*/ 140 w 154"/>
                <a:gd name="T53" fmla="*/ 12 h 138"/>
                <a:gd name="T54" fmla="*/ 151 w 154"/>
                <a:gd name="T55" fmla="*/ 11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4" h="138">
                  <a:moveTo>
                    <a:pt x="151" y="11"/>
                  </a:moveTo>
                  <a:lnTo>
                    <a:pt x="151" y="0"/>
                  </a:lnTo>
                  <a:lnTo>
                    <a:pt x="154" y="0"/>
                  </a:lnTo>
                  <a:lnTo>
                    <a:pt x="154" y="1"/>
                  </a:lnTo>
                  <a:lnTo>
                    <a:pt x="153" y="5"/>
                  </a:lnTo>
                  <a:lnTo>
                    <a:pt x="153" y="37"/>
                  </a:lnTo>
                  <a:lnTo>
                    <a:pt x="94" y="36"/>
                  </a:lnTo>
                  <a:lnTo>
                    <a:pt x="93" y="89"/>
                  </a:lnTo>
                  <a:lnTo>
                    <a:pt x="77" y="91"/>
                  </a:lnTo>
                  <a:lnTo>
                    <a:pt x="72" y="101"/>
                  </a:lnTo>
                  <a:lnTo>
                    <a:pt x="75" y="131"/>
                  </a:lnTo>
                  <a:lnTo>
                    <a:pt x="4" y="131"/>
                  </a:lnTo>
                  <a:lnTo>
                    <a:pt x="0" y="138"/>
                  </a:lnTo>
                  <a:lnTo>
                    <a:pt x="1" y="129"/>
                  </a:lnTo>
                  <a:lnTo>
                    <a:pt x="1" y="129"/>
                  </a:lnTo>
                  <a:lnTo>
                    <a:pt x="42" y="128"/>
                  </a:lnTo>
                  <a:lnTo>
                    <a:pt x="44" y="120"/>
                  </a:lnTo>
                  <a:lnTo>
                    <a:pt x="52" y="111"/>
                  </a:lnTo>
                  <a:lnTo>
                    <a:pt x="59" y="82"/>
                  </a:lnTo>
                  <a:lnTo>
                    <a:pt x="84" y="60"/>
                  </a:lnTo>
                  <a:lnTo>
                    <a:pt x="93" y="34"/>
                  </a:lnTo>
                  <a:lnTo>
                    <a:pt x="99" y="32"/>
                  </a:lnTo>
                  <a:lnTo>
                    <a:pt x="105" y="16"/>
                  </a:lnTo>
                  <a:lnTo>
                    <a:pt x="120" y="14"/>
                  </a:lnTo>
                  <a:lnTo>
                    <a:pt x="126" y="16"/>
                  </a:lnTo>
                  <a:lnTo>
                    <a:pt x="134" y="16"/>
                  </a:lnTo>
                  <a:lnTo>
                    <a:pt x="140" y="12"/>
                  </a:lnTo>
                  <a:lnTo>
                    <a:pt x="151" y="11"/>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07" name="Freeform 170"/>
            <p:cNvSpPr>
              <a:spLocks/>
            </p:cNvSpPr>
            <p:nvPr/>
          </p:nvSpPr>
          <p:spPr bwMode="auto">
            <a:xfrm>
              <a:off x="5156200" y="2646366"/>
              <a:ext cx="614363" cy="520700"/>
            </a:xfrm>
            <a:custGeom>
              <a:avLst/>
              <a:gdLst>
                <a:gd name="T0" fmla="*/ 161 w 387"/>
                <a:gd name="T1" fmla="*/ 319 h 328"/>
                <a:gd name="T2" fmla="*/ 153 w 387"/>
                <a:gd name="T3" fmla="*/ 304 h 328"/>
                <a:gd name="T4" fmla="*/ 132 w 387"/>
                <a:gd name="T5" fmla="*/ 280 h 328"/>
                <a:gd name="T6" fmla="*/ 113 w 387"/>
                <a:gd name="T7" fmla="*/ 248 h 328"/>
                <a:gd name="T8" fmla="*/ 91 w 387"/>
                <a:gd name="T9" fmla="*/ 225 h 328"/>
                <a:gd name="T10" fmla="*/ 88 w 387"/>
                <a:gd name="T11" fmla="*/ 198 h 328"/>
                <a:gd name="T12" fmla="*/ 67 w 387"/>
                <a:gd name="T13" fmla="*/ 167 h 328"/>
                <a:gd name="T14" fmla="*/ 50 w 387"/>
                <a:gd name="T15" fmla="*/ 151 h 328"/>
                <a:gd name="T16" fmla="*/ 45 w 387"/>
                <a:gd name="T17" fmla="*/ 135 h 328"/>
                <a:gd name="T18" fmla="*/ 31 w 387"/>
                <a:gd name="T19" fmla="*/ 115 h 328"/>
                <a:gd name="T20" fmla="*/ 9 w 387"/>
                <a:gd name="T21" fmla="*/ 84 h 328"/>
                <a:gd name="T22" fmla="*/ 2 w 387"/>
                <a:gd name="T23" fmla="*/ 73 h 328"/>
                <a:gd name="T24" fmla="*/ 3 w 387"/>
                <a:gd name="T25" fmla="*/ 58 h 328"/>
                <a:gd name="T26" fmla="*/ 30 w 387"/>
                <a:gd name="T27" fmla="*/ 55 h 328"/>
                <a:gd name="T28" fmla="*/ 47 w 387"/>
                <a:gd name="T29" fmla="*/ 44 h 328"/>
                <a:gd name="T30" fmla="*/ 54 w 387"/>
                <a:gd name="T31" fmla="*/ 34 h 328"/>
                <a:gd name="T32" fmla="*/ 69 w 387"/>
                <a:gd name="T33" fmla="*/ 3 h 328"/>
                <a:gd name="T34" fmla="*/ 93 w 387"/>
                <a:gd name="T35" fmla="*/ 5 h 328"/>
                <a:gd name="T36" fmla="*/ 176 w 387"/>
                <a:gd name="T37" fmla="*/ 61 h 328"/>
                <a:gd name="T38" fmla="*/ 225 w 387"/>
                <a:gd name="T39" fmla="*/ 65 h 328"/>
                <a:gd name="T40" fmla="*/ 243 w 387"/>
                <a:gd name="T41" fmla="*/ 74 h 328"/>
                <a:gd name="T42" fmla="*/ 261 w 387"/>
                <a:gd name="T43" fmla="*/ 97 h 328"/>
                <a:gd name="T44" fmla="*/ 278 w 387"/>
                <a:gd name="T45" fmla="*/ 113 h 328"/>
                <a:gd name="T46" fmla="*/ 279 w 387"/>
                <a:gd name="T47" fmla="*/ 128 h 328"/>
                <a:gd name="T48" fmla="*/ 288 w 387"/>
                <a:gd name="T49" fmla="*/ 141 h 328"/>
                <a:gd name="T50" fmla="*/ 294 w 387"/>
                <a:gd name="T51" fmla="*/ 153 h 328"/>
                <a:gd name="T52" fmla="*/ 305 w 387"/>
                <a:gd name="T53" fmla="*/ 156 h 328"/>
                <a:gd name="T54" fmla="*/ 310 w 387"/>
                <a:gd name="T55" fmla="*/ 169 h 328"/>
                <a:gd name="T56" fmla="*/ 374 w 387"/>
                <a:gd name="T57" fmla="*/ 200 h 328"/>
                <a:gd name="T58" fmla="*/ 387 w 387"/>
                <a:gd name="T59" fmla="*/ 210 h 328"/>
                <a:gd name="T60" fmla="*/ 327 w 387"/>
                <a:gd name="T61" fmla="*/ 273 h 328"/>
                <a:gd name="T62" fmla="*/ 259 w 387"/>
                <a:gd name="T63" fmla="*/ 290 h 328"/>
                <a:gd name="T64" fmla="*/ 239 w 387"/>
                <a:gd name="T65" fmla="*/ 315 h 328"/>
                <a:gd name="T66" fmla="*/ 227 w 387"/>
                <a:gd name="T67" fmla="*/ 309 h 328"/>
                <a:gd name="T68" fmla="*/ 206 w 387"/>
                <a:gd name="T69" fmla="*/ 305 h 328"/>
                <a:gd name="T70" fmla="*/ 181 w 387"/>
                <a:gd name="T71" fmla="*/ 308 h 328"/>
                <a:gd name="T72" fmla="*/ 169 w 387"/>
                <a:gd name="T73" fmla="*/ 312 h 328"/>
                <a:gd name="T74" fmla="*/ 163 w 387"/>
                <a:gd name="T75"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7" h="328">
                  <a:moveTo>
                    <a:pt x="163" y="328"/>
                  </a:moveTo>
                  <a:lnTo>
                    <a:pt x="161" y="319"/>
                  </a:lnTo>
                  <a:lnTo>
                    <a:pt x="155" y="313"/>
                  </a:lnTo>
                  <a:lnTo>
                    <a:pt x="153" y="304"/>
                  </a:lnTo>
                  <a:lnTo>
                    <a:pt x="143" y="297"/>
                  </a:lnTo>
                  <a:lnTo>
                    <a:pt x="132" y="280"/>
                  </a:lnTo>
                  <a:lnTo>
                    <a:pt x="126" y="263"/>
                  </a:lnTo>
                  <a:lnTo>
                    <a:pt x="113" y="248"/>
                  </a:lnTo>
                  <a:lnTo>
                    <a:pt x="104" y="245"/>
                  </a:lnTo>
                  <a:lnTo>
                    <a:pt x="91" y="225"/>
                  </a:lnTo>
                  <a:lnTo>
                    <a:pt x="88" y="211"/>
                  </a:lnTo>
                  <a:lnTo>
                    <a:pt x="88" y="198"/>
                  </a:lnTo>
                  <a:lnTo>
                    <a:pt x="76" y="175"/>
                  </a:lnTo>
                  <a:lnTo>
                    <a:pt x="67" y="167"/>
                  </a:lnTo>
                  <a:lnTo>
                    <a:pt x="57" y="163"/>
                  </a:lnTo>
                  <a:lnTo>
                    <a:pt x="50" y="151"/>
                  </a:lnTo>
                  <a:lnTo>
                    <a:pt x="51" y="146"/>
                  </a:lnTo>
                  <a:lnTo>
                    <a:pt x="45" y="135"/>
                  </a:lnTo>
                  <a:lnTo>
                    <a:pt x="39" y="131"/>
                  </a:lnTo>
                  <a:lnTo>
                    <a:pt x="31" y="115"/>
                  </a:lnTo>
                  <a:lnTo>
                    <a:pt x="19" y="99"/>
                  </a:lnTo>
                  <a:lnTo>
                    <a:pt x="9" y="84"/>
                  </a:lnTo>
                  <a:lnTo>
                    <a:pt x="0" y="85"/>
                  </a:lnTo>
                  <a:lnTo>
                    <a:pt x="2" y="73"/>
                  </a:lnTo>
                  <a:lnTo>
                    <a:pt x="2" y="66"/>
                  </a:lnTo>
                  <a:lnTo>
                    <a:pt x="3" y="58"/>
                  </a:lnTo>
                  <a:lnTo>
                    <a:pt x="23" y="61"/>
                  </a:lnTo>
                  <a:lnTo>
                    <a:pt x="30" y="55"/>
                  </a:lnTo>
                  <a:lnTo>
                    <a:pt x="34" y="47"/>
                  </a:lnTo>
                  <a:lnTo>
                    <a:pt x="47" y="44"/>
                  </a:lnTo>
                  <a:lnTo>
                    <a:pt x="49" y="37"/>
                  </a:lnTo>
                  <a:lnTo>
                    <a:pt x="54" y="34"/>
                  </a:lnTo>
                  <a:lnTo>
                    <a:pt x="35" y="13"/>
                  </a:lnTo>
                  <a:lnTo>
                    <a:pt x="69" y="3"/>
                  </a:lnTo>
                  <a:lnTo>
                    <a:pt x="72" y="0"/>
                  </a:lnTo>
                  <a:lnTo>
                    <a:pt x="93" y="5"/>
                  </a:lnTo>
                  <a:lnTo>
                    <a:pt x="121" y="20"/>
                  </a:lnTo>
                  <a:lnTo>
                    <a:pt x="176" y="61"/>
                  </a:lnTo>
                  <a:lnTo>
                    <a:pt x="209" y="63"/>
                  </a:lnTo>
                  <a:lnTo>
                    <a:pt x="225" y="65"/>
                  </a:lnTo>
                  <a:lnTo>
                    <a:pt x="230" y="75"/>
                  </a:lnTo>
                  <a:lnTo>
                    <a:pt x="243" y="74"/>
                  </a:lnTo>
                  <a:lnTo>
                    <a:pt x="252" y="92"/>
                  </a:lnTo>
                  <a:lnTo>
                    <a:pt x="261" y="97"/>
                  </a:lnTo>
                  <a:lnTo>
                    <a:pt x="265" y="104"/>
                  </a:lnTo>
                  <a:lnTo>
                    <a:pt x="278" y="113"/>
                  </a:lnTo>
                  <a:lnTo>
                    <a:pt x="280" y="121"/>
                  </a:lnTo>
                  <a:lnTo>
                    <a:pt x="279" y="128"/>
                  </a:lnTo>
                  <a:lnTo>
                    <a:pt x="282" y="135"/>
                  </a:lnTo>
                  <a:lnTo>
                    <a:pt x="288" y="141"/>
                  </a:lnTo>
                  <a:lnTo>
                    <a:pt x="291" y="148"/>
                  </a:lnTo>
                  <a:lnTo>
                    <a:pt x="294" y="153"/>
                  </a:lnTo>
                  <a:lnTo>
                    <a:pt x="300" y="157"/>
                  </a:lnTo>
                  <a:lnTo>
                    <a:pt x="305" y="156"/>
                  </a:lnTo>
                  <a:lnTo>
                    <a:pt x="309" y="164"/>
                  </a:lnTo>
                  <a:lnTo>
                    <a:pt x="310" y="169"/>
                  </a:lnTo>
                  <a:lnTo>
                    <a:pt x="319" y="190"/>
                  </a:lnTo>
                  <a:lnTo>
                    <a:pt x="374" y="200"/>
                  </a:lnTo>
                  <a:lnTo>
                    <a:pt x="378" y="196"/>
                  </a:lnTo>
                  <a:lnTo>
                    <a:pt x="387" y="210"/>
                  </a:lnTo>
                  <a:lnTo>
                    <a:pt x="379" y="252"/>
                  </a:lnTo>
                  <a:lnTo>
                    <a:pt x="327" y="273"/>
                  </a:lnTo>
                  <a:lnTo>
                    <a:pt x="275" y="281"/>
                  </a:lnTo>
                  <a:lnTo>
                    <a:pt x="259" y="290"/>
                  </a:lnTo>
                  <a:lnTo>
                    <a:pt x="247" y="312"/>
                  </a:lnTo>
                  <a:lnTo>
                    <a:pt x="239" y="315"/>
                  </a:lnTo>
                  <a:lnTo>
                    <a:pt x="234" y="308"/>
                  </a:lnTo>
                  <a:lnTo>
                    <a:pt x="227" y="309"/>
                  </a:lnTo>
                  <a:lnTo>
                    <a:pt x="210" y="307"/>
                  </a:lnTo>
                  <a:lnTo>
                    <a:pt x="206" y="305"/>
                  </a:lnTo>
                  <a:lnTo>
                    <a:pt x="185" y="306"/>
                  </a:lnTo>
                  <a:lnTo>
                    <a:pt x="181" y="308"/>
                  </a:lnTo>
                  <a:lnTo>
                    <a:pt x="173" y="302"/>
                  </a:lnTo>
                  <a:lnTo>
                    <a:pt x="169" y="312"/>
                  </a:lnTo>
                  <a:lnTo>
                    <a:pt x="171" y="321"/>
                  </a:lnTo>
                  <a:lnTo>
                    <a:pt x="163" y="328"/>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08" name="Freeform 171"/>
            <p:cNvSpPr>
              <a:spLocks/>
            </p:cNvSpPr>
            <p:nvPr/>
          </p:nvSpPr>
          <p:spPr bwMode="auto">
            <a:xfrm>
              <a:off x="4818062" y="2979741"/>
              <a:ext cx="468313" cy="441325"/>
            </a:xfrm>
            <a:custGeom>
              <a:avLst/>
              <a:gdLst>
                <a:gd name="T0" fmla="*/ 218 w 295"/>
                <a:gd name="T1" fmla="*/ 260 h 278"/>
                <a:gd name="T2" fmla="*/ 216 w 295"/>
                <a:gd name="T3" fmla="*/ 243 h 278"/>
                <a:gd name="T4" fmla="*/ 204 w 295"/>
                <a:gd name="T5" fmla="*/ 220 h 278"/>
                <a:gd name="T6" fmla="*/ 197 w 295"/>
                <a:gd name="T7" fmla="*/ 203 h 278"/>
                <a:gd name="T8" fmla="*/ 185 w 295"/>
                <a:gd name="T9" fmla="*/ 209 h 278"/>
                <a:gd name="T10" fmla="*/ 192 w 295"/>
                <a:gd name="T11" fmla="*/ 227 h 278"/>
                <a:gd name="T12" fmla="*/ 173 w 295"/>
                <a:gd name="T13" fmla="*/ 254 h 278"/>
                <a:gd name="T14" fmla="*/ 148 w 295"/>
                <a:gd name="T15" fmla="*/ 244 h 278"/>
                <a:gd name="T16" fmla="*/ 139 w 295"/>
                <a:gd name="T17" fmla="*/ 254 h 278"/>
                <a:gd name="T18" fmla="*/ 130 w 295"/>
                <a:gd name="T19" fmla="*/ 262 h 278"/>
                <a:gd name="T20" fmla="*/ 109 w 295"/>
                <a:gd name="T21" fmla="*/ 258 h 278"/>
                <a:gd name="T22" fmla="*/ 89 w 295"/>
                <a:gd name="T23" fmla="*/ 261 h 278"/>
                <a:gd name="T24" fmla="*/ 74 w 295"/>
                <a:gd name="T25" fmla="*/ 247 h 278"/>
                <a:gd name="T26" fmla="*/ 58 w 295"/>
                <a:gd name="T27" fmla="*/ 244 h 278"/>
                <a:gd name="T28" fmla="*/ 49 w 295"/>
                <a:gd name="T29" fmla="*/ 272 h 278"/>
                <a:gd name="T30" fmla="*/ 37 w 295"/>
                <a:gd name="T31" fmla="*/ 278 h 278"/>
                <a:gd name="T32" fmla="*/ 29 w 295"/>
                <a:gd name="T33" fmla="*/ 271 h 278"/>
                <a:gd name="T34" fmla="*/ 30 w 295"/>
                <a:gd name="T35" fmla="*/ 256 h 278"/>
                <a:gd name="T36" fmla="*/ 20 w 295"/>
                <a:gd name="T37" fmla="*/ 235 h 278"/>
                <a:gd name="T38" fmla="*/ 17 w 295"/>
                <a:gd name="T39" fmla="*/ 221 h 278"/>
                <a:gd name="T40" fmla="*/ 10 w 295"/>
                <a:gd name="T41" fmla="*/ 203 h 278"/>
                <a:gd name="T42" fmla="*/ 0 w 295"/>
                <a:gd name="T43" fmla="*/ 196 h 278"/>
                <a:gd name="T44" fmla="*/ 6 w 295"/>
                <a:gd name="T45" fmla="*/ 180 h 278"/>
                <a:gd name="T46" fmla="*/ 9 w 295"/>
                <a:gd name="T47" fmla="*/ 165 h 278"/>
                <a:gd name="T48" fmla="*/ 10 w 295"/>
                <a:gd name="T49" fmla="*/ 147 h 278"/>
                <a:gd name="T50" fmla="*/ 34 w 295"/>
                <a:gd name="T51" fmla="*/ 133 h 278"/>
                <a:gd name="T52" fmla="*/ 30 w 295"/>
                <a:gd name="T53" fmla="*/ 42 h 278"/>
                <a:gd name="T54" fmla="*/ 49 w 295"/>
                <a:gd name="T55" fmla="*/ 0 h 278"/>
                <a:gd name="T56" fmla="*/ 191 w 295"/>
                <a:gd name="T57" fmla="*/ 0 h 278"/>
                <a:gd name="T58" fmla="*/ 269 w 295"/>
                <a:gd name="T59" fmla="*/ 21 h 278"/>
                <a:gd name="T60" fmla="*/ 270 w 295"/>
                <a:gd name="T61" fmla="*/ 46 h 278"/>
                <a:gd name="T62" fmla="*/ 285 w 295"/>
                <a:gd name="T63" fmla="*/ 76 h 278"/>
                <a:gd name="T64" fmla="*/ 287 w 295"/>
                <a:gd name="T65" fmla="*/ 95 h 278"/>
                <a:gd name="T66" fmla="*/ 268 w 295"/>
                <a:gd name="T67" fmla="*/ 105 h 278"/>
                <a:gd name="T68" fmla="*/ 260 w 295"/>
                <a:gd name="T69" fmla="*/ 149 h 278"/>
                <a:gd name="T70" fmla="*/ 260 w 295"/>
                <a:gd name="T71" fmla="*/ 175 h 278"/>
                <a:gd name="T72" fmla="*/ 243 w 295"/>
                <a:gd name="T73" fmla="*/ 206 h 278"/>
                <a:gd name="T74" fmla="*/ 234 w 295"/>
                <a:gd name="T75" fmla="*/ 231 h 278"/>
                <a:gd name="T76" fmla="*/ 221 w 295"/>
                <a:gd name="T77" fmla="*/ 25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5" h="278">
                  <a:moveTo>
                    <a:pt x="221" y="261"/>
                  </a:moveTo>
                  <a:lnTo>
                    <a:pt x="218" y="260"/>
                  </a:lnTo>
                  <a:lnTo>
                    <a:pt x="218" y="250"/>
                  </a:lnTo>
                  <a:lnTo>
                    <a:pt x="216" y="243"/>
                  </a:lnTo>
                  <a:lnTo>
                    <a:pt x="207" y="235"/>
                  </a:lnTo>
                  <a:lnTo>
                    <a:pt x="204" y="220"/>
                  </a:lnTo>
                  <a:lnTo>
                    <a:pt x="206" y="204"/>
                  </a:lnTo>
                  <a:lnTo>
                    <a:pt x="197" y="203"/>
                  </a:lnTo>
                  <a:lnTo>
                    <a:pt x="196" y="208"/>
                  </a:lnTo>
                  <a:lnTo>
                    <a:pt x="185" y="209"/>
                  </a:lnTo>
                  <a:lnTo>
                    <a:pt x="190" y="215"/>
                  </a:lnTo>
                  <a:lnTo>
                    <a:pt x="192" y="227"/>
                  </a:lnTo>
                  <a:lnTo>
                    <a:pt x="182" y="239"/>
                  </a:lnTo>
                  <a:lnTo>
                    <a:pt x="173" y="254"/>
                  </a:lnTo>
                  <a:lnTo>
                    <a:pt x="164" y="256"/>
                  </a:lnTo>
                  <a:lnTo>
                    <a:pt x="148" y="244"/>
                  </a:lnTo>
                  <a:lnTo>
                    <a:pt x="141" y="248"/>
                  </a:lnTo>
                  <a:lnTo>
                    <a:pt x="139" y="254"/>
                  </a:lnTo>
                  <a:lnTo>
                    <a:pt x="130" y="258"/>
                  </a:lnTo>
                  <a:lnTo>
                    <a:pt x="130" y="262"/>
                  </a:lnTo>
                  <a:lnTo>
                    <a:pt x="111" y="262"/>
                  </a:lnTo>
                  <a:lnTo>
                    <a:pt x="109" y="258"/>
                  </a:lnTo>
                  <a:lnTo>
                    <a:pt x="95" y="257"/>
                  </a:lnTo>
                  <a:lnTo>
                    <a:pt x="89" y="261"/>
                  </a:lnTo>
                  <a:lnTo>
                    <a:pt x="84" y="259"/>
                  </a:lnTo>
                  <a:lnTo>
                    <a:pt x="74" y="247"/>
                  </a:lnTo>
                  <a:lnTo>
                    <a:pt x="71" y="241"/>
                  </a:lnTo>
                  <a:lnTo>
                    <a:pt x="58" y="244"/>
                  </a:lnTo>
                  <a:lnTo>
                    <a:pt x="53" y="254"/>
                  </a:lnTo>
                  <a:lnTo>
                    <a:pt x="49" y="272"/>
                  </a:lnTo>
                  <a:lnTo>
                    <a:pt x="42" y="276"/>
                  </a:lnTo>
                  <a:lnTo>
                    <a:pt x="37" y="278"/>
                  </a:lnTo>
                  <a:lnTo>
                    <a:pt x="35" y="277"/>
                  </a:lnTo>
                  <a:lnTo>
                    <a:pt x="29" y="271"/>
                  </a:lnTo>
                  <a:lnTo>
                    <a:pt x="28" y="265"/>
                  </a:lnTo>
                  <a:lnTo>
                    <a:pt x="30" y="256"/>
                  </a:lnTo>
                  <a:lnTo>
                    <a:pt x="30" y="248"/>
                  </a:lnTo>
                  <a:lnTo>
                    <a:pt x="20" y="235"/>
                  </a:lnTo>
                  <a:lnTo>
                    <a:pt x="17" y="226"/>
                  </a:lnTo>
                  <a:lnTo>
                    <a:pt x="17" y="221"/>
                  </a:lnTo>
                  <a:lnTo>
                    <a:pt x="10" y="215"/>
                  </a:lnTo>
                  <a:lnTo>
                    <a:pt x="10" y="203"/>
                  </a:lnTo>
                  <a:lnTo>
                    <a:pt x="6" y="195"/>
                  </a:lnTo>
                  <a:lnTo>
                    <a:pt x="0" y="196"/>
                  </a:lnTo>
                  <a:lnTo>
                    <a:pt x="1" y="188"/>
                  </a:lnTo>
                  <a:lnTo>
                    <a:pt x="6" y="180"/>
                  </a:lnTo>
                  <a:lnTo>
                    <a:pt x="4" y="171"/>
                  </a:lnTo>
                  <a:lnTo>
                    <a:pt x="9" y="165"/>
                  </a:lnTo>
                  <a:lnTo>
                    <a:pt x="6" y="160"/>
                  </a:lnTo>
                  <a:lnTo>
                    <a:pt x="10" y="147"/>
                  </a:lnTo>
                  <a:lnTo>
                    <a:pt x="18" y="132"/>
                  </a:lnTo>
                  <a:lnTo>
                    <a:pt x="34" y="133"/>
                  </a:lnTo>
                  <a:lnTo>
                    <a:pt x="30" y="51"/>
                  </a:lnTo>
                  <a:lnTo>
                    <a:pt x="30" y="42"/>
                  </a:lnTo>
                  <a:lnTo>
                    <a:pt x="51" y="42"/>
                  </a:lnTo>
                  <a:lnTo>
                    <a:pt x="49" y="0"/>
                  </a:lnTo>
                  <a:lnTo>
                    <a:pt x="121" y="0"/>
                  </a:lnTo>
                  <a:lnTo>
                    <a:pt x="191" y="0"/>
                  </a:lnTo>
                  <a:lnTo>
                    <a:pt x="262" y="0"/>
                  </a:lnTo>
                  <a:lnTo>
                    <a:pt x="269" y="21"/>
                  </a:lnTo>
                  <a:lnTo>
                    <a:pt x="266" y="24"/>
                  </a:lnTo>
                  <a:lnTo>
                    <a:pt x="270" y="46"/>
                  </a:lnTo>
                  <a:lnTo>
                    <a:pt x="278" y="71"/>
                  </a:lnTo>
                  <a:lnTo>
                    <a:pt x="285" y="76"/>
                  </a:lnTo>
                  <a:lnTo>
                    <a:pt x="295" y="84"/>
                  </a:lnTo>
                  <a:lnTo>
                    <a:pt x="287" y="95"/>
                  </a:lnTo>
                  <a:lnTo>
                    <a:pt x="273" y="99"/>
                  </a:lnTo>
                  <a:lnTo>
                    <a:pt x="268" y="105"/>
                  </a:lnTo>
                  <a:lnTo>
                    <a:pt x="267" y="119"/>
                  </a:lnTo>
                  <a:lnTo>
                    <a:pt x="260" y="149"/>
                  </a:lnTo>
                  <a:lnTo>
                    <a:pt x="263" y="158"/>
                  </a:lnTo>
                  <a:lnTo>
                    <a:pt x="260" y="175"/>
                  </a:lnTo>
                  <a:lnTo>
                    <a:pt x="254" y="196"/>
                  </a:lnTo>
                  <a:lnTo>
                    <a:pt x="243" y="206"/>
                  </a:lnTo>
                  <a:lnTo>
                    <a:pt x="236" y="222"/>
                  </a:lnTo>
                  <a:lnTo>
                    <a:pt x="234" y="231"/>
                  </a:lnTo>
                  <a:lnTo>
                    <a:pt x="226" y="236"/>
                  </a:lnTo>
                  <a:lnTo>
                    <a:pt x="221" y="258"/>
                  </a:lnTo>
                  <a:lnTo>
                    <a:pt x="221" y="261"/>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09" name="Freeform 172"/>
            <p:cNvSpPr>
              <a:spLocks/>
            </p:cNvSpPr>
            <p:nvPr/>
          </p:nvSpPr>
          <p:spPr bwMode="auto">
            <a:xfrm>
              <a:off x="4876800" y="3302004"/>
              <a:ext cx="333375" cy="288925"/>
            </a:xfrm>
            <a:custGeom>
              <a:avLst/>
              <a:gdLst>
                <a:gd name="T0" fmla="*/ 184 w 210"/>
                <a:gd name="T1" fmla="*/ 58 h 182"/>
                <a:gd name="T2" fmla="*/ 185 w 210"/>
                <a:gd name="T3" fmla="*/ 74 h 182"/>
                <a:gd name="T4" fmla="*/ 182 w 210"/>
                <a:gd name="T5" fmla="*/ 80 h 182"/>
                <a:gd name="T6" fmla="*/ 172 w 210"/>
                <a:gd name="T7" fmla="*/ 81 h 182"/>
                <a:gd name="T8" fmla="*/ 166 w 210"/>
                <a:gd name="T9" fmla="*/ 93 h 182"/>
                <a:gd name="T10" fmla="*/ 178 w 210"/>
                <a:gd name="T11" fmla="*/ 94 h 182"/>
                <a:gd name="T12" fmla="*/ 187 w 210"/>
                <a:gd name="T13" fmla="*/ 104 h 182"/>
                <a:gd name="T14" fmla="*/ 191 w 210"/>
                <a:gd name="T15" fmla="*/ 113 h 182"/>
                <a:gd name="T16" fmla="*/ 199 w 210"/>
                <a:gd name="T17" fmla="*/ 117 h 182"/>
                <a:gd name="T18" fmla="*/ 210 w 210"/>
                <a:gd name="T19" fmla="*/ 140 h 182"/>
                <a:gd name="T20" fmla="*/ 198 w 210"/>
                <a:gd name="T21" fmla="*/ 154 h 182"/>
                <a:gd name="T22" fmla="*/ 187 w 210"/>
                <a:gd name="T23" fmla="*/ 166 h 182"/>
                <a:gd name="T24" fmla="*/ 175 w 210"/>
                <a:gd name="T25" fmla="*/ 176 h 182"/>
                <a:gd name="T26" fmla="*/ 163 w 210"/>
                <a:gd name="T27" fmla="*/ 176 h 182"/>
                <a:gd name="T28" fmla="*/ 148 w 210"/>
                <a:gd name="T29" fmla="*/ 180 h 182"/>
                <a:gd name="T30" fmla="*/ 136 w 210"/>
                <a:gd name="T31" fmla="*/ 176 h 182"/>
                <a:gd name="T32" fmla="*/ 129 w 210"/>
                <a:gd name="T33" fmla="*/ 182 h 182"/>
                <a:gd name="T34" fmla="*/ 112 w 210"/>
                <a:gd name="T35" fmla="*/ 168 h 182"/>
                <a:gd name="T36" fmla="*/ 108 w 210"/>
                <a:gd name="T37" fmla="*/ 159 h 182"/>
                <a:gd name="T38" fmla="*/ 98 w 210"/>
                <a:gd name="T39" fmla="*/ 163 h 182"/>
                <a:gd name="T40" fmla="*/ 89 w 210"/>
                <a:gd name="T41" fmla="*/ 162 h 182"/>
                <a:gd name="T42" fmla="*/ 84 w 210"/>
                <a:gd name="T43" fmla="*/ 165 h 182"/>
                <a:gd name="T44" fmla="*/ 76 w 210"/>
                <a:gd name="T45" fmla="*/ 163 h 182"/>
                <a:gd name="T46" fmla="*/ 65 w 210"/>
                <a:gd name="T47" fmla="*/ 146 h 182"/>
                <a:gd name="T48" fmla="*/ 62 w 210"/>
                <a:gd name="T49" fmla="*/ 139 h 182"/>
                <a:gd name="T50" fmla="*/ 48 w 210"/>
                <a:gd name="T51" fmla="*/ 131 h 182"/>
                <a:gd name="T52" fmla="*/ 43 w 210"/>
                <a:gd name="T53" fmla="*/ 118 h 182"/>
                <a:gd name="T54" fmla="*/ 35 w 210"/>
                <a:gd name="T55" fmla="*/ 109 h 182"/>
                <a:gd name="T56" fmla="*/ 23 w 210"/>
                <a:gd name="T57" fmla="*/ 99 h 182"/>
                <a:gd name="T58" fmla="*/ 23 w 210"/>
                <a:gd name="T59" fmla="*/ 92 h 182"/>
                <a:gd name="T60" fmla="*/ 13 w 210"/>
                <a:gd name="T61" fmla="*/ 84 h 182"/>
                <a:gd name="T62" fmla="*/ 0 w 210"/>
                <a:gd name="T63" fmla="*/ 75 h 182"/>
                <a:gd name="T64" fmla="*/ 5 w 210"/>
                <a:gd name="T65" fmla="*/ 73 h 182"/>
                <a:gd name="T66" fmla="*/ 12 w 210"/>
                <a:gd name="T67" fmla="*/ 69 h 182"/>
                <a:gd name="T68" fmla="*/ 16 w 210"/>
                <a:gd name="T69" fmla="*/ 51 h 182"/>
                <a:gd name="T70" fmla="*/ 21 w 210"/>
                <a:gd name="T71" fmla="*/ 41 h 182"/>
                <a:gd name="T72" fmla="*/ 34 w 210"/>
                <a:gd name="T73" fmla="*/ 38 h 182"/>
                <a:gd name="T74" fmla="*/ 37 w 210"/>
                <a:gd name="T75" fmla="*/ 44 h 182"/>
                <a:gd name="T76" fmla="*/ 47 w 210"/>
                <a:gd name="T77" fmla="*/ 56 h 182"/>
                <a:gd name="T78" fmla="*/ 52 w 210"/>
                <a:gd name="T79" fmla="*/ 58 h 182"/>
                <a:gd name="T80" fmla="*/ 59 w 210"/>
                <a:gd name="T81" fmla="*/ 54 h 182"/>
                <a:gd name="T82" fmla="*/ 72 w 210"/>
                <a:gd name="T83" fmla="*/ 55 h 182"/>
                <a:gd name="T84" fmla="*/ 74 w 210"/>
                <a:gd name="T85" fmla="*/ 59 h 182"/>
                <a:gd name="T86" fmla="*/ 93 w 210"/>
                <a:gd name="T87" fmla="*/ 59 h 182"/>
                <a:gd name="T88" fmla="*/ 93 w 210"/>
                <a:gd name="T89" fmla="*/ 55 h 182"/>
                <a:gd name="T90" fmla="*/ 102 w 210"/>
                <a:gd name="T91" fmla="*/ 51 h 182"/>
                <a:gd name="T92" fmla="*/ 104 w 210"/>
                <a:gd name="T93" fmla="*/ 45 h 182"/>
                <a:gd name="T94" fmla="*/ 111 w 210"/>
                <a:gd name="T95" fmla="*/ 41 h 182"/>
                <a:gd name="T96" fmla="*/ 127 w 210"/>
                <a:gd name="T97" fmla="*/ 53 h 182"/>
                <a:gd name="T98" fmla="*/ 136 w 210"/>
                <a:gd name="T99" fmla="*/ 51 h 182"/>
                <a:gd name="T100" fmla="*/ 145 w 210"/>
                <a:gd name="T101" fmla="*/ 36 h 182"/>
                <a:gd name="T102" fmla="*/ 155 w 210"/>
                <a:gd name="T103" fmla="*/ 24 h 182"/>
                <a:gd name="T104" fmla="*/ 153 w 210"/>
                <a:gd name="T105" fmla="*/ 12 h 182"/>
                <a:gd name="T106" fmla="*/ 148 w 210"/>
                <a:gd name="T107" fmla="*/ 6 h 182"/>
                <a:gd name="T108" fmla="*/ 159 w 210"/>
                <a:gd name="T109" fmla="*/ 5 h 182"/>
                <a:gd name="T110" fmla="*/ 160 w 210"/>
                <a:gd name="T111" fmla="*/ 0 h 182"/>
                <a:gd name="T112" fmla="*/ 169 w 210"/>
                <a:gd name="T113" fmla="*/ 1 h 182"/>
                <a:gd name="T114" fmla="*/ 167 w 210"/>
                <a:gd name="T115" fmla="*/ 17 h 182"/>
                <a:gd name="T116" fmla="*/ 170 w 210"/>
                <a:gd name="T117" fmla="*/ 32 h 182"/>
                <a:gd name="T118" fmla="*/ 179 w 210"/>
                <a:gd name="T119" fmla="*/ 40 h 182"/>
                <a:gd name="T120" fmla="*/ 181 w 210"/>
                <a:gd name="T121" fmla="*/ 47 h 182"/>
                <a:gd name="T122" fmla="*/ 181 w 210"/>
                <a:gd name="T123" fmla="*/ 57 h 182"/>
                <a:gd name="T124" fmla="*/ 184 w 210"/>
                <a:gd name="T125" fmla="*/ 5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 h="182">
                  <a:moveTo>
                    <a:pt x="184" y="58"/>
                  </a:moveTo>
                  <a:lnTo>
                    <a:pt x="185" y="74"/>
                  </a:lnTo>
                  <a:lnTo>
                    <a:pt x="182" y="80"/>
                  </a:lnTo>
                  <a:lnTo>
                    <a:pt x="172" y="81"/>
                  </a:lnTo>
                  <a:lnTo>
                    <a:pt x="166" y="93"/>
                  </a:lnTo>
                  <a:lnTo>
                    <a:pt x="178" y="94"/>
                  </a:lnTo>
                  <a:lnTo>
                    <a:pt x="187" y="104"/>
                  </a:lnTo>
                  <a:lnTo>
                    <a:pt x="191" y="113"/>
                  </a:lnTo>
                  <a:lnTo>
                    <a:pt x="199" y="117"/>
                  </a:lnTo>
                  <a:lnTo>
                    <a:pt x="210" y="140"/>
                  </a:lnTo>
                  <a:lnTo>
                    <a:pt x="198" y="154"/>
                  </a:lnTo>
                  <a:lnTo>
                    <a:pt x="187" y="166"/>
                  </a:lnTo>
                  <a:lnTo>
                    <a:pt x="175" y="176"/>
                  </a:lnTo>
                  <a:lnTo>
                    <a:pt x="163" y="176"/>
                  </a:lnTo>
                  <a:lnTo>
                    <a:pt x="148" y="180"/>
                  </a:lnTo>
                  <a:lnTo>
                    <a:pt x="136" y="176"/>
                  </a:lnTo>
                  <a:lnTo>
                    <a:pt x="129" y="182"/>
                  </a:lnTo>
                  <a:lnTo>
                    <a:pt x="112" y="168"/>
                  </a:lnTo>
                  <a:lnTo>
                    <a:pt x="108" y="159"/>
                  </a:lnTo>
                  <a:lnTo>
                    <a:pt x="98" y="163"/>
                  </a:lnTo>
                  <a:lnTo>
                    <a:pt x="89" y="162"/>
                  </a:lnTo>
                  <a:lnTo>
                    <a:pt x="84" y="165"/>
                  </a:lnTo>
                  <a:lnTo>
                    <a:pt x="76" y="163"/>
                  </a:lnTo>
                  <a:lnTo>
                    <a:pt x="65" y="146"/>
                  </a:lnTo>
                  <a:lnTo>
                    <a:pt x="62" y="139"/>
                  </a:lnTo>
                  <a:lnTo>
                    <a:pt x="48" y="131"/>
                  </a:lnTo>
                  <a:lnTo>
                    <a:pt x="43" y="118"/>
                  </a:lnTo>
                  <a:lnTo>
                    <a:pt x="35" y="109"/>
                  </a:lnTo>
                  <a:lnTo>
                    <a:pt x="23" y="99"/>
                  </a:lnTo>
                  <a:lnTo>
                    <a:pt x="23" y="92"/>
                  </a:lnTo>
                  <a:lnTo>
                    <a:pt x="13" y="84"/>
                  </a:lnTo>
                  <a:lnTo>
                    <a:pt x="0" y="75"/>
                  </a:lnTo>
                  <a:lnTo>
                    <a:pt x="5" y="73"/>
                  </a:lnTo>
                  <a:lnTo>
                    <a:pt x="12" y="69"/>
                  </a:lnTo>
                  <a:lnTo>
                    <a:pt x="16" y="51"/>
                  </a:lnTo>
                  <a:lnTo>
                    <a:pt x="21" y="41"/>
                  </a:lnTo>
                  <a:lnTo>
                    <a:pt x="34" y="38"/>
                  </a:lnTo>
                  <a:lnTo>
                    <a:pt x="37" y="44"/>
                  </a:lnTo>
                  <a:lnTo>
                    <a:pt x="47" y="56"/>
                  </a:lnTo>
                  <a:lnTo>
                    <a:pt x="52" y="58"/>
                  </a:lnTo>
                  <a:lnTo>
                    <a:pt x="59" y="54"/>
                  </a:lnTo>
                  <a:lnTo>
                    <a:pt x="72" y="55"/>
                  </a:lnTo>
                  <a:lnTo>
                    <a:pt x="74" y="59"/>
                  </a:lnTo>
                  <a:lnTo>
                    <a:pt x="93" y="59"/>
                  </a:lnTo>
                  <a:lnTo>
                    <a:pt x="93" y="55"/>
                  </a:lnTo>
                  <a:lnTo>
                    <a:pt x="102" y="51"/>
                  </a:lnTo>
                  <a:lnTo>
                    <a:pt x="104" y="45"/>
                  </a:lnTo>
                  <a:lnTo>
                    <a:pt x="111" y="41"/>
                  </a:lnTo>
                  <a:lnTo>
                    <a:pt x="127" y="53"/>
                  </a:lnTo>
                  <a:lnTo>
                    <a:pt x="136" y="51"/>
                  </a:lnTo>
                  <a:lnTo>
                    <a:pt x="145" y="36"/>
                  </a:lnTo>
                  <a:lnTo>
                    <a:pt x="155" y="24"/>
                  </a:lnTo>
                  <a:lnTo>
                    <a:pt x="153" y="12"/>
                  </a:lnTo>
                  <a:lnTo>
                    <a:pt x="148" y="6"/>
                  </a:lnTo>
                  <a:lnTo>
                    <a:pt x="159" y="5"/>
                  </a:lnTo>
                  <a:lnTo>
                    <a:pt x="160" y="0"/>
                  </a:lnTo>
                  <a:lnTo>
                    <a:pt x="169" y="1"/>
                  </a:lnTo>
                  <a:lnTo>
                    <a:pt x="167" y="17"/>
                  </a:lnTo>
                  <a:lnTo>
                    <a:pt x="170" y="32"/>
                  </a:lnTo>
                  <a:lnTo>
                    <a:pt x="179" y="40"/>
                  </a:lnTo>
                  <a:lnTo>
                    <a:pt x="181" y="47"/>
                  </a:lnTo>
                  <a:lnTo>
                    <a:pt x="181" y="57"/>
                  </a:lnTo>
                  <a:lnTo>
                    <a:pt x="184" y="58"/>
                  </a:lnTo>
                  <a:close/>
                </a:path>
              </a:pathLst>
            </a:custGeom>
            <a:solidFill>
              <a:srgbClr val="C0504D"/>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10" name="Freeform 173"/>
            <p:cNvSpPr>
              <a:spLocks/>
            </p:cNvSpPr>
            <p:nvPr/>
          </p:nvSpPr>
          <p:spPr bwMode="auto">
            <a:xfrm>
              <a:off x="3671887" y="3159129"/>
              <a:ext cx="177800" cy="139700"/>
            </a:xfrm>
            <a:custGeom>
              <a:avLst/>
              <a:gdLst>
                <a:gd name="T0" fmla="*/ 17 w 112"/>
                <a:gd name="T1" fmla="*/ 62 h 88"/>
                <a:gd name="T2" fmla="*/ 10 w 112"/>
                <a:gd name="T3" fmla="*/ 46 h 88"/>
                <a:gd name="T4" fmla="*/ 0 w 112"/>
                <a:gd name="T5" fmla="*/ 38 h 88"/>
                <a:gd name="T6" fmla="*/ 9 w 112"/>
                <a:gd name="T7" fmla="*/ 34 h 88"/>
                <a:gd name="T8" fmla="*/ 18 w 112"/>
                <a:gd name="T9" fmla="*/ 20 h 88"/>
                <a:gd name="T10" fmla="*/ 22 w 112"/>
                <a:gd name="T11" fmla="*/ 9 h 88"/>
                <a:gd name="T12" fmla="*/ 29 w 112"/>
                <a:gd name="T13" fmla="*/ 2 h 88"/>
                <a:gd name="T14" fmla="*/ 38 w 112"/>
                <a:gd name="T15" fmla="*/ 4 h 88"/>
                <a:gd name="T16" fmla="*/ 47 w 112"/>
                <a:gd name="T17" fmla="*/ 0 h 88"/>
                <a:gd name="T18" fmla="*/ 57 w 112"/>
                <a:gd name="T19" fmla="*/ 0 h 88"/>
                <a:gd name="T20" fmla="*/ 65 w 112"/>
                <a:gd name="T21" fmla="*/ 6 h 88"/>
                <a:gd name="T22" fmla="*/ 77 w 112"/>
                <a:gd name="T23" fmla="*/ 11 h 88"/>
                <a:gd name="T24" fmla="*/ 88 w 112"/>
                <a:gd name="T25" fmla="*/ 26 h 88"/>
                <a:gd name="T26" fmla="*/ 100 w 112"/>
                <a:gd name="T27" fmla="*/ 41 h 88"/>
                <a:gd name="T28" fmla="*/ 100 w 112"/>
                <a:gd name="T29" fmla="*/ 54 h 88"/>
                <a:gd name="T30" fmla="*/ 104 w 112"/>
                <a:gd name="T31" fmla="*/ 66 h 88"/>
                <a:gd name="T32" fmla="*/ 111 w 112"/>
                <a:gd name="T33" fmla="*/ 71 h 88"/>
                <a:gd name="T34" fmla="*/ 112 w 112"/>
                <a:gd name="T35" fmla="*/ 79 h 88"/>
                <a:gd name="T36" fmla="*/ 111 w 112"/>
                <a:gd name="T37" fmla="*/ 86 h 88"/>
                <a:gd name="T38" fmla="*/ 109 w 112"/>
                <a:gd name="T39" fmla="*/ 87 h 88"/>
                <a:gd name="T40" fmla="*/ 99 w 112"/>
                <a:gd name="T41" fmla="*/ 85 h 88"/>
                <a:gd name="T42" fmla="*/ 97 w 112"/>
                <a:gd name="T43" fmla="*/ 88 h 88"/>
                <a:gd name="T44" fmla="*/ 93 w 112"/>
                <a:gd name="T45" fmla="*/ 88 h 88"/>
                <a:gd name="T46" fmla="*/ 80 w 112"/>
                <a:gd name="T47" fmla="*/ 83 h 88"/>
                <a:gd name="T48" fmla="*/ 71 w 112"/>
                <a:gd name="T49" fmla="*/ 83 h 88"/>
                <a:gd name="T50" fmla="*/ 38 w 112"/>
                <a:gd name="T51" fmla="*/ 82 h 88"/>
                <a:gd name="T52" fmla="*/ 33 w 112"/>
                <a:gd name="T53" fmla="*/ 84 h 88"/>
                <a:gd name="T54" fmla="*/ 27 w 112"/>
                <a:gd name="T55" fmla="*/ 84 h 88"/>
                <a:gd name="T56" fmla="*/ 17 w 112"/>
                <a:gd name="T57" fmla="*/ 87 h 88"/>
                <a:gd name="T58" fmla="*/ 14 w 112"/>
                <a:gd name="T59" fmla="*/ 71 h 88"/>
                <a:gd name="T60" fmla="*/ 31 w 112"/>
                <a:gd name="T61" fmla="*/ 72 h 88"/>
                <a:gd name="T62" fmla="*/ 35 w 112"/>
                <a:gd name="T63" fmla="*/ 69 h 88"/>
                <a:gd name="T64" fmla="*/ 39 w 112"/>
                <a:gd name="T65" fmla="*/ 69 h 88"/>
                <a:gd name="T66" fmla="*/ 45 w 112"/>
                <a:gd name="T67" fmla="*/ 64 h 88"/>
                <a:gd name="T68" fmla="*/ 53 w 112"/>
                <a:gd name="T69" fmla="*/ 68 h 88"/>
                <a:gd name="T70" fmla="*/ 61 w 112"/>
                <a:gd name="T71" fmla="*/ 69 h 88"/>
                <a:gd name="T72" fmla="*/ 69 w 112"/>
                <a:gd name="T73" fmla="*/ 64 h 88"/>
                <a:gd name="T74" fmla="*/ 65 w 112"/>
                <a:gd name="T75" fmla="*/ 58 h 88"/>
                <a:gd name="T76" fmla="*/ 59 w 112"/>
                <a:gd name="T77" fmla="*/ 61 h 88"/>
                <a:gd name="T78" fmla="*/ 54 w 112"/>
                <a:gd name="T79" fmla="*/ 61 h 88"/>
                <a:gd name="T80" fmla="*/ 47 w 112"/>
                <a:gd name="T81" fmla="*/ 56 h 88"/>
                <a:gd name="T82" fmla="*/ 41 w 112"/>
                <a:gd name="T83" fmla="*/ 56 h 88"/>
                <a:gd name="T84" fmla="*/ 37 w 112"/>
                <a:gd name="T85" fmla="*/ 61 h 88"/>
                <a:gd name="T86" fmla="*/ 17 w 112"/>
                <a:gd name="T87" fmla="*/ 6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2" h="88">
                  <a:moveTo>
                    <a:pt x="17" y="62"/>
                  </a:moveTo>
                  <a:lnTo>
                    <a:pt x="10" y="46"/>
                  </a:lnTo>
                  <a:lnTo>
                    <a:pt x="0" y="38"/>
                  </a:lnTo>
                  <a:lnTo>
                    <a:pt x="9" y="34"/>
                  </a:lnTo>
                  <a:lnTo>
                    <a:pt x="18" y="20"/>
                  </a:lnTo>
                  <a:lnTo>
                    <a:pt x="22" y="9"/>
                  </a:lnTo>
                  <a:lnTo>
                    <a:pt x="29" y="2"/>
                  </a:lnTo>
                  <a:lnTo>
                    <a:pt x="38" y="4"/>
                  </a:lnTo>
                  <a:lnTo>
                    <a:pt x="47" y="0"/>
                  </a:lnTo>
                  <a:lnTo>
                    <a:pt x="57" y="0"/>
                  </a:lnTo>
                  <a:lnTo>
                    <a:pt x="65" y="6"/>
                  </a:lnTo>
                  <a:lnTo>
                    <a:pt x="77" y="11"/>
                  </a:lnTo>
                  <a:lnTo>
                    <a:pt x="88" y="26"/>
                  </a:lnTo>
                  <a:lnTo>
                    <a:pt x="100" y="41"/>
                  </a:lnTo>
                  <a:lnTo>
                    <a:pt x="100" y="54"/>
                  </a:lnTo>
                  <a:lnTo>
                    <a:pt x="104" y="66"/>
                  </a:lnTo>
                  <a:lnTo>
                    <a:pt x="111" y="71"/>
                  </a:lnTo>
                  <a:lnTo>
                    <a:pt x="112" y="79"/>
                  </a:lnTo>
                  <a:lnTo>
                    <a:pt x="111" y="86"/>
                  </a:lnTo>
                  <a:lnTo>
                    <a:pt x="109" y="87"/>
                  </a:lnTo>
                  <a:lnTo>
                    <a:pt x="99" y="85"/>
                  </a:lnTo>
                  <a:lnTo>
                    <a:pt x="97" y="88"/>
                  </a:lnTo>
                  <a:lnTo>
                    <a:pt x="93" y="88"/>
                  </a:lnTo>
                  <a:lnTo>
                    <a:pt x="80" y="83"/>
                  </a:lnTo>
                  <a:lnTo>
                    <a:pt x="71" y="83"/>
                  </a:lnTo>
                  <a:lnTo>
                    <a:pt x="38" y="82"/>
                  </a:lnTo>
                  <a:lnTo>
                    <a:pt x="33" y="84"/>
                  </a:lnTo>
                  <a:lnTo>
                    <a:pt x="27" y="84"/>
                  </a:lnTo>
                  <a:lnTo>
                    <a:pt x="17" y="87"/>
                  </a:lnTo>
                  <a:lnTo>
                    <a:pt x="14" y="71"/>
                  </a:lnTo>
                  <a:lnTo>
                    <a:pt x="31" y="72"/>
                  </a:lnTo>
                  <a:lnTo>
                    <a:pt x="35" y="69"/>
                  </a:lnTo>
                  <a:lnTo>
                    <a:pt x="39" y="69"/>
                  </a:lnTo>
                  <a:lnTo>
                    <a:pt x="45" y="64"/>
                  </a:lnTo>
                  <a:lnTo>
                    <a:pt x="53" y="68"/>
                  </a:lnTo>
                  <a:lnTo>
                    <a:pt x="61" y="69"/>
                  </a:lnTo>
                  <a:lnTo>
                    <a:pt x="69" y="64"/>
                  </a:lnTo>
                  <a:lnTo>
                    <a:pt x="65" y="58"/>
                  </a:lnTo>
                  <a:lnTo>
                    <a:pt x="59" y="61"/>
                  </a:lnTo>
                  <a:lnTo>
                    <a:pt x="54" y="61"/>
                  </a:lnTo>
                  <a:lnTo>
                    <a:pt x="47" y="56"/>
                  </a:lnTo>
                  <a:lnTo>
                    <a:pt x="41" y="56"/>
                  </a:lnTo>
                  <a:lnTo>
                    <a:pt x="37" y="61"/>
                  </a:lnTo>
                  <a:lnTo>
                    <a:pt x="17" y="62"/>
                  </a:lnTo>
                  <a:close/>
                </a:path>
              </a:pathLst>
            </a:custGeom>
            <a:solidFill>
              <a:schemeClr val="bg1">
                <a:lumMod val="65000"/>
              </a:schemeClr>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11" name="Freeform 174"/>
            <p:cNvSpPr>
              <a:spLocks/>
            </p:cNvSpPr>
            <p:nvPr/>
          </p:nvSpPr>
          <p:spPr bwMode="auto">
            <a:xfrm>
              <a:off x="8866187" y="4043367"/>
              <a:ext cx="28575" cy="19050"/>
            </a:xfrm>
            <a:custGeom>
              <a:avLst/>
              <a:gdLst>
                <a:gd name="T0" fmla="*/ 14 w 18"/>
                <a:gd name="T1" fmla="*/ 5 h 12"/>
                <a:gd name="T2" fmla="*/ 18 w 18"/>
                <a:gd name="T3" fmla="*/ 12 h 12"/>
                <a:gd name="T4" fmla="*/ 6 w 18"/>
                <a:gd name="T5" fmla="*/ 12 h 12"/>
                <a:gd name="T6" fmla="*/ 0 w 18"/>
                <a:gd name="T7" fmla="*/ 0 h 12"/>
                <a:gd name="T8" fmla="*/ 11 w 18"/>
                <a:gd name="T9" fmla="*/ 4 h 12"/>
                <a:gd name="T10" fmla="*/ 14 w 18"/>
                <a:gd name="T11" fmla="*/ 5 h 12"/>
              </a:gdLst>
              <a:ahLst/>
              <a:cxnLst>
                <a:cxn ang="0">
                  <a:pos x="T0" y="T1"/>
                </a:cxn>
                <a:cxn ang="0">
                  <a:pos x="T2" y="T3"/>
                </a:cxn>
                <a:cxn ang="0">
                  <a:pos x="T4" y="T5"/>
                </a:cxn>
                <a:cxn ang="0">
                  <a:pos x="T6" y="T7"/>
                </a:cxn>
                <a:cxn ang="0">
                  <a:pos x="T8" y="T9"/>
                </a:cxn>
                <a:cxn ang="0">
                  <a:pos x="T10" y="T11"/>
                </a:cxn>
              </a:cxnLst>
              <a:rect l="0" t="0" r="r" b="b"/>
              <a:pathLst>
                <a:path w="18" h="12">
                  <a:moveTo>
                    <a:pt x="14" y="5"/>
                  </a:moveTo>
                  <a:lnTo>
                    <a:pt x="18" y="12"/>
                  </a:lnTo>
                  <a:lnTo>
                    <a:pt x="6" y="12"/>
                  </a:lnTo>
                  <a:lnTo>
                    <a:pt x="0" y="0"/>
                  </a:lnTo>
                  <a:lnTo>
                    <a:pt x="11" y="4"/>
                  </a:lnTo>
                  <a:lnTo>
                    <a:pt x="14" y="5"/>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12" name="Freeform 175"/>
            <p:cNvSpPr>
              <a:spLocks/>
            </p:cNvSpPr>
            <p:nvPr/>
          </p:nvSpPr>
          <p:spPr bwMode="auto">
            <a:xfrm>
              <a:off x="8820150" y="4011617"/>
              <a:ext cx="34925" cy="20638"/>
            </a:xfrm>
            <a:custGeom>
              <a:avLst/>
              <a:gdLst>
                <a:gd name="T0" fmla="*/ 22 w 22"/>
                <a:gd name="T1" fmla="*/ 12 h 13"/>
                <a:gd name="T2" fmla="*/ 15 w 22"/>
                <a:gd name="T3" fmla="*/ 13 h 13"/>
                <a:gd name="T4" fmla="*/ 4 w 22"/>
                <a:gd name="T5" fmla="*/ 11 h 13"/>
                <a:gd name="T6" fmla="*/ 0 w 22"/>
                <a:gd name="T7" fmla="*/ 8 h 13"/>
                <a:gd name="T8" fmla="*/ 2 w 22"/>
                <a:gd name="T9" fmla="*/ 0 h 13"/>
                <a:gd name="T10" fmla="*/ 14 w 22"/>
                <a:gd name="T11" fmla="*/ 3 h 13"/>
                <a:gd name="T12" fmla="*/ 19 w 22"/>
                <a:gd name="T13" fmla="*/ 7 h 13"/>
                <a:gd name="T14" fmla="*/ 22 w 22"/>
                <a:gd name="T15" fmla="*/ 12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22" y="12"/>
                  </a:moveTo>
                  <a:lnTo>
                    <a:pt x="15" y="13"/>
                  </a:lnTo>
                  <a:lnTo>
                    <a:pt x="4" y="11"/>
                  </a:lnTo>
                  <a:lnTo>
                    <a:pt x="0" y="8"/>
                  </a:lnTo>
                  <a:lnTo>
                    <a:pt x="2" y="0"/>
                  </a:lnTo>
                  <a:lnTo>
                    <a:pt x="14" y="3"/>
                  </a:lnTo>
                  <a:lnTo>
                    <a:pt x="19" y="7"/>
                  </a:lnTo>
                  <a:lnTo>
                    <a:pt x="22" y="12"/>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13" name="Freeform 176"/>
            <p:cNvSpPr>
              <a:spLocks/>
            </p:cNvSpPr>
            <p:nvPr/>
          </p:nvSpPr>
          <p:spPr bwMode="auto">
            <a:xfrm>
              <a:off x="8851900" y="3979867"/>
              <a:ext cx="26988" cy="49213"/>
            </a:xfrm>
            <a:custGeom>
              <a:avLst/>
              <a:gdLst>
                <a:gd name="T0" fmla="*/ 17 w 17"/>
                <a:gd name="T1" fmla="*/ 27 h 31"/>
                <a:gd name="T2" fmla="*/ 14 w 17"/>
                <a:gd name="T3" fmla="*/ 31 h 31"/>
                <a:gd name="T4" fmla="*/ 3 w 17"/>
                <a:gd name="T5" fmla="*/ 13 h 31"/>
                <a:gd name="T6" fmla="*/ 0 w 17"/>
                <a:gd name="T7" fmla="*/ 0 h 31"/>
                <a:gd name="T8" fmla="*/ 6 w 17"/>
                <a:gd name="T9" fmla="*/ 0 h 31"/>
                <a:gd name="T10" fmla="*/ 11 w 17"/>
                <a:gd name="T11" fmla="*/ 17 h 31"/>
                <a:gd name="T12" fmla="*/ 17 w 17"/>
                <a:gd name="T13" fmla="*/ 27 h 31"/>
              </a:gdLst>
              <a:ahLst/>
              <a:cxnLst>
                <a:cxn ang="0">
                  <a:pos x="T0" y="T1"/>
                </a:cxn>
                <a:cxn ang="0">
                  <a:pos x="T2" y="T3"/>
                </a:cxn>
                <a:cxn ang="0">
                  <a:pos x="T4" y="T5"/>
                </a:cxn>
                <a:cxn ang="0">
                  <a:pos x="T6" y="T7"/>
                </a:cxn>
                <a:cxn ang="0">
                  <a:pos x="T8" y="T9"/>
                </a:cxn>
                <a:cxn ang="0">
                  <a:pos x="T10" y="T11"/>
                </a:cxn>
                <a:cxn ang="0">
                  <a:pos x="T12" y="T13"/>
                </a:cxn>
              </a:cxnLst>
              <a:rect l="0" t="0" r="r" b="b"/>
              <a:pathLst>
                <a:path w="17" h="31">
                  <a:moveTo>
                    <a:pt x="17" y="27"/>
                  </a:moveTo>
                  <a:lnTo>
                    <a:pt x="14" y="31"/>
                  </a:lnTo>
                  <a:lnTo>
                    <a:pt x="3" y="13"/>
                  </a:lnTo>
                  <a:lnTo>
                    <a:pt x="0" y="0"/>
                  </a:lnTo>
                  <a:lnTo>
                    <a:pt x="6" y="0"/>
                  </a:lnTo>
                  <a:lnTo>
                    <a:pt x="11" y="17"/>
                  </a:lnTo>
                  <a:lnTo>
                    <a:pt x="17" y="2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14" name="Freeform 177"/>
            <p:cNvSpPr>
              <a:spLocks/>
            </p:cNvSpPr>
            <p:nvPr/>
          </p:nvSpPr>
          <p:spPr bwMode="auto">
            <a:xfrm>
              <a:off x="8786812" y="3948117"/>
              <a:ext cx="46038" cy="39688"/>
            </a:xfrm>
            <a:custGeom>
              <a:avLst/>
              <a:gdLst>
                <a:gd name="T0" fmla="*/ 28 w 29"/>
                <a:gd name="T1" fmla="*/ 21 h 25"/>
                <a:gd name="T2" fmla="*/ 29 w 29"/>
                <a:gd name="T3" fmla="*/ 25 h 25"/>
                <a:gd name="T4" fmla="*/ 15 w 29"/>
                <a:gd name="T5" fmla="*/ 16 h 25"/>
                <a:gd name="T6" fmla="*/ 6 w 29"/>
                <a:gd name="T7" fmla="*/ 9 h 25"/>
                <a:gd name="T8" fmla="*/ 0 w 29"/>
                <a:gd name="T9" fmla="*/ 2 h 25"/>
                <a:gd name="T10" fmla="*/ 3 w 29"/>
                <a:gd name="T11" fmla="*/ 0 h 25"/>
                <a:gd name="T12" fmla="*/ 11 w 29"/>
                <a:gd name="T13" fmla="*/ 4 h 25"/>
                <a:gd name="T14" fmla="*/ 25 w 29"/>
                <a:gd name="T15" fmla="*/ 14 h 25"/>
                <a:gd name="T16" fmla="*/ 28 w 29"/>
                <a:gd name="T17"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5">
                  <a:moveTo>
                    <a:pt x="28" y="21"/>
                  </a:moveTo>
                  <a:lnTo>
                    <a:pt x="29" y="25"/>
                  </a:lnTo>
                  <a:lnTo>
                    <a:pt x="15" y="16"/>
                  </a:lnTo>
                  <a:lnTo>
                    <a:pt x="6" y="9"/>
                  </a:lnTo>
                  <a:lnTo>
                    <a:pt x="0" y="2"/>
                  </a:lnTo>
                  <a:lnTo>
                    <a:pt x="3" y="0"/>
                  </a:lnTo>
                  <a:lnTo>
                    <a:pt x="11" y="4"/>
                  </a:lnTo>
                  <a:lnTo>
                    <a:pt x="25" y="14"/>
                  </a:lnTo>
                  <a:lnTo>
                    <a:pt x="28" y="21"/>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15" name="Freeform 178"/>
            <p:cNvSpPr>
              <a:spLocks/>
            </p:cNvSpPr>
            <p:nvPr/>
          </p:nvSpPr>
          <p:spPr bwMode="auto">
            <a:xfrm>
              <a:off x="8737600" y="3922717"/>
              <a:ext cx="28575" cy="26988"/>
            </a:xfrm>
            <a:custGeom>
              <a:avLst/>
              <a:gdLst>
                <a:gd name="T0" fmla="*/ 18 w 18"/>
                <a:gd name="T1" fmla="*/ 16 h 17"/>
                <a:gd name="T2" fmla="*/ 15 w 18"/>
                <a:gd name="T3" fmla="*/ 17 h 17"/>
                <a:gd name="T4" fmla="*/ 7 w 18"/>
                <a:gd name="T5" fmla="*/ 13 h 17"/>
                <a:gd name="T6" fmla="*/ 0 w 18"/>
                <a:gd name="T7" fmla="*/ 4 h 17"/>
                <a:gd name="T8" fmla="*/ 2 w 18"/>
                <a:gd name="T9" fmla="*/ 0 h 17"/>
                <a:gd name="T10" fmla="*/ 12 w 18"/>
                <a:gd name="T11" fmla="*/ 9 h 17"/>
                <a:gd name="T12" fmla="*/ 18 w 18"/>
                <a:gd name="T13" fmla="*/ 16 h 17"/>
              </a:gdLst>
              <a:ahLst/>
              <a:cxnLst>
                <a:cxn ang="0">
                  <a:pos x="T0" y="T1"/>
                </a:cxn>
                <a:cxn ang="0">
                  <a:pos x="T2" y="T3"/>
                </a:cxn>
                <a:cxn ang="0">
                  <a:pos x="T4" y="T5"/>
                </a:cxn>
                <a:cxn ang="0">
                  <a:pos x="T6" y="T7"/>
                </a:cxn>
                <a:cxn ang="0">
                  <a:pos x="T8" y="T9"/>
                </a:cxn>
                <a:cxn ang="0">
                  <a:pos x="T10" y="T11"/>
                </a:cxn>
                <a:cxn ang="0">
                  <a:pos x="T12" y="T13"/>
                </a:cxn>
              </a:cxnLst>
              <a:rect l="0" t="0" r="r" b="b"/>
              <a:pathLst>
                <a:path w="18" h="17">
                  <a:moveTo>
                    <a:pt x="18" y="16"/>
                  </a:moveTo>
                  <a:lnTo>
                    <a:pt x="15" y="17"/>
                  </a:lnTo>
                  <a:lnTo>
                    <a:pt x="7" y="13"/>
                  </a:lnTo>
                  <a:lnTo>
                    <a:pt x="0" y="4"/>
                  </a:lnTo>
                  <a:lnTo>
                    <a:pt x="2" y="0"/>
                  </a:lnTo>
                  <a:lnTo>
                    <a:pt x="12" y="9"/>
                  </a:lnTo>
                  <a:lnTo>
                    <a:pt x="18" y="16"/>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16" name="Freeform 179"/>
            <p:cNvSpPr>
              <a:spLocks/>
            </p:cNvSpPr>
            <p:nvPr/>
          </p:nvSpPr>
          <p:spPr bwMode="auto">
            <a:xfrm>
              <a:off x="3797300" y="3375029"/>
              <a:ext cx="87313" cy="107950"/>
            </a:xfrm>
            <a:custGeom>
              <a:avLst/>
              <a:gdLst>
                <a:gd name="T0" fmla="*/ 33 w 55"/>
                <a:gd name="T1" fmla="*/ 68 h 68"/>
                <a:gd name="T2" fmla="*/ 28 w 55"/>
                <a:gd name="T3" fmla="*/ 66 h 68"/>
                <a:gd name="T4" fmla="*/ 15 w 55"/>
                <a:gd name="T5" fmla="*/ 58 h 68"/>
                <a:gd name="T6" fmla="*/ 5 w 55"/>
                <a:gd name="T7" fmla="*/ 46 h 68"/>
                <a:gd name="T8" fmla="*/ 2 w 55"/>
                <a:gd name="T9" fmla="*/ 39 h 68"/>
                <a:gd name="T10" fmla="*/ 0 w 55"/>
                <a:gd name="T11" fmla="*/ 23 h 68"/>
                <a:gd name="T12" fmla="*/ 10 w 55"/>
                <a:gd name="T13" fmla="*/ 14 h 68"/>
                <a:gd name="T14" fmla="*/ 12 w 55"/>
                <a:gd name="T15" fmla="*/ 8 h 68"/>
                <a:gd name="T16" fmla="*/ 15 w 55"/>
                <a:gd name="T17" fmla="*/ 4 h 68"/>
                <a:gd name="T18" fmla="*/ 20 w 55"/>
                <a:gd name="T19" fmla="*/ 4 h 68"/>
                <a:gd name="T20" fmla="*/ 24 w 55"/>
                <a:gd name="T21" fmla="*/ 0 h 68"/>
                <a:gd name="T22" fmla="*/ 39 w 55"/>
                <a:gd name="T23" fmla="*/ 0 h 68"/>
                <a:gd name="T24" fmla="*/ 44 w 55"/>
                <a:gd name="T25" fmla="*/ 7 h 68"/>
                <a:gd name="T26" fmla="*/ 48 w 55"/>
                <a:gd name="T27" fmla="*/ 16 h 68"/>
                <a:gd name="T28" fmla="*/ 47 w 55"/>
                <a:gd name="T29" fmla="*/ 22 h 68"/>
                <a:gd name="T30" fmla="*/ 50 w 55"/>
                <a:gd name="T31" fmla="*/ 27 h 68"/>
                <a:gd name="T32" fmla="*/ 50 w 55"/>
                <a:gd name="T33" fmla="*/ 35 h 68"/>
                <a:gd name="T34" fmla="*/ 55 w 55"/>
                <a:gd name="T35" fmla="*/ 34 h 68"/>
                <a:gd name="T36" fmla="*/ 46 w 55"/>
                <a:gd name="T37" fmla="*/ 43 h 68"/>
                <a:gd name="T38" fmla="*/ 38 w 55"/>
                <a:gd name="T39" fmla="*/ 55 h 68"/>
                <a:gd name="T40" fmla="*/ 37 w 55"/>
                <a:gd name="T41" fmla="*/ 61 h 68"/>
                <a:gd name="T42" fmla="*/ 33 w 55"/>
                <a:gd name="T4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68">
                  <a:moveTo>
                    <a:pt x="33" y="68"/>
                  </a:moveTo>
                  <a:lnTo>
                    <a:pt x="28" y="66"/>
                  </a:lnTo>
                  <a:lnTo>
                    <a:pt x="15" y="58"/>
                  </a:lnTo>
                  <a:lnTo>
                    <a:pt x="5" y="46"/>
                  </a:lnTo>
                  <a:lnTo>
                    <a:pt x="2" y="39"/>
                  </a:lnTo>
                  <a:lnTo>
                    <a:pt x="0" y="23"/>
                  </a:lnTo>
                  <a:lnTo>
                    <a:pt x="10" y="14"/>
                  </a:lnTo>
                  <a:lnTo>
                    <a:pt x="12" y="8"/>
                  </a:lnTo>
                  <a:lnTo>
                    <a:pt x="15" y="4"/>
                  </a:lnTo>
                  <a:lnTo>
                    <a:pt x="20" y="4"/>
                  </a:lnTo>
                  <a:lnTo>
                    <a:pt x="24" y="0"/>
                  </a:lnTo>
                  <a:lnTo>
                    <a:pt x="39" y="0"/>
                  </a:lnTo>
                  <a:lnTo>
                    <a:pt x="44" y="7"/>
                  </a:lnTo>
                  <a:lnTo>
                    <a:pt x="48" y="16"/>
                  </a:lnTo>
                  <a:lnTo>
                    <a:pt x="47" y="22"/>
                  </a:lnTo>
                  <a:lnTo>
                    <a:pt x="50" y="27"/>
                  </a:lnTo>
                  <a:lnTo>
                    <a:pt x="50" y="35"/>
                  </a:lnTo>
                  <a:lnTo>
                    <a:pt x="55" y="34"/>
                  </a:lnTo>
                  <a:lnTo>
                    <a:pt x="46" y="43"/>
                  </a:lnTo>
                  <a:lnTo>
                    <a:pt x="38" y="55"/>
                  </a:lnTo>
                  <a:lnTo>
                    <a:pt x="37" y="61"/>
                  </a:lnTo>
                  <a:lnTo>
                    <a:pt x="33" y="68"/>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17" name="Freeform 180"/>
            <p:cNvSpPr>
              <a:spLocks/>
            </p:cNvSpPr>
            <p:nvPr/>
          </p:nvSpPr>
          <p:spPr bwMode="auto">
            <a:xfrm>
              <a:off x="1574800" y="3230566"/>
              <a:ext cx="69850" cy="41275"/>
            </a:xfrm>
            <a:custGeom>
              <a:avLst/>
              <a:gdLst>
                <a:gd name="T0" fmla="*/ 42 w 44"/>
                <a:gd name="T1" fmla="*/ 21 h 26"/>
                <a:gd name="T2" fmla="*/ 39 w 44"/>
                <a:gd name="T3" fmla="*/ 26 h 26"/>
                <a:gd name="T4" fmla="*/ 29 w 44"/>
                <a:gd name="T5" fmla="*/ 26 h 26"/>
                <a:gd name="T6" fmla="*/ 22 w 44"/>
                <a:gd name="T7" fmla="*/ 24 h 26"/>
                <a:gd name="T8" fmla="*/ 15 w 44"/>
                <a:gd name="T9" fmla="*/ 20 h 26"/>
                <a:gd name="T10" fmla="*/ 5 w 44"/>
                <a:gd name="T11" fmla="*/ 18 h 26"/>
                <a:gd name="T12" fmla="*/ 0 w 44"/>
                <a:gd name="T13" fmla="*/ 14 h 26"/>
                <a:gd name="T14" fmla="*/ 1 w 44"/>
                <a:gd name="T15" fmla="*/ 11 h 26"/>
                <a:gd name="T16" fmla="*/ 8 w 44"/>
                <a:gd name="T17" fmla="*/ 6 h 26"/>
                <a:gd name="T18" fmla="*/ 12 w 44"/>
                <a:gd name="T19" fmla="*/ 3 h 26"/>
                <a:gd name="T20" fmla="*/ 11 w 44"/>
                <a:gd name="T21" fmla="*/ 1 h 26"/>
                <a:gd name="T22" fmla="*/ 15 w 44"/>
                <a:gd name="T23" fmla="*/ 0 h 26"/>
                <a:gd name="T24" fmla="*/ 20 w 44"/>
                <a:gd name="T25" fmla="*/ 1 h 26"/>
                <a:gd name="T26" fmla="*/ 24 w 44"/>
                <a:gd name="T27" fmla="*/ 6 h 26"/>
                <a:gd name="T28" fmla="*/ 29 w 44"/>
                <a:gd name="T29" fmla="*/ 9 h 26"/>
                <a:gd name="T30" fmla="*/ 29 w 44"/>
                <a:gd name="T31" fmla="*/ 12 h 26"/>
                <a:gd name="T32" fmla="*/ 38 w 44"/>
                <a:gd name="T33" fmla="*/ 9 h 26"/>
                <a:gd name="T34" fmla="*/ 41 w 44"/>
                <a:gd name="T35" fmla="*/ 11 h 26"/>
                <a:gd name="T36" fmla="*/ 44 w 44"/>
                <a:gd name="T37" fmla="*/ 13 h 26"/>
                <a:gd name="T38" fmla="*/ 42 w 44"/>
                <a:gd name="T39"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6">
                  <a:moveTo>
                    <a:pt x="42" y="21"/>
                  </a:moveTo>
                  <a:lnTo>
                    <a:pt x="39" y="26"/>
                  </a:lnTo>
                  <a:lnTo>
                    <a:pt x="29" y="26"/>
                  </a:lnTo>
                  <a:lnTo>
                    <a:pt x="22" y="24"/>
                  </a:lnTo>
                  <a:lnTo>
                    <a:pt x="15" y="20"/>
                  </a:lnTo>
                  <a:lnTo>
                    <a:pt x="5" y="18"/>
                  </a:lnTo>
                  <a:lnTo>
                    <a:pt x="0" y="14"/>
                  </a:lnTo>
                  <a:lnTo>
                    <a:pt x="1" y="11"/>
                  </a:lnTo>
                  <a:lnTo>
                    <a:pt x="8" y="6"/>
                  </a:lnTo>
                  <a:lnTo>
                    <a:pt x="12" y="3"/>
                  </a:lnTo>
                  <a:lnTo>
                    <a:pt x="11" y="1"/>
                  </a:lnTo>
                  <a:lnTo>
                    <a:pt x="15" y="0"/>
                  </a:lnTo>
                  <a:lnTo>
                    <a:pt x="20" y="1"/>
                  </a:lnTo>
                  <a:lnTo>
                    <a:pt x="24" y="6"/>
                  </a:lnTo>
                  <a:lnTo>
                    <a:pt x="29" y="9"/>
                  </a:lnTo>
                  <a:lnTo>
                    <a:pt x="29" y="12"/>
                  </a:lnTo>
                  <a:lnTo>
                    <a:pt x="38" y="9"/>
                  </a:lnTo>
                  <a:lnTo>
                    <a:pt x="41" y="11"/>
                  </a:lnTo>
                  <a:lnTo>
                    <a:pt x="44" y="13"/>
                  </a:lnTo>
                  <a:lnTo>
                    <a:pt x="42" y="21"/>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18" name="Freeform 181"/>
            <p:cNvSpPr>
              <a:spLocks/>
            </p:cNvSpPr>
            <p:nvPr/>
          </p:nvSpPr>
          <p:spPr bwMode="auto">
            <a:xfrm>
              <a:off x="5418137" y="3327404"/>
              <a:ext cx="185738" cy="114300"/>
            </a:xfrm>
            <a:custGeom>
              <a:avLst/>
              <a:gdLst>
                <a:gd name="T0" fmla="*/ 117 w 117"/>
                <a:gd name="T1" fmla="*/ 42 h 72"/>
                <a:gd name="T2" fmla="*/ 109 w 117"/>
                <a:gd name="T3" fmla="*/ 55 h 72"/>
                <a:gd name="T4" fmla="*/ 97 w 117"/>
                <a:gd name="T5" fmla="*/ 72 h 72"/>
                <a:gd name="T6" fmla="*/ 82 w 117"/>
                <a:gd name="T7" fmla="*/ 72 h 72"/>
                <a:gd name="T8" fmla="*/ 21 w 117"/>
                <a:gd name="T9" fmla="*/ 47 h 72"/>
                <a:gd name="T10" fmla="*/ 14 w 117"/>
                <a:gd name="T11" fmla="*/ 40 h 72"/>
                <a:gd name="T12" fmla="*/ 7 w 117"/>
                <a:gd name="T13" fmla="*/ 30 h 72"/>
                <a:gd name="T14" fmla="*/ 0 w 117"/>
                <a:gd name="T15" fmla="*/ 19 h 72"/>
                <a:gd name="T16" fmla="*/ 3 w 117"/>
                <a:gd name="T17" fmla="*/ 11 h 72"/>
                <a:gd name="T18" fmla="*/ 10 w 117"/>
                <a:gd name="T19" fmla="*/ 0 h 72"/>
                <a:gd name="T20" fmla="*/ 16 w 117"/>
                <a:gd name="T21" fmla="*/ 4 h 72"/>
                <a:gd name="T22" fmla="*/ 20 w 117"/>
                <a:gd name="T23" fmla="*/ 13 h 72"/>
                <a:gd name="T24" fmla="*/ 28 w 117"/>
                <a:gd name="T25" fmla="*/ 21 h 72"/>
                <a:gd name="T26" fmla="*/ 37 w 117"/>
                <a:gd name="T27" fmla="*/ 21 h 72"/>
                <a:gd name="T28" fmla="*/ 54 w 117"/>
                <a:gd name="T29" fmla="*/ 16 h 72"/>
                <a:gd name="T30" fmla="*/ 74 w 117"/>
                <a:gd name="T31" fmla="*/ 14 h 72"/>
                <a:gd name="T32" fmla="*/ 90 w 117"/>
                <a:gd name="T33" fmla="*/ 7 h 72"/>
                <a:gd name="T34" fmla="*/ 99 w 117"/>
                <a:gd name="T35" fmla="*/ 6 h 72"/>
                <a:gd name="T36" fmla="*/ 105 w 117"/>
                <a:gd name="T37" fmla="*/ 2 h 72"/>
                <a:gd name="T38" fmla="*/ 116 w 117"/>
                <a:gd name="T39" fmla="*/ 1 h 72"/>
                <a:gd name="T40" fmla="*/ 116 w 117"/>
                <a:gd name="T41" fmla="*/ 2 h 72"/>
                <a:gd name="T42" fmla="*/ 116 w 117"/>
                <a:gd name="T43" fmla="*/ 10 h 72"/>
                <a:gd name="T44" fmla="*/ 117 w 117"/>
                <a:gd name="T45" fmla="*/ 31 h 72"/>
                <a:gd name="T46" fmla="*/ 117 w 117"/>
                <a:gd name="T4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72">
                  <a:moveTo>
                    <a:pt x="117" y="42"/>
                  </a:moveTo>
                  <a:lnTo>
                    <a:pt x="109" y="55"/>
                  </a:lnTo>
                  <a:lnTo>
                    <a:pt x="97" y="72"/>
                  </a:lnTo>
                  <a:lnTo>
                    <a:pt x="82" y="72"/>
                  </a:lnTo>
                  <a:lnTo>
                    <a:pt x="21" y="47"/>
                  </a:lnTo>
                  <a:lnTo>
                    <a:pt x="14" y="40"/>
                  </a:lnTo>
                  <a:lnTo>
                    <a:pt x="7" y="30"/>
                  </a:lnTo>
                  <a:lnTo>
                    <a:pt x="0" y="19"/>
                  </a:lnTo>
                  <a:lnTo>
                    <a:pt x="3" y="11"/>
                  </a:lnTo>
                  <a:lnTo>
                    <a:pt x="10" y="0"/>
                  </a:lnTo>
                  <a:lnTo>
                    <a:pt x="16" y="4"/>
                  </a:lnTo>
                  <a:lnTo>
                    <a:pt x="20" y="13"/>
                  </a:lnTo>
                  <a:lnTo>
                    <a:pt x="28" y="21"/>
                  </a:lnTo>
                  <a:lnTo>
                    <a:pt x="37" y="21"/>
                  </a:lnTo>
                  <a:lnTo>
                    <a:pt x="54" y="16"/>
                  </a:lnTo>
                  <a:lnTo>
                    <a:pt x="74" y="14"/>
                  </a:lnTo>
                  <a:lnTo>
                    <a:pt x="90" y="7"/>
                  </a:lnTo>
                  <a:lnTo>
                    <a:pt x="99" y="6"/>
                  </a:lnTo>
                  <a:lnTo>
                    <a:pt x="105" y="2"/>
                  </a:lnTo>
                  <a:lnTo>
                    <a:pt x="116" y="1"/>
                  </a:lnTo>
                  <a:lnTo>
                    <a:pt x="116" y="2"/>
                  </a:lnTo>
                  <a:lnTo>
                    <a:pt x="116" y="10"/>
                  </a:lnTo>
                  <a:lnTo>
                    <a:pt x="117" y="31"/>
                  </a:lnTo>
                  <a:lnTo>
                    <a:pt x="117" y="42"/>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19" name="Freeform 182"/>
            <p:cNvSpPr>
              <a:spLocks/>
            </p:cNvSpPr>
            <p:nvPr/>
          </p:nvSpPr>
          <p:spPr bwMode="auto">
            <a:xfrm>
              <a:off x="5376862" y="3309941"/>
              <a:ext cx="287338" cy="450850"/>
            </a:xfrm>
            <a:custGeom>
              <a:avLst/>
              <a:gdLst>
                <a:gd name="T0" fmla="*/ 156 w 181"/>
                <a:gd name="T1" fmla="*/ 9 h 284"/>
                <a:gd name="T2" fmla="*/ 166 w 181"/>
                <a:gd name="T3" fmla="*/ 7 h 284"/>
                <a:gd name="T4" fmla="*/ 174 w 181"/>
                <a:gd name="T5" fmla="*/ 0 h 284"/>
                <a:gd name="T6" fmla="*/ 181 w 181"/>
                <a:gd name="T7" fmla="*/ 0 h 284"/>
                <a:gd name="T8" fmla="*/ 181 w 181"/>
                <a:gd name="T9" fmla="*/ 5 h 284"/>
                <a:gd name="T10" fmla="*/ 180 w 181"/>
                <a:gd name="T11" fmla="*/ 18 h 284"/>
                <a:gd name="T12" fmla="*/ 181 w 181"/>
                <a:gd name="T13" fmla="*/ 28 h 284"/>
                <a:gd name="T14" fmla="*/ 177 w 181"/>
                <a:gd name="T15" fmla="*/ 36 h 284"/>
                <a:gd name="T16" fmla="*/ 173 w 181"/>
                <a:gd name="T17" fmla="*/ 58 h 284"/>
                <a:gd name="T18" fmla="*/ 165 w 181"/>
                <a:gd name="T19" fmla="*/ 81 h 284"/>
                <a:gd name="T20" fmla="*/ 154 w 181"/>
                <a:gd name="T21" fmla="*/ 108 h 284"/>
                <a:gd name="T22" fmla="*/ 139 w 181"/>
                <a:gd name="T23" fmla="*/ 139 h 284"/>
                <a:gd name="T24" fmla="*/ 124 w 181"/>
                <a:gd name="T25" fmla="*/ 162 h 284"/>
                <a:gd name="T26" fmla="*/ 103 w 181"/>
                <a:gd name="T27" fmla="*/ 190 h 284"/>
                <a:gd name="T28" fmla="*/ 85 w 181"/>
                <a:gd name="T29" fmla="*/ 207 h 284"/>
                <a:gd name="T30" fmla="*/ 57 w 181"/>
                <a:gd name="T31" fmla="*/ 228 h 284"/>
                <a:gd name="T32" fmla="*/ 40 w 181"/>
                <a:gd name="T33" fmla="*/ 243 h 284"/>
                <a:gd name="T34" fmla="*/ 20 w 181"/>
                <a:gd name="T35" fmla="*/ 269 h 284"/>
                <a:gd name="T36" fmla="*/ 15 w 181"/>
                <a:gd name="T37" fmla="*/ 280 h 284"/>
                <a:gd name="T38" fmla="*/ 11 w 181"/>
                <a:gd name="T39" fmla="*/ 284 h 284"/>
                <a:gd name="T40" fmla="*/ 1 w 181"/>
                <a:gd name="T41" fmla="*/ 267 h 284"/>
                <a:gd name="T42" fmla="*/ 0 w 181"/>
                <a:gd name="T43" fmla="*/ 191 h 284"/>
                <a:gd name="T44" fmla="*/ 16 w 181"/>
                <a:gd name="T45" fmla="*/ 168 h 284"/>
                <a:gd name="T46" fmla="*/ 21 w 181"/>
                <a:gd name="T47" fmla="*/ 161 h 284"/>
                <a:gd name="T48" fmla="*/ 33 w 181"/>
                <a:gd name="T49" fmla="*/ 161 h 284"/>
                <a:gd name="T50" fmla="*/ 49 w 181"/>
                <a:gd name="T51" fmla="*/ 146 h 284"/>
                <a:gd name="T52" fmla="*/ 73 w 181"/>
                <a:gd name="T53" fmla="*/ 146 h 284"/>
                <a:gd name="T54" fmla="*/ 123 w 181"/>
                <a:gd name="T55" fmla="*/ 83 h 284"/>
                <a:gd name="T56" fmla="*/ 135 w 181"/>
                <a:gd name="T57" fmla="*/ 66 h 284"/>
                <a:gd name="T58" fmla="*/ 143 w 181"/>
                <a:gd name="T59" fmla="*/ 53 h 284"/>
                <a:gd name="T60" fmla="*/ 143 w 181"/>
                <a:gd name="T61" fmla="*/ 42 h 284"/>
                <a:gd name="T62" fmla="*/ 142 w 181"/>
                <a:gd name="T63" fmla="*/ 21 h 284"/>
                <a:gd name="T64" fmla="*/ 142 w 181"/>
                <a:gd name="T65" fmla="*/ 13 h 284"/>
                <a:gd name="T66" fmla="*/ 142 w 181"/>
                <a:gd name="T67" fmla="*/ 12 h 284"/>
                <a:gd name="T68" fmla="*/ 148 w 181"/>
                <a:gd name="T69" fmla="*/ 12 h 284"/>
                <a:gd name="T70" fmla="*/ 156 w 181"/>
                <a:gd name="T71" fmla="*/ 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284">
                  <a:moveTo>
                    <a:pt x="156" y="9"/>
                  </a:moveTo>
                  <a:lnTo>
                    <a:pt x="166" y="7"/>
                  </a:lnTo>
                  <a:lnTo>
                    <a:pt x="174" y="0"/>
                  </a:lnTo>
                  <a:lnTo>
                    <a:pt x="181" y="0"/>
                  </a:lnTo>
                  <a:lnTo>
                    <a:pt x="181" y="5"/>
                  </a:lnTo>
                  <a:lnTo>
                    <a:pt x="180" y="18"/>
                  </a:lnTo>
                  <a:lnTo>
                    <a:pt x="181" y="28"/>
                  </a:lnTo>
                  <a:lnTo>
                    <a:pt x="177" y="36"/>
                  </a:lnTo>
                  <a:lnTo>
                    <a:pt x="173" y="58"/>
                  </a:lnTo>
                  <a:lnTo>
                    <a:pt x="165" y="81"/>
                  </a:lnTo>
                  <a:lnTo>
                    <a:pt x="154" y="108"/>
                  </a:lnTo>
                  <a:lnTo>
                    <a:pt x="139" y="139"/>
                  </a:lnTo>
                  <a:lnTo>
                    <a:pt x="124" y="162"/>
                  </a:lnTo>
                  <a:lnTo>
                    <a:pt x="103" y="190"/>
                  </a:lnTo>
                  <a:lnTo>
                    <a:pt x="85" y="207"/>
                  </a:lnTo>
                  <a:lnTo>
                    <a:pt x="57" y="228"/>
                  </a:lnTo>
                  <a:lnTo>
                    <a:pt x="40" y="243"/>
                  </a:lnTo>
                  <a:lnTo>
                    <a:pt x="20" y="269"/>
                  </a:lnTo>
                  <a:lnTo>
                    <a:pt x="15" y="280"/>
                  </a:lnTo>
                  <a:lnTo>
                    <a:pt x="11" y="284"/>
                  </a:lnTo>
                  <a:lnTo>
                    <a:pt x="1" y="267"/>
                  </a:lnTo>
                  <a:lnTo>
                    <a:pt x="0" y="191"/>
                  </a:lnTo>
                  <a:lnTo>
                    <a:pt x="16" y="168"/>
                  </a:lnTo>
                  <a:lnTo>
                    <a:pt x="21" y="161"/>
                  </a:lnTo>
                  <a:lnTo>
                    <a:pt x="33" y="161"/>
                  </a:lnTo>
                  <a:lnTo>
                    <a:pt x="49" y="146"/>
                  </a:lnTo>
                  <a:lnTo>
                    <a:pt x="73" y="146"/>
                  </a:lnTo>
                  <a:lnTo>
                    <a:pt x="123" y="83"/>
                  </a:lnTo>
                  <a:lnTo>
                    <a:pt x="135" y="66"/>
                  </a:lnTo>
                  <a:lnTo>
                    <a:pt x="143" y="53"/>
                  </a:lnTo>
                  <a:lnTo>
                    <a:pt x="143" y="42"/>
                  </a:lnTo>
                  <a:lnTo>
                    <a:pt x="142" y="21"/>
                  </a:lnTo>
                  <a:lnTo>
                    <a:pt x="142" y="13"/>
                  </a:lnTo>
                  <a:lnTo>
                    <a:pt x="142" y="12"/>
                  </a:lnTo>
                  <a:lnTo>
                    <a:pt x="148" y="12"/>
                  </a:lnTo>
                  <a:lnTo>
                    <a:pt x="156" y="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20" name="Freeform 183"/>
            <p:cNvSpPr>
              <a:spLocks/>
            </p:cNvSpPr>
            <p:nvPr/>
          </p:nvSpPr>
          <p:spPr bwMode="auto">
            <a:xfrm>
              <a:off x="4672012" y="2187579"/>
              <a:ext cx="117475" cy="127000"/>
            </a:xfrm>
            <a:custGeom>
              <a:avLst/>
              <a:gdLst>
                <a:gd name="T0" fmla="*/ 35 w 74"/>
                <a:gd name="T1" fmla="*/ 15 h 80"/>
                <a:gd name="T2" fmla="*/ 45 w 74"/>
                <a:gd name="T3" fmla="*/ 20 h 80"/>
                <a:gd name="T4" fmla="*/ 47 w 74"/>
                <a:gd name="T5" fmla="*/ 28 h 80"/>
                <a:gd name="T6" fmla="*/ 58 w 74"/>
                <a:gd name="T7" fmla="*/ 34 h 80"/>
                <a:gd name="T8" fmla="*/ 62 w 74"/>
                <a:gd name="T9" fmla="*/ 30 h 80"/>
                <a:gd name="T10" fmla="*/ 67 w 74"/>
                <a:gd name="T11" fmla="*/ 32 h 80"/>
                <a:gd name="T12" fmla="*/ 63 w 74"/>
                <a:gd name="T13" fmla="*/ 36 h 80"/>
                <a:gd name="T14" fmla="*/ 66 w 74"/>
                <a:gd name="T15" fmla="*/ 39 h 80"/>
                <a:gd name="T16" fmla="*/ 63 w 74"/>
                <a:gd name="T17" fmla="*/ 44 h 80"/>
                <a:gd name="T18" fmla="*/ 65 w 74"/>
                <a:gd name="T19" fmla="*/ 52 h 80"/>
                <a:gd name="T20" fmla="*/ 74 w 74"/>
                <a:gd name="T21" fmla="*/ 60 h 80"/>
                <a:gd name="T22" fmla="*/ 68 w 74"/>
                <a:gd name="T23" fmla="*/ 67 h 80"/>
                <a:gd name="T24" fmla="*/ 66 w 74"/>
                <a:gd name="T25" fmla="*/ 73 h 80"/>
                <a:gd name="T26" fmla="*/ 68 w 74"/>
                <a:gd name="T27" fmla="*/ 76 h 80"/>
                <a:gd name="T28" fmla="*/ 66 w 74"/>
                <a:gd name="T29" fmla="*/ 79 h 80"/>
                <a:gd name="T30" fmla="*/ 58 w 74"/>
                <a:gd name="T31" fmla="*/ 79 h 80"/>
                <a:gd name="T32" fmla="*/ 52 w 74"/>
                <a:gd name="T33" fmla="*/ 80 h 80"/>
                <a:gd name="T34" fmla="*/ 52 w 74"/>
                <a:gd name="T35" fmla="*/ 79 h 80"/>
                <a:gd name="T36" fmla="*/ 54 w 74"/>
                <a:gd name="T37" fmla="*/ 76 h 80"/>
                <a:gd name="T38" fmla="*/ 55 w 74"/>
                <a:gd name="T39" fmla="*/ 71 h 80"/>
                <a:gd name="T40" fmla="*/ 53 w 74"/>
                <a:gd name="T41" fmla="*/ 71 h 80"/>
                <a:gd name="T42" fmla="*/ 49 w 74"/>
                <a:gd name="T43" fmla="*/ 67 h 80"/>
                <a:gd name="T44" fmla="*/ 46 w 74"/>
                <a:gd name="T45" fmla="*/ 66 h 80"/>
                <a:gd name="T46" fmla="*/ 44 w 74"/>
                <a:gd name="T47" fmla="*/ 63 h 80"/>
                <a:gd name="T48" fmla="*/ 40 w 74"/>
                <a:gd name="T49" fmla="*/ 62 h 80"/>
                <a:gd name="T50" fmla="*/ 38 w 74"/>
                <a:gd name="T51" fmla="*/ 59 h 80"/>
                <a:gd name="T52" fmla="*/ 35 w 74"/>
                <a:gd name="T53" fmla="*/ 60 h 80"/>
                <a:gd name="T54" fmla="*/ 33 w 74"/>
                <a:gd name="T55" fmla="*/ 67 h 80"/>
                <a:gd name="T56" fmla="*/ 29 w 74"/>
                <a:gd name="T57" fmla="*/ 68 h 80"/>
                <a:gd name="T58" fmla="*/ 31 w 74"/>
                <a:gd name="T59" fmla="*/ 67 h 80"/>
                <a:gd name="T60" fmla="*/ 24 w 74"/>
                <a:gd name="T61" fmla="*/ 63 h 80"/>
                <a:gd name="T62" fmla="*/ 18 w 74"/>
                <a:gd name="T63" fmla="*/ 60 h 80"/>
                <a:gd name="T64" fmla="*/ 16 w 74"/>
                <a:gd name="T65" fmla="*/ 57 h 80"/>
                <a:gd name="T66" fmla="*/ 11 w 74"/>
                <a:gd name="T67" fmla="*/ 54 h 80"/>
                <a:gd name="T68" fmla="*/ 15 w 74"/>
                <a:gd name="T69" fmla="*/ 53 h 80"/>
                <a:gd name="T70" fmla="*/ 16 w 74"/>
                <a:gd name="T71" fmla="*/ 43 h 80"/>
                <a:gd name="T72" fmla="*/ 7 w 74"/>
                <a:gd name="T73" fmla="*/ 35 h 80"/>
                <a:gd name="T74" fmla="*/ 11 w 74"/>
                <a:gd name="T75" fmla="*/ 26 h 80"/>
                <a:gd name="T76" fmla="*/ 5 w 74"/>
                <a:gd name="T77" fmla="*/ 26 h 80"/>
                <a:gd name="T78" fmla="*/ 10 w 74"/>
                <a:gd name="T79" fmla="*/ 19 h 80"/>
                <a:gd name="T80" fmla="*/ 5 w 74"/>
                <a:gd name="T81" fmla="*/ 13 h 80"/>
                <a:gd name="T82" fmla="*/ 0 w 74"/>
                <a:gd name="T83" fmla="*/ 5 h 80"/>
                <a:gd name="T84" fmla="*/ 12 w 74"/>
                <a:gd name="T85" fmla="*/ 0 h 80"/>
                <a:gd name="T86" fmla="*/ 22 w 74"/>
                <a:gd name="T87" fmla="*/ 1 h 80"/>
                <a:gd name="T88" fmla="*/ 32 w 74"/>
                <a:gd name="T89" fmla="*/ 9 h 80"/>
                <a:gd name="T90" fmla="*/ 35 w 74"/>
                <a:gd name="T91" fmla="*/ 1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80">
                  <a:moveTo>
                    <a:pt x="35" y="15"/>
                  </a:moveTo>
                  <a:lnTo>
                    <a:pt x="45" y="20"/>
                  </a:lnTo>
                  <a:lnTo>
                    <a:pt x="47" y="28"/>
                  </a:lnTo>
                  <a:lnTo>
                    <a:pt x="58" y="34"/>
                  </a:lnTo>
                  <a:lnTo>
                    <a:pt x="62" y="30"/>
                  </a:lnTo>
                  <a:lnTo>
                    <a:pt x="67" y="32"/>
                  </a:lnTo>
                  <a:lnTo>
                    <a:pt x="63" y="36"/>
                  </a:lnTo>
                  <a:lnTo>
                    <a:pt x="66" y="39"/>
                  </a:lnTo>
                  <a:lnTo>
                    <a:pt x="63" y="44"/>
                  </a:lnTo>
                  <a:lnTo>
                    <a:pt x="65" y="52"/>
                  </a:lnTo>
                  <a:lnTo>
                    <a:pt x="74" y="60"/>
                  </a:lnTo>
                  <a:lnTo>
                    <a:pt x="68" y="67"/>
                  </a:lnTo>
                  <a:lnTo>
                    <a:pt x="66" y="73"/>
                  </a:lnTo>
                  <a:lnTo>
                    <a:pt x="68" y="76"/>
                  </a:lnTo>
                  <a:lnTo>
                    <a:pt x="66" y="79"/>
                  </a:lnTo>
                  <a:lnTo>
                    <a:pt x="58" y="79"/>
                  </a:lnTo>
                  <a:lnTo>
                    <a:pt x="52" y="80"/>
                  </a:lnTo>
                  <a:lnTo>
                    <a:pt x="52" y="79"/>
                  </a:lnTo>
                  <a:lnTo>
                    <a:pt x="54" y="76"/>
                  </a:lnTo>
                  <a:lnTo>
                    <a:pt x="55" y="71"/>
                  </a:lnTo>
                  <a:lnTo>
                    <a:pt x="53" y="71"/>
                  </a:lnTo>
                  <a:lnTo>
                    <a:pt x="49" y="67"/>
                  </a:lnTo>
                  <a:lnTo>
                    <a:pt x="46" y="66"/>
                  </a:lnTo>
                  <a:lnTo>
                    <a:pt x="44" y="63"/>
                  </a:lnTo>
                  <a:lnTo>
                    <a:pt x="40" y="62"/>
                  </a:lnTo>
                  <a:lnTo>
                    <a:pt x="38" y="59"/>
                  </a:lnTo>
                  <a:lnTo>
                    <a:pt x="35" y="60"/>
                  </a:lnTo>
                  <a:lnTo>
                    <a:pt x="33" y="67"/>
                  </a:lnTo>
                  <a:lnTo>
                    <a:pt x="29" y="68"/>
                  </a:lnTo>
                  <a:lnTo>
                    <a:pt x="31" y="67"/>
                  </a:lnTo>
                  <a:lnTo>
                    <a:pt x="24" y="63"/>
                  </a:lnTo>
                  <a:lnTo>
                    <a:pt x="18" y="60"/>
                  </a:lnTo>
                  <a:lnTo>
                    <a:pt x="16" y="57"/>
                  </a:lnTo>
                  <a:lnTo>
                    <a:pt x="11" y="54"/>
                  </a:lnTo>
                  <a:lnTo>
                    <a:pt x="15" y="53"/>
                  </a:lnTo>
                  <a:lnTo>
                    <a:pt x="16" y="43"/>
                  </a:lnTo>
                  <a:lnTo>
                    <a:pt x="7" y="35"/>
                  </a:lnTo>
                  <a:lnTo>
                    <a:pt x="11" y="26"/>
                  </a:lnTo>
                  <a:lnTo>
                    <a:pt x="5" y="26"/>
                  </a:lnTo>
                  <a:lnTo>
                    <a:pt x="10" y="19"/>
                  </a:lnTo>
                  <a:lnTo>
                    <a:pt x="5" y="13"/>
                  </a:lnTo>
                  <a:lnTo>
                    <a:pt x="0" y="5"/>
                  </a:lnTo>
                  <a:lnTo>
                    <a:pt x="12" y="0"/>
                  </a:lnTo>
                  <a:lnTo>
                    <a:pt x="22" y="1"/>
                  </a:lnTo>
                  <a:lnTo>
                    <a:pt x="32" y="9"/>
                  </a:lnTo>
                  <a:lnTo>
                    <a:pt x="35" y="15"/>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21" name="Freeform 184"/>
            <p:cNvSpPr>
              <a:spLocks/>
            </p:cNvSpPr>
            <p:nvPr/>
          </p:nvSpPr>
          <p:spPr bwMode="auto">
            <a:xfrm>
              <a:off x="2490787" y="3506792"/>
              <a:ext cx="119063" cy="139700"/>
            </a:xfrm>
            <a:custGeom>
              <a:avLst/>
              <a:gdLst>
                <a:gd name="T0" fmla="*/ 17 w 75"/>
                <a:gd name="T1" fmla="*/ 1 h 88"/>
                <a:gd name="T2" fmla="*/ 39 w 75"/>
                <a:gd name="T3" fmla="*/ 5 h 88"/>
                <a:gd name="T4" fmla="*/ 41 w 75"/>
                <a:gd name="T5" fmla="*/ 2 h 88"/>
                <a:gd name="T6" fmla="*/ 56 w 75"/>
                <a:gd name="T7" fmla="*/ 0 h 88"/>
                <a:gd name="T8" fmla="*/ 75 w 75"/>
                <a:gd name="T9" fmla="*/ 6 h 88"/>
                <a:gd name="T10" fmla="*/ 65 w 75"/>
                <a:gd name="T11" fmla="*/ 24 h 88"/>
                <a:gd name="T12" fmla="*/ 66 w 75"/>
                <a:gd name="T13" fmla="*/ 38 h 88"/>
                <a:gd name="T14" fmla="*/ 74 w 75"/>
                <a:gd name="T15" fmla="*/ 50 h 88"/>
                <a:gd name="T16" fmla="*/ 70 w 75"/>
                <a:gd name="T17" fmla="*/ 59 h 88"/>
                <a:gd name="T18" fmla="*/ 68 w 75"/>
                <a:gd name="T19" fmla="*/ 69 h 88"/>
                <a:gd name="T20" fmla="*/ 64 w 75"/>
                <a:gd name="T21" fmla="*/ 77 h 88"/>
                <a:gd name="T22" fmla="*/ 53 w 75"/>
                <a:gd name="T23" fmla="*/ 73 h 88"/>
                <a:gd name="T24" fmla="*/ 45 w 75"/>
                <a:gd name="T25" fmla="*/ 75 h 88"/>
                <a:gd name="T26" fmla="*/ 37 w 75"/>
                <a:gd name="T27" fmla="*/ 73 h 88"/>
                <a:gd name="T28" fmla="*/ 35 w 75"/>
                <a:gd name="T29" fmla="*/ 79 h 88"/>
                <a:gd name="T30" fmla="*/ 38 w 75"/>
                <a:gd name="T31" fmla="*/ 83 h 88"/>
                <a:gd name="T32" fmla="*/ 37 w 75"/>
                <a:gd name="T33" fmla="*/ 88 h 88"/>
                <a:gd name="T34" fmla="*/ 27 w 75"/>
                <a:gd name="T35" fmla="*/ 86 h 88"/>
                <a:gd name="T36" fmla="*/ 16 w 75"/>
                <a:gd name="T37" fmla="*/ 68 h 88"/>
                <a:gd name="T38" fmla="*/ 13 w 75"/>
                <a:gd name="T39" fmla="*/ 56 h 88"/>
                <a:gd name="T40" fmla="*/ 7 w 75"/>
                <a:gd name="T41" fmla="*/ 56 h 88"/>
                <a:gd name="T42" fmla="*/ 0 w 75"/>
                <a:gd name="T43" fmla="*/ 41 h 88"/>
                <a:gd name="T44" fmla="*/ 3 w 75"/>
                <a:gd name="T45" fmla="*/ 30 h 88"/>
                <a:gd name="T46" fmla="*/ 2 w 75"/>
                <a:gd name="T47" fmla="*/ 25 h 88"/>
                <a:gd name="T48" fmla="*/ 13 w 75"/>
                <a:gd name="T49" fmla="*/ 20 h 88"/>
                <a:gd name="T50" fmla="*/ 17 w 75"/>
                <a:gd name="T51"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88">
                  <a:moveTo>
                    <a:pt x="17" y="1"/>
                  </a:moveTo>
                  <a:lnTo>
                    <a:pt x="39" y="5"/>
                  </a:lnTo>
                  <a:lnTo>
                    <a:pt x="41" y="2"/>
                  </a:lnTo>
                  <a:lnTo>
                    <a:pt x="56" y="0"/>
                  </a:lnTo>
                  <a:lnTo>
                    <a:pt x="75" y="6"/>
                  </a:lnTo>
                  <a:lnTo>
                    <a:pt x="65" y="24"/>
                  </a:lnTo>
                  <a:lnTo>
                    <a:pt x="66" y="38"/>
                  </a:lnTo>
                  <a:lnTo>
                    <a:pt x="74" y="50"/>
                  </a:lnTo>
                  <a:lnTo>
                    <a:pt x="70" y="59"/>
                  </a:lnTo>
                  <a:lnTo>
                    <a:pt x="68" y="69"/>
                  </a:lnTo>
                  <a:lnTo>
                    <a:pt x="64" y="77"/>
                  </a:lnTo>
                  <a:lnTo>
                    <a:pt x="53" y="73"/>
                  </a:lnTo>
                  <a:lnTo>
                    <a:pt x="45" y="75"/>
                  </a:lnTo>
                  <a:lnTo>
                    <a:pt x="37" y="73"/>
                  </a:lnTo>
                  <a:lnTo>
                    <a:pt x="35" y="79"/>
                  </a:lnTo>
                  <a:lnTo>
                    <a:pt x="38" y="83"/>
                  </a:lnTo>
                  <a:lnTo>
                    <a:pt x="37" y="88"/>
                  </a:lnTo>
                  <a:lnTo>
                    <a:pt x="27" y="86"/>
                  </a:lnTo>
                  <a:lnTo>
                    <a:pt x="16" y="68"/>
                  </a:lnTo>
                  <a:lnTo>
                    <a:pt x="13" y="56"/>
                  </a:lnTo>
                  <a:lnTo>
                    <a:pt x="7" y="56"/>
                  </a:lnTo>
                  <a:lnTo>
                    <a:pt x="0" y="41"/>
                  </a:lnTo>
                  <a:lnTo>
                    <a:pt x="3" y="30"/>
                  </a:lnTo>
                  <a:lnTo>
                    <a:pt x="2" y="25"/>
                  </a:lnTo>
                  <a:lnTo>
                    <a:pt x="13" y="20"/>
                  </a:lnTo>
                  <a:lnTo>
                    <a:pt x="17" y="1"/>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22" name="Freeform 185"/>
            <p:cNvSpPr>
              <a:spLocks/>
            </p:cNvSpPr>
            <p:nvPr/>
          </p:nvSpPr>
          <p:spPr bwMode="auto">
            <a:xfrm>
              <a:off x="4614862" y="2078041"/>
              <a:ext cx="142875" cy="57150"/>
            </a:xfrm>
            <a:custGeom>
              <a:avLst/>
              <a:gdLst>
                <a:gd name="T0" fmla="*/ 29 w 90"/>
                <a:gd name="T1" fmla="*/ 1 h 36"/>
                <a:gd name="T2" fmla="*/ 30 w 90"/>
                <a:gd name="T3" fmla="*/ 3 h 36"/>
                <a:gd name="T4" fmla="*/ 37 w 90"/>
                <a:gd name="T5" fmla="*/ 0 h 36"/>
                <a:gd name="T6" fmla="*/ 45 w 90"/>
                <a:gd name="T7" fmla="*/ 7 h 36"/>
                <a:gd name="T8" fmla="*/ 54 w 90"/>
                <a:gd name="T9" fmla="*/ 3 h 36"/>
                <a:gd name="T10" fmla="*/ 62 w 90"/>
                <a:gd name="T11" fmla="*/ 4 h 36"/>
                <a:gd name="T12" fmla="*/ 74 w 90"/>
                <a:gd name="T13" fmla="*/ 2 h 36"/>
                <a:gd name="T14" fmla="*/ 90 w 90"/>
                <a:gd name="T15" fmla="*/ 10 h 36"/>
                <a:gd name="T16" fmla="*/ 86 w 90"/>
                <a:gd name="T17" fmla="*/ 15 h 36"/>
                <a:gd name="T18" fmla="*/ 84 w 90"/>
                <a:gd name="T19" fmla="*/ 23 h 36"/>
                <a:gd name="T20" fmla="*/ 81 w 90"/>
                <a:gd name="T21" fmla="*/ 25 h 36"/>
                <a:gd name="T22" fmla="*/ 63 w 90"/>
                <a:gd name="T23" fmla="*/ 19 h 36"/>
                <a:gd name="T24" fmla="*/ 57 w 90"/>
                <a:gd name="T25" fmla="*/ 20 h 36"/>
                <a:gd name="T26" fmla="*/ 54 w 90"/>
                <a:gd name="T27" fmla="*/ 25 h 36"/>
                <a:gd name="T28" fmla="*/ 47 w 90"/>
                <a:gd name="T29" fmla="*/ 27 h 36"/>
                <a:gd name="T30" fmla="*/ 45 w 90"/>
                <a:gd name="T31" fmla="*/ 26 h 36"/>
                <a:gd name="T32" fmla="*/ 37 w 90"/>
                <a:gd name="T33" fmla="*/ 29 h 36"/>
                <a:gd name="T34" fmla="*/ 31 w 90"/>
                <a:gd name="T35" fmla="*/ 30 h 36"/>
                <a:gd name="T36" fmla="*/ 30 w 90"/>
                <a:gd name="T37" fmla="*/ 34 h 36"/>
                <a:gd name="T38" fmla="*/ 17 w 90"/>
                <a:gd name="T39" fmla="*/ 36 h 36"/>
                <a:gd name="T40" fmla="*/ 11 w 90"/>
                <a:gd name="T41" fmla="*/ 34 h 36"/>
                <a:gd name="T42" fmla="*/ 2 w 90"/>
                <a:gd name="T43" fmla="*/ 29 h 36"/>
                <a:gd name="T44" fmla="*/ 0 w 90"/>
                <a:gd name="T45" fmla="*/ 22 h 36"/>
                <a:gd name="T46" fmla="*/ 1 w 90"/>
                <a:gd name="T47" fmla="*/ 19 h 36"/>
                <a:gd name="T48" fmla="*/ 2 w 90"/>
                <a:gd name="T49" fmla="*/ 15 h 36"/>
                <a:gd name="T50" fmla="*/ 10 w 90"/>
                <a:gd name="T51" fmla="*/ 15 h 36"/>
                <a:gd name="T52" fmla="*/ 15 w 90"/>
                <a:gd name="T53" fmla="*/ 13 h 36"/>
                <a:gd name="T54" fmla="*/ 15 w 90"/>
                <a:gd name="T55" fmla="*/ 11 h 36"/>
                <a:gd name="T56" fmla="*/ 18 w 90"/>
                <a:gd name="T57" fmla="*/ 10 h 36"/>
                <a:gd name="T58" fmla="*/ 19 w 90"/>
                <a:gd name="T59" fmla="*/ 6 h 36"/>
                <a:gd name="T60" fmla="*/ 22 w 90"/>
                <a:gd name="T61" fmla="*/ 5 h 36"/>
                <a:gd name="T62" fmla="*/ 25 w 90"/>
                <a:gd name="T63" fmla="*/ 1 h 36"/>
                <a:gd name="T64" fmla="*/ 29 w 90"/>
                <a:gd name="T65"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36">
                  <a:moveTo>
                    <a:pt x="29" y="1"/>
                  </a:moveTo>
                  <a:lnTo>
                    <a:pt x="30" y="3"/>
                  </a:lnTo>
                  <a:lnTo>
                    <a:pt x="37" y="0"/>
                  </a:lnTo>
                  <a:lnTo>
                    <a:pt x="45" y="7"/>
                  </a:lnTo>
                  <a:lnTo>
                    <a:pt x="54" y="3"/>
                  </a:lnTo>
                  <a:lnTo>
                    <a:pt x="62" y="4"/>
                  </a:lnTo>
                  <a:lnTo>
                    <a:pt x="74" y="2"/>
                  </a:lnTo>
                  <a:lnTo>
                    <a:pt x="90" y="10"/>
                  </a:lnTo>
                  <a:lnTo>
                    <a:pt x="86" y="15"/>
                  </a:lnTo>
                  <a:lnTo>
                    <a:pt x="84" y="23"/>
                  </a:lnTo>
                  <a:lnTo>
                    <a:pt x="81" y="25"/>
                  </a:lnTo>
                  <a:lnTo>
                    <a:pt x="63" y="19"/>
                  </a:lnTo>
                  <a:lnTo>
                    <a:pt x="57" y="20"/>
                  </a:lnTo>
                  <a:lnTo>
                    <a:pt x="54" y="25"/>
                  </a:lnTo>
                  <a:lnTo>
                    <a:pt x="47" y="27"/>
                  </a:lnTo>
                  <a:lnTo>
                    <a:pt x="45" y="26"/>
                  </a:lnTo>
                  <a:lnTo>
                    <a:pt x="37" y="29"/>
                  </a:lnTo>
                  <a:lnTo>
                    <a:pt x="31" y="30"/>
                  </a:lnTo>
                  <a:lnTo>
                    <a:pt x="30" y="34"/>
                  </a:lnTo>
                  <a:lnTo>
                    <a:pt x="17" y="36"/>
                  </a:lnTo>
                  <a:lnTo>
                    <a:pt x="11" y="34"/>
                  </a:lnTo>
                  <a:lnTo>
                    <a:pt x="2" y="29"/>
                  </a:lnTo>
                  <a:lnTo>
                    <a:pt x="0" y="22"/>
                  </a:lnTo>
                  <a:lnTo>
                    <a:pt x="1" y="19"/>
                  </a:lnTo>
                  <a:lnTo>
                    <a:pt x="2" y="15"/>
                  </a:lnTo>
                  <a:lnTo>
                    <a:pt x="10" y="15"/>
                  </a:lnTo>
                  <a:lnTo>
                    <a:pt x="15" y="13"/>
                  </a:lnTo>
                  <a:lnTo>
                    <a:pt x="15" y="11"/>
                  </a:lnTo>
                  <a:lnTo>
                    <a:pt x="18" y="10"/>
                  </a:lnTo>
                  <a:lnTo>
                    <a:pt x="19" y="6"/>
                  </a:lnTo>
                  <a:lnTo>
                    <a:pt x="22" y="5"/>
                  </a:lnTo>
                  <a:lnTo>
                    <a:pt x="25" y="1"/>
                  </a:lnTo>
                  <a:lnTo>
                    <a:pt x="29" y="1"/>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23" name="Freeform 186"/>
            <p:cNvSpPr>
              <a:spLocks/>
            </p:cNvSpPr>
            <p:nvPr/>
          </p:nvSpPr>
          <p:spPr bwMode="auto">
            <a:xfrm>
              <a:off x="4538662" y="2165354"/>
              <a:ext cx="73025" cy="46038"/>
            </a:xfrm>
            <a:custGeom>
              <a:avLst/>
              <a:gdLst>
                <a:gd name="T0" fmla="*/ 1 w 46"/>
                <a:gd name="T1" fmla="*/ 7 h 29"/>
                <a:gd name="T2" fmla="*/ 15 w 46"/>
                <a:gd name="T3" fmla="*/ 9 h 29"/>
                <a:gd name="T4" fmla="*/ 22 w 46"/>
                <a:gd name="T5" fmla="*/ 4 h 29"/>
                <a:gd name="T6" fmla="*/ 37 w 46"/>
                <a:gd name="T7" fmla="*/ 3 h 29"/>
                <a:gd name="T8" fmla="*/ 39 w 46"/>
                <a:gd name="T9" fmla="*/ 0 h 29"/>
                <a:gd name="T10" fmla="*/ 42 w 46"/>
                <a:gd name="T11" fmla="*/ 0 h 29"/>
                <a:gd name="T12" fmla="*/ 46 w 46"/>
                <a:gd name="T13" fmla="*/ 7 h 29"/>
                <a:gd name="T14" fmla="*/ 33 w 46"/>
                <a:gd name="T15" fmla="*/ 12 h 29"/>
                <a:gd name="T16" fmla="*/ 32 w 46"/>
                <a:gd name="T17" fmla="*/ 21 h 29"/>
                <a:gd name="T18" fmla="*/ 27 w 46"/>
                <a:gd name="T19" fmla="*/ 23 h 29"/>
                <a:gd name="T20" fmla="*/ 27 w 46"/>
                <a:gd name="T21" fmla="*/ 29 h 29"/>
                <a:gd name="T22" fmla="*/ 21 w 46"/>
                <a:gd name="T23" fmla="*/ 28 h 29"/>
                <a:gd name="T24" fmla="*/ 15 w 46"/>
                <a:gd name="T25" fmla="*/ 25 h 29"/>
                <a:gd name="T26" fmla="*/ 12 w 46"/>
                <a:gd name="T27" fmla="*/ 28 h 29"/>
                <a:gd name="T28" fmla="*/ 1 w 46"/>
                <a:gd name="T29" fmla="*/ 28 h 29"/>
                <a:gd name="T30" fmla="*/ 4 w 46"/>
                <a:gd name="T31" fmla="*/ 26 h 29"/>
                <a:gd name="T32" fmla="*/ 0 w 46"/>
                <a:gd name="T33" fmla="*/ 17 h 29"/>
                <a:gd name="T34" fmla="*/ 1 w 46"/>
                <a:gd name="T35"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29">
                  <a:moveTo>
                    <a:pt x="1" y="7"/>
                  </a:moveTo>
                  <a:lnTo>
                    <a:pt x="15" y="9"/>
                  </a:lnTo>
                  <a:lnTo>
                    <a:pt x="22" y="4"/>
                  </a:lnTo>
                  <a:lnTo>
                    <a:pt x="37" y="3"/>
                  </a:lnTo>
                  <a:lnTo>
                    <a:pt x="39" y="0"/>
                  </a:lnTo>
                  <a:lnTo>
                    <a:pt x="42" y="0"/>
                  </a:lnTo>
                  <a:lnTo>
                    <a:pt x="46" y="7"/>
                  </a:lnTo>
                  <a:lnTo>
                    <a:pt x="33" y="12"/>
                  </a:lnTo>
                  <a:lnTo>
                    <a:pt x="32" y="21"/>
                  </a:lnTo>
                  <a:lnTo>
                    <a:pt x="27" y="23"/>
                  </a:lnTo>
                  <a:lnTo>
                    <a:pt x="27" y="29"/>
                  </a:lnTo>
                  <a:lnTo>
                    <a:pt x="21" y="28"/>
                  </a:lnTo>
                  <a:lnTo>
                    <a:pt x="15" y="25"/>
                  </a:lnTo>
                  <a:lnTo>
                    <a:pt x="12" y="28"/>
                  </a:lnTo>
                  <a:lnTo>
                    <a:pt x="1" y="28"/>
                  </a:lnTo>
                  <a:lnTo>
                    <a:pt x="4" y="26"/>
                  </a:lnTo>
                  <a:lnTo>
                    <a:pt x="0" y="17"/>
                  </a:lnTo>
                  <a:lnTo>
                    <a:pt x="1" y="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24" name="Freeform 187"/>
            <p:cNvSpPr>
              <a:spLocks/>
            </p:cNvSpPr>
            <p:nvPr/>
          </p:nvSpPr>
          <p:spPr bwMode="auto">
            <a:xfrm>
              <a:off x="4441825" y="1482729"/>
              <a:ext cx="263525" cy="411163"/>
            </a:xfrm>
            <a:custGeom>
              <a:avLst/>
              <a:gdLst>
                <a:gd name="T0" fmla="*/ 144 w 166"/>
                <a:gd name="T1" fmla="*/ 61 h 259"/>
                <a:gd name="T2" fmla="*/ 132 w 166"/>
                <a:gd name="T3" fmla="*/ 73 h 259"/>
                <a:gd name="T4" fmla="*/ 137 w 166"/>
                <a:gd name="T5" fmla="*/ 84 h 259"/>
                <a:gd name="T6" fmla="*/ 117 w 166"/>
                <a:gd name="T7" fmla="*/ 100 h 259"/>
                <a:gd name="T8" fmla="*/ 92 w 166"/>
                <a:gd name="T9" fmla="*/ 116 h 259"/>
                <a:gd name="T10" fmla="*/ 85 w 166"/>
                <a:gd name="T11" fmla="*/ 142 h 259"/>
                <a:gd name="T12" fmla="*/ 97 w 166"/>
                <a:gd name="T13" fmla="*/ 156 h 259"/>
                <a:gd name="T14" fmla="*/ 112 w 166"/>
                <a:gd name="T15" fmla="*/ 166 h 259"/>
                <a:gd name="T16" fmla="*/ 102 w 166"/>
                <a:gd name="T17" fmla="*/ 188 h 259"/>
                <a:gd name="T18" fmla="*/ 87 w 166"/>
                <a:gd name="T19" fmla="*/ 193 h 259"/>
                <a:gd name="T20" fmla="*/ 85 w 166"/>
                <a:gd name="T21" fmla="*/ 226 h 259"/>
                <a:gd name="T22" fmla="*/ 78 w 166"/>
                <a:gd name="T23" fmla="*/ 244 h 259"/>
                <a:gd name="T24" fmla="*/ 59 w 166"/>
                <a:gd name="T25" fmla="*/ 242 h 259"/>
                <a:gd name="T26" fmla="*/ 52 w 166"/>
                <a:gd name="T27" fmla="*/ 258 h 259"/>
                <a:gd name="T28" fmla="*/ 35 w 166"/>
                <a:gd name="T29" fmla="*/ 259 h 259"/>
                <a:gd name="T30" fmla="*/ 28 w 166"/>
                <a:gd name="T31" fmla="*/ 240 h 259"/>
                <a:gd name="T32" fmla="*/ 14 w 166"/>
                <a:gd name="T33" fmla="*/ 218 h 259"/>
                <a:gd name="T34" fmla="*/ 0 w 166"/>
                <a:gd name="T35" fmla="*/ 190 h 259"/>
                <a:gd name="T36" fmla="*/ 6 w 166"/>
                <a:gd name="T37" fmla="*/ 179 h 259"/>
                <a:gd name="T38" fmla="*/ 17 w 166"/>
                <a:gd name="T39" fmla="*/ 166 h 259"/>
                <a:gd name="T40" fmla="*/ 20 w 166"/>
                <a:gd name="T41" fmla="*/ 143 h 259"/>
                <a:gd name="T42" fmla="*/ 10 w 166"/>
                <a:gd name="T43" fmla="*/ 134 h 259"/>
                <a:gd name="T44" fmla="*/ 6 w 166"/>
                <a:gd name="T45" fmla="*/ 109 h 259"/>
                <a:gd name="T46" fmla="*/ 14 w 166"/>
                <a:gd name="T47" fmla="*/ 91 h 259"/>
                <a:gd name="T48" fmla="*/ 28 w 166"/>
                <a:gd name="T49" fmla="*/ 91 h 259"/>
                <a:gd name="T50" fmla="*/ 32 w 166"/>
                <a:gd name="T51" fmla="*/ 84 h 259"/>
                <a:gd name="T52" fmla="*/ 26 w 166"/>
                <a:gd name="T53" fmla="*/ 78 h 259"/>
                <a:gd name="T54" fmla="*/ 45 w 166"/>
                <a:gd name="T55" fmla="*/ 52 h 259"/>
                <a:gd name="T56" fmla="*/ 56 w 166"/>
                <a:gd name="T57" fmla="*/ 32 h 259"/>
                <a:gd name="T58" fmla="*/ 63 w 166"/>
                <a:gd name="T59" fmla="*/ 19 h 259"/>
                <a:gd name="T60" fmla="*/ 76 w 166"/>
                <a:gd name="T61" fmla="*/ 19 h 259"/>
                <a:gd name="T62" fmla="*/ 78 w 166"/>
                <a:gd name="T63" fmla="*/ 9 h 259"/>
                <a:gd name="T64" fmla="*/ 103 w 166"/>
                <a:gd name="T65" fmla="*/ 12 h 259"/>
                <a:gd name="T66" fmla="*/ 103 w 166"/>
                <a:gd name="T67" fmla="*/ 1 h 259"/>
                <a:gd name="T68" fmla="*/ 111 w 166"/>
                <a:gd name="T69" fmla="*/ 0 h 259"/>
                <a:gd name="T70" fmla="*/ 131 w 166"/>
                <a:gd name="T71" fmla="*/ 9 h 259"/>
                <a:gd name="T72" fmla="*/ 154 w 166"/>
                <a:gd name="T73" fmla="*/ 21 h 259"/>
                <a:gd name="T74" fmla="*/ 160 w 166"/>
                <a:gd name="T75" fmla="*/ 48 h 259"/>
                <a:gd name="T76" fmla="*/ 166 w 166"/>
                <a:gd name="T77" fmla="*/ 55 h 259"/>
                <a:gd name="T78" fmla="*/ 144 w 166"/>
                <a:gd name="T79" fmla="*/ 6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259">
                  <a:moveTo>
                    <a:pt x="144" y="61"/>
                  </a:moveTo>
                  <a:lnTo>
                    <a:pt x="132" y="73"/>
                  </a:lnTo>
                  <a:lnTo>
                    <a:pt x="137" y="84"/>
                  </a:lnTo>
                  <a:lnTo>
                    <a:pt x="117" y="100"/>
                  </a:lnTo>
                  <a:lnTo>
                    <a:pt x="92" y="116"/>
                  </a:lnTo>
                  <a:lnTo>
                    <a:pt x="85" y="142"/>
                  </a:lnTo>
                  <a:lnTo>
                    <a:pt x="97" y="156"/>
                  </a:lnTo>
                  <a:lnTo>
                    <a:pt x="112" y="166"/>
                  </a:lnTo>
                  <a:lnTo>
                    <a:pt x="102" y="188"/>
                  </a:lnTo>
                  <a:lnTo>
                    <a:pt x="87" y="193"/>
                  </a:lnTo>
                  <a:lnTo>
                    <a:pt x="85" y="226"/>
                  </a:lnTo>
                  <a:lnTo>
                    <a:pt x="78" y="244"/>
                  </a:lnTo>
                  <a:lnTo>
                    <a:pt x="59" y="242"/>
                  </a:lnTo>
                  <a:lnTo>
                    <a:pt x="52" y="258"/>
                  </a:lnTo>
                  <a:lnTo>
                    <a:pt x="35" y="259"/>
                  </a:lnTo>
                  <a:lnTo>
                    <a:pt x="28" y="240"/>
                  </a:lnTo>
                  <a:lnTo>
                    <a:pt x="14" y="218"/>
                  </a:lnTo>
                  <a:lnTo>
                    <a:pt x="0" y="190"/>
                  </a:lnTo>
                  <a:lnTo>
                    <a:pt x="6" y="179"/>
                  </a:lnTo>
                  <a:lnTo>
                    <a:pt x="17" y="166"/>
                  </a:lnTo>
                  <a:lnTo>
                    <a:pt x="20" y="143"/>
                  </a:lnTo>
                  <a:lnTo>
                    <a:pt x="10" y="134"/>
                  </a:lnTo>
                  <a:lnTo>
                    <a:pt x="6" y="109"/>
                  </a:lnTo>
                  <a:lnTo>
                    <a:pt x="14" y="91"/>
                  </a:lnTo>
                  <a:lnTo>
                    <a:pt x="28" y="91"/>
                  </a:lnTo>
                  <a:lnTo>
                    <a:pt x="32" y="84"/>
                  </a:lnTo>
                  <a:lnTo>
                    <a:pt x="26" y="78"/>
                  </a:lnTo>
                  <a:lnTo>
                    <a:pt x="45" y="52"/>
                  </a:lnTo>
                  <a:lnTo>
                    <a:pt x="56" y="32"/>
                  </a:lnTo>
                  <a:lnTo>
                    <a:pt x="63" y="19"/>
                  </a:lnTo>
                  <a:lnTo>
                    <a:pt x="76" y="19"/>
                  </a:lnTo>
                  <a:lnTo>
                    <a:pt x="78" y="9"/>
                  </a:lnTo>
                  <a:lnTo>
                    <a:pt x="103" y="12"/>
                  </a:lnTo>
                  <a:lnTo>
                    <a:pt x="103" y="1"/>
                  </a:lnTo>
                  <a:lnTo>
                    <a:pt x="111" y="0"/>
                  </a:lnTo>
                  <a:lnTo>
                    <a:pt x="131" y="9"/>
                  </a:lnTo>
                  <a:lnTo>
                    <a:pt x="154" y="21"/>
                  </a:lnTo>
                  <a:lnTo>
                    <a:pt x="160" y="48"/>
                  </a:lnTo>
                  <a:lnTo>
                    <a:pt x="166" y="55"/>
                  </a:lnTo>
                  <a:lnTo>
                    <a:pt x="144" y="61"/>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25" name="Freeform 188"/>
            <p:cNvSpPr>
              <a:spLocks/>
            </p:cNvSpPr>
            <p:nvPr/>
          </p:nvSpPr>
          <p:spPr bwMode="auto">
            <a:xfrm>
              <a:off x="5048250" y="4551367"/>
              <a:ext cx="38100" cy="53975"/>
            </a:xfrm>
            <a:custGeom>
              <a:avLst/>
              <a:gdLst>
                <a:gd name="T0" fmla="*/ 24 w 24"/>
                <a:gd name="T1" fmla="*/ 23 h 34"/>
                <a:gd name="T2" fmla="*/ 20 w 24"/>
                <a:gd name="T3" fmla="*/ 32 h 34"/>
                <a:gd name="T4" fmla="*/ 10 w 24"/>
                <a:gd name="T5" fmla="*/ 34 h 34"/>
                <a:gd name="T6" fmla="*/ 0 w 24"/>
                <a:gd name="T7" fmla="*/ 23 h 34"/>
                <a:gd name="T8" fmla="*/ 0 w 24"/>
                <a:gd name="T9" fmla="*/ 16 h 34"/>
                <a:gd name="T10" fmla="*/ 6 w 24"/>
                <a:gd name="T11" fmla="*/ 8 h 34"/>
                <a:gd name="T12" fmla="*/ 8 w 24"/>
                <a:gd name="T13" fmla="*/ 2 h 34"/>
                <a:gd name="T14" fmla="*/ 13 w 24"/>
                <a:gd name="T15" fmla="*/ 0 h 34"/>
                <a:gd name="T16" fmla="*/ 22 w 24"/>
                <a:gd name="T17" fmla="*/ 4 h 34"/>
                <a:gd name="T18" fmla="*/ 24 w 24"/>
                <a:gd name="T19" fmla="*/ 14 h 34"/>
                <a:gd name="T20" fmla="*/ 24 w 24"/>
                <a:gd name="T21"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4">
                  <a:moveTo>
                    <a:pt x="24" y="23"/>
                  </a:moveTo>
                  <a:lnTo>
                    <a:pt x="20" y="32"/>
                  </a:lnTo>
                  <a:lnTo>
                    <a:pt x="10" y="34"/>
                  </a:lnTo>
                  <a:lnTo>
                    <a:pt x="0" y="23"/>
                  </a:lnTo>
                  <a:lnTo>
                    <a:pt x="0" y="16"/>
                  </a:lnTo>
                  <a:lnTo>
                    <a:pt x="6" y="8"/>
                  </a:lnTo>
                  <a:lnTo>
                    <a:pt x="8" y="2"/>
                  </a:lnTo>
                  <a:lnTo>
                    <a:pt x="13" y="0"/>
                  </a:lnTo>
                  <a:lnTo>
                    <a:pt x="22" y="4"/>
                  </a:lnTo>
                  <a:lnTo>
                    <a:pt x="24" y="14"/>
                  </a:lnTo>
                  <a:lnTo>
                    <a:pt x="24" y="23"/>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26" name="Freeform 189"/>
            <p:cNvSpPr>
              <a:spLocks/>
            </p:cNvSpPr>
            <p:nvPr/>
          </p:nvSpPr>
          <p:spPr bwMode="auto">
            <a:xfrm>
              <a:off x="5165725" y="2479679"/>
              <a:ext cx="168275" cy="160338"/>
            </a:xfrm>
            <a:custGeom>
              <a:avLst/>
              <a:gdLst>
                <a:gd name="T0" fmla="*/ 56 w 106"/>
                <a:gd name="T1" fmla="*/ 79 h 101"/>
                <a:gd name="T2" fmla="*/ 24 w 106"/>
                <a:gd name="T3" fmla="*/ 101 h 101"/>
                <a:gd name="T4" fmla="*/ 4 w 106"/>
                <a:gd name="T5" fmla="*/ 93 h 101"/>
                <a:gd name="T6" fmla="*/ 3 w 106"/>
                <a:gd name="T7" fmla="*/ 93 h 101"/>
                <a:gd name="T8" fmla="*/ 5 w 106"/>
                <a:gd name="T9" fmla="*/ 90 h 101"/>
                <a:gd name="T10" fmla="*/ 4 w 106"/>
                <a:gd name="T11" fmla="*/ 81 h 101"/>
                <a:gd name="T12" fmla="*/ 7 w 106"/>
                <a:gd name="T13" fmla="*/ 70 h 101"/>
                <a:gd name="T14" fmla="*/ 16 w 106"/>
                <a:gd name="T15" fmla="*/ 62 h 101"/>
                <a:gd name="T16" fmla="*/ 12 w 106"/>
                <a:gd name="T17" fmla="*/ 54 h 101"/>
                <a:gd name="T18" fmla="*/ 4 w 106"/>
                <a:gd name="T19" fmla="*/ 53 h 101"/>
                <a:gd name="T20" fmla="*/ 0 w 106"/>
                <a:gd name="T21" fmla="*/ 37 h 101"/>
                <a:gd name="T22" fmla="*/ 4 w 106"/>
                <a:gd name="T23" fmla="*/ 29 h 101"/>
                <a:gd name="T24" fmla="*/ 8 w 106"/>
                <a:gd name="T25" fmla="*/ 24 h 101"/>
                <a:gd name="T26" fmla="*/ 12 w 106"/>
                <a:gd name="T27" fmla="*/ 20 h 101"/>
                <a:gd name="T28" fmla="*/ 11 w 106"/>
                <a:gd name="T29" fmla="*/ 8 h 101"/>
                <a:gd name="T30" fmla="*/ 17 w 106"/>
                <a:gd name="T31" fmla="*/ 12 h 101"/>
                <a:gd name="T32" fmla="*/ 36 w 106"/>
                <a:gd name="T33" fmla="*/ 6 h 101"/>
                <a:gd name="T34" fmla="*/ 45 w 106"/>
                <a:gd name="T35" fmla="*/ 10 h 101"/>
                <a:gd name="T36" fmla="*/ 59 w 106"/>
                <a:gd name="T37" fmla="*/ 10 h 101"/>
                <a:gd name="T38" fmla="*/ 78 w 106"/>
                <a:gd name="T39" fmla="*/ 3 h 101"/>
                <a:gd name="T40" fmla="*/ 87 w 106"/>
                <a:gd name="T41" fmla="*/ 3 h 101"/>
                <a:gd name="T42" fmla="*/ 106 w 106"/>
                <a:gd name="T43" fmla="*/ 0 h 101"/>
                <a:gd name="T44" fmla="*/ 99 w 106"/>
                <a:gd name="T45" fmla="*/ 13 h 101"/>
                <a:gd name="T46" fmla="*/ 91 w 106"/>
                <a:gd name="T47" fmla="*/ 18 h 101"/>
                <a:gd name="T48" fmla="*/ 94 w 106"/>
                <a:gd name="T49" fmla="*/ 33 h 101"/>
                <a:gd name="T50" fmla="*/ 91 w 106"/>
                <a:gd name="T51" fmla="*/ 58 h 101"/>
                <a:gd name="T52" fmla="*/ 56 w 106"/>
                <a:gd name="T53" fmla="*/ 7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 h="101">
                  <a:moveTo>
                    <a:pt x="56" y="79"/>
                  </a:moveTo>
                  <a:lnTo>
                    <a:pt x="24" y="101"/>
                  </a:lnTo>
                  <a:lnTo>
                    <a:pt x="4" y="93"/>
                  </a:lnTo>
                  <a:lnTo>
                    <a:pt x="3" y="93"/>
                  </a:lnTo>
                  <a:lnTo>
                    <a:pt x="5" y="90"/>
                  </a:lnTo>
                  <a:lnTo>
                    <a:pt x="4" y="81"/>
                  </a:lnTo>
                  <a:lnTo>
                    <a:pt x="7" y="70"/>
                  </a:lnTo>
                  <a:lnTo>
                    <a:pt x="16" y="62"/>
                  </a:lnTo>
                  <a:lnTo>
                    <a:pt x="12" y="54"/>
                  </a:lnTo>
                  <a:lnTo>
                    <a:pt x="4" y="53"/>
                  </a:lnTo>
                  <a:lnTo>
                    <a:pt x="0" y="37"/>
                  </a:lnTo>
                  <a:lnTo>
                    <a:pt x="4" y="29"/>
                  </a:lnTo>
                  <a:lnTo>
                    <a:pt x="8" y="24"/>
                  </a:lnTo>
                  <a:lnTo>
                    <a:pt x="12" y="20"/>
                  </a:lnTo>
                  <a:lnTo>
                    <a:pt x="11" y="8"/>
                  </a:lnTo>
                  <a:lnTo>
                    <a:pt x="17" y="12"/>
                  </a:lnTo>
                  <a:lnTo>
                    <a:pt x="36" y="6"/>
                  </a:lnTo>
                  <a:lnTo>
                    <a:pt x="45" y="10"/>
                  </a:lnTo>
                  <a:lnTo>
                    <a:pt x="59" y="10"/>
                  </a:lnTo>
                  <a:lnTo>
                    <a:pt x="78" y="3"/>
                  </a:lnTo>
                  <a:lnTo>
                    <a:pt x="87" y="3"/>
                  </a:lnTo>
                  <a:lnTo>
                    <a:pt x="106" y="0"/>
                  </a:lnTo>
                  <a:lnTo>
                    <a:pt x="99" y="13"/>
                  </a:lnTo>
                  <a:lnTo>
                    <a:pt x="91" y="18"/>
                  </a:lnTo>
                  <a:lnTo>
                    <a:pt x="94" y="33"/>
                  </a:lnTo>
                  <a:lnTo>
                    <a:pt x="91" y="58"/>
                  </a:lnTo>
                  <a:lnTo>
                    <a:pt x="56" y="7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27" name="Freeform 190"/>
            <p:cNvSpPr>
              <a:spLocks/>
            </p:cNvSpPr>
            <p:nvPr/>
          </p:nvSpPr>
          <p:spPr bwMode="auto">
            <a:xfrm>
              <a:off x="4573587" y="2933704"/>
              <a:ext cx="298450" cy="527050"/>
            </a:xfrm>
            <a:custGeom>
              <a:avLst/>
              <a:gdLst>
                <a:gd name="T0" fmla="*/ 18 w 188"/>
                <a:gd name="T1" fmla="*/ 219 h 332"/>
                <a:gd name="T2" fmla="*/ 19 w 188"/>
                <a:gd name="T3" fmla="*/ 209 h 332"/>
                <a:gd name="T4" fmla="*/ 8 w 188"/>
                <a:gd name="T5" fmla="*/ 209 h 332"/>
                <a:gd name="T6" fmla="*/ 8 w 188"/>
                <a:gd name="T7" fmla="*/ 196 h 332"/>
                <a:gd name="T8" fmla="*/ 0 w 188"/>
                <a:gd name="T9" fmla="*/ 188 h 332"/>
                <a:gd name="T10" fmla="*/ 7 w 188"/>
                <a:gd name="T11" fmla="*/ 161 h 332"/>
                <a:gd name="T12" fmla="*/ 30 w 188"/>
                <a:gd name="T13" fmla="*/ 141 h 332"/>
                <a:gd name="T14" fmla="*/ 30 w 188"/>
                <a:gd name="T15" fmla="*/ 114 h 332"/>
                <a:gd name="T16" fmla="*/ 37 w 188"/>
                <a:gd name="T17" fmla="*/ 72 h 332"/>
                <a:gd name="T18" fmla="*/ 40 w 188"/>
                <a:gd name="T19" fmla="*/ 63 h 332"/>
                <a:gd name="T20" fmla="*/ 33 w 188"/>
                <a:gd name="T21" fmla="*/ 56 h 332"/>
                <a:gd name="T22" fmla="*/ 32 w 188"/>
                <a:gd name="T23" fmla="*/ 49 h 332"/>
                <a:gd name="T24" fmla="*/ 25 w 188"/>
                <a:gd name="T25" fmla="*/ 44 h 332"/>
                <a:gd name="T26" fmla="*/ 20 w 188"/>
                <a:gd name="T27" fmla="*/ 11 h 332"/>
                <a:gd name="T28" fmla="*/ 38 w 188"/>
                <a:gd name="T29" fmla="*/ 0 h 332"/>
                <a:gd name="T30" fmla="*/ 111 w 188"/>
                <a:gd name="T31" fmla="*/ 40 h 332"/>
                <a:gd name="T32" fmla="*/ 184 w 188"/>
                <a:gd name="T33" fmla="*/ 80 h 332"/>
                <a:gd name="T34" fmla="*/ 188 w 188"/>
                <a:gd name="T35" fmla="*/ 162 h 332"/>
                <a:gd name="T36" fmla="*/ 172 w 188"/>
                <a:gd name="T37" fmla="*/ 161 h 332"/>
                <a:gd name="T38" fmla="*/ 164 w 188"/>
                <a:gd name="T39" fmla="*/ 176 h 332"/>
                <a:gd name="T40" fmla="*/ 160 w 188"/>
                <a:gd name="T41" fmla="*/ 189 h 332"/>
                <a:gd name="T42" fmla="*/ 163 w 188"/>
                <a:gd name="T43" fmla="*/ 194 h 332"/>
                <a:gd name="T44" fmla="*/ 158 w 188"/>
                <a:gd name="T45" fmla="*/ 200 h 332"/>
                <a:gd name="T46" fmla="*/ 160 w 188"/>
                <a:gd name="T47" fmla="*/ 209 h 332"/>
                <a:gd name="T48" fmla="*/ 155 w 188"/>
                <a:gd name="T49" fmla="*/ 217 h 332"/>
                <a:gd name="T50" fmla="*/ 154 w 188"/>
                <a:gd name="T51" fmla="*/ 225 h 332"/>
                <a:gd name="T52" fmla="*/ 160 w 188"/>
                <a:gd name="T53" fmla="*/ 224 h 332"/>
                <a:gd name="T54" fmla="*/ 164 w 188"/>
                <a:gd name="T55" fmla="*/ 232 h 332"/>
                <a:gd name="T56" fmla="*/ 164 w 188"/>
                <a:gd name="T57" fmla="*/ 244 h 332"/>
                <a:gd name="T58" fmla="*/ 171 w 188"/>
                <a:gd name="T59" fmla="*/ 250 h 332"/>
                <a:gd name="T60" fmla="*/ 171 w 188"/>
                <a:gd name="T61" fmla="*/ 255 h 332"/>
                <a:gd name="T62" fmla="*/ 160 w 188"/>
                <a:gd name="T63" fmla="*/ 258 h 332"/>
                <a:gd name="T64" fmla="*/ 151 w 188"/>
                <a:gd name="T65" fmla="*/ 267 h 332"/>
                <a:gd name="T66" fmla="*/ 138 w 188"/>
                <a:gd name="T67" fmla="*/ 290 h 332"/>
                <a:gd name="T68" fmla="*/ 121 w 188"/>
                <a:gd name="T69" fmla="*/ 299 h 332"/>
                <a:gd name="T70" fmla="*/ 103 w 188"/>
                <a:gd name="T71" fmla="*/ 298 h 332"/>
                <a:gd name="T72" fmla="*/ 98 w 188"/>
                <a:gd name="T73" fmla="*/ 300 h 332"/>
                <a:gd name="T74" fmla="*/ 100 w 188"/>
                <a:gd name="T75" fmla="*/ 307 h 332"/>
                <a:gd name="T76" fmla="*/ 90 w 188"/>
                <a:gd name="T77" fmla="*/ 314 h 332"/>
                <a:gd name="T78" fmla="*/ 83 w 188"/>
                <a:gd name="T79" fmla="*/ 323 h 332"/>
                <a:gd name="T80" fmla="*/ 59 w 188"/>
                <a:gd name="T81" fmla="*/ 330 h 332"/>
                <a:gd name="T82" fmla="*/ 55 w 188"/>
                <a:gd name="T83" fmla="*/ 326 h 332"/>
                <a:gd name="T84" fmla="*/ 52 w 188"/>
                <a:gd name="T85" fmla="*/ 325 h 332"/>
                <a:gd name="T86" fmla="*/ 48 w 188"/>
                <a:gd name="T87" fmla="*/ 331 h 332"/>
                <a:gd name="T88" fmla="*/ 33 w 188"/>
                <a:gd name="T89" fmla="*/ 332 h 332"/>
                <a:gd name="T90" fmla="*/ 36 w 188"/>
                <a:gd name="T91" fmla="*/ 326 h 332"/>
                <a:gd name="T92" fmla="*/ 30 w 188"/>
                <a:gd name="T93" fmla="*/ 312 h 332"/>
                <a:gd name="T94" fmla="*/ 28 w 188"/>
                <a:gd name="T95" fmla="*/ 304 h 332"/>
                <a:gd name="T96" fmla="*/ 20 w 188"/>
                <a:gd name="T97" fmla="*/ 300 h 332"/>
                <a:gd name="T98" fmla="*/ 9 w 188"/>
                <a:gd name="T99" fmla="*/ 288 h 332"/>
                <a:gd name="T100" fmla="*/ 13 w 188"/>
                <a:gd name="T101" fmla="*/ 278 h 332"/>
                <a:gd name="T102" fmla="*/ 21 w 188"/>
                <a:gd name="T103" fmla="*/ 280 h 332"/>
                <a:gd name="T104" fmla="*/ 26 w 188"/>
                <a:gd name="T105" fmla="*/ 279 h 332"/>
                <a:gd name="T106" fmla="*/ 36 w 188"/>
                <a:gd name="T107" fmla="*/ 279 h 332"/>
                <a:gd name="T108" fmla="*/ 26 w 188"/>
                <a:gd name="T109" fmla="*/ 260 h 332"/>
                <a:gd name="T110" fmla="*/ 27 w 188"/>
                <a:gd name="T111" fmla="*/ 246 h 332"/>
                <a:gd name="T112" fmla="*/ 25 w 188"/>
                <a:gd name="T113" fmla="*/ 233 h 332"/>
                <a:gd name="T114" fmla="*/ 18 w 188"/>
                <a:gd name="T115"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8" h="332">
                  <a:moveTo>
                    <a:pt x="18" y="219"/>
                  </a:moveTo>
                  <a:lnTo>
                    <a:pt x="19" y="209"/>
                  </a:lnTo>
                  <a:lnTo>
                    <a:pt x="8" y="209"/>
                  </a:lnTo>
                  <a:lnTo>
                    <a:pt x="8" y="196"/>
                  </a:lnTo>
                  <a:lnTo>
                    <a:pt x="0" y="188"/>
                  </a:lnTo>
                  <a:lnTo>
                    <a:pt x="7" y="161"/>
                  </a:lnTo>
                  <a:lnTo>
                    <a:pt x="30" y="141"/>
                  </a:lnTo>
                  <a:lnTo>
                    <a:pt x="30" y="114"/>
                  </a:lnTo>
                  <a:lnTo>
                    <a:pt x="37" y="72"/>
                  </a:lnTo>
                  <a:lnTo>
                    <a:pt x="40" y="63"/>
                  </a:lnTo>
                  <a:lnTo>
                    <a:pt x="33" y="56"/>
                  </a:lnTo>
                  <a:lnTo>
                    <a:pt x="32" y="49"/>
                  </a:lnTo>
                  <a:lnTo>
                    <a:pt x="25" y="44"/>
                  </a:lnTo>
                  <a:lnTo>
                    <a:pt x="20" y="11"/>
                  </a:lnTo>
                  <a:lnTo>
                    <a:pt x="38" y="0"/>
                  </a:lnTo>
                  <a:lnTo>
                    <a:pt x="111" y="40"/>
                  </a:lnTo>
                  <a:lnTo>
                    <a:pt x="184" y="80"/>
                  </a:lnTo>
                  <a:lnTo>
                    <a:pt x="188" y="162"/>
                  </a:lnTo>
                  <a:lnTo>
                    <a:pt x="172" y="161"/>
                  </a:lnTo>
                  <a:lnTo>
                    <a:pt x="164" y="176"/>
                  </a:lnTo>
                  <a:lnTo>
                    <a:pt x="160" y="189"/>
                  </a:lnTo>
                  <a:lnTo>
                    <a:pt x="163" y="194"/>
                  </a:lnTo>
                  <a:lnTo>
                    <a:pt x="158" y="200"/>
                  </a:lnTo>
                  <a:lnTo>
                    <a:pt x="160" y="209"/>
                  </a:lnTo>
                  <a:lnTo>
                    <a:pt x="155" y="217"/>
                  </a:lnTo>
                  <a:lnTo>
                    <a:pt x="154" y="225"/>
                  </a:lnTo>
                  <a:lnTo>
                    <a:pt x="160" y="224"/>
                  </a:lnTo>
                  <a:lnTo>
                    <a:pt x="164" y="232"/>
                  </a:lnTo>
                  <a:lnTo>
                    <a:pt x="164" y="244"/>
                  </a:lnTo>
                  <a:lnTo>
                    <a:pt x="171" y="250"/>
                  </a:lnTo>
                  <a:lnTo>
                    <a:pt x="171" y="255"/>
                  </a:lnTo>
                  <a:lnTo>
                    <a:pt x="160" y="258"/>
                  </a:lnTo>
                  <a:lnTo>
                    <a:pt x="151" y="267"/>
                  </a:lnTo>
                  <a:lnTo>
                    <a:pt x="138" y="290"/>
                  </a:lnTo>
                  <a:lnTo>
                    <a:pt x="121" y="299"/>
                  </a:lnTo>
                  <a:lnTo>
                    <a:pt x="103" y="298"/>
                  </a:lnTo>
                  <a:lnTo>
                    <a:pt x="98" y="300"/>
                  </a:lnTo>
                  <a:lnTo>
                    <a:pt x="100" y="307"/>
                  </a:lnTo>
                  <a:lnTo>
                    <a:pt x="90" y="314"/>
                  </a:lnTo>
                  <a:lnTo>
                    <a:pt x="83" y="323"/>
                  </a:lnTo>
                  <a:lnTo>
                    <a:pt x="59" y="330"/>
                  </a:lnTo>
                  <a:lnTo>
                    <a:pt x="55" y="326"/>
                  </a:lnTo>
                  <a:lnTo>
                    <a:pt x="52" y="325"/>
                  </a:lnTo>
                  <a:lnTo>
                    <a:pt x="48" y="331"/>
                  </a:lnTo>
                  <a:lnTo>
                    <a:pt x="33" y="332"/>
                  </a:lnTo>
                  <a:lnTo>
                    <a:pt x="36" y="326"/>
                  </a:lnTo>
                  <a:lnTo>
                    <a:pt x="30" y="312"/>
                  </a:lnTo>
                  <a:lnTo>
                    <a:pt x="28" y="304"/>
                  </a:lnTo>
                  <a:lnTo>
                    <a:pt x="20" y="300"/>
                  </a:lnTo>
                  <a:lnTo>
                    <a:pt x="9" y="288"/>
                  </a:lnTo>
                  <a:lnTo>
                    <a:pt x="13" y="278"/>
                  </a:lnTo>
                  <a:lnTo>
                    <a:pt x="21" y="280"/>
                  </a:lnTo>
                  <a:lnTo>
                    <a:pt x="26" y="279"/>
                  </a:lnTo>
                  <a:lnTo>
                    <a:pt x="36" y="279"/>
                  </a:lnTo>
                  <a:lnTo>
                    <a:pt x="26" y="260"/>
                  </a:lnTo>
                  <a:lnTo>
                    <a:pt x="27" y="246"/>
                  </a:lnTo>
                  <a:lnTo>
                    <a:pt x="25" y="233"/>
                  </a:lnTo>
                  <a:lnTo>
                    <a:pt x="18" y="21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28" name="Freeform 191"/>
            <p:cNvSpPr>
              <a:spLocks/>
            </p:cNvSpPr>
            <p:nvPr/>
          </p:nvSpPr>
          <p:spPr bwMode="auto">
            <a:xfrm>
              <a:off x="4179887" y="3341692"/>
              <a:ext cx="55563" cy="168275"/>
            </a:xfrm>
            <a:custGeom>
              <a:avLst/>
              <a:gdLst>
                <a:gd name="T0" fmla="*/ 35 w 35"/>
                <a:gd name="T1" fmla="*/ 102 h 106"/>
                <a:gd name="T2" fmla="*/ 21 w 35"/>
                <a:gd name="T3" fmla="*/ 106 h 106"/>
                <a:gd name="T4" fmla="*/ 17 w 35"/>
                <a:gd name="T5" fmla="*/ 99 h 106"/>
                <a:gd name="T6" fmla="*/ 12 w 35"/>
                <a:gd name="T7" fmla="*/ 86 h 106"/>
                <a:gd name="T8" fmla="*/ 10 w 35"/>
                <a:gd name="T9" fmla="*/ 75 h 106"/>
                <a:gd name="T10" fmla="*/ 14 w 35"/>
                <a:gd name="T11" fmla="*/ 57 h 106"/>
                <a:gd name="T12" fmla="*/ 10 w 35"/>
                <a:gd name="T13" fmla="*/ 49 h 106"/>
                <a:gd name="T14" fmla="*/ 8 w 35"/>
                <a:gd name="T15" fmla="*/ 33 h 106"/>
                <a:gd name="T16" fmla="*/ 8 w 35"/>
                <a:gd name="T17" fmla="*/ 18 h 106"/>
                <a:gd name="T18" fmla="*/ 0 w 35"/>
                <a:gd name="T19" fmla="*/ 7 h 106"/>
                <a:gd name="T20" fmla="*/ 2 w 35"/>
                <a:gd name="T21" fmla="*/ 0 h 106"/>
                <a:gd name="T22" fmla="*/ 18 w 35"/>
                <a:gd name="T23" fmla="*/ 1 h 106"/>
                <a:gd name="T24" fmla="*/ 15 w 35"/>
                <a:gd name="T25" fmla="*/ 12 h 106"/>
                <a:gd name="T26" fmla="*/ 21 w 35"/>
                <a:gd name="T27" fmla="*/ 18 h 106"/>
                <a:gd name="T28" fmla="*/ 27 w 35"/>
                <a:gd name="T29" fmla="*/ 25 h 106"/>
                <a:gd name="T30" fmla="*/ 28 w 35"/>
                <a:gd name="T31" fmla="*/ 36 h 106"/>
                <a:gd name="T32" fmla="*/ 32 w 35"/>
                <a:gd name="T33" fmla="*/ 40 h 106"/>
                <a:gd name="T34" fmla="*/ 31 w 35"/>
                <a:gd name="T35" fmla="*/ 88 h 106"/>
                <a:gd name="T36" fmla="*/ 35 w 35"/>
                <a:gd name="T37" fmla="*/ 10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106">
                  <a:moveTo>
                    <a:pt x="35" y="102"/>
                  </a:moveTo>
                  <a:lnTo>
                    <a:pt x="21" y="106"/>
                  </a:lnTo>
                  <a:lnTo>
                    <a:pt x="17" y="99"/>
                  </a:lnTo>
                  <a:lnTo>
                    <a:pt x="12" y="86"/>
                  </a:lnTo>
                  <a:lnTo>
                    <a:pt x="10" y="75"/>
                  </a:lnTo>
                  <a:lnTo>
                    <a:pt x="14" y="57"/>
                  </a:lnTo>
                  <a:lnTo>
                    <a:pt x="10" y="49"/>
                  </a:lnTo>
                  <a:lnTo>
                    <a:pt x="8" y="33"/>
                  </a:lnTo>
                  <a:lnTo>
                    <a:pt x="8" y="18"/>
                  </a:lnTo>
                  <a:lnTo>
                    <a:pt x="0" y="7"/>
                  </a:lnTo>
                  <a:lnTo>
                    <a:pt x="2" y="0"/>
                  </a:lnTo>
                  <a:lnTo>
                    <a:pt x="18" y="1"/>
                  </a:lnTo>
                  <a:lnTo>
                    <a:pt x="15" y="12"/>
                  </a:lnTo>
                  <a:lnTo>
                    <a:pt x="21" y="18"/>
                  </a:lnTo>
                  <a:lnTo>
                    <a:pt x="27" y="25"/>
                  </a:lnTo>
                  <a:lnTo>
                    <a:pt x="28" y="36"/>
                  </a:lnTo>
                  <a:lnTo>
                    <a:pt x="32" y="40"/>
                  </a:lnTo>
                  <a:lnTo>
                    <a:pt x="31" y="88"/>
                  </a:lnTo>
                  <a:lnTo>
                    <a:pt x="35" y="102"/>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29" name="Freeform 192"/>
            <p:cNvSpPr>
              <a:spLocks/>
            </p:cNvSpPr>
            <p:nvPr/>
          </p:nvSpPr>
          <p:spPr bwMode="auto">
            <a:xfrm>
              <a:off x="6980237" y="3032129"/>
              <a:ext cx="252413" cy="485775"/>
            </a:xfrm>
            <a:custGeom>
              <a:avLst/>
              <a:gdLst>
                <a:gd name="T0" fmla="*/ 93 w 159"/>
                <a:gd name="T1" fmla="*/ 162 h 306"/>
                <a:gd name="T2" fmla="*/ 78 w 159"/>
                <a:gd name="T3" fmla="*/ 146 h 306"/>
                <a:gd name="T4" fmla="*/ 63 w 159"/>
                <a:gd name="T5" fmla="*/ 169 h 306"/>
                <a:gd name="T6" fmla="*/ 52 w 159"/>
                <a:gd name="T7" fmla="*/ 217 h 306"/>
                <a:gd name="T8" fmla="*/ 66 w 159"/>
                <a:gd name="T9" fmla="*/ 233 h 306"/>
                <a:gd name="T10" fmla="*/ 79 w 159"/>
                <a:gd name="T11" fmla="*/ 270 h 306"/>
                <a:gd name="T12" fmla="*/ 101 w 159"/>
                <a:gd name="T13" fmla="*/ 284 h 306"/>
                <a:gd name="T14" fmla="*/ 106 w 159"/>
                <a:gd name="T15" fmla="*/ 304 h 306"/>
                <a:gd name="T16" fmla="*/ 91 w 159"/>
                <a:gd name="T17" fmla="*/ 295 h 306"/>
                <a:gd name="T18" fmla="*/ 73 w 159"/>
                <a:gd name="T19" fmla="*/ 290 h 306"/>
                <a:gd name="T20" fmla="*/ 62 w 159"/>
                <a:gd name="T21" fmla="*/ 272 h 306"/>
                <a:gd name="T22" fmla="*/ 42 w 159"/>
                <a:gd name="T23" fmla="*/ 250 h 306"/>
                <a:gd name="T24" fmla="*/ 36 w 159"/>
                <a:gd name="T25" fmla="*/ 251 h 306"/>
                <a:gd name="T26" fmla="*/ 41 w 159"/>
                <a:gd name="T27" fmla="*/ 218 h 306"/>
                <a:gd name="T28" fmla="*/ 56 w 159"/>
                <a:gd name="T29" fmla="*/ 177 h 306"/>
                <a:gd name="T30" fmla="*/ 46 w 159"/>
                <a:gd name="T31" fmla="*/ 149 h 306"/>
                <a:gd name="T32" fmla="*/ 29 w 159"/>
                <a:gd name="T33" fmla="*/ 121 h 306"/>
                <a:gd name="T34" fmla="*/ 30 w 159"/>
                <a:gd name="T35" fmla="*/ 106 h 306"/>
                <a:gd name="T36" fmla="*/ 25 w 159"/>
                <a:gd name="T37" fmla="*/ 75 h 306"/>
                <a:gd name="T38" fmla="*/ 0 w 159"/>
                <a:gd name="T39" fmla="*/ 41 h 306"/>
                <a:gd name="T40" fmla="*/ 12 w 159"/>
                <a:gd name="T41" fmla="*/ 15 h 306"/>
                <a:gd name="T42" fmla="*/ 34 w 159"/>
                <a:gd name="T43" fmla="*/ 5 h 306"/>
                <a:gd name="T44" fmla="*/ 52 w 159"/>
                <a:gd name="T45" fmla="*/ 7 h 306"/>
                <a:gd name="T46" fmla="*/ 67 w 159"/>
                <a:gd name="T47" fmla="*/ 20 h 306"/>
                <a:gd name="T48" fmla="*/ 69 w 159"/>
                <a:gd name="T49" fmla="*/ 61 h 306"/>
                <a:gd name="T50" fmla="*/ 93 w 159"/>
                <a:gd name="T51" fmla="*/ 52 h 306"/>
                <a:gd name="T52" fmla="*/ 106 w 159"/>
                <a:gd name="T53" fmla="*/ 44 h 306"/>
                <a:gd name="T54" fmla="*/ 136 w 159"/>
                <a:gd name="T55" fmla="*/ 62 h 306"/>
                <a:gd name="T56" fmla="*/ 157 w 159"/>
                <a:gd name="T57" fmla="*/ 101 h 306"/>
                <a:gd name="T58" fmla="*/ 154 w 159"/>
                <a:gd name="T59" fmla="*/ 128 h 306"/>
                <a:gd name="T60" fmla="*/ 113 w 159"/>
                <a:gd name="T61" fmla="*/ 129 h 306"/>
                <a:gd name="T62" fmla="*/ 110 w 159"/>
                <a:gd name="T63" fmla="*/ 17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 h="306">
                  <a:moveTo>
                    <a:pt x="110" y="171"/>
                  </a:moveTo>
                  <a:lnTo>
                    <a:pt x="93" y="162"/>
                  </a:lnTo>
                  <a:lnTo>
                    <a:pt x="78" y="162"/>
                  </a:lnTo>
                  <a:lnTo>
                    <a:pt x="78" y="146"/>
                  </a:lnTo>
                  <a:lnTo>
                    <a:pt x="62" y="146"/>
                  </a:lnTo>
                  <a:lnTo>
                    <a:pt x="63" y="169"/>
                  </a:lnTo>
                  <a:lnTo>
                    <a:pt x="56" y="199"/>
                  </a:lnTo>
                  <a:lnTo>
                    <a:pt x="52" y="217"/>
                  </a:lnTo>
                  <a:lnTo>
                    <a:pt x="54" y="233"/>
                  </a:lnTo>
                  <a:lnTo>
                    <a:pt x="66" y="233"/>
                  </a:lnTo>
                  <a:lnTo>
                    <a:pt x="75" y="252"/>
                  </a:lnTo>
                  <a:lnTo>
                    <a:pt x="79" y="270"/>
                  </a:lnTo>
                  <a:lnTo>
                    <a:pt x="90" y="282"/>
                  </a:lnTo>
                  <a:lnTo>
                    <a:pt x="101" y="284"/>
                  </a:lnTo>
                  <a:lnTo>
                    <a:pt x="111" y="295"/>
                  </a:lnTo>
                  <a:lnTo>
                    <a:pt x="106" y="304"/>
                  </a:lnTo>
                  <a:lnTo>
                    <a:pt x="93" y="306"/>
                  </a:lnTo>
                  <a:lnTo>
                    <a:pt x="91" y="295"/>
                  </a:lnTo>
                  <a:lnTo>
                    <a:pt x="76" y="286"/>
                  </a:lnTo>
                  <a:lnTo>
                    <a:pt x="73" y="290"/>
                  </a:lnTo>
                  <a:lnTo>
                    <a:pt x="66" y="282"/>
                  </a:lnTo>
                  <a:lnTo>
                    <a:pt x="62" y="272"/>
                  </a:lnTo>
                  <a:lnTo>
                    <a:pt x="51" y="260"/>
                  </a:lnTo>
                  <a:lnTo>
                    <a:pt x="42" y="250"/>
                  </a:lnTo>
                  <a:lnTo>
                    <a:pt x="40" y="263"/>
                  </a:lnTo>
                  <a:lnTo>
                    <a:pt x="36" y="251"/>
                  </a:lnTo>
                  <a:lnTo>
                    <a:pt x="37" y="238"/>
                  </a:lnTo>
                  <a:lnTo>
                    <a:pt x="41" y="218"/>
                  </a:lnTo>
                  <a:lnTo>
                    <a:pt x="48" y="197"/>
                  </a:lnTo>
                  <a:lnTo>
                    <a:pt x="56" y="177"/>
                  </a:lnTo>
                  <a:lnTo>
                    <a:pt x="47" y="158"/>
                  </a:lnTo>
                  <a:lnTo>
                    <a:pt x="46" y="149"/>
                  </a:lnTo>
                  <a:lnTo>
                    <a:pt x="43" y="137"/>
                  </a:lnTo>
                  <a:lnTo>
                    <a:pt x="29" y="121"/>
                  </a:lnTo>
                  <a:lnTo>
                    <a:pt x="24" y="110"/>
                  </a:lnTo>
                  <a:lnTo>
                    <a:pt x="30" y="106"/>
                  </a:lnTo>
                  <a:lnTo>
                    <a:pt x="34" y="88"/>
                  </a:lnTo>
                  <a:lnTo>
                    <a:pt x="25" y="75"/>
                  </a:lnTo>
                  <a:lnTo>
                    <a:pt x="11" y="60"/>
                  </a:lnTo>
                  <a:lnTo>
                    <a:pt x="0" y="41"/>
                  </a:lnTo>
                  <a:lnTo>
                    <a:pt x="7" y="37"/>
                  </a:lnTo>
                  <a:lnTo>
                    <a:pt x="12" y="15"/>
                  </a:lnTo>
                  <a:lnTo>
                    <a:pt x="25" y="14"/>
                  </a:lnTo>
                  <a:lnTo>
                    <a:pt x="34" y="5"/>
                  </a:lnTo>
                  <a:lnTo>
                    <a:pt x="43" y="0"/>
                  </a:lnTo>
                  <a:lnTo>
                    <a:pt x="52" y="7"/>
                  </a:lnTo>
                  <a:lnTo>
                    <a:pt x="55" y="19"/>
                  </a:lnTo>
                  <a:lnTo>
                    <a:pt x="67" y="20"/>
                  </a:lnTo>
                  <a:lnTo>
                    <a:pt x="66" y="42"/>
                  </a:lnTo>
                  <a:lnTo>
                    <a:pt x="69" y="61"/>
                  </a:lnTo>
                  <a:lnTo>
                    <a:pt x="87" y="48"/>
                  </a:lnTo>
                  <a:lnTo>
                    <a:pt x="93" y="52"/>
                  </a:lnTo>
                  <a:lnTo>
                    <a:pt x="103" y="51"/>
                  </a:lnTo>
                  <a:lnTo>
                    <a:pt x="106" y="44"/>
                  </a:lnTo>
                  <a:lnTo>
                    <a:pt x="120" y="45"/>
                  </a:lnTo>
                  <a:lnTo>
                    <a:pt x="136" y="62"/>
                  </a:lnTo>
                  <a:lnTo>
                    <a:pt x="140" y="83"/>
                  </a:lnTo>
                  <a:lnTo>
                    <a:pt x="157" y="101"/>
                  </a:lnTo>
                  <a:lnTo>
                    <a:pt x="159" y="119"/>
                  </a:lnTo>
                  <a:lnTo>
                    <a:pt x="154" y="128"/>
                  </a:lnTo>
                  <a:lnTo>
                    <a:pt x="136" y="125"/>
                  </a:lnTo>
                  <a:lnTo>
                    <a:pt x="113" y="129"/>
                  </a:lnTo>
                  <a:lnTo>
                    <a:pt x="103" y="146"/>
                  </a:lnTo>
                  <a:lnTo>
                    <a:pt x="110" y="171"/>
                  </a:lnTo>
                  <a:close/>
                </a:path>
              </a:pathLst>
            </a:custGeom>
            <a:solidFill>
              <a:srgbClr val="4F81BD"/>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30" name="Freeform 193"/>
            <p:cNvSpPr>
              <a:spLocks/>
            </p:cNvSpPr>
            <p:nvPr/>
          </p:nvSpPr>
          <p:spPr bwMode="auto">
            <a:xfrm>
              <a:off x="6002337" y="2355854"/>
              <a:ext cx="219075" cy="139700"/>
            </a:xfrm>
            <a:custGeom>
              <a:avLst/>
              <a:gdLst>
                <a:gd name="T0" fmla="*/ 54 w 138"/>
                <a:gd name="T1" fmla="*/ 15 h 88"/>
                <a:gd name="T2" fmla="*/ 50 w 138"/>
                <a:gd name="T3" fmla="*/ 22 h 88"/>
                <a:gd name="T4" fmla="*/ 30 w 138"/>
                <a:gd name="T5" fmla="*/ 18 h 88"/>
                <a:gd name="T6" fmla="*/ 32 w 138"/>
                <a:gd name="T7" fmla="*/ 30 h 88"/>
                <a:gd name="T8" fmla="*/ 50 w 138"/>
                <a:gd name="T9" fmla="*/ 29 h 88"/>
                <a:gd name="T10" fmla="*/ 73 w 138"/>
                <a:gd name="T11" fmla="*/ 35 h 88"/>
                <a:gd name="T12" fmla="*/ 104 w 138"/>
                <a:gd name="T13" fmla="*/ 32 h 88"/>
                <a:gd name="T14" fmla="*/ 113 w 138"/>
                <a:gd name="T15" fmla="*/ 51 h 88"/>
                <a:gd name="T16" fmla="*/ 119 w 138"/>
                <a:gd name="T17" fmla="*/ 49 h 88"/>
                <a:gd name="T18" fmla="*/ 130 w 138"/>
                <a:gd name="T19" fmla="*/ 54 h 88"/>
                <a:gd name="T20" fmla="*/ 132 w 138"/>
                <a:gd name="T21" fmla="*/ 62 h 88"/>
                <a:gd name="T22" fmla="*/ 138 w 138"/>
                <a:gd name="T23" fmla="*/ 74 h 88"/>
                <a:gd name="T24" fmla="*/ 120 w 138"/>
                <a:gd name="T25" fmla="*/ 74 h 88"/>
                <a:gd name="T26" fmla="*/ 108 w 138"/>
                <a:gd name="T27" fmla="*/ 72 h 88"/>
                <a:gd name="T28" fmla="*/ 99 w 138"/>
                <a:gd name="T29" fmla="*/ 81 h 88"/>
                <a:gd name="T30" fmla="*/ 92 w 138"/>
                <a:gd name="T31" fmla="*/ 83 h 88"/>
                <a:gd name="T32" fmla="*/ 88 w 138"/>
                <a:gd name="T33" fmla="*/ 88 h 88"/>
                <a:gd name="T34" fmla="*/ 79 w 138"/>
                <a:gd name="T35" fmla="*/ 81 h 88"/>
                <a:gd name="T36" fmla="*/ 76 w 138"/>
                <a:gd name="T37" fmla="*/ 64 h 88"/>
                <a:gd name="T38" fmla="*/ 71 w 138"/>
                <a:gd name="T39" fmla="*/ 63 h 88"/>
                <a:gd name="T40" fmla="*/ 71 w 138"/>
                <a:gd name="T41" fmla="*/ 56 h 88"/>
                <a:gd name="T42" fmla="*/ 60 w 138"/>
                <a:gd name="T43" fmla="*/ 51 h 88"/>
                <a:gd name="T44" fmla="*/ 55 w 138"/>
                <a:gd name="T45" fmla="*/ 59 h 88"/>
                <a:gd name="T46" fmla="*/ 55 w 138"/>
                <a:gd name="T47" fmla="*/ 67 h 88"/>
                <a:gd name="T48" fmla="*/ 53 w 138"/>
                <a:gd name="T49" fmla="*/ 70 h 88"/>
                <a:gd name="T50" fmla="*/ 43 w 138"/>
                <a:gd name="T51" fmla="*/ 70 h 88"/>
                <a:gd name="T52" fmla="*/ 40 w 138"/>
                <a:gd name="T53" fmla="*/ 79 h 88"/>
                <a:gd name="T54" fmla="*/ 33 w 138"/>
                <a:gd name="T55" fmla="*/ 75 h 88"/>
                <a:gd name="T56" fmla="*/ 22 w 138"/>
                <a:gd name="T57" fmla="*/ 82 h 88"/>
                <a:gd name="T58" fmla="*/ 16 w 138"/>
                <a:gd name="T59" fmla="*/ 79 h 88"/>
                <a:gd name="T60" fmla="*/ 21 w 138"/>
                <a:gd name="T61" fmla="*/ 58 h 88"/>
                <a:gd name="T62" fmla="*/ 13 w 138"/>
                <a:gd name="T63" fmla="*/ 43 h 88"/>
                <a:gd name="T64" fmla="*/ 0 w 138"/>
                <a:gd name="T65" fmla="*/ 38 h 88"/>
                <a:gd name="T66" fmla="*/ 2 w 138"/>
                <a:gd name="T67" fmla="*/ 29 h 88"/>
                <a:gd name="T68" fmla="*/ 16 w 138"/>
                <a:gd name="T69" fmla="*/ 30 h 88"/>
                <a:gd name="T70" fmla="*/ 21 w 138"/>
                <a:gd name="T71" fmla="*/ 19 h 88"/>
                <a:gd name="T72" fmla="*/ 23 w 138"/>
                <a:gd name="T73" fmla="*/ 5 h 88"/>
                <a:gd name="T74" fmla="*/ 44 w 138"/>
                <a:gd name="T75" fmla="*/ 0 h 88"/>
                <a:gd name="T76" fmla="*/ 43 w 138"/>
                <a:gd name="T77" fmla="*/ 10 h 88"/>
                <a:gd name="T78" fmla="*/ 47 w 138"/>
                <a:gd name="T79" fmla="*/ 16 h 88"/>
                <a:gd name="T80" fmla="*/ 54 w 138"/>
                <a:gd name="T81" fmla="*/ 1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8" h="88">
                  <a:moveTo>
                    <a:pt x="54" y="15"/>
                  </a:moveTo>
                  <a:lnTo>
                    <a:pt x="50" y="22"/>
                  </a:lnTo>
                  <a:lnTo>
                    <a:pt x="30" y="18"/>
                  </a:lnTo>
                  <a:lnTo>
                    <a:pt x="32" y="30"/>
                  </a:lnTo>
                  <a:lnTo>
                    <a:pt x="50" y="29"/>
                  </a:lnTo>
                  <a:lnTo>
                    <a:pt x="73" y="35"/>
                  </a:lnTo>
                  <a:lnTo>
                    <a:pt x="104" y="32"/>
                  </a:lnTo>
                  <a:lnTo>
                    <a:pt x="113" y="51"/>
                  </a:lnTo>
                  <a:lnTo>
                    <a:pt x="119" y="49"/>
                  </a:lnTo>
                  <a:lnTo>
                    <a:pt x="130" y="54"/>
                  </a:lnTo>
                  <a:lnTo>
                    <a:pt x="132" y="62"/>
                  </a:lnTo>
                  <a:lnTo>
                    <a:pt x="138" y="74"/>
                  </a:lnTo>
                  <a:lnTo>
                    <a:pt x="120" y="74"/>
                  </a:lnTo>
                  <a:lnTo>
                    <a:pt x="108" y="72"/>
                  </a:lnTo>
                  <a:lnTo>
                    <a:pt x="99" y="81"/>
                  </a:lnTo>
                  <a:lnTo>
                    <a:pt x="92" y="83"/>
                  </a:lnTo>
                  <a:lnTo>
                    <a:pt x="88" y="88"/>
                  </a:lnTo>
                  <a:lnTo>
                    <a:pt x="79" y="81"/>
                  </a:lnTo>
                  <a:lnTo>
                    <a:pt x="76" y="64"/>
                  </a:lnTo>
                  <a:lnTo>
                    <a:pt x="71" y="63"/>
                  </a:lnTo>
                  <a:lnTo>
                    <a:pt x="71" y="56"/>
                  </a:lnTo>
                  <a:lnTo>
                    <a:pt x="60" y="51"/>
                  </a:lnTo>
                  <a:lnTo>
                    <a:pt x="55" y="59"/>
                  </a:lnTo>
                  <a:lnTo>
                    <a:pt x="55" y="67"/>
                  </a:lnTo>
                  <a:lnTo>
                    <a:pt x="53" y="70"/>
                  </a:lnTo>
                  <a:lnTo>
                    <a:pt x="43" y="70"/>
                  </a:lnTo>
                  <a:lnTo>
                    <a:pt x="40" y="79"/>
                  </a:lnTo>
                  <a:lnTo>
                    <a:pt x="33" y="75"/>
                  </a:lnTo>
                  <a:lnTo>
                    <a:pt x="22" y="82"/>
                  </a:lnTo>
                  <a:lnTo>
                    <a:pt x="16" y="79"/>
                  </a:lnTo>
                  <a:lnTo>
                    <a:pt x="21" y="58"/>
                  </a:lnTo>
                  <a:lnTo>
                    <a:pt x="13" y="43"/>
                  </a:lnTo>
                  <a:lnTo>
                    <a:pt x="0" y="38"/>
                  </a:lnTo>
                  <a:lnTo>
                    <a:pt x="2" y="29"/>
                  </a:lnTo>
                  <a:lnTo>
                    <a:pt x="16" y="30"/>
                  </a:lnTo>
                  <a:lnTo>
                    <a:pt x="21" y="19"/>
                  </a:lnTo>
                  <a:lnTo>
                    <a:pt x="23" y="5"/>
                  </a:lnTo>
                  <a:lnTo>
                    <a:pt x="44" y="0"/>
                  </a:lnTo>
                  <a:lnTo>
                    <a:pt x="43" y="10"/>
                  </a:lnTo>
                  <a:lnTo>
                    <a:pt x="47" y="16"/>
                  </a:lnTo>
                  <a:lnTo>
                    <a:pt x="54" y="15"/>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31" name="Freeform 194"/>
            <p:cNvSpPr>
              <a:spLocks/>
            </p:cNvSpPr>
            <p:nvPr/>
          </p:nvSpPr>
          <p:spPr bwMode="auto">
            <a:xfrm>
              <a:off x="5580062" y="2298704"/>
              <a:ext cx="411163" cy="244475"/>
            </a:xfrm>
            <a:custGeom>
              <a:avLst/>
              <a:gdLst>
                <a:gd name="T0" fmla="*/ 176 w 259"/>
                <a:gd name="T1" fmla="*/ 146 h 154"/>
                <a:gd name="T2" fmla="*/ 170 w 259"/>
                <a:gd name="T3" fmla="*/ 129 h 154"/>
                <a:gd name="T4" fmla="*/ 157 w 259"/>
                <a:gd name="T5" fmla="*/ 128 h 154"/>
                <a:gd name="T6" fmla="*/ 134 w 259"/>
                <a:gd name="T7" fmla="*/ 110 h 154"/>
                <a:gd name="T8" fmla="*/ 120 w 259"/>
                <a:gd name="T9" fmla="*/ 107 h 154"/>
                <a:gd name="T10" fmla="*/ 99 w 259"/>
                <a:gd name="T11" fmla="*/ 97 h 154"/>
                <a:gd name="T12" fmla="*/ 86 w 259"/>
                <a:gd name="T13" fmla="*/ 95 h 154"/>
                <a:gd name="T14" fmla="*/ 79 w 259"/>
                <a:gd name="T15" fmla="*/ 99 h 154"/>
                <a:gd name="T16" fmla="*/ 68 w 259"/>
                <a:gd name="T17" fmla="*/ 98 h 154"/>
                <a:gd name="T18" fmla="*/ 58 w 259"/>
                <a:gd name="T19" fmla="*/ 110 h 154"/>
                <a:gd name="T20" fmla="*/ 44 w 259"/>
                <a:gd name="T21" fmla="*/ 114 h 154"/>
                <a:gd name="T22" fmla="*/ 38 w 259"/>
                <a:gd name="T23" fmla="*/ 100 h 154"/>
                <a:gd name="T24" fmla="*/ 36 w 259"/>
                <a:gd name="T25" fmla="*/ 78 h 154"/>
                <a:gd name="T26" fmla="*/ 21 w 259"/>
                <a:gd name="T27" fmla="*/ 71 h 154"/>
                <a:gd name="T28" fmla="*/ 23 w 259"/>
                <a:gd name="T29" fmla="*/ 57 h 154"/>
                <a:gd name="T30" fmla="*/ 11 w 259"/>
                <a:gd name="T31" fmla="*/ 56 h 154"/>
                <a:gd name="T32" fmla="*/ 11 w 259"/>
                <a:gd name="T33" fmla="*/ 38 h 154"/>
                <a:gd name="T34" fmla="*/ 28 w 259"/>
                <a:gd name="T35" fmla="*/ 43 h 154"/>
                <a:gd name="T36" fmla="*/ 41 w 259"/>
                <a:gd name="T37" fmla="*/ 37 h 154"/>
                <a:gd name="T38" fmla="*/ 27 w 259"/>
                <a:gd name="T39" fmla="*/ 25 h 154"/>
                <a:gd name="T40" fmla="*/ 19 w 259"/>
                <a:gd name="T41" fmla="*/ 13 h 154"/>
                <a:gd name="T42" fmla="*/ 7 w 259"/>
                <a:gd name="T43" fmla="*/ 18 h 154"/>
                <a:gd name="T44" fmla="*/ 8 w 259"/>
                <a:gd name="T45" fmla="*/ 33 h 154"/>
                <a:gd name="T46" fmla="*/ 0 w 259"/>
                <a:gd name="T47" fmla="*/ 20 h 154"/>
                <a:gd name="T48" fmla="*/ 6 w 259"/>
                <a:gd name="T49" fmla="*/ 13 h 154"/>
                <a:gd name="T50" fmla="*/ 24 w 259"/>
                <a:gd name="T51" fmla="*/ 9 h 154"/>
                <a:gd name="T52" fmla="*/ 37 w 259"/>
                <a:gd name="T53" fmla="*/ 14 h 154"/>
                <a:gd name="T54" fmla="*/ 52 w 259"/>
                <a:gd name="T55" fmla="*/ 30 h 154"/>
                <a:gd name="T56" fmla="*/ 61 w 259"/>
                <a:gd name="T57" fmla="*/ 29 h 154"/>
                <a:gd name="T58" fmla="*/ 80 w 259"/>
                <a:gd name="T59" fmla="*/ 29 h 154"/>
                <a:gd name="T60" fmla="*/ 74 w 259"/>
                <a:gd name="T61" fmla="*/ 19 h 154"/>
                <a:gd name="T62" fmla="*/ 87 w 259"/>
                <a:gd name="T63" fmla="*/ 12 h 154"/>
                <a:gd name="T64" fmla="*/ 98 w 259"/>
                <a:gd name="T65" fmla="*/ 0 h 154"/>
                <a:gd name="T66" fmla="*/ 123 w 259"/>
                <a:gd name="T67" fmla="*/ 11 h 154"/>
                <a:gd name="T68" fmla="*/ 129 w 259"/>
                <a:gd name="T69" fmla="*/ 27 h 154"/>
                <a:gd name="T70" fmla="*/ 137 w 259"/>
                <a:gd name="T71" fmla="*/ 31 h 154"/>
                <a:gd name="T72" fmla="*/ 155 w 259"/>
                <a:gd name="T73" fmla="*/ 30 h 154"/>
                <a:gd name="T74" fmla="*/ 161 w 259"/>
                <a:gd name="T75" fmla="*/ 34 h 154"/>
                <a:gd name="T76" fmla="*/ 175 w 259"/>
                <a:gd name="T77" fmla="*/ 55 h 154"/>
                <a:gd name="T78" fmla="*/ 198 w 259"/>
                <a:gd name="T79" fmla="*/ 69 h 154"/>
                <a:gd name="T80" fmla="*/ 211 w 259"/>
                <a:gd name="T81" fmla="*/ 79 h 154"/>
                <a:gd name="T82" fmla="*/ 231 w 259"/>
                <a:gd name="T83" fmla="*/ 89 h 154"/>
                <a:gd name="T84" fmla="*/ 256 w 259"/>
                <a:gd name="T85" fmla="*/ 98 h 154"/>
                <a:gd name="T86" fmla="*/ 259 w 259"/>
                <a:gd name="T87" fmla="*/ 111 h 154"/>
                <a:gd name="T88" fmla="*/ 254 w 259"/>
                <a:gd name="T89" fmla="*/ 110 h 154"/>
                <a:gd name="T90" fmla="*/ 244 w 259"/>
                <a:gd name="T91" fmla="*/ 105 h 154"/>
                <a:gd name="T92" fmla="*/ 243 w 259"/>
                <a:gd name="T93" fmla="*/ 112 h 154"/>
                <a:gd name="T94" fmla="*/ 230 w 259"/>
                <a:gd name="T95" fmla="*/ 116 h 154"/>
                <a:gd name="T96" fmla="*/ 230 w 259"/>
                <a:gd name="T97" fmla="*/ 133 h 154"/>
                <a:gd name="T98" fmla="*/ 222 w 259"/>
                <a:gd name="T99" fmla="*/ 139 h 154"/>
                <a:gd name="T100" fmla="*/ 209 w 259"/>
                <a:gd name="T101" fmla="*/ 142 h 154"/>
                <a:gd name="T102" fmla="*/ 207 w 259"/>
                <a:gd name="T103" fmla="*/ 151 h 154"/>
                <a:gd name="T104" fmla="*/ 195 w 259"/>
                <a:gd name="T105" fmla="*/ 154 h 154"/>
                <a:gd name="T106" fmla="*/ 176 w 259"/>
                <a:gd name="T107" fmla="*/ 14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154">
                  <a:moveTo>
                    <a:pt x="176" y="146"/>
                  </a:moveTo>
                  <a:lnTo>
                    <a:pt x="170" y="129"/>
                  </a:lnTo>
                  <a:lnTo>
                    <a:pt x="157" y="128"/>
                  </a:lnTo>
                  <a:lnTo>
                    <a:pt x="134" y="110"/>
                  </a:lnTo>
                  <a:lnTo>
                    <a:pt x="120" y="107"/>
                  </a:lnTo>
                  <a:lnTo>
                    <a:pt x="99" y="97"/>
                  </a:lnTo>
                  <a:lnTo>
                    <a:pt x="86" y="95"/>
                  </a:lnTo>
                  <a:lnTo>
                    <a:pt x="79" y="99"/>
                  </a:lnTo>
                  <a:lnTo>
                    <a:pt x="68" y="98"/>
                  </a:lnTo>
                  <a:lnTo>
                    <a:pt x="58" y="110"/>
                  </a:lnTo>
                  <a:lnTo>
                    <a:pt x="44" y="114"/>
                  </a:lnTo>
                  <a:lnTo>
                    <a:pt x="38" y="100"/>
                  </a:lnTo>
                  <a:lnTo>
                    <a:pt x="36" y="78"/>
                  </a:lnTo>
                  <a:lnTo>
                    <a:pt x="21" y="71"/>
                  </a:lnTo>
                  <a:lnTo>
                    <a:pt x="23" y="57"/>
                  </a:lnTo>
                  <a:lnTo>
                    <a:pt x="11" y="56"/>
                  </a:lnTo>
                  <a:lnTo>
                    <a:pt x="11" y="38"/>
                  </a:lnTo>
                  <a:lnTo>
                    <a:pt x="28" y="43"/>
                  </a:lnTo>
                  <a:lnTo>
                    <a:pt x="41" y="37"/>
                  </a:lnTo>
                  <a:lnTo>
                    <a:pt x="27" y="25"/>
                  </a:lnTo>
                  <a:lnTo>
                    <a:pt x="19" y="13"/>
                  </a:lnTo>
                  <a:lnTo>
                    <a:pt x="7" y="18"/>
                  </a:lnTo>
                  <a:lnTo>
                    <a:pt x="8" y="33"/>
                  </a:lnTo>
                  <a:lnTo>
                    <a:pt x="0" y="20"/>
                  </a:lnTo>
                  <a:lnTo>
                    <a:pt x="6" y="13"/>
                  </a:lnTo>
                  <a:lnTo>
                    <a:pt x="24" y="9"/>
                  </a:lnTo>
                  <a:lnTo>
                    <a:pt x="37" y="14"/>
                  </a:lnTo>
                  <a:lnTo>
                    <a:pt x="52" y="30"/>
                  </a:lnTo>
                  <a:lnTo>
                    <a:pt x="61" y="29"/>
                  </a:lnTo>
                  <a:lnTo>
                    <a:pt x="80" y="29"/>
                  </a:lnTo>
                  <a:lnTo>
                    <a:pt x="74" y="19"/>
                  </a:lnTo>
                  <a:lnTo>
                    <a:pt x="87" y="12"/>
                  </a:lnTo>
                  <a:lnTo>
                    <a:pt x="98" y="0"/>
                  </a:lnTo>
                  <a:lnTo>
                    <a:pt x="123" y="11"/>
                  </a:lnTo>
                  <a:lnTo>
                    <a:pt x="129" y="27"/>
                  </a:lnTo>
                  <a:lnTo>
                    <a:pt x="137" y="31"/>
                  </a:lnTo>
                  <a:lnTo>
                    <a:pt x="155" y="30"/>
                  </a:lnTo>
                  <a:lnTo>
                    <a:pt x="161" y="34"/>
                  </a:lnTo>
                  <a:lnTo>
                    <a:pt x="175" y="55"/>
                  </a:lnTo>
                  <a:lnTo>
                    <a:pt x="198" y="69"/>
                  </a:lnTo>
                  <a:lnTo>
                    <a:pt x="211" y="79"/>
                  </a:lnTo>
                  <a:lnTo>
                    <a:pt x="231" y="89"/>
                  </a:lnTo>
                  <a:lnTo>
                    <a:pt x="256" y="98"/>
                  </a:lnTo>
                  <a:lnTo>
                    <a:pt x="259" y="111"/>
                  </a:lnTo>
                  <a:lnTo>
                    <a:pt x="254" y="110"/>
                  </a:lnTo>
                  <a:lnTo>
                    <a:pt x="244" y="105"/>
                  </a:lnTo>
                  <a:lnTo>
                    <a:pt x="243" y="112"/>
                  </a:lnTo>
                  <a:lnTo>
                    <a:pt x="230" y="116"/>
                  </a:lnTo>
                  <a:lnTo>
                    <a:pt x="230" y="133"/>
                  </a:lnTo>
                  <a:lnTo>
                    <a:pt x="222" y="139"/>
                  </a:lnTo>
                  <a:lnTo>
                    <a:pt x="209" y="142"/>
                  </a:lnTo>
                  <a:lnTo>
                    <a:pt x="207" y="151"/>
                  </a:lnTo>
                  <a:lnTo>
                    <a:pt x="195" y="154"/>
                  </a:lnTo>
                  <a:lnTo>
                    <a:pt x="176" y="146"/>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32" name="Freeform 195"/>
            <p:cNvSpPr>
              <a:spLocks/>
            </p:cNvSpPr>
            <p:nvPr/>
          </p:nvSpPr>
          <p:spPr bwMode="auto">
            <a:xfrm>
              <a:off x="7815262" y="3978279"/>
              <a:ext cx="69850" cy="36513"/>
            </a:xfrm>
            <a:custGeom>
              <a:avLst/>
              <a:gdLst>
                <a:gd name="T0" fmla="*/ 0 w 44"/>
                <a:gd name="T1" fmla="*/ 13 h 23"/>
                <a:gd name="T2" fmla="*/ 2 w 44"/>
                <a:gd name="T3" fmla="*/ 8 h 23"/>
                <a:gd name="T4" fmla="*/ 19 w 44"/>
                <a:gd name="T5" fmla="*/ 4 h 23"/>
                <a:gd name="T6" fmla="*/ 32 w 44"/>
                <a:gd name="T7" fmla="*/ 3 h 23"/>
                <a:gd name="T8" fmla="*/ 37 w 44"/>
                <a:gd name="T9" fmla="*/ 0 h 23"/>
                <a:gd name="T10" fmla="*/ 44 w 44"/>
                <a:gd name="T11" fmla="*/ 3 h 23"/>
                <a:gd name="T12" fmla="*/ 37 w 44"/>
                <a:gd name="T13" fmla="*/ 9 h 23"/>
                <a:gd name="T14" fmla="*/ 17 w 44"/>
                <a:gd name="T15" fmla="*/ 18 h 23"/>
                <a:gd name="T16" fmla="*/ 1 w 44"/>
                <a:gd name="T17" fmla="*/ 23 h 23"/>
                <a:gd name="T18" fmla="*/ 1 w 44"/>
                <a:gd name="T19" fmla="*/ 17 h 23"/>
                <a:gd name="T20" fmla="*/ 0 w 44"/>
                <a:gd name="T21"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3">
                  <a:moveTo>
                    <a:pt x="0" y="13"/>
                  </a:moveTo>
                  <a:lnTo>
                    <a:pt x="2" y="8"/>
                  </a:lnTo>
                  <a:lnTo>
                    <a:pt x="19" y="4"/>
                  </a:lnTo>
                  <a:lnTo>
                    <a:pt x="32" y="3"/>
                  </a:lnTo>
                  <a:lnTo>
                    <a:pt x="37" y="0"/>
                  </a:lnTo>
                  <a:lnTo>
                    <a:pt x="44" y="3"/>
                  </a:lnTo>
                  <a:lnTo>
                    <a:pt x="37" y="9"/>
                  </a:lnTo>
                  <a:lnTo>
                    <a:pt x="17" y="18"/>
                  </a:lnTo>
                  <a:lnTo>
                    <a:pt x="1" y="23"/>
                  </a:lnTo>
                  <a:lnTo>
                    <a:pt x="1" y="17"/>
                  </a:lnTo>
                  <a:lnTo>
                    <a:pt x="0" y="13"/>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33" name="Freeform 196"/>
            <p:cNvSpPr>
              <a:spLocks/>
            </p:cNvSpPr>
            <p:nvPr/>
          </p:nvSpPr>
          <p:spPr bwMode="auto">
            <a:xfrm>
              <a:off x="2382837" y="3346454"/>
              <a:ext cx="31750" cy="30163"/>
            </a:xfrm>
            <a:custGeom>
              <a:avLst/>
              <a:gdLst>
                <a:gd name="T0" fmla="*/ 6 w 20"/>
                <a:gd name="T1" fmla="*/ 3 h 19"/>
                <a:gd name="T2" fmla="*/ 16 w 20"/>
                <a:gd name="T3" fmla="*/ 0 h 19"/>
                <a:gd name="T4" fmla="*/ 20 w 20"/>
                <a:gd name="T5" fmla="*/ 1 h 19"/>
                <a:gd name="T6" fmla="*/ 19 w 20"/>
                <a:gd name="T7" fmla="*/ 16 h 19"/>
                <a:gd name="T8" fmla="*/ 3 w 20"/>
                <a:gd name="T9" fmla="*/ 19 h 19"/>
                <a:gd name="T10" fmla="*/ 0 w 20"/>
                <a:gd name="T11" fmla="*/ 17 h 19"/>
                <a:gd name="T12" fmla="*/ 6 w 20"/>
                <a:gd name="T13" fmla="*/ 11 h 19"/>
                <a:gd name="T14" fmla="*/ 6 w 20"/>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9">
                  <a:moveTo>
                    <a:pt x="6" y="3"/>
                  </a:moveTo>
                  <a:lnTo>
                    <a:pt x="16" y="0"/>
                  </a:lnTo>
                  <a:lnTo>
                    <a:pt x="20" y="1"/>
                  </a:lnTo>
                  <a:lnTo>
                    <a:pt x="19" y="16"/>
                  </a:lnTo>
                  <a:lnTo>
                    <a:pt x="3" y="19"/>
                  </a:lnTo>
                  <a:lnTo>
                    <a:pt x="0" y="17"/>
                  </a:lnTo>
                  <a:lnTo>
                    <a:pt x="6" y="11"/>
                  </a:lnTo>
                  <a:lnTo>
                    <a:pt x="6" y="3"/>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34" name="Freeform 197"/>
            <p:cNvSpPr>
              <a:spLocks/>
            </p:cNvSpPr>
            <p:nvPr/>
          </p:nvSpPr>
          <p:spPr bwMode="auto">
            <a:xfrm>
              <a:off x="4389437" y="2474916"/>
              <a:ext cx="111125" cy="231775"/>
            </a:xfrm>
            <a:custGeom>
              <a:avLst/>
              <a:gdLst>
                <a:gd name="T0" fmla="*/ 36 w 70"/>
                <a:gd name="T1" fmla="*/ 146 h 146"/>
                <a:gd name="T2" fmla="*/ 28 w 70"/>
                <a:gd name="T3" fmla="*/ 109 h 146"/>
                <a:gd name="T4" fmla="*/ 17 w 70"/>
                <a:gd name="T5" fmla="*/ 100 h 146"/>
                <a:gd name="T6" fmla="*/ 17 w 70"/>
                <a:gd name="T7" fmla="*/ 95 h 146"/>
                <a:gd name="T8" fmla="*/ 2 w 70"/>
                <a:gd name="T9" fmla="*/ 83 h 146"/>
                <a:gd name="T10" fmla="*/ 0 w 70"/>
                <a:gd name="T11" fmla="*/ 67 h 146"/>
                <a:gd name="T12" fmla="*/ 10 w 70"/>
                <a:gd name="T13" fmla="*/ 56 h 146"/>
                <a:gd name="T14" fmla="*/ 14 w 70"/>
                <a:gd name="T15" fmla="*/ 39 h 146"/>
                <a:gd name="T16" fmla="*/ 11 w 70"/>
                <a:gd name="T17" fmla="*/ 19 h 146"/>
                <a:gd name="T18" fmla="*/ 14 w 70"/>
                <a:gd name="T19" fmla="*/ 8 h 146"/>
                <a:gd name="T20" fmla="*/ 32 w 70"/>
                <a:gd name="T21" fmla="*/ 0 h 146"/>
                <a:gd name="T22" fmla="*/ 44 w 70"/>
                <a:gd name="T23" fmla="*/ 3 h 146"/>
                <a:gd name="T24" fmla="*/ 44 w 70"/>
                <a:gd name="T25" fmla="*/ 13 h 146"/>
                <a:gd name="T26" fmla="*/ 59 w 70"/>
                <a:gd name="T27" fmla="*/ 6 h 146"/>
                <a:gd name="T28" fmla="*/ 60 w 70"/>
                <a:gd name="T29" fmla="*/ 9 h 146"/>
                <a:gd name="T30" fmla="*/ 52 w 70"/>
                <a:gd name="T31" fmla="*/ 19 h 146"/>
                <a:gd name="T32" fmla="*/ 52 w 70"/>
                <a:gd name="T33" fmla="*/ 29 h 146"/>
                <a:gd name="T34" fmla="*/ 58 w 70"/>
                <a:gd name="T35" fmla="*/ 34 h 146"/>
                <a:gd name="T36" fmla="*/ 56 w 70"/>
                <a:gd name="T37" fmla="*/ 52 h 146"/>
                <a:gd name="T38" fmla="*/ 45 w 70"/>
                <a:gd name="T39" fmla="*/ 63 h 146"/>
                <a:gd name="T40" fmla="*/ 49 w 70"/>
                <a:gd name="T41" fmla="*/ 74 h 146"/>
                <a:gd name="T42" fmla="*/ 58 w 70"/>
                <a:gd name="T43" fmla="*/ 74 h 146"/>
                <a:gd name="T44" fmla="*/ 63 w 70"/>
                <a:gd name="T45" fmla="*/ 84 h 146"/>
                <a:gd name="T46" fmla="*/ 70 w 70"/>
                <a:gd name="T47" fmla="*/ 87 h 146"/>
                <a:gd name="T48" fmla="*/ 69 w 70"/>
                <a:gd name="T49" fmla="*/ 103 h 146"/>
                <a:gd name="T50" fmla="*/ 61 w 70"/>
                <a:gd name="T51" fmla="*/ 109 h 146"/>
                <a:gd name="T52" fmla="*/ 56 w 70"/>
                <a:gd name="T53" fmla="*/ 116 h 146"/>
                <a:gd name="T54" fmla="*/ 44 w 70"/>
                <a:gd name="T55" fmla="*/ 124 h 146"/>
                <a:gd name="T56" fmla="*/ 46 w 70"/>
                <a:gd name="T57" fmla="*/ 132 h 146"/>
                <a:gd name="T58" fmla="*/ 45 w 70"/>
                <a:gd name="T59" fmla="*/ 141 h 146"/>
                <a:gd name="T60" fmla="*/ 36 w 70"/>
                <a:gd name="T61"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0" h="146">
                  <a:moveTo>
                    <a:pt x="36" y="146"/>
                  </a:moveTo>
                  <a:lnTo>
                    <a:pt x="28" y="109"/>
                  </a:lnTo>
                  <a:lnTo>
                    <a:pt x="17" y="100"/>
                  </a:lnTo>
                  <a:lnTo>
                    <a:pt x="17" y="95"/>
                  </a:lnTo>
                  <a:lnTo>
                    <a:pt x="2" y="83"/>
                  </a:lnTo>
                  <a:lnTo>
                    <a:pt x="0" y="67"/>
                  </a:lnTo>
                  <a:lnTo>
                    <a:pt x="10" y="56"/>
                  </a:lnTo>
                  <a:lnTo>
                    <a:pt x="14" y="39"/>
                  </a:lnTo>
                  <a:lnTo>
                    <a:pt x="11" y="19"/>
                  </a:lnTo>
                  <a:lnTo>
                    <a:pt x="14" y="8"/>
                  </a:lnTo>
                  <a:lnTo>
                    <a:pt x="32" y="0"/>
                  </a:lnTo>
                  <a:lnTo>
                    <a:pt x="44" y="3"/>
                  </a:lnTo>
                  <a:lnTo>
                    <a:pt x="44" y="13"/>
                  </a:lnTo>
                  <a:lnTo>
                    <a:pt x="59" y="6"/>
                  </a:lnTo>
                  <a:lnTo>
                    <a:pt x="60" y="9"/>
                  </a:lnTo>
                  <a:lnTo>
                    <a:pt x="52" y="19"/>
                  </a:lnTo>
                  <a:lnTo>
                    <a:pt x="52" y="29"/>
                  </a:lnTo>
                  <a:lnTo>
                    <a:pt x="58" y="34"/>
                  </a:lnTo>
                  <a:lnTo>
                    <a:pt x="56" y="52"/>
                  </a:lnTo>
                  <a:lnTo>
                    <a:pt x="45" y="63"/>
                  </a:lnTo>
                  <a:lnTo>
                    <a:pt x="49" y="74"/>
                  </a:lnTo>
                  <a:lnTo>
                    <a:pt x="58" y="74"/>
                  </a:lnTo>
                  <a:lnTo>
                    <a:pt x="63" y="84"/>
                  </a:lnTo>
                  <a:lnTo>
                    <a:pt x="70" y="87"/>
                  </a:lnTo>
                  <a:lnTo>
                    <a:pt x="69" y="103"/>
                  </a:lnTo>
                  <a:lnTo>
                    <a:pt x="61" y="109"/>
                  </a:lnTo>
                  <a:lnTo>
                    <a:pt x="56" y="116"/>
                  </a:lnTo>
                  <a:lnTo>
                    <a:pt x="44" y="124"/>
                  </a:lnTo>
                  <a:lnTo>
                    <a:pt x="46" y="132"/>
                  </a:lnTo>
                  <a:lnTo>
                    <a:pt x="45" y="141"/>
                  </a:lnTo>
                  <a:lnTo>
                    <a:pt x="36" y="146"/>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35" name="Freeform 198"/>
            <p:cNvSpPr>
              <a:spLocks/>
            </p:cNvSpPr>
            <p:nvPr/>
          </p:nvSpPr>
          <p:spPr bwMode="auto">
            <a:xfrm>
              <a:off x="4886325" y="2320929"/>
              <a:ext cx="514350" cy="204788"/>
            </a:xfrm>
            <a:custGeom>
              <a:avLst/>
              <a:gdLst>
                <a:gd name="T0" fmla="*/ 177 w 324"/>
                <a:gd name="T1" fmla="*/ 15 h 129"/>
                <a:gd name="T2" fmla="*/ 202 w 324"/>
                <a:gd name="T3" fmla="*/ 23 h 129"/>
                <a:gd name="T4" fmla="*/ 222 w 324"/>
                <a:gd name="T5" fmla="*/ 20 h 129"/>
                <a:gd name="T6" fmla="*/ 236 w 324"/>
                <a:gd name="T7" fmla="*/ 22 h 129"/>
                <a:gd name="T8" fmla="*/ 254 w 324"/>
                <a:gd name="T9" fmla="*/ 11 h 129"/>
                <a:gd name="T10" fmla="*/ 272 w 324"/>
                <a:gd name="T11" fmla="*/ 10 h 129"/>
                <a:gd name="T12" fmla="*/ 290 w 324"/>
                <a:gd name="T13" fmla="*/ 20 h 129"/>
                <a:gd name="T14" fmla="*/ 294 w 324"/>
                <a:gd name="T15" fmla="*/ 27 h 129"/>
                <a:gd name="T16" fmla="*/ 294 w 324"/>
                <a:gd name="T17" fmla="*/ 37 h 129"/>
                <a:gd name="T18" fmla="*/ 308 w 324"/>
                <a:gd name="T19" fmla="*/ 42 h 129"/>
                <a:gd name="T20" fmla="*/ 316 w 324"/>
                <a:gd name="T21" fmla="*/ 48 h 129"/>
                <a:gd name="T22" fmla="*/ 305 w 324"/>
                <a:gd name="T23" fmla="*/ 54 h 129"/>
                <a:gd name="T24" fmla="*/ 314 w 324"/>
                <a:gd name="T25" fmla="*/ 78 h 129"/>
                <a:gd name="T26" fmla="*/ 312 w 324"/>
                <a:gd name="T27" fmla="*/ 84 h 129"/>
                <a:gd name="T28" fmla="*/ 324 w 324"/>
                <a:gd name="T29" fmla="*/ 101 h 129"/>
                <a:gd name="T30" fmla="*/ 316 w 324"/>
                <a:gd name="T31" fmla="*/ 104 h 129"/>
                <a:gd name="T32" fmla="*/ 310 w 324"/>
                <a:gd name="T33" fmla="*/ 99 h 129"/>
                <a:gd name="T34" fmla="*/ 289 w 324"/>
                <a:gd name="T35" fmla="*/ 96 h 129"/>
                <a:gd name="T36" fmla="*/ 282 w 324"/>
                <a:gd name="T37" fmla="*/ 100 h 129"/>
                <a:gd name="T38" fmla="*/ 263 w 324"/>
                <a:gd name="T39" fmla="*/ 103 h 129"/>
                <a:gd name="T40" fmla="*/ 254 w 324"/>
                <a:gd name="T41" fmla="*/ 103 h 129"/>
                <a:gd name="T42" fmla="*/ 235 w 324"/>
                <a:gd name="T43" fmla="*/ 110 h 129"/>
                <a:gd name="T44" fmla="*/ 221 w 324"/>
                <a:gd name="T45" fmla="*/ 110 h 129"/>
                <a:gd name="T46" fmla="*/ 212 w 324"/>
                <a:gd name="T47" fmla="*/ 106 h 129"/>
                <a:gd name="T48" fmla="*/ 193 w 324"/>
                <a:gd name="T49" fmla="*/ 112 h 129"/>
                <a:gd name="T50" fmla="*/ 187 w 324"/>
                <a:gd name="T51" fmla="*/ 108 h 129"/>
                <a:gd name="T52" fmla="*/ 188 w 324"/>
                <a:gd name="T53" fmla="*/ 120 h 129"/>
                <a:gd name="T54" fmla="*/ 184 w 324"/>
                <a:gd name="T55" fmla="*/ 124 h 129"/>
                <a:gd name="T56" fmla="*/ 180 w 324"/>
                <a:gd name="T57" fmla="*/ 129 h 129"/>
                <a:gd name="T58" fmla="*/ 172 w 324"/>
                <a:gd name="T59" fmla="*/ 119 h 129"/>
                <a:gd name="T60" fmla="*/ 178 w 324"/>
                <a:gd name="T61" fmla="*/ 112 h 129"/>
                <a:gd name="T62" fmla="*/ 167 w 324"/>
                <a:gd name="T63" fmla="*/ 113 h 129"/>
                <a:gd name="T64" fmla="*/ 153 w 324"/>
                <a:gd name="T65" fmla="*/ 109 h 129"/>
                <a:gd name="T66" fmla="*/ 142 w 324"/>
                <a:gd name="T67" fmla="*/ 120 h 129"/>
                <a:gd name="T68" fmla="*/ 116 w 324"/>
                <a:gd name="T69" fmla="*/ 123 h 129"/>
                <a:gd name="T70" fmla="*/ 101 w 324"/>
                <a:gd name="T71" fmla="*/ 112 h 129"/>
                <a:gd name="T72" fmla="*/ 82 w 324"/>
                <a:gd name="T73" fmla="*/ 111 h 129"/>
                <a:gd name="T74" fmla="*/ 80 w 324"/>
                <a:gd name="T75" fmla="*/ 120 h 129"/>
                <a:gd name="T76" fmla="*/ 68 w 324"/>
                <a:gd name="T77" fmla="*/ 122 h 129"/>
                <a:gd name="T78" fmla="*/ 50 w 324"/>
                <a:gd name="T79" fmla="*/ 111 h 129"/>
                <a:gd name="T80" fmla="*/ 31 w 324"/>
                <a:gd name="T81" fmla="*/ 111 h 129"/>
                <a:gd name="T82" fmla="*/ 19 w 324"/>
                <a:gd name="T83" fmla="*/ 91 h 129"/>
                <a:gd name="T84" fmla="*/ 6 w 324"/>
                <a:gd name="T85" fmla="*/ 79 h 129"/>
                <a:gd name="T86" fmla="*/ 12 w 324"/>
                <a:gd name="T87" fmla="*/ 63 h 129"/>
                <a:gd name="T88" fmla="*/ 0 w 324"/>
                <a:gd name="T89" fmla="*/ 53 h 129"/>
                <a:gd name="T90" fmla="*/ 17 w 324"/>
                <a:gd name="T91" fmla="*/ 34 h 129"/>
                <a:gd name="T92" fmla="*/ 43 w 324"/>
                <a:gd name="T93" fmla="*/ 33 h 129"/>
                <a:gd name="T94" fmla="*/ 48 w 324"/>
                <a:gd name="T95" fmla="*/ 17 h 129"/>
                <a:gd name="T96" fmla="*/ 81 w 324"/>
                <a:gd name="T97" fmla="*/ 20 h 129"/>
                <a:gd name="T98" fmla="*/ 99 w 324"/>
                <a:gd name="T99" fmla="*/ 7 h 129"/>
                <a:gd name="T100" fmla="*/ 118 w 324"/>
                <a:gd name="T101" fmla="*/ 1 h 129"/>
                <a:gd name="T102" fmla="*/ 145 w 324"/>
                <a:gd name="T103" fmla="*/ 0 h 129"/>
                <a:gd name="T104" fmla="*/ 177 w 324"/>
                <a:gd name="T105" fmla="*/ 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4" h="129">
                  <a:moveTo>
                    <a:pt x="177" y="15"/>
                  </a:moveTo>
                  <a:lnTo>
                    <a:pt x="202" y="23"/>
                  </a:lnTo>
                  <a:lnTo>
                    <a:pt x="222" y="20"/>
                  </a:lnTo>
                  <a:lnTo>
                    <a:pt x="236" y="22"/>
                  </a:lnTo>
                  <a:lnTo>
                    <a:pt x="254" y="11"/>
                  </a:lnTo>
                  <a:lnTo>
                    <a:pt x="272" y="10"/>
                  </a:lnTo>
                  <a:lnTo>
                    <a:pt x="290" y="20"/>
                  </a:lnTo>
                  <a:lnTo>
                    <a:pt x="294" y="27"/>
                  </a:lnTo>
                  <a:lnTo>
                    <a:pt x="294" y="37"/>
                  </a:lnTo>
                  <a:lnTo>
                    <a:pt x="308" y="42"/>
                  </a:lnTo>
                  <a:lnTo>
                    <a:pt x="316" y="48"/>
                  </a:lnTo>
                  <a:lnTo>
                    <a:pt x="305" y="54"/>
                  </a:lnTo>
                  <a:lnTo>
                    <a:pt x="314" y="78"/>
                  </a:lnTo>
                  <a:lnTo>
                    <a:pt x="312" y="84"/>
                  </a:lnTo>
                  <a:lnTo>
                    <a:pt x="324" y="101"/>
                  </a:lnTo>
                  <a:lnTo>
                    <a:pt x="316" y="104"/>
                  </a:lnTo>
                  <a:lnTo>
                    <a:pt x="310" y="99"/>
                  </a:lnTo>
                  <a:lnTo>
                    <a:pt x="289" y="96"/>
                  </a:lnTo>
                  <a:lnTo>
                    <a:pt x="282" y="100"/>
                  </a:lnTo>
                  <a:lnTo>
                    <a:pt x="263" y="103"/>
                  </a:lnTo>
                  <a:lnTo>
                    <a:pt x="254" y="103"/>
                  </a:lnTo>
                  <a:lnTo>
                    <a:pt x="235" y="110"/>
                  </a:lnTo>
                  <a:lnTo>
                    <a:pt x="221" y="110"/>
                  </a:lnTo>
                  <a:lnTo>
                    <a:pt x="212" y="106"/>
                  </a:lnTo>
                  <a:lnTo>
                    <a:pt x="193" y="112"/>
                  </a:lnTo>
                  <a:lnTo>
                    <a:pt x="187" y="108"/>
                  </a:lnTo>
                  <a:lnTo>
                    <a:pt x="188" y="120"/>
                  </a:lnTo>
                  <a:lnTo>
                    <a:pt x="184" y="124"/>
                  </a:lnTo>
                  <a:lnTo>
                    <a:pt x="180" y="129"/>
                  </a:lnTo>
                  <a:lnTo>
                    <a:pt x="172" y="119"/>
                  </a:lnTo>
                  <a:lnTo>
                    <a:pt x="178" y="112"/>
                  </a:lnTo>
                  <a:lnTo>
                    <a:pt x="167" y="113"/>
                  </a:lnTo>
                  <a:lnTo>
                    <a:pt x="153" y="109"/>
                  </a:lnTo>
                  <a:lnTo>
                    <a:pt x="142" y="120"/>
                  </a:lnTo>
                  <a:lnTo>
                    <a:pt x="116" y="123"/>
                  </a:lnTo>
                  <a:lnTo>
                    <a:pt x="101" y="112"/>
                  </a:lnTo>
                  <a:lnTo>
                    <a:pt x="82" y="111"/>
                  </a:lnTo>
                  <a:lnTo>
                    <a:pt x="80" y="120"/>
                  </a:lnTo>
                  <a:lnTo>
                    <a:pt x="68" y="122"/>
                  </a:lnTo>
                  <a:lnTo>
                    <a:pt x="50" y="111"/>
                  </a:lnTo>
                  <a:lnTo>
                    <a:pt x="31" y="111"/>
                  </a:lnTo>
                  <a:lnTo>
                    <a:pt x="19" y="91"/>
                  </a:lnTo>
                  <a:lnTo>
                    <a:pt x="6" y="79"/>
                  </a:lnTo>
                  <a:lnTo>
                    <a:pt x="12" y="63"/>
                  </a:lnTo>
                  <a:lnTo>
                    <a:pt x="0" y="53"/>
                  </a:lnTo>
                  <a:lnTo>
                    <a:pt x="17" y="34"/>
                  </a:lnTo>
                  <a:lnTo>
                    <a:pt x="43" y="33"/>
                  </a:lnTo>
                  <a:lnTo>
                    <a:pt x="48" y="17"/>
                  </a:lnTo>
                  <a:lnTo>
                    <a:pt x="81" y="20"/>
                  </a:lnTo>
                  <a:lnTo>
                    <a:pt x="99" y="7"/>
                  </a:lnTo>
                  <a:lnTo>
                    <a:pt x="118" y="1"/>
                  </a:lnTo>
                  <a:lnTo>
                    <a:pt x="145" y="0"/>
                  </a:lnTo>
                  <a:lnTo>
                    <a:pt x="177" y="15"/>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36" name="Freeform 199"/>
            <p:cNvSpPr>
              <a:spLocks/>
            </p:cNvSpPr>
            <p:nvPr/>
          </p:nvSpPr>
          <p:spPr bwMode="auto">
            <a:xfrm>
              <a:off x="4876800" y="2317754"/>
              <a:ext cx="79375" cy="65088"/>
            </a:xfrm>
            <a:custGeom>
              <a:avLst/>
              <a:gdLst>
                <a:gd name="T0" fmla="*/ 21 w 50"/>
                <a:gd name="T1" fmla="*/ 30 h 41"/>
                <a:gd name="T2" fmla="*/ 8 w 50"/>
                <a:gd name="T3" fmla="*/ 41 h 41"/>
                <a:gd name="T4" fmla="*/ 2 w 50"/>
                <a:gd name="T5" fmla="*/ 32 h 41"/>
                <a:gd name="T6" fmla="*/ 2 w 50"/>
                <a:gd name="T7" fmla="*/ 27 h 41"/>
                <a:gd name="T8" fmla="*/ 5 w 50"/>
                <a:gd name="T9" fmla="*/ 25 h 41"/>
                <a:gd name="T10" fmla="*/ 9 w 50"/>
                <a:gd name="T11" fmla="*/ 12 h 41"/>
                <a:gd name="T12" fmla="*/ 0 w 50"/>
                <a:gd name="T13" fmla="*/ 7 h 41"/>
                <a:gd name="T14" fmla="*/ 17 w 50"/>
                <a:gd name="T15" fmla="*/ 0 h 41"/>
                <a:gd name="T16" fmla="*/ 32 w 50"/>
                <a:gd name="T17" fmla="*/ 3 h 41"/>
                <a:gd name="T18" fmla="*/ 35 w 50"/>
                <a:gd name="T19" fmla="*/ 11 h 41"/>
                <a:gd name="T20" fmla="*/ 50 w 50"/>
                <a:gd name="T21" fmla="*/ 18 h 41"/>
                <a:gd name="T22" fmla="*/ 47 w 50"/>
                <a:gd name="T23" fmla="*/ 23 h 41"/>
                <a:gd name="T24" fmla="*/ 28 w 50"/>
                <a:gd name="T25" fmla="*/ 24 h 41"/>
                <a:gd name="T26" fmla="*/ 21 w 50"/>
                <a:gd name="T2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1">
                  <a:moveTo>
                    <a:pt x="21" y="30"/>
                  </a:moveTo>
                  <a:lnTo>
                    <a:pt x="8" y="41"/>
                  </a:lnTo>
                  <a:lnTo>
                    <a:pt x="2" y="32"/>
                  </a:lnTo>
                  <a:lnTo>
                    <a:pt x="2" y="27"/>
                  </a:lnTo>
                  <a:lnTo>
                    <a:pt x="5" y="25"/>
                  </a:lnTo>
                  <a:lnTo>
                    <a:pt x="9" y="12"/>
                  </a:lnTo>
                  <a:lnTo>
                    <a:pt x="0" y="7"/>
                  </a:lnTo>
                  <a:lnTo>
                    <a:pt x="17" y="0"/>
                  </a:lnTo>
                  <a:lnTo>
                    <a:pt x="32" y="3"/>
                  </a:lnTo>
                  <a:lnTo>
                    <a:pt x="35" y="11"/>
                  </a:lnTo>
                  <a:lnTo>
                    <a:pt x="50" y="18"/>
                  </a:lnTo>
                  <a:lnTo>
                    <a:pt x="47" y="23"/>
                  </a:lnTo>
                  <a:lnTo>
                    <a:pt x="28" y="24"/>
                  </a:lnTo>
                  <a:lnTo>
                    <a:pt x="21" y="3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37" name="Freeform 200"/>
            <p:cNvSpPr>
              <a:spLocks/>
            </p:cNvSpPr>
            <p:nvPr/>
          </p:nvSpPr>
          <p:spPr bwMode="auto">
            <a:xfrm>
              <a:off x="7599362" y="2871791"/>
              <a:ext cx="39688" cy="109538"/>
            </a:xfrm>
            <a:custGeom>
              <a:avLst/>
              <a:gdLst>
                <a:gd name="T0" fmla="*/ 25 w 25"/>
                <a:gd name="T1" fmla="*/ 19 h 69"/>
                <a:gd name="T2" fmla="*/ 22 w 25"/>
                <a:gd name="T3" fmla="*/ 52 h 69"/>
                <a:gd name="T4" fmla="*/ 19 w 25"/>
                <a:gd name="T5" fmla="*/ 69 h 69"/>
                <a:gd name="T6" fmla="*/ 5 w 25"/>
                <a:gd name="T7" fmla="*/ 51 h 69"/>
                <a:gd name="T8" fmla="*/ 0 w 25"/>
                <a:gd name="T9" fmla="*/ 36 h 69"/>
                <a:gd name="T10" fmla="*/ 5 w 25"/>
                <a:gd name="T11" fmla="*/ 16 h 69"/>
                <a:gd name="T12" fmla="*/ 15 w 25"/>
                <a:gd name="T13" fmla="*/ 0 h 69"/>
                <a:gd name="T14" fmla="*/ 25 w 25"/>
                <a:gd name="T15" fmla="*/ 6 h 69"/>
                <a:gd name="T16" fmla="*/ 25 w 25"/>
                <a:gd name="T17"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69">
                  <a:moveTo>
                    <a:pt x="25" y="19"/>
                  </a:moveTo>
                  <a:lnTo>
                    <a:pt x="22" y="52"/>
                  </a:lnTo>
                  <a:lnTo>
                    <a:pt x="19" y="69"/>
                  </a:lnTo>
                  <a:lnTo>
                    <a:pt x="5" y="51"/>
                  </a:lnTo>
                  <a:lnTo>
                    <a:pt x="0" y="36"/>
                  </a:lnTo>
                  <a:lnTo>
                    <a:pt x="5" y="16"/>
                  </a:lnTo>
                  <a:lnTo>
                    <a:pt x="15" y="0"/>
                  </a:lnTo>
                  <a:lnTo>
                    <a:pt x="25" y="6"/>
                  </a:lnTo>
                  <a:lnTo>
                    <a:pt x="25" y="1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38" name="Freeform 201"/>
            <p:cNvSpPr>
              <a:spLocks/>
            </p:cNvSpPr>
            <p:nvPr/>
          </p:nvSpPr>
          <p:spPr bwMode="auto">
            <a:xfrm>
              <a:off x="5037137" y="3736979"/>
              <a:ext cx="315913" cy="355600"/>
            </a:xfrm>
            <a:custGeom>
              <a:avLst/>
              <a:gdLst>
                <a:gd name="T0" fmla="*/ 84 w 199"/>
                <a:gd name="T1" fmla="*/ 0 h 224"/>
                <a:gd name="T2" fmla="*/ 87 w 199"/>
                <a:gd name="T3" fmla="*/ 2 h 224"/>
                <a:gd name="T4" fmla="*/ 154 w 199"/>
                <a:gd name="T5" fmla="*/ 45 h 224"/>
                <a:gd name="T6" fmla="*/ 155 w 199"/>
                <a:gd name="T7" fmla="*/ 57 h 224"/>
                <a:gd name="T8" fmla="*/ 181 w 199"/>
                <a:gd name="T9" fmla="*/ 78 h 224"/>
                <a:gd name="T10" fmla="*/ 172 w 199"/>
                <a:gd name="T11" fmla="*/ 103 h 224"/>
                <a:gd name="T12" fmla="*/ 173 w 199"/>
                <a:gd name="T13" fmla="*/ 115 h 224"/>
                <a:gd name="T14" fmla="*/ 184 w 199"/>
                <a:gd name="T15" fmla="*/ 123 h 224"/>
                <a:gd name="T16" fmla="*/ 185 w 199"/>
                <a:gd name="T17" fmla="*/ 128 h 224"/>
                <a:gd name="T18" fmla="*/ 180 w 199"/>
                <a:gd name="T19" fmla="*/ 141 h 224"/>
                <a:gd name="T20" fmla="*/ 181 w 199"/>
                <a:gd name="T21" fmla="*/ 147 h 224"/>
                <a:gd name="T22" fmla="*/ 179 w 199"/>
                <a:gd name="T23" fmla="*/ 157 h 224"/>
                <a:gd name="T24" fmla="*/ 185 w 199"/>
                <a:gd name="T25" fmla="*/ 170 h 224"/>
                <a:gd name="T26" fmla="*/ 192 w 199"/>
                <a:gd name="T27" fmla="*/ 190 h 224"/>
                <a:gd name="T28" fmla="*/ 199 w 199"/>
                <a:gd name="T29" fmla="*/ 195 h 224"/>
                <a:gd name="T30" fmla="*/ 184 w 199"/>
                <a:gd name="T31" fmla="*/ 207 h 224"/>
                <a:gd name="T32" fmla="*/ 164 w 199"/>
                <a:gd name="T33" fmla="*/ 215 h 224"/>
                <a:gd name="T34" fmla="*/ 153 w 199"/>
                <a:gd name="T35" fmla="*/ 215 h 224"/>
                <a:gd name="T36" fmla="*/ 146 w 199"/>
                <a:gd name="T37" fmla="*/ 221 h 224"/>
                <a:gd name="T38" fmla="*/ 133 w 199"/>
                <a:gd name="T39" fmla="*/ 221 h 224"/>
                <a:gd name="T40" fmla="*/ 128 w 199"/>
                <a:gd name="T41" fmla="*/ 224 h 224"/>
                <a:gd name="T42" fmla="*/ 107 w 199"/>
                <a:gd name="T43" fmla="*/ 218 h 224"/>
                <a:gd name="T44" fmla="*/ 93 w 199"/>
                <a:gd name="T45" fmla="*/ 220 h 224"/>
                <a:gd name="T46" fmla="*/ 89 w 199"/>
                <a:gd name="T47" fmla="*/ 192 h 224"/>
                <a:gd name="T48" fmla="*/ 82 w 199"/>
                <a:gd name="T49" fmla="*/ 182 h 224"/>
                <a:gd name="T50" fmla="*/ 79 w 199"/>
                <a:gd name="T51" fmla="*/ 176 h 224"/>
                <a:gd name="T52" fmla="*/ 61 w 199"/>
                <a:gd name="T53" fmla="*/ 172 h 224"/>
                <a:gd name="T54" fmla="*/ 51 w 199"/>
                <a:gd name="T55" fmla="*/ 166 h 224"/>
                <a:gd name="T56" fmla="*/ 39 w 199"/>
                <a:gd name="T57" fmla="*/ 163 h 224"/>
                <a:gd name="T58" fmla="*/ 32 w 199"/>
                <a:gd name="T59" fmla="*/ 159 h 224"/>
                <a:gd name="T60" fmla="*/ 25 w 199"/>
                <a:gd name="T61" fmla="*/ 154 h 224"/>
                <a:gd name="T62" fmla="*/ 15 w 199"/>
                <a:gd name="T63" fmla="*/ 127 h 224"/>
                <a:gd name="T64" fmla="*/ 5 w 199"/>
                <a:gd name="T65" fmla="*/ 116 h 224"/>
                <a:gd name="T66" fmla="*/ 1 w 199"/>
                <a:gd name="T67" fmla="*/ 104 h 224"/>
                <a:gd name="T68" fmla="*/ 3 w 199"/>
                <a:gd name="T69" fmla="*/ 93 h 224"/>
                <a:gd name="T70" fmla="*/ 0 w 199"/>
                <a:gd name="T71" fmla="*/ 74 h 224"/>
                <a:gd name="T72" fmla="*/ 7 w 199"/>
                <a:gd name="T73" fmla="*/ 73 h 224"/>
                <a:gd name="T74" fmla="*/ 14 w 199"/>
                <a:gd name="T75" fmla="*/ 65 h 224"/>
                <a:gd name="T76" fmla="*/ 22 w 199"/>
                <a:gd name="T77" fmla="*/ 54 h 224"/>
                <a:gd name="T78" fmla="*/ 26 w 199"/>
                <a:gd name="T79" fmla="*/ 50 h 224"/>
                <a:gd name="T80" fmla="*/ 26 w 199"/>
                <a:gd name="T81" fmla="*/ 43 h 224"/>
                <a:gd name="T82" fmla="*/ 22 w 199"/>
                <a:gd name="T83" fmla="*/ 39 h 224"/>
                <a:gd name="T84" fmla="*/ 21 w 199"/>
                <a:gd name="T85" fmla="*/ 31 h 224"/>
                <a:gd name="T86" fmla="*/ 26 w 199"/>
                <a:gd name="T87" fmla="*/ 28 h 224"/>
                <a:gd name="T88" fmla="*/ 28 w 199"/>
                <a:gd name="T89" fmla="*/ 16 h 224"/>
                <a:gd name="T90" fmla="*/ 20 w 199"/>
                <a:gd name="T91" fmla="*/ 4 h 224"/>
                <a:gd name="T92" fmla="*/ 27 w 199"/>
                <a:gd name="T93" fmla="*/ 2 h 224"/>
                <a:gd name="T94" fmla="*/ 47 w 199"/>
                <a:gd name="T95" fmla="*/ 2 h 224"/>
                <a:gd name="T96" fmla="*/ 84 w 199"/>
                <a:gd name="T9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24">
                  <a:moveTo>
                    <a:pt x="84" y="0"/>
                  </a:moveTo>
                  <a:lnTo>
                    <a:pt x="87" y="2"/>
                  </a:lnTo>
                  <a:lnTo>
                    <a:pt x="154" y="45"/>
                  </a:lnTo>
                  <a:lnTo>
                    <a:pt x="155" y="57"/>
                  </a:lnTo>
                  <a:lnTo>
                    <a:pt x="181" y="78"/>
                  </a:lnTo>
                  <a:lnTo>
                    <a:pt x="172" y="103"/>
                  </a:lnTo>
                  <a:lnTo>
                    <a:pt x="173" y="115"/>
                  </a:lnTo>
                  <a:lnTo>
                    <a:pt x="184" y="123"/>
                  </a:lnTo>
                  <a:lnTo>
                    <a:pt x="185" y="128"/>
                  </a:lnTo>
                  <a:lnTo>
                    <a:pt x="180" y="141"/>
                  </a:lnTo>
                  <a:lnTo>
                    <a:pt x="181" y="147"/>
                  </a:lnTo>
                  <a:lnTo>
                    <a:pt x="179" y="157"/>
                  </a:lnTo>
                  <a:lnTo>
                    <a:pt x="185" y="170"/>
                  </a:lnTo>
                  <a:lnTo>
                    <a:pt x="192" y="190"/>
                  </a:lnTo>
                  <a:lnTo>
                    <a:pt x="199" y="195"/>
                  </a:lnTo>
                  <a:lnTo>
                    <a:pt x="184" y="207"/>
                  </a:lnTo>
                  <a:lnTo>
                    <a:pt x="164" y="215"/>
                  </a:lnTo>
                  <a:lnTo>
                    <a:pt x="153" y="215"/>
                  </a:lnTo>
                  <a:lnTo>
                    <a:pt x="146" y="221"/>
                  </a:lnTo>
                  <a:lnTo>
                    <a:pt x="133" y="221"/>
                  </a:lnTo>
                  <a:lnTo>
                    <a:pt x="128" y="224"/>
                  </a:lnTo>
                  <a:lnTo>
                    <a:pt x="107" y="218"/>
                  </a:lnTo>
                  <a:lnTo>
                    <a:pt x="93" y="220"/>
                  </a:lnTo>
                  <a:lnTo>
                    <a:pt x="89" y="192"/>
                  </a:lnTo>
                  <a:lnTo>
                    <a:pt x="82" y="182"/>
                  </a:lnTo>
                  <a:lnTo>
                    <a:pt x="79" y="176"/>
                  </a:lnTo>
                  <a:lnTo>
                    <a:pt x="61" y="172"/>
                  </a:lnTo>
                  <a:lnTo>
                    <a:pt x="51" y="166"/>
                  </a:lnTo>
                  <a:lnTo>
                    <a:pt x="39" y="163"/>
                  </a:lnTo>
                  <a:lnTo>
                    <a:pt x="32" y="159"/>
                  </a:lnTo>
                  <a:lnTo>
                    <a:pt x="25" y="154"/>
                  </a:lnTo>
                  <a:lnTo>
                    <a:pt x="15" y="127"/>
                  </a:lnTo>
                  <a:lnTo>
                    <a:pt x="5" y="116"/>
                  </a:lnTo>
                  <a:lnTo>
                    <a:pt x="1" y="104"/>
                  </a:lnTo>
                  <a:lnTo>
                    <a:pt x="3" y="93"/>
                  </a:lnTo>
                  <a:lnTo>
                    <a:pt x="0" y="74"/>
                  </a:lnTo>
                  <a:lnTo>
                    <a:pt x="7" y="73"/>
                  </a:lnTo>
                  <a:lnTo>
                    <a:pt x="14" y="65"/>
                  </a:lnTo>
                  <a:lnTo>
                    <a:pt x="22" y="54"/>
                  </a:lnTo>
                  <a:lnTo>
                    <a:pt x="26" y="50"/>
                  </a:lnTo>
                  <a:lnTo>
                    <a:pt x="26" y="43"/>
                  </a:lnTo>
                  <a:lnTo>
                    <a:pt x="22" y="39"/>
                  </a:lnTo>
                  <a:lnTo>
                    <a:pt x="21" y="31"/>
                  </a:lnTo>
                  <a:lnTo>
                    <a:pt x="26" y="28"/>
                  </a:lnTo>
                  <a:lnTo>
                    <a:pt x="28" y="16"/>
                  </a:lnTo>
                  <a:lnTo>
                    <a:pt x="20" y="4"/>
                  </a:lnTo>
                  <a:lnTo>
                    <a:pt x="27" y="2"/>
                  </a:lnTo>
                  <a:lnTo>
                    <a:pt x="47" y="2"/>
                  </a:lnTo>
                  <a:lnTo>
                    <a:pt x="84" y="0"/>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39" name="Freeform 202"/>
            <p:cNvSpPr>
              <a:spLocks/>
            </p:cNvSpPr>
            <p:nvPr/>
          </p:nvSpPr>
          <p:spPr bwMode="auto">
            <a:xfrm>
              <a:off x="5045075" y="3565529"/>
              <a:ext cx="158750" cy="187325"/>
            </a:xfrm>
            <a:custGeom>
              <a:avLst/>
              <a:gdLst>
                <a:gd name="T0" fmla="*/ 42 w 100"/>
                <a:gd name="T1" fmla="*/ 110 h 118"/>
                <a:gd name="T2" fmla="*/ 22 w 100"/>
                <a:gd name="T3" fmla="*/ 110 h 118"/>
                <a:gd name="T4" fmla="*/ 15 w 100"/>
                <a:gd name="T5" fmla="*/ 112 h 118"/>
                <a:gd name="T6" fmla="*/ 4 w 100"/>
                <a:gd name="T7" fmla="*/ 118 h 118"/>
                <a:gd name="T8" fmla="*/ 0 w 100"/>
                <a:gd name="T9" fmla="*/ 116 h 118"/>
                <a:gd name="T10" fmla="*/ 0 w 100"/>
                <a:gd name="T11" fmla="*/ 101 h 118"/>
                <a:gd name="T12" fmla="*/ 4 w 100"/>
                <a:gd name="T13" fmla="*/ 93 h 118"/>
                <a:gd name="T14" fmla="*/ 5 w 100"/>
                <a:gd name="T15" fmla="*/ 76 h 118"/>
                <a:gd name="T16" fmla="*/ 9 w 100"/>
                <a:gd name="T17" fmla="*/ 66 h 118"/>
                <a:gd name="T18" fmla="*/ 16 w 100"/>
                <a:gd name="T19" fmla="*/ 56 h 118"/>
                <a:gd name="T20" fmla="*/ 23 w 100"/>
                <a:gd name="T21" fmla="*/ 50 h 118"/>
                <a:gd name="T22" fmla="*/ 29 w 100"/>
                <a:gd name="T23" fmla="*/ 43 h 118"/>
                <a:gd name="T24" fmla="*/ 22 w 100"/>
                <a:gd name="T25" fmla="*/ 40 h 118"/>
                <a:gd name="T26" fmla="*/ 23 w 100"/>
                <a:gd name="T27" fmla="*/ 16 h 118"/>
                <a:gd name="T28" fmla="*/ 30 w 100"/>
                <a:gd name="T29" fmla="*/ 10 h 118"/>
                <a:gd name="T30" fmla="*/ 42 w 100"/>
                <a:gd name="T31" fmla="*/ 14 h 118"/>
                <a:gd name="T32" fmla="*/ 57 w 100"/>
                <a:gd name="T33" fmla="*/ 10 h 118"/>
                <a:gd name="T34" fmla="*/ 69 w 100"/>
                <a:gd name="T35" fmla="*/ 10 h 118"/>
                <a:gd name="T36" fmla="*/ 81 w 100"/>
                <a:gd name="T37" fmla="*/ 0 h 118"/>
                <a:gd name="T38" fmla="*/ 90 w 100"/>
                <a:gd name="T39" fmla="*/ 15 h 118"/>
                <a:gd name="T40" fmla="*/ 92 w 100"/>
                <a:gd name="T41" fmla="*/ 25 h 118"/>
                <a:gd name="T42" fmla="*/ 100 w 100"/>
                <a:gd name="T43" fmla="*/ 49 h 118"/>
                <a:gd name="T44" fmla="*/ 93 w 100"/>
                <a:gd name="T45" fmla="*/ 64 h 118"/>
                <a:gd name="T46" fmla="*/ 84 w 100"/>
                <a:gd name="T47" fmla="*/ 78 h 118"/>
                <a:gd name="T48" fmla="*/ 79 w 100"/>
                <a:gd name="T49" fmla="*/ 86 h 118"/>
                <a:gd name="T50" fmla="*/ 79 w 100"/>
                <a:gd name="T51" fmla="*/ 108 h 118"/>
                <a:gd name="T52" fmla="*/ 42 w 100"/>
                <a:gd name="T53" fmla="*/ 1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118">
                  <a:moveTo>
                    <a:pt x="42" y="110"/>
                  </a:moveTo>
                  <a:lnTo>
                    <a:pt x="22" y="110"/>
                  </a:lnTo>
                  <a:lnTo>
                    <a:pt x="15" y="112"/>
                  </a:lnTo>
                  <a:lnTo>
                    <a:pt x="4" y="118"/>
                  </a:lnTo>
                  <a:lnTo>
                    <a:pt x="0" y="116"/>
                  </a:lnTo>
                  <a:lnTo>
                    <a:pt x="0" y="101"/>
                  </a:lnTo>
                  <a:lnTo>
                    <a:pt x="4" y="93"/>
                  </a:lnTo>
                  <a:lnTo>
                    <a:pt x="5" y="76"/>
                  </a:lnTo>
                  <a:lnTo>
                    <a:pt x="9" y="66"/>
                  </a:lnTo>
                  <a:lnTo>
                    <a:pt x="16" y="56"/>
                  </a:lnTo>
                  <a:lnTo>
                    <a:pt x="23" y="50"/>
                  </a:lnTo>
                  <a:lnTo>
                    <a:pt x="29" y="43"/>
                  </a:lnTo>
                  <a:lnTo>
                    <a:pt x="22" y="40"/>
                  </a:lnTo>
                  <a:lnTo>
                    <a:pt x="23" y="16"/>
                  </a:lnTo>
                  <a:lnTo>
                    <a:pt x="30" y="10"/>
                  </a:lnTo>
                  <a:lnTo>
                    <a:pt x="42" y="14"/>
                  </a:lnTo>
                  <a:lnTo>
                    <a:pt x="57" y="10"/>
                  </a:lnTo>
                  <a:lnTo>
                    <a:pt x="69" y="10"/>
                  </a:lnTo>
                  <a:lnTo>
                    <a:pt x="81" y="0"/>
                  </a:lnTo>
                  <a:lnTo>
                    <a:pt x="90" y="15"/>
                  </a:lnTo>
                  <a:lnTo>
                    <a:pt x="92" y="25"/>
                  </a:lnTo>
                  <a:lnTo>
                    <a:pt x="100" y="49"/>
                  </a:lnTo>
                  <a:lnTo>
                    <a:pt x="93" y="64"/>
                  </a:lnTo>
                  <a:lnTo>
                    <a:pt x="84" y="78"/>
                  </a:lnTo>
                  <a:lnTo>
                    <a:pt x="79" y="86"/>
                  </a:lnTo>
                  <a:lnTo>
                    <a:pt x="79" y="108"/>
                  </a:lnTo>
                  <a:lnTo>
                    <a:pt x="42" y="110"/>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40" name="Freeform 203"/>
            <p:cNvSpPr>
              <a:spLocks/>
            </p:cNvSpPr>
            <p:nvPr/>
          </p:nvSpPr>
          <p:spPr bwMode="auto">
            <a:xfrm>
              <a:off x="4748212" y="1989141"/>
              <a:ext cx="457200" cy="257175"/>
            </a:xfrm>
            <a:custGeom>
              <a:avLst/>
              <a:gdLst>
                <a:gd name="T0" fmla="*/ 149 w 288"/>
                <a:gd name="T1" fmla="*/ 6 h 162"/>
                <a:gd name="T2" fmla="*/ 157 w 288"/>
                <a:gd name="T3" fmla="*/ 2 h 162"/>
                <a:gd name="T4" fmla="*/ 186 w 288"/>
                <a:gd name="T5" fmla="*/ 11 h 162"/>
                <a:gd name="T6" fmla="*/ 185 w 288"/>
                <a:gd name="T7" fmla="*/ 22 h 162"/>
                <a:gd name="T8" fmla="*/ 205 w 288"/>
                <a:gd name="T9" fmla="*/ 31 h 162"/>
                <a:gd name="T10" fmla="*/ 227 w 288"/>
                <a:gd name="T11" fmla="*/ 42 h 162"/>
                <a:gd name="T12" fmla="*/ 251 w 288"/>
                <a:gd name="T13" fmla="*/ 49 h 162"/>
                <a:gd name="T14" fmla="*/ 285 w 288"/>
                <a:gd name="T15" fmla="*/ 55 h 162"/>
                <a:gd name="T16" fmla="*/ 282 w 288"/>
                <a:gd name="T17" fmla="*/ 72 h 162"/>
                <a:gd name="T18" fmla="*/ 287 w 288"/>
                <a:gd name="T19" fmla="*/ 89 h 162"/>
                <a:gd name="T20" fmla="*/ 264 w 288"/>
                <a:gd name="T21" fmla="*/ 97 h 162"/>
                <a:gd name="T22" fmla="*/ 253 w 288"/>
                <a:gd name="T23" fmla="*/ 107 h 162"/>
                <a:gd name="T24" fmla="*/ 228 w 288"/>
                <a:gd name="T25" fmla="*/ 115 h 162"/>
                <a:gd name="T26" fmla="*/ 218 w 288"/>
                <a:gd name="T27" fmla="*/ 135 h 162"/>
                <a:gd name="T28" fmla="*/ 244 w 288"/>
                <a:gd name="T29" fmla="*/ 139 h 162"/>
                <a:gd name="T30" fmla="*/ 224 w 288"/>
                <a:gd name="T31" fmla="*/ 150 h 162"/>
                <a:gd name="T32" fmla="*/ 194 w 288"/>
                <a:gd name="T33" fmla="*/ 158 h 162"/>
                <a:gd name="T34" fmla="*/ 177 w 288"/>
                <a:gd name="T35" fmla="*/ 142 h 162"/>
                <a:gd name="T36" fmla="*/ 194 w 288"/>
                <a:gd name="T37" fmla="*/ 131 h 162"/>
                <a:gd name="T38" fmla="*/ 162 w 288"/>
                <a:gd name="T39" fmla="*/ 121 h 162"/>
                <a:gd name="T40" fmla="*/ 145 w 288"/>
                <a:gd name="T41" fmla="*/ 116 h 162"/>
                <a:gd name="T42" fmla="*/ 130 w 288"/>
                <a:gd name="T43" fmla="*/ 143 h 162"/>
                <a:gd name="T44" fmla="*/ 115 w 288"/>
                <a:gd name="T45" fmla="*/ 142 h 162"/>
                <a:gd name="T46" fmla="*/ 111 w 288"/>
                <a:gd name="T47" fmla="*/ 137 h 162"/>
                <a:gd name="T48" fmla="*/ 117 w 288"/>
                <a:gd name="T49" fmla="*/ 123 h 162"/>
                <a:gd name="T50" fmla="*/ 118 w 288"/>
                <a:gd name="T51" fmla="*/ 118 h 162"/>
                <a:gd name="T52" fmla="*/ 130 w 288"/>
                <a:gd name="T53" fmla="*/ 121 h 162"/>
                <a:gd name="T54" fmla="*/ 131 w 288"/>
                <a:gd name="T55" fmla="*/ 118 h 162"/>
                <a:gd name="T56" fmla="*/ 125 w 288"/>
                <a:gd name="T57" fmla="*/ 109 h 162"/>
                <a:gd name="T58" fmla="*/ 115 w 288"/>
                <a:gd name="T59" fmla="*/ 98 h 162"/>
                <a:gd name="T60" fmla="*/ 107 w 288"/>
                <a:gd name="T61" fmla="*/ 85 h 162"/>
                <a:gd name="T62" fmla="*/ 87 w 288"/>
                <a:gd name="T63" fmla="*/ 78 h 162"/>
                <a:gd name="T64" fmla="*/ 74 w 288"/>
                <a:gd name="T65" fmla="*/ 83 h 162"/>
                <a:gd name="T66" fmla="*/ 63 w 288"/>
                <a:gd name="T67" fmla="*/ 88 h 162"/>
                <a:gd name="T68" fmla="*/ 46 w 288"/>
                <a:gd name="T69" fmla="*/ 93 h 162"/>
                <a:gd name="T70" fmla="*/ 28 w 288"/>
                <a:gd name="T71" fmla="*/ 88 h 162"/>
                <a:gd name="T72" fmla="*/ 11 w 288"/>
                <a:gd name="T73" fmla="*/ 90 h 162"/>
                <a:gd name="T74" fmla="*/ 0 w 288"/>
                <a:gd name="T75" fmla="*/ 79 h 162"/>
                <a:gd name="T76" fmla="*/ 6 w 288"/>
                <a:gd name="T77" fmla="*/ 66 h 162"/>
                <a:gd name="T78" fmla="*/ 4 w 288"/>
                <a:gd name="T79" fmla="*/ 58 h 162"/>
                <a:gd name="T80" fmla="*/ 24 w 288"/>
                <a:gd name="T81" fmla="*/ 39 h 162"/>
                <a:gd name="T82" fmla="*/ 15 w 288"/>
                <a:gd name="T83" fmla="*/ 15 h 162"/>
                <a:gd name="T84" fmla="*/ 30 w 288"/>
                <a:gd name="T85" fmla="*/ 9 h 162"/>
                <a:gd name="T86" fmla="*/ 58 w 288"/>
                <a:gd name="T87" fmla="*/ 10 h 162"/>
                <a:gd name="T88" fmla="*/ 89 w 288"/>
                <a:gd name="T89" fmla="*/ 15 h 162"/>
                <a:gd name="T90" fmla="*/ 101 w 288"/>
                <a:gd name="T91" fmla="*/ 15 h 162"/>
                <a:gd name="T92" fmla="*/ 120 w 288"/>
                <a:gd name="T93" fmla="*/ 19 h 162"/>
                <a:gd name="T94" fmla="*/ 126 w 288"/>
                <a:gd name="T95" fmla="*/ 10 h 162"/>
                <a:gd name="T96" fmla="*/ 143 w 288"/>
                <a:gd name="T97" fmla="*/ 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162">
                  <a:moveTo>
                    <a:pt x="143" y="5"/>
                  </a:moveTo>
                  <a:lnTo>
                    <a:pt x="149" y="6"/>
                  </a:lnTo>
                  <a:lnTo>
                    <a:pt x="152" y="1"/>
                  </a:lnTo>
                  <a:lnTo>
                    <a:pt x="157" y="2"/>
                  </a:lnTo>
                  <a:lnTo>
                    <a:pt x="173" y="0"/>
                  </a:lnTo>
                  <a:lnTo>
                    <a:pt x="186" y="11"/>
                  </a:lnTo>
                  <a:lnTo>
                    <a:pt x="182" y="15"/>
                  </a:lnTo>
                  <a:lnTo>
                    <a:pt x="185" y="22"/>
                  </a:lnTo>
                  <a:lnTo>
                    <a:pt x="198" y="23"/>
                  </a:lnTo>
                  <a:lnTo>
                    <a:pt x="205" y="31"/>
                  </a:lnTo>
                  <a:lnTo>
                    <a:pt x="206" y="35"/>
                  </a:lnTo>
                  <a:lnTo>
                    <a:pt x="227" y="42"/>
                  </a:lnTo>
                  <a:lnTo>
                    <a:pt x="239" y="39"/>
                  </a:lnTo>
                  <a:lnTo>
                    <a:pt x="251" y="49"/>
                  </a:lnTo>
                  <a:lnTo>
                    <a:pt x="260" y="49"/>
                  </a:lnTo>
                  <a:lnTo>
                    <a:pt x="285" y="55"/>
                  </a:lnTo>
                  <a:lnTo>
                    <a:pt x="286" y="61"/>
                  </a:lnTo>
                  <a:lnTo>
                    <a:pt x="282" y="72"/>
                  </a:lnTo>
                  <a:lnTo>
                    <a:pt x="288" y="83"/>
                  </a:lnTo>
                  <a:lnTo>
                    <a:pt x="287" y="89"/>
                  </a:lnTo>
                  <a:lnTo>
                    <a:pt x="271" y="91"/>
                  </a:lnTo>
                  <a:lnTo>
                    <a:pt x="264" y="97"/>
                  </a:lnTo>
                  <a:lnTo>
                    <a:pt x="265" y="106"/>
                  </a:lnTo>
                  <a:lnTo>
                    <a:pt x="253" y="107"/>
                  </a:lnTo>
                  <a:lnTo>
                    <a:pt x="243" y="114"/>
                  </a:lnTo>
                  <a:lnTo>
                    <a:pt x="228" y="115"/>
                  </a:lnTo>
                  <a:lnTo>
                    <a:pt x="215" y="123"/>
                  </a:lnTo>
                  <a:lnTo>
                    <a:pt x="218" y="135"/>
                  </a:lnTo>
                  <a:lnTo>
                    <a:pt x="227" y="140"/>
                  </a:lnTo>
                  <a:lnTo>
                    <a:pt x="244" y="139"/>
                  </a:lnTo>
                  <a:lnTo>
                    <a:pt x="242" y="146"/>
                  </a:lnTo>
                  <a:lnTo>
                    <a:pt x="224" y="150"/>
                  </a:lnTo>
                  <a:lnTo>
                    <a:pt x="204" y="162"/>
                  </a:lnTo>
                  <a:lnTo>
                    <a:pt x="194" y="158"/>
                  </a:lnTo>
                  <a:lnTo>
                    <a:pt x="196" y="148"/>
                  </a:lnTo>
                  <a:lnTo>
                    <a:pt x="177" y="142"/>
                  </a:lnTo>
                  <a:lnTo>
                    <a:pt x="179" y="138"/>
                  </a:lnTo>
                  <a:lnTo>
                    <a:pt x="194" y="131"/>
                  </a:lnTo>
                  <a:lnTo>
                    <a:pt x="189" y="127"/>
                  </a:lnTo>
                  <a:lnTo>
                    <a:pt x="162" y="121"/>
                  </a:lnTo>
                  <a:lnTo>
                    <a:pt x="160" y="114"/>
                  </a:lnTo>
                  <a:lnTo>
                    <a:pt x="145" y="116"/>
                  </a:lnTo>
                  <a:lnTo>
                    <a:pt x="141" y="128"/>
                  </a:lnTo>
                  <a:lnTo>
                    <a:pt x="130" y="143"/>
                  </a:lnTo>
                  <a:lnTo>
                    <a:pt x="123" y="139"/>
                  </a:lnTo>
                  <a:lnTo>
                    <a:pt x="115" y="142"/>
                  </a:lnTo>
                  <a:lnTo>
                    <a:pt x="107" y="139"/>
                  </a:lnTo>
                  <a:lnTo>
                    <a:pt x="111" y="137"/>
                  </a:lnTo>
                  <a:lnTo>
                    <a:pt x="113" y="130"/>
                  </a:lnTo>
                  <a:lnTo>
                    <a:pt x="117" y="123"/>
                  </a:lnTo>
                  <a:lnTo>
                    <a:pt x="115" y="119"/>
                  </a:lnTo>
                  <a:lnTo>
                    <a:pt x="118" y="118"/>
                  </a:lnTo>
                  <a:lnTo>
                    <a:pt x="120" y="120"/>
                  </a:lnTo>
                  <a:lnTo>
                    <a:pt x="130" y="121"/>
                  </a:lnTo>
                  <a:lnTo>
                    <a:pt x="134" y="120"/>
                  </a:lnTo>
                  <a:lnTo>
                    <a:pt x="131" y="118"/>
                  </a:lnTo>
                  <a:lnTo>
                    <a:pt x="131" y="115"/>
                  </a:lnTo>
                  <a:lnTo>
                    <a:pt x="125" y="109"/>
                  </a:lnTo>
                  <a:lnTo>
                    <a:pt x="121" y="101"/>
                  </a:lnTo>
                  <a:lnTo>
                    <a:pt x="115" y="98"/>
                  </a:lnTo>
                  <a:lnTo>
                    <a:pt x="115" y="90"/>
                  </a:lnTo>
                  <a:lnTo>
                    <a:pt x="107" y="85"/>
                  </a:lnTo>
                  <a:lnTo>
                    <a:pt x="100" y="84"/>
                  </a:lnTo>
                  <a:lnTo>
                    <a:pt x="87" y="78"/>
                  </a:lnTo>
                  <a:lnTo>
                    <a:pt x="77" y="80"/>
                  </a:lnTo>
                  <a:lnTo>
                    <a:pt x="74" y="83"/>
                  </a:lnTo>
                  <a:lnTo>
                    <a:pt x="67" y="83"/>
                  </a:lnTo>
                  <a:lnTo>
                    <a:pt x="63" y="88"/>
                  </a:lnTo>
                  <a:lnTo>
                    <a:pt x="52" y="90"/>
                  </a:lnTo>
                  <a:lnTo>
                    <a:pt x="46" y="93"/>
                  </a:lnTo>
                  <a:lnTo>
                    <a:pt x="38" y="88"/>
                  </a:lnTo>
                  <a:lnTo>
                    <a:pt x="28" y="88"/>
                  </a:lnTo>
                  <a:lnTo>
                    <a:pt x="18" y="86"/>
                  </a:lnTo>
                  <a:lnTo>
                    <a:pt x="11" y="90"/>
                  </a:lnTo>
                  <a:lnTo>
                    <a:pt x="9" y="84"/>
                  </a:lnTo>
                  <a:lnTo>
                    <a:pt x="0" y="79"/>
                  </a:lnTo>
                  <a:lnTo>
                    <a:pt x="2" y="71"/>
                  </a:lnTo>
                  <a:lnTo>
                    <a:pt x="6" y="66"/>
                  </a:lnTo>
                  <a:lnTo>
                    <a:pt x="9" y="67"/>
                  </a:lnTo>
                  <a:lnTo>
                    <a:pt x="4" y="58"/>
                  </a:lnTo>
                  <a:lnTo>
                    <a:pt x="17" y="41"/>
                  </a:lnTo>
                  <a:lnTo>
                    <a:pt x="24" y="39"/>
                  </a:lnTo>
                  <a:lnTo>
                    <a:pt x="25" y="33"/>
                  </a:lnTo>
                  <a:lnTo>
                    <a:pt x="15" y="15"/>
                  </a:lnTo>
                  <a:lnTo>
                    <a:pt x="22" y="14"/>
                  </a:lnTo>
                  <a:lnTo>
                    <a:pt x="30" y="9"/>
                  </a:lnTo>
                  <a:lnTo>
                    <a:pt x="42" y="8"/>
                  </a:lnTo>
                  <a:lnTo>
                    <a:pt x="58" y="10"/>
                  </a:lnTo>
                  <a:lnTo>
                    <a:pt x="77" y="15"/>
                  </a:lnTo>
                  <a:lnTo>
                    <a:pt x="89" y="15"/>
                  </a:lnTo>
                  <a:lnTo>
                    <a:pt x="95" y="18"/>
                  </a:lnTo>
                  <a:lnTo>
                    <a:pt x="101" y="15"/>
                  </a:lnTo>
                  <a:lnTo>
                    <a:pt x="106" y="19"/>
                  </a:lnTo>
                  <a:lnTo>
                    <a:pt x="120" y="19"/>
                  </a:lnTo>
                  <a:lnTo>
                    <a:pt x="126" y="20"/>
                  </a:lnTo>
                  <a:lnTo>
                    <a:pt x="126" y="10"/>
                  </a:lnTo>
                  <a:lnTo>
                    <a:pt x="130" y="6"/>
                  </a:lnTo>
                  <a:lnTo>
                    <a:pt x="143" y="5"/>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41" name="Freeform 204"/>
            <p:cNvSpPr>
              <a:spLocks/>
            </p:cNvSpPr>
            <p:nvPr/>
          </p:nvSpPr>
          <p:spPr bwMode="auto">
            <a:xfrm>
              <a:off x="2566987" y="4699004"/>
              <a:ext cx="142875" cy="158750"/>
            </a:xfrm>
            <a:custGeom>
              <a:avLst/>
              <a:gdLst>
                <a:gd name="T0" fmla="*/ 3 w 90"/>
                <a:gd name="T1" fmla="*/ 2 h 100"/>
                <a:gd name="T2" fmla="*/ 14 w 90"/>
                <a:gd name="T3" fmla="*/ 0 h 100"/>
                <a:gd name="T4" fmla="*/ 35 w 90"/>
                <a:gd name="T5" fmla="*/ 16 h 100"/>
                <a:gd name="T6" fmla="*/ 41 w 90"/>
                <a:gd name="T7" fmla="*/ 15 h 100"/>
                <a:gd name="T8" fmla="*/ 61 w 90"/>
                <a:gd name="T9" fmla="*/ 29 h 100"/>
                <a:gd name="T10" fmla="*/ 77 w 90"/>
                <a:gd name="T11" fmla="*/ 40 h 100"/>
                <a:gd name="T12" fmla="*/ 89 w 90"/>
                <a:gd name="T13" fmla="*/ 54 h 100"/>
                <a:gd name="T14" fmla="*/ 83 w 90"/>
                <a:gd name="T15" fmla="*/ 64 h 100"/>
                <a:gd name="T16" fmla="*/ 90 w 90"/>
                <a:gd name="T17" fmla="*/ 76 h 100"/>
                <a:gd name="T18" fmla="*/ 84 w 90"/>
                <a:gd name="T19" fmla="*/ 89 h 100"/>
                <a:gd name="T20" fmla="*/ 67 w 90"/>
                <a:gd name="T21" fmla="*/ 100 h 100"/>
                <a:gd name="T22" fmla="*/ 53 w 90"/>
                <a:gd name="T23" fmla="*/ 96 h 100"/>
                <a:gd name="T24" fmla="*/ 44 w 90"/>
                <a:gd name="T25" fmla="*/ 98 h 100"/>
                <a:gd name="T26" fmla="*/ 27 w 90"/>
                <a:gd name="T27" fmla="*/ 89 h 100"/>
                <a:gd name="T28" fmla="*/ 15 w 90"/>
                <a:gd name="T29" fmla="*/ 90 h 100"/>
                <a:gd name="T30" fmla="*/ 2 w 90"/>
                <a:gd name="T31" fmla="*/ 79 h 100"/>
                <a:gd name="T32" fmla="*/ 1 w 90"/>
                <a:gd name="T33" fmla="*/ 65 h 100"/>
                <a:gd name="T34" fmla="*/ 4 w 90"/>
                <a:gd name="T35" fmla="*/ 61 h 100"/>
                <a:gd name="T36" fmla="*/ 0 w 90"/>
                <a:gd name="T37" fmla="*/ 40 h 100"/>
                <a:gd name="T38" fmla="*/ 2 w 90"/>
                <a:gd name="T39" fmla="*/ 19 h 100"/>
                <a:gd name="T40" fmla="*/ 3 w 90"/>
                <a:gd name="T41" fmla="*/ 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0">
                  <a:moveTo>
                    <a:pt x="3" y="2"/>
                  </a:moveTo>
                  <a:lnTo>
                    <a:pt x="14" y="0"/>
                  </a:lnTo>
                  <a:lnTo>
                    <a:pt x="35" y="16"/>
                  </a:lnTo>
                  <a:lnTo>
                    <a:pt x="41" y="15"/>
                  </a:lnTo>
                  <a:lnTo>
                    <a:pt x="61" y="29"/>
                  </a:lnTo>
                  <a:lnTo>
                    <a:pt x="77" y="40"/>
                  </a:lnTo>
                  <a:lnTo>
                    <a:pt x="89" y="54"/>
                  </a:lnTo>
                  <a:lnTo>
                    <a:pt x="83" y="64"/>
                  </a:lnTo>
                  <a:lnTo>
                    <a:pt x="90" y="76"/>
                  </a:lnTo>
                  <a:lnTo>
                    <a:pt x="84" y="89"/>
                  </a:lnTo>
                  <a:lnTo>
                    <a:pt x="67" y="100"/>
                  </a:lnTo>
                  <a:lnTo>
                    <a:pt x="53" y="96"/>
                  </a:lnTo>
                  <a:lnTo>
                    <a:pt x="44" y="98"/>
                  </a:lnTo>
                  <a:lnTo>
                    <a:pt x="27" y="89"/>
                  </a:lnTo>
                  <a:lnTo>
                    <a:pt x="15" y="90"/>
                  </a:lnTo>
                  <a:lnTo>
                    <a:pt x="2" y="79"/>
                  </a:lnTo>
                  <a:lnTo>
                    <a:pt x="1" y="65"/>
                  </a:lnTo>
                  <a:lnTo>
                    <a:pt x="4" y="61"/>
                  </a:lnTo>
                  <a:lnTo>
                    <a:pt x="0" y="40"/>
                  </a:lnTo>
                  <a:lnTo>
                    <a:pt x="2" y="19"/>
                  </a:lnTo>
                  <a:lnTo>
                    <a:pt x="3" y="2"/>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42" name="Freeform 205"/>
            <p:cNvSpPr>
              <a:spLocks/>
            </p:cNvSpPr>
            <p:nvPr/>
          </p:nvSpPr>
          <p:spPr bwMode="auto">
            <a:xfrm>
              <a:off x="474662" y="1811341"/>
              <a:ext cx="76200" cy="39688"/>
            </a:xfrm>
            <a:custGeom>
              <a:avLst/>
              <a:gdLst>
                <a:gd name="T0" fmla="*/ 25 w 48"/>
                <a:gd name="T1" fmla="*/ 17 h 25"/>
                <a:gd name="T2" fmla="*/ 3 w 48"/>
                <a:gd name="T3" fmla="*/ 25 h 25"/>
                <a:gd name="T4" fmla="*/ 0 w 48"/>
                <a:gd name="T5" fmla="*/ 19 h 25"/>
                <a:gd name="T6" fmla="*/ 7 w 48"/>
                <a:gd name="T7" fmla="*/ 10 h 25"/>
                <a:gd name="T8" fmla="*/ 28 w 48"/>
                <a:gd name="T9" fmla="*/ 3 h 25"/>
                <a:gd name="T10" fmla="*/ 40 w 48"/>
                <a:gd name="T11" fmla="*/ 0 h 25"/>
                <a:gd name="T12" fmla="*/ 48 w 48"/>
                <a:gd name="T13" fmla="*/ 2 h 25"/>
                <a:gd name="T14" fmla="*/ 48 w 48"/>
                <a:gd name="T15" fmla="*/ 8 h 25"/>
                <a:gd name="T16" fmla="*/ 25 w 48"/>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5">
                  <a:moveTo>
                    <a:pt x="25" y="17"/>
                  </a:moveTo>
                  <a:lnTo>
                    <a:pt x="3" y="25"/>
                  </a:lnTo>
                  <a:lnTo>
                    <a:pt x="0" y="19"/>
                  </a:lnTo>
                  <a:lnTo>
                    <a:pt x="7" y="10"/>
                  </a:lnTo>
                  <a:lnTo>
                    <a:pt x="28" y="3"/>
                  </a:lnTo>
                  <a:lnTo>
                    <a:pt x="40" y="0"/>
                  </a:lnTo>
                  <a:lnTo>
                    <a:pt x="48" y="2"/>
                  </a:lnTo>
                  <a:lnTo>
                    <a:pt x="48" y="8"/>
                  </a:lnTo>
                  <a:lnTo>
                    <a:pt x="25" y="1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43" name="Freeform 207"/>
            <p:cNvSpPr>
              <a:spLocks/>
            </p:cNvSpPr>
            <p:nvPr/>
          </p:nvSpPr>
          <p:spPr bwMode="auto">
            <a:xfrm>
              <a:off x="280987" y="1738316"/>
              <a:ext cx="44450" cy="19050"/>
            </a:xfrm>
            <a:custGeom>
              <a:avLst/>
              <a:gdLst>
                <a:gd name="T0" fmla="*/ 21 w 28"/>
                <a:gd name="T1" fmla="*/ 9 h 12"/>
                <a:gd name="T2" fmla="*/ 8 w 28"/>
                <a:gd name="T3" fmla="*/ 12 h 12"/>
                <a:gd name="T4" fmla="*/ 3 w 28"/>
                <a:gd name="T5" fmla="*/ 8 h 12"/>
                <a:gd name="T6" fmla="*/ 0 w 28"/>
                <a:gd name="T7" fmla="*/ 3 h 12"/>
                <a:gd name="T8" fmla="*/ 19 w 28"/>
                <a:gd name="T9" fmla="*/ 0 h 12"/>
                <a:gd name="T10" fmla="*/ 28 w 28"/>
                <a:gd name="T11" fmla="*/ 1 h 12"/>
                <a:gd name="T12" fmla="*/ 21 w 28"/>
                <a:gd name="T13" fmla="*/ 9 h 12"/>
              </a:gdLst>
              <a:ahLst/>
              <a:cxnLst>
                <a:cxn ang="0">
                  <a:pos x="T0" y="T1"/>
                </a:cxn>
                <a:cxn ang="0">
                  <a:pos x="T2" y="T3"/>
                </a:cxn>
                <a:cxn ang="0">
                  <a:pos x="T4" y="T5"/>
                </a:cxn>
                <a:cxn ang="0">
                  <a:pos x="T6" y="T7"/>
                </a:cxn>
                <a:cxn ang="0">
                  <a:pos x="T8" y="T9"/>
                </a:cxn>
                <a:cxn ang="0">
                  <a:pos x="T10" y="T11"/>
                </a:cxn>
                <a:cxn ang="0">
                  <a:pos x="T12" y="T13"/>
                </a:cxn>
              </a:cxnLst>
              <a:rect l="0" t="0" r="r" b="b"/>
              <a:pathLst>
                <a:path w="28" h="12">
                  <a:moveTo>
                    <a:pt x="21" y="9"/>
                  </a:moveTo>
                  <a:lnTo>
                    <a:pt x="8" y="12"/>
                  </a:lnTo>
                  <a:lnTo>
                    <a:pt x="3" y="8"/>
                  </a:lnTo>
                  <a:lnTo>
                    <a:pt x="0" y="3"/>
                  </a:lnTo>
                  <a:lnTo>
                    <a:pt x="19" y="0"/>
                  </a:lnTo>
                  <a:lnTo>
                    <a:pt x="28" y="1"/>
                  </a:lnTo>
                  <a:lnTo>
                    <a:pt x="21" y="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44" name="Freeform 208"/>
            <p:cNvSpPr>
              <a:spLocks/>
            </p:cNvSpPr>
            <p:nvPr/>
          </p:nvSpPr>
          <p:spPr bwMode="auto">
            <a:xfrm>
              <a:off x="307975" y="1635129"/>
              <a:ext cx="65088" cy="23813"/>
            </a:xfrm>
            <a:custGeom>
              <a:avLst/>
              <a:gdLst>
                <a:gd name="T0" fmla="*/ 10 w 41"/>
                <a:gd name="T1" fmla="*/ 0 h 15"/>
                <a:gd name="T2" fmla="*/ 14 w 41"/>
                <a:gd name="T3" fmla="*/ 4 h 15"/>
                <a:gd name="T4" fmla="*/ 26 w 41"/>
                <a:gd name="T5" fmla="*/ 2 h 15"/>
                <a:gd name="T6" fmla="*/ 30 w 41"/>
                <a:gd name="T7" fmla="*/ 7 h 15"/>
                <a:gd name="T8" fmla="*/ 41 w 41"/>
                <a:gd name="T9" fmla="*/ 9 h 15"/>
                <a:gd name="T10" fmla="*/ 37 w 41"/>
                <a:gd name="T11" fmla="*/ 11 h 15"/>
                <a:gd name="T12" fmla="*/ 21 w 41"/>
                <a:gd name="T13" fmla="*/ 15 h 15"/>
                <a:gd name="T14" fmla="*/ 16 w 41"/>
                <a:gd name="T15" fmla="*/ 11 h 15"/>
                <a:gd name="T16" fmla="*/ 15 w 41"/>
                <a:gd name="T17" fmla="*/ 8 h 15"/>
                <a:gd name="T18" fmla="*/ 1 w 41"/>
                <a:gd name="T19" fmla="*/ 9 h 15"/>
                <a:gd name="T20" fmla="*/ 0 w 41"/>
                <a:gd name="T21" fmla="*/ 7 h 15"/>
                <a:gd name="T22" fmla="*/ 10 w 41"/>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15">
                  <a:moveTo>
                    <a:pt x="10" y="0"/>
                  </a:moveTo>
                  <a:lnTo>
                    <a:pt x="14" y="4"/>
                  </a:lnTo>
                  <a:lnTo>
                    <a:pt x="26" y="2"/>
                  </a:lnTo>
                  <a:lnTo>
                    <a:pt x="30" y="7"/>
                  </a:lnTo>
                  <a:lnTo>
                    <a:pt x="41" y="9"/>
                  </a:lnTo>
                  <a:lnTo>
                    <a:pt x="37" y="11"/>
                  </a:lnTo>
                  <a:lnTo>
                    <a:pt x="21" y="15"/>
                  </a:lnTo>
                  <a:lnTo>
                    <a:pt x="16" y="11"/>
                  </a:lnTo>
                  <a:lnTo>
                    <a:pt x="15" y="8"/>
                  </a:lnTo>
                  <a:lnTo>
                    <a:pt x="1" y="9"/>
                  </a:lnTo>
                  <a:lnTo>
                    <a:pt x="0" y="7"/>
                  </a:lnTo>
                  <a:lnTo>
                    <a:pt x="10"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45" name="Freeform 209"/>
            <p:cNvSpPr>
              <a:spLocks/>
            </p:cNvSpPr>
            <p:nvPr/>
          </p:nvSpPr>
          <p:spPr bwMode="auto">
            <a:xfrm>
              <a:off x="141287" y="1420816"/>
              <a:ext cx="1082675" cy="503238"/>
            </a:xfrm>
            <a:custGeom>
              <a:avLst/>
              <a:gdLst>
                <a:gd name="T0" fmla="*/ 542 w 682"/>
                <a:gd name="T1" fmla="*/ 8 h 317"/>
                <a:gd name="T2" fmla="*/ 572 w 682"/>
                <a:gd name="T3" fmla="*/ 16 h 317"/>
                <a:gd name="T4" fmla="*/ 630 w 682"/>
                <a:gd name="T5" fmla="*/ 21 h 317"/>
                <a:gd name="T6" fmla="*/ 671 w 682"/>
                <a:gd name="T7" fmla="*/ 26 h 317"/>
                <a:gd name="T8" fmla="*/ 598 w 682"/>
                <a:gd name="T9" fmla="*/ 94 h 317"/>
                <a:gd name="T10" fmla="*/ 501 w 682"/>
                <a:gd name="T11" fmla="*/ 207 h 317"/>
                <a:gd name="T12" fmla="*/ 529 w 682"/>
                <a:gd name="T13" fmla="*/ 217 h 317"/>
                <a:gd name="T14" fmla="*/ 550 w 682"/>
                <a:gd name="T15" fmla="*/ 229 h 317"/>
                <a:gd name="T16" fmla="*/ 547 w 682"/>
                <a:gd name="T17" fmla="*/ 274 h 317"/>
                <a:gd name="T18" fmla="*/ 536 w 682"/>
                <a:gd name="T19" fmla="*/ 309 h 317"/>
                <a:gd name="T20" fmla="*/ 536 w 682"/>
                <a:gd name="T21" fmla="*/ 278 h 317"/>
                <a:gd name="T22" fmla="*/ 526 w 682"/>
                <a:gd name="T23" fmla="*/ 242 h 317"/>
                <a:gd name="T24" fmla="*/ 480 w 682"/>
                <a:gd name="T25" fmla="*/ 216 h 317"/>
                <a:gd name="T26" fmla="*/ 429 w 682"/>
                <a:gd name="T27" fmla="*/ 207 h 317"/>
                <a:gd name="T28" fmla="*/ 380 w 682"/>
                <a:gd name="T29" fmla="*/ 194 h 317"/>
                <a:gd name="T30" fmla="*/ 338 w 682"/>
                <a:gd name="T31" fmla="*/ 213 h 317"/>
                <a:gd name="T32" fmla="*/ 307 w 682"/>
                <a:gd name="T33" fmla="*/ 212 h 317"/>
                <a:gd name="T34" fmla="*/ 358 w 682"/>
                <a:gd name="T35" fmla="*/ 183 h 317"/>
                <a:gd name="T36" fmla="*/ 267 w 682"/>
                <a:gd name="T37" fmla="*/ 220 h 317"/>
                <a:gd name="T38" fmla="*/ 213 w 682"/>
                <a:gd name="T39" fmla="*/ 251 h 317"/>
                <a:gd name="T40" fmla="*/ 145 w 682"/>
                <a:gd name="T41" fmla="*/ 276 h 317"/>
                <a:gd name="T42" fmla="*/ 95 w 682"/>
                <a:gd name="T43" fmla="*/ 292 h 317"/>
                <a:gd name="T44" fmla="*/ 32 w 682"/>
                <a:gd name="T45" fmla="*/ 311 h 317"/>
                <a:gd name="T46" fmla="*/ 28 w 682"/>
                <a:gd name="T47" fmla="*/ 304 h 317"/>
                <a:gd name="T48" fmla="*/ 98 w 682"/>
                <a:gd name="T49" fmla="*/ 285 h 317"/>
                <a:gd name="T50" fmla="*/ 155 w 682"/>
                <a:gd name="T51" fmla="*/ 261 h 317"/>
                <a:gd name="T52" fmla="*/ 213 w 682"/>
                <a:gd name="T53" fmla="*/ 228 h 317"/>
                <a:gd name="T54" fmla="*/ 172 w 682"/>
                <a:gd name="T55" fmla="*/ 238 h 317"/>
                <a:gd name="T56" fmla="*/ 167 w 682"/>
                <a:gd name="T57" fmla="*/ 225 h 317"/>
                <a:gd name="T58" fmla="*/ 146 w 682"/>
                <a:gd name="T59" fmla="*/ 221 h 317"/>
                <a:gd name="T60" fmla="*/ 132 w 682"/>
                <a:gd name="T61" fmla="*/ 211 h 317"/>
                <a:gd name="T62" fmla="*/ 139 w 682"/>
                <a:gd name="T63" fmla="*/ 186 h 317"/>
                <a:gd name="T64" fmla="*/ 183 w 682"/>
                <a:gd name="T65" fmla="*/ 157 h 317"/>
                <a:gd name="T66" fmla="*/ 220 w 682"/>
                <a:gd name="T67" fmla="*/ 149 h 317"/>
                <a:gd name="T68" fmla="*/ 270 w 682"/>
                <a:gd name="T69" fmla="*/ 136 h 317"/>
                <a:gd name="T70" fmla="*/ 295 w 682"/>
                <a:gd name="T71" fmla="*/ 117 h 317"/>
                <a:gd name="T72" fmla="*/ 256 w 682"/>
                <a:gd name="T73" fmla="*/ 125 h 317"/>
                <a:gd name="T74" fmla="*/ 213 w 682"/>
                <a:gd name="T75" fmla="*/ 119 h 317"/>
                <a:gd name="T76" fmla="*/ 246 w 682"/>
                <a:gd name="T77" fmla="*/ 93 h 317"/>
                <a:gd name="T78" fmla="*/ 286 w 682"/>
                <a:gd name="T79" fmla="*/ 93 h 317"/>
                <a:gd name="T80" fmla="*/ 313 w 682"/>
                <a:gd name="T81" fmla="*/ 74 h 317"/>
                <a:gd name="T82" fmla="*/ 305 w 682"/>
                <a:gd name="T83" fmla="*/ 52 h 317"/>
                <a:gd name="T84" fmla="*/ 380 w 682"/>
                <a:gd name="T85" fmla="*/ 34 h 317"/>
                <a:gd name="T86" fmla="*/ 439 w 682"/>
                <a:gd name="T87" fmla="*/ 16 h 317"/>
                <a:gd name="T88" fmla="*/ 519 w 682"/>
                <a:gd name="T89"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2" h="317">
                  <a:moveTo>
                    <a:pt x="533" y="4"/>
                  </a:moveTo>
                  <a:lnTo>
                    <a:pt x="531" y="12"/>
                  </a:lnTo>
                  <a:lnTo>
                    <a:pt x="542" y="8"/>
                  </a:lnTo>
                  <a:lnTo>
                    <a:pt x="562" y="9"/>
                  </a:lnTo>
                  <a:lnTo>
                    <a:pt x="556" y="13"/>
                  </a:lnTo>
                  <a:lnTo>
                    <a:pt x="572" y="16"/>
                  </a:lnTo>
                  <a:lnTo>
                    <a:pt x="587" y="14"/>
                  </a:lnTo>
                  <a:lnTo>
                    <a:pt x="607" y="20"/>
                  </a:lnTo>
                  <a:lnTo>
                    <a:pt x="630" y="21"/>
                  </a:lnTo>
                  <a:lnTo>
                    <a:pt x="637" y="23"/>
                  </a:lnTo>
                  <a:lnTo>
                    <a:pt x="658" y="21"/>
                  </a:lnTo>
                  <a:lnTo>
                    <a:pt x="671" y="26"/>
                  </a:lnTo>
                  <a:lnTo>
                    <a:pt x="682" y="28"/>
                  </a:lnTo>
                  <a:lnTo>
                    <a:pt x="682" y="28"/>
                  </a:lnTo>
                  <a:lnTo>
                    <a:pt x="598" y="94"/>
                  </a:lnTo>
                  <a:lnTo>
                    <a:pt x="478" y="201"/>
                  </a:lnTo>
                  <a:lnTo>
                    <a:pt x="492" y="202"/>
                  </a:lnTo>
                  <a:lnTo>
                    <a:pt x="501" y="207"/>
                  </a:lnTo>
                  <a:lnTo>
                    <a:pt x="503" y="215"/>
                  </a:lnTo>
                  <a:lnTo>
                    <a:pt x="503" y="228"/>
                  </a:lnTo>
                  <a:lnTo>
                    <a:pt x="529" y="217"/>
                  </a:lnTo>
                  <a:lnTo>
                    <a:pt x="549" y="211"/>
                  </a:lnTo>
                  <a:lnTo>
                    <a:pt x="548" y="221"/>
                  </a:lnTo>
                  <a:lnTo>
                    <a:pt x="550" y="229"/>
                  </a:lnTo>
                  <a:lnTo>
                    <a:pt x="555" y="238"/>
                  </a:lnTo>
                  <a:lnTo>
                    <a:pt x="552" y="252"/>
                  </a:lnTo>
                  <a:lnTo>
                    <a:pt x="547" y="274"/>
                  </a:lnTo>
                  <a:lnTo>
                    <a:pt x="562" y="287"/>
                  </a:lnTo>
                  <a:lnTo>
                    <a:pt x="552" y="299"/>
                  </a:lnTo>
                  <a:lnTo>
                    <a:pt x="536" y="309"/>
                  </a:lnTo>
                  <a:lnTo>
                    <a:pt x="533" y="301"/>
                  </a:lnTo>
                  <a:lnTo>
                    <a:pt x="525" y="295"/>
                  </a:lnTo>
                  <a:lnTo>
                    <a:pt x="536" y="278"/>
                  </a:lnTo>
                  <a:lnTo>
                    <a:pt x="530" y="262"/>
                  </a:lnTo>
                  <a:lnTo>
                    <a:pt x="539" y="244"/>
                  </a:lnTo>
                  <a:lnTo>
                    <a:pt x="526" y="242"/>
                  </a:lnTo>
                  <a:lnTo>
                    <a:pt x="503" y="242"/>
                  </a:lnTo>
                  <a:lnTo>
                    <a:pt x="491" y="236"/>
                  </a:lnTo>
                  <a:lnTo>
                    <a:pt x="480" y="216"/>
                  </a:lnTo>
                  <a:lnTo>
                    <a:pt x="470" y="212"/>
                  </a:lnTo>
                  <a:lnTo>
                    <a:pt x="451" y="205"/>
                  </a:lnTo>
                  <a:lnTo>
                    <a:pt x="429" y="207"/>
                  </a:lnTo>
                  <a:lnTo>
                    <a:pt x="409" y="198"/>
                  </a:lnTo>
                  <a:lnTo>
                    <a:pt x="401" y="190"/>
                  </a:lnTo>
                  <a:lnTo>
                    <a:pt x="380" y="194"/>
                  </a:lnTo>
                  <a:lnTo>
                    <a:pt x="369" y="207"/>
                  </a:lnTo>
                  <a:lnTo>
                    <a:pt x="359" y="209"/>
                  </a:lnTo>
                  <a:lnTo>
                    <a:pt x="338" y="213"/>
                  </a:lnTo>
                  <a:lnTo>
                    <a:pt x="318" y="219"/>
                  </a:lnTo>
                  <a:lnTo>
                    <a:pt x="297" y="223"/>
                  </a:lnTo>
                  <a:lnTo>
                    <a:pt x="307" y="212"/>
                  </a:lnTo>
                  <a:lnTo>
                    <a:pt x="335" y="193"/>
                  </a:lnTo>
                  <a:lnTo>
                    <a:pt x="357" y="187"/>
                  </a:lnTo>
                  <a:lnTo>
                    <a:pt x="358" y="183"/>
                  </a:lnTo>
                  <a:lnTo>
                    <a:pt x="328" y="193"/>
                  </a:lnTo>
                  <a:lnTo>
                    <a:pt x="303" y="206"/>
                  </a:lnTo>
                  <a:lnTo>
                    <a:pt x="267" y="220"/>
                  </a:lnTo>
                  <a:lnTo>
                    <a:pt x="267" y="229"/>
                  </a:lnTo>
                  <a:lnTo>
                    <a:pt x="238" y="243"/>
                  </a:lnTo>
                  <a:lnTo>
                    <a:pt x="213" y="251"/>
                  </a:lnTo>
                  <a:lnTo>
                    <a:pt x="192" y="257"/>
                  </a:lnTo>
                  <a:lnTo>
                    <a:pt x="179" y="266"/>
                  </a:lnTo>
                  <a:lnTo>
                    <a:pt x="145" y="276"/>
                  </a:lnTo>
                  <a:lnTo>
                    <a:pt x="130" y="285"/>
                  </a:lnTo>
                  <a:lnTo>
                    <a:pt x="104" y="294"/>
                  </a:lnTo>
                  <a:lnTo>
                    <a:pt x="95" y="292"/>
                  </a:lnTo>
                  <a:lnTo>
                    <a:pt x="75" y="298"/>
                  </a:lnTo>
                  <a:lnTo>
                    <a:pt x="52" y="304"/>
                  </a:lnTo>
                  <a:lnTo>
                    <a:pt x="32" y="311"/>
                  </a:lnTo>
                  <a:lnTo>
                    <a:pt x="0" y="317"/>
                  </a:lnTo>
                  <a:lnTo>
                    <a:pt x="1" y="313"/>
                  </a:lnTo>
                  <a:lnTo>
                    <a:pt x="28" y="304"/>
                  </a:lnTo>
                  <a:lnTo>
                    <a:pt x="49" y="298"/>
                  </a:lnTo>
                  <a:lnTo>
                    <a:pt x="77" y="287"/>
                  </a:lnTo>
                  <a:lnTo>
                    <a:pt x="98" y="285"/>
                  </a:lnTo>
                  <a:lnTo>
                    <a:pt x="114" y="277"/>
                  </a:lnTo>
                  <a:lnTo>
                    <a:pt x="148" y="265"/>
                  </a:lnTo>
                  <a:lnTo>
                    <a:pt x="155" y="261"/>
                  </a:lnTo>
                  <a:lnTo>
                    <a:pt x="174" y="254"/>
                  </a:lnTo>
                  <a:lnTo>
                    <a:pt x="192" y="239"/>
                  </a:lnTo>
                  <a:lnTo>
                    <a:pt x="213" y="228"/>
                  </a:lnTo>
                  <a:lnTo>
                    <a:pt x="189" y="234"/>
                  </a:lnTo>
                  <a:lnTo>
                    <a:pt x="188" y="231"/>
                  </a:lnTo>
                  <a:lnTo>
                    <a:pt x="172" y="238"/>
                  </a:lnTo>
                  <a:lnTo>
                    <a:pt x="173" y="228"/>
                  </a:lnTo>
                  <a:lnTo>
                    <a:pt x="161" y="235"/>
                  </a:lnTo>
                  <a:lnTo>
                    <a:pt x="167" y="225"/>
                  </a:lnTo>
                  <a:lnTo>
                    <a:pt x="143" y="233"/>
                  </a:lnTo>
                  <a:lnTo>
                    <a:pt x="134" y="233"/>
                  </a:lnTo>
                  <a:lnTo>
                    <a:pt x="146" y="221"/>
                  </a:lnTo>
                  <a:lnTo>
                    <a:pt x="157" y="214"/>
                  </a:lnTo>
                  <a:lnTo>
                    <a:pt x="156" y="207"/>
                  </a:lnTo>
                  <a:lnTo>
                    <a:pt x="132" y="211"/>
                  </a:lnTo>
                  <a:lnTo>
                    <a:pt x="131" y="202"/>
                  </a:lnTo>
                  <a:lnTo>
                    <a:pt x="126" y="197"/>
                  </a:lnTo>
                  <a:lnTo>
                    <a:pt x="139" y="186"/>
                  </a:lnTo>
                  <a:lnTo>
                    <a:pt x="138" y="178"/>
                  </a:lnTo>
                  <a:lnTo>
                    <a:pt x="158" y="167"/>
                  </a:lnTo>
                  <a:lnTo>
                    <a:pt x="183" y="157"/>
                  </a:lnTo>
                  <a:lnTo>
                    <a:pt x="201" y="147"/>
                  </a:lnTo>
                  <a:lnTo>
                    <a:pt x="214" y="146"/>
                  </a:lnTo>
                  <a:lnTo>
                    <a:pt x="220" y="149"/>
                  </a:lnTo>
                  <a:lnTo>
                    <a:pt x="243" y="140"/>
                  </a:lnTo>
                  <a:lnTo>
                    <a:pt x="252" y="142"/>
                  </a:lnTo>
                  <a:lnTo>
                    <a:pt x="270" y="136"/>
                  </a:lnTo>
                  <a:lnTo>
                    <a:pt x="279" y="127"/>
                  </a:lnTo>
                  <a:lnTo>
                    <a:pt x="275" y="124"/>
                  </a:lnTo>
                  <a:lnTo>
                    <a:pt x="295" y="117"/>
                  </a:lnTo>
                  <a:lnTo>
                    <a:pt x="286" y="117"/>
                  </a:lnTo>
                  <a:lnTo>
                    <a:pt x="266" y="121"/>
                  </a:lnTo>
                  <a:lnTo>
                    <a:pt x="256" y="125"/>
                  </a:lnTo>
                  <a:lnTo>
                    <a:pt x="251" y="121"/>
                  </a:lnTo>
                  <a:lnTo>
                    <a:pt x="228" y="123"/>
                  </a:lnTo>
                  <a:lnTo>
                    <a:pt x="213" y="119"/>
                  </a:lnTo>
                  <a:lnTo>
                    <a:pt x="218" y="111"/>
                  </a:lnTo>
                  <a:lnTo>
                    <a:pt x="215" y="101"/>
                  </a:lnTo>
                  <a:lnTo>
                    <a:pt x="246" y="93"/>
                  </a:lnTo>
                  <a:lnTo>
                    <a:pt x="289" y="84"/>
                  </a:lnTo>
                  <a:lnTo>
                    <a:pt x="300" y="84"/>
                  </a:lnTo>
                  <a:lnTo>
                    <a:pt x="286" y="93"/>
                  </a:lnTo>
                  <a:lnTo>
                    <a:pt x="316" y="92"/>
                  </a:lnTo>
                  <a:lnTo>
                    <a:pt x="320" y="81"/>
                  </a:lnTo>
                  <a:lnTo>
                    <a:pt x="313" y="74"/>
                  </a:lnTo>
                  <a:lnTo>
                    <a:pt x="317" y="65"/>
                  </a:lnTo>
                  <a:lnTo>
                    <a:pt x="315" y="58"/>
                  </a:lnTo>
                  <a:lnTo>
                    <a:pt x="305" y="52"/>
                  </a:lnTo>
                  <a:lnTo>
                    <a:pt x="327" y="43"/>
                  </a:lnTo>
                  <a:lnTo>
                    <a:pt x="351" y="42"/>
                  </a:lnTo>
                  <a:lnTo>
                    <a:pt x="380" y="34"/>
                  </a:lnTo>
                  <a:lnTo>
                    <a:pt x="397" y="26"/>
                  </a:lnTo>
                  <a:lnTo>
                    <a:pt x="423" y="18"/>
                  </a:lnTo>
                  <a:lnTo>
                    <a:pt x="439" y="16"/>
                  </a:lnTo>
                  <a:lnTo>
                    <a:pt x="475" y="8"/>
                  </a:lnTo>
                  <a:lnTo>
                    <a:pt x="485" y="9"/>
                  </a:lnTo>
                  <a:lnTo>
                    <a:pt x="519" y="0"/>
                  </a:lnTo>
                  <a:lnTo>
                    <a:pt x="533" y="4"/>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46" name="Freeform 210"/>
            <p:cNvSpPr>
              <a:spLocks/>
            </p:cNvSpPr>
            <p:nvPr/>
          </p:nvSpPr>
          <p:spPr bwMode="auto">
            <a:xfrm>
              <a:off x="841375" y="2082804"/>
              <a:ext cx="1589088" cy="795338"/>
            </a:xfrm>
            <a:custGeom>
              <a:avLst/>
              <a:gdLst>
                <a:gd name="T0" fmla="*/ 595 w 1001"/>
                <a:gd name="T1" fmla="*/ 16 h 501"/>
                <a:gd name="T2" fmla="*/ 655 w 1001"/>
                <a:gd name="T3" fmla="*/ 28 h 501"/>
                <a:gd name="T4" fmla="*/ 701 w 1001"/>
                <a:gd name="T5" fmla="*/ 38 h 501"/>
                <a:gd name="T6" fmla="*/ 724 w 1001"/>
                <a:gd name="T7" fmla="*/ 58 h 501"/>
                <a:gd name="T8" fmla="*/ 729 w 1001"/>
                <a:gd name="T9" fmla="*/ 64 h 501"/>
                <a:gd name="T10" fmla="*/ 733 w 1001"/>
                <a:gd name="T11" fmla="*/ 73 h 501"/>
                <a:gd name="T12" fmla="*/ 730 w 1001"/>
                <a:gd name="T13" fmla="*/ 131 h 501"/>
                <a:gd name="T14" fmla="*/ 712 w 1001"/>
                <a:gd name="T15" fmla="*/ 155 h 501"/>
                <a:gd name="T16" fmla="*/ 762 w 1001"/>
                <a:gd name="T17" fmla="*/ 144 h 501"/>
                <a:gd name="T18" fmla="*/ 788 w 1001"/>
                <a:gd name="T19" fmla="*/ 121 h 501"/>
                <a:gd name="T20" fmla="*/ 836 w 1001"/>
                <a:gd name="T21" fmla="*/ 110 h 501"/>
                <a:gd name="T22" fmla="*/ 896 w 1001"/>
                <a:gd name="T23" fmla="*/ 90 h 501"/>
                <a:gd name="T24" fmla="*/ 943 w 1001"/>
                <a:gd name="T25" fmla="*/ 80 h 501"/>
                <a:gd name="T26" fmla="*/ 984 w 1001"/>
                <a:gd name="T27" fmla="*/ 45 h 501"/>
                <a:gd name="T28" fmla="*/ 999 w 1001"/>
                <a:gd name="T29" fmla="*/ 87 h 501"/>
                <a:gd name="T30" fmla="*/ 940 w 1001"/>
                <a:gd name="T31" fmla="*/ 117 h 501"/>
                <a:gd name="T32" fmla="*/ 922 w 1001"/>
                <a:gd name="T33" fmla="*/ 155 h 501"/>
                <a:gd name="T34" fmla="*/ 930 w 1001"/>
                <a:gd name="T35" fmla="*/ 159 h 501"/>
                <a:gd name="T36" fmla="*/ 888 w 1001"/>
                <a:gd name="T37" fmla="*/ 166 h 501"/>
                <a:gd name="T38" fmla="*/ 892 w 1001"/>
                <a:gd name="T39" fmla="*/ 173 h 501"/>
                <a:gd name="T40" fmla="*/ 850 w 1001"/>
                <a:gd name="T41" fmla="*/ 183 h 501"/>
                <a:gd name="T42" fmla="*/ 830 w 1001"/>
                <a:gd name="T43" fmla="*/ 209 h 501"/>
                <a:gd name="T44" fmla="*/ 826 w 1001"/>
                <a:gd name="T45" fmla="*/ 217 h 501"/>
                <a:gd name="T46" fmla="*/ 801 w 1001"/>
                <a:gd name="T47" fmla="*/ 249 h 501"/>
                <a:gd name="T48" fmla="*/ 801 w 1001"/>
                <a:gd name="T49" fmla="*/ 219 h 501"/>
                <a:gd name="T50" fmla="*/ 796 w 1001"/>
                <a:gd name="T51" fmla="*/ 255 h 501"/>
                <a:gd name="T52" fmla="*/ 782 w 1001"/>
                <a:gd name="T53" fmla="*/ 300 h 501"/>
                <a:gd name="T54" fmla="*/ 729 w 1001"/>
                <a:gd name="T55" fmla="*/ 327 h 501"/>
                <a:gd name="T56" fmla="*/ 679 w 1001"/>
                <a:gd name="T57" fmla="*/ 369 h 501"/>
                <a:gd name="T58" fmla="*/ 680 w 1001"/>
                <a:gd name="T59" fmla="*/ 431 h 501"/>
                <a:gd name="T60" fmla="*/ 676 w 1001"/>
                <a:gd name="T61" fmla="*/ 486 h 501"/>
                <a:gd name="T62" fmla="*/ 654 w 1001"/>
                <a:gd name="T63" fmla="*/ 490 h 501"/>
                <a:gd name="T64" fmla="*/ 636 w 1001"/>
                <a:gd name="T65" fmla="*/ 443 h 501"/>
                <a:gd name="T66" fmla="*/ 624 w 1001"/>
                <a:gd name="T67" fmla="*/ 397 h 501"/>
                <a:gd name="T68" fmla="*/ 585 w 1001"/>
                <a:gd name="T69" fmla="*/ 391 h 501"/>
                <a:gd name="T70" fmla="*/ 528 w 1001"/>
                <a:gd name="T71" fmla="*/ 396 h 501"/>
                <a:gd name="T72" fmla="*/ 526 w 1001"/>
                <a:gd name="T73" fmla="*/ 417 h 501"/>
                <a:gd name="T74" fmla="*/ 489 w 1001"/>
                <a:gd name="T75" fmla="*/ 406 h 501"/>
                <a:gd name="T76" fmla="*/ 434 w 1001"/>
                <a:gd name="T77" fmla="*/ 410 h 501"/>
                <a:gd name="T78" fmla="*/ 376 w 1001"/>
                <a:gd name="T79" fmla="*/ 454 h 501"/>
                <a:gd name="T80" fmla="*/ 366 w 1001"/>
                <a:gd name="T81" fmla="*/ 486 h 501"/>
                <a:gd name="T82" fmla="*/ 339 w 1001"/>
                <a:gd name="T83" fmla="*/ 450 h 501"/>
                <a:gd name="T84" fmla="*/ 313 w 1001"/>
                <a:gd name="T85" fmla="*/ 404 h 501"/>
                <a:gd name="T86" fmla="*/ 262 w 1001"/>
                <a:gd name="T87" fmla="*/ 408 h 501"/>
                <a:gd name="T88" fmla="*/ 244 w 1001"/>
                <a:gd name="T89" fmla="*/ 370 h 501"/>
                <a:gd name="T90" fmla="*/ 193 w 1001"/>
                <a:gd name="T91" fmla="*/ 371 h 501"/>
                <a:gd name="T92" fmla="*/ 102 w 1001"/>
                <a:gd name="T93" fmla="*/ 343 h 501"/>
                <a:gd name="T94" fmla="*/ 53 w 1001"/>
                <a:gd name="T95" fmla="*/ 324 h 501"/>
                <a:gd name="T96" fmla="*/ 33 w 1001"/>
                <a:gd name="T97" fmla="*/ 309 h 501"/>
                <a:gd name="T98" fmla="*/ 8 w 1001"/>
                <a:gd name="T99" fmla="*/ 272 h 501"/>
                <a:gd name="T100" fmla="*/ 0 w 1001"/>
                <a:gd name="T101" fmla="*/ 214 h 501"/>
                <a:gd name="T102" fmla="*/ 23 w 1001"/>
                <a:gd name="T103" fmla="*/ 151 h 501"/>
                <a:gd name="T104" fmla="*/ 69 w 1001"/>
                <a:gd name="T105" fmla="*/ 79 h 501"/>
                <a:gd name="T106" fmla="*/ 94 w 1001"/>
                <a:gd name="T107" fmla="*/ 21 h 501"/>
                <a:gd name="T108" fmla="*/ 124 w 1001"/>
                <a:gd name="T109" fmla="*/ 25 h 501"/>
                <a:gd name="T110" fmla="*/ 239 w 1001"/>
                <a:gd name="T111" fmla="*/ 8 h 501"/>
                <a:gd name="T112" fmla="*/ 432 w 1001"/>
                <a:gd name="T113" fmla="*/ 8 h 501"/>
                <a:gd name="T114" fmla="*/ 579 w 1001"/>
                <a:gd name="T115" fmla="*/ 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1" h="501">
                  <a:moveTo>
                    <a:pt x="584" y="0"/>
                  </a:moveTo>
                  <a:lnTo>
                    <a:pt x="582" y="11"/>
                  </a:lnTo>
                  <a:lnTo>
                    <a:pt x="585" y="15"/>
                  </a:lnTo>
                  <a:lnTo>
                    <a:pt x="595" y="16"/>
                  </a:lnTo>
                  <a:lnTo>
                    <a:pt x="610" y="19"/>
                  </a:lnTo>
                  <a:lnTo>
                    <a:pt x="623" y="26"/>
                  </a:lnTo>
                  <a:lnTo>
                    <a:pt x="637" y="23"/>
                  </a:lnTo>
                  <a:lnTo>
                    <a:pt x="655" y="28"/>
                  </a:lnTo>
                  <a:lnTo>
                    <a:pt x="660" y="28"/>
                  </a:lnTo>
                  <a:lnTo>
                    <a:pt x="677" y="22"/>
                  </a:lnTo>
                  <a:lnTo>
                    <a:pt x="689" y="30"/>
                  </a:lnTo>
                  <a:lnTo>
                    <a:pt x="701" y="38"/>
                  </a:lnTo>
                  <a:lnTo>
                    <a:pt x="711" y="44"/>
                  </a:lnTo>
                  <a:lnTo>
                    <a:pt x="721" y="51"/>
                  </a:lnTo>
                  <a:lnTo>
                    <a:pt x="721" y="56"/>
                  </a:lnTo>
                  <a:lnTo>
                    <a:pt x="724" y="58"/>
                  </a:lnTo>
                  <a:lnTo>
                    <a:pt x="722" y="60"/>
                  </a:lnTo>
                  <a:lnTo>
                    <a:pt x="726" y="61"/>
                  </a:lnTo>
                  <a:lnTo>
                    <a:pt x="730" y="59"/>
                  </a:lnTo>
                  <a:lnTo>
                    <a:pt x="729" y="64"/>
                  </a:lnTo>
                  <a:lnTo>
                    <a:pt x="731" y="67"/>
                  </a:lnTo>
                  <a:lnTo>
                    <a:pt x="735" y="67"/>
                  </a:lnTo>
                  <a:lnTo>
                    <a:pt x="737" y="69"/>
                  </a:lnTo>
                  <a:lnTo>
                    <a:pt x="733" y="73"/>
                  </a:lnTo>
                  <a:lnTo>
                    <a:pt x="747" y="83"/>
                  </a:lnTo>
                  <a:lnTo>
                    <a:pt x="743" y="101"/>
                  </a:lnTo>
                  <a:lnTo>
                    <a:pt x="739" y="119"/>
                  </a:lnTo>
                  <a:lnTo>
                    <a:pt x="730" y="131"/>
                  </a:lnTo>
                  <a:lnTo>
                    <a:pt x="718" y="142"/>
                  </a:lnTo>
                  <a:lnTo>
                    <a:pt x="712" y="150"/>
                  </a:lnTo>
                  <a:lnTo>
                    <a:pt x="711" y="152"/>
                  </a:lnTo>
                  <a:lnTo>
                    <a:pt x="712" y="155"/>
                  </a:lnTo>
                  <a:lnTo>
                    <a:pt x="716" y="158"/>
                  </a:lnTo>
                  <a:lnTo>
                    <a:pt x="720" y="158"/>
                  </a:lnTo>
                  <a:lnTo>
                    <a:pt x="744" y="147"/>
                  </a:lnTo>
                  <a:lnTo>
                    <a:pt x="762" y="144"/>
                  </a:lnTo>
                  <a:lnTo>
                    <a:pt x="788" y="133"/>
                  </a:lnTo>
                  <a:lnTo>
                    <a:pt x="789" y="132"/>
                  </a:lnTo>
                  <a:lnTo>
                    <a:pt x="789" y="125"/>
                  </a:lnTo>
                  <a:lnTo>
                    <a:pt x="788" y="121"/>
                  </a:lnTo>
                  <a:lnTo>
                    <a:pt x="797" y="118"/>
                  </a:lnTo>
                  <a:lnTo>
                    <a:pt x="813" y="118"/>
                  </a:lnTo>
                  <a:lnTo>
                    <a:pt x="828" y="118"/>
                  </a:lnTo>
                  <a:lnTo>
                    <a:pt x="836" y="110"/>
                  </a:lnTo>
                  <a:lnTo>
                    <a:pt x="839" y="108"/>
                  </a:lnTo>
                  <a:lnTo>
                    <a:pt x="862" y="93"/>
                  </a:lnTo>
                  <a:lnTo>
                    <a:pt x="870" y="90"/>
                  </a:lnTo>
                  <a:lnTo>
                    <a:pt x="896" y="90"/>
                  </a:lnTo>
                  <a:lnTo>
                    <a:pt x="926" y="90"/>
                  </a:lnTo>
                  <a:lnTo>
                    <a:pt x="929" y="84"/>
                  </a:lnTo>
                  <a:lnTo>
                    <a:pt x="935" y="83"/>
                  </a:lnTo>
                  <a:lnTo>
                    <a:pt x="943" y="80"/>
                  </a:lnTo>
                  <a:lnTo>
                    <a:pt x="952" y="71"/>
                  </a:lnTo>
                  <a:lnTo>
                    <a:pt x="962" y="55"/>
                  </a:lnTo>
                  <a:lnTo>
                    <a:pt x="980" y="40"/>
                  </a:lnTo>
                  <a:lnTo>
                    <a:pt x="984" y="45"/>
                  </a:lnTo>
                  <a:lnTo>
                    <a:pt x="996" y="42"/>
                  </a:lnTo>
                  <a:lnTo>
                    <a:pt x="1001" y="48"/>
                  </a:lnTo>
                  <a:lnTo>
                    <a:pt x="992" y="75"/>
                  </a:lnTo>
                  <a:lnTo>
                    <a:pt x="999" y="87"/>
                  </a:lnTo>
                  <a:lnTo>
                    <a:pt x="999" y="94"/>
                  </a:lnTo>
                  <a:lnTo>
                    <a:pt x="979" y="103"/>
                  </a:lnTo>
                  <a:lnTo>
                    <a:pt x="959" y="111"/>
                  </a:lnTo>
                  <a:lnTo>
                    <a:pt x="940" y="117"/>
                  </a:lnTo>
                  <a:lnTo>
                    <a:pt x="927" y="129"/>
                  </a:lnTo>
                  <a:lnTo>
                    <a:pt x="923" y="133"/>
                  </a:lnTo>
                  <a:lnTo>
                    <a:pt x="920" y="144"/>
                  </a:lnTo>
                  <a:lnTo>
                    <a:pt x="922" y="155"/>
                  </a:lnTo>
                  <a:lnTo>
                    <a:pt x="929" y="156"/>
                  </a:lnTo>
                  <a:lnTo>
                    <a:pt x="929" y="148"/>
                  </a:lnTo>
                  <a:lnTo>
                    <a:pt x="933" y="153"/>
                  </a:lnTo>
                  <a:lnTo>
                    <a:pt x="930" y="159"/>
                  </a:lnTo>
                  <a:lnTo>
                    <a:pt x="917" y="162"/>
                  </a:lnTo>
                  <a:lnTo>
                    <a:pt x="909" y="162"/>
                  </a:lnTo>
                  <a:lnTo>
                    <a:pt x="896" y="165"/>
                  </a:lnTo>
                  <a:lnTo>
                    <a:pt x="888" y="166"/>
                  </a:lnTo>
                  <a:lnTo>
                    <a:pt x="878" y="167"/>
                  </a:lnTo>
                  <a:lnTo>
                    <a:pt x="862" y="173"/>
                  </a:lnTo>
                  <a:lnTo>
                    <a:pt x="888" y="169"/>
                  </a:lnTo>
                  <a:lnTo>
                    <a:pt x="892" y="173"/>
                  </a:lnTo>
                  <a:lnTo>
                    <a:pt x="867" y="179"/>
                  </a:lnTo>
                  <a:lnTo>
                    <a:pt x="856" y="179"/>
                  </a:lnTo>
                  <a:lnTo>
                    <a:pt x="857" y="177"/>
                  </a:lnTo>
                  <a:lnTo>
                    <a:pt x="850" y="183"/>
                  </a:lnTo>
                  <a:lnTo>
                    <a:pt x="855" y="183"/>
                  </a:lnTo>
                  <a:lnTo>
                    <a:pt x="847" y="198"/>
                  </a:lnTo>
                  <a:lnTo>
                    <a:pt x="830" y="214"/>
                  </a:lnTo>
                  <a:lnTo>
                    <a:pt x="830" y="209"/>
                  </a:lnTo>
                  <a:lnTo>
                    <a:pt x="827" y="208"/>
                  </a:lnTo>
                  <a:lnTo>
                    <a:pt x="823" y="203"/>
                  </a:lnTo>
                  <a:lnTo>
                    <a:pt x="823" y="214"/>
                  </a:lnTo>
                  <a:lnTo>
                    <a:pt x="826" y="217"/>
                  </a:lnTo>
                  <a:lnTo>
                    <a:pt x="824" y="225"/>
                  </a:lnTo>
                  <a:lnTo>
                    <a:pt x="817" y="233"/>
                  </a:lnTo>
                  <a:lnTo>
                    <a:pt x="802" y="250"/>
                  </a:lnTo>
                  <a:lnTo>
                    <a:pt x="801" y="249"/>
                  </a:lnTo>
                  <a:lnTo>
                    <a:pt x="810" y="235"/>
                  </a:lnTo>
                  <a:lnTo>
                    <a:pt x="804" y="227"/>
                  </a:lnTo>
                  <a:lnTo>
                    <a:pt x="807" y="210"/>
                  </a:lnTo>
                  <a:lnTo>
                    <a:pt x="801" y="219"/>
                  </a:lnTo>
                  <a:lnTo>
                    <a:pt x="801" y="232"/>
                  </a:lnTo>
                  <a:lnTo>
                    <a:pt x="791" y="229"/>
                  </a:lnTo>
                  <a:lnTo>
                    <a:pt x="800" y="235"/>
                  </a:lnTo>
                  <a:lnTo>
                    <a:pt x="796" y="255"/>
                  </a:lnTo>
                  <a:lnTo>
                    <a:pt x="800" y="256"/>
                  </a:lnTo>
                  <a:lnTo>
                    <a:pt x="800" y="264"/>
                  </a:lnTo>
                  <a:lnTo>
                    <a:pt x="797" y="284"/>
                  </a:lnTo>
                  <a:lnTo>
                    <a:pt x="782" y="300"/>
                  </a:lnTo>
                  <a:lnTo>
                    <a:pt x="763" y="306"/>
                  </a:lnTo>
                  <a:lnTo>
                    <a:pt x="748" y="318"/>
                  </a:lnTo>
                  <a:lnTo>
                    <a:pt x="739" y="319"/>
                  </a:lnTo>
                  <a:lnTo>
                    <a:pt x="729" y="327"/>
                  </a:lnTo>
                  <a:lnTo>
                    <a:pt x="725" y="334"/>
                  </a:lnTo>
                  <a:lnTo>
                    <a:pt x="702" y="347"/>
                  </a:lnTo>
                  <a:lnTo>
                    <a:pt x="690" y="357"/>
                  </a:lnTo>
                  <a:lnTo>
                    <a:pt x="679" y="369"/>
                  </a:lnTo>
                  <a:lnTo>
                    <a:pt x="673" y="384"/>
                  </a:lnTo>
                  <a:lnTo>
                    <a:pt x="673" y="398"/>
                  </a:lnTo>
                  <a:lnTo>
                    <a:pt x="675" y="416"/>
                  </a:lnTo>
                  <a:lnTo>
                    <a:pt x="680" y="431"/>
                  </a:lnTo>
                  <a:lnTo>
                    <a:pt x="678" y="440"/>
                  </a:lnTo>
                  <a:lnTo>
                    <a:pt x="682" y="464"/>
                  </a:lnTo>
                  <a:lnTo>
                    <a:pt x="679" y="478"/>
                  </a:lnTo>
                  <a:lnTo>
                    <a:pt x="676" y="486"/>
                  </a:lnTo>
                  <a:lnTo>
                    <a:pt x="670" y="499"/>
                  </a:lnTo>
                  <a:lnTo>
                    <a:pt x="664" y="501"/>
                  </a:lnTo>
                  <a:lnTo>
                    <a:pt x="656" y="499"/>
                  </a:lnTo>
                  <a:lnTo>
                    <a:pt x="654" y="490"/>
                  </a:lnTo>
                  <a:lnTo>
                    <a:pt x="648" y="485"/>
                  </a:lnTo>
                  <a:lnTo>
                    <a:pt x="642" y="467"/>
                  </a:lnTo>
                  <a:lnTo>
                    <a:pt x="637" y="451"/>
                  </a:lnTo>
                  <a:lnTo>
                    <a:pt x="636" y="443"/>
                  </a:lnTo>
                  <a:lnTo>
                    <a:pt x="643" y="429"/>
                  </a:lnTo>
                  <a:lnTo>
                    <a:pt x="640" y="418"/>
                  </a:lnTo>
                  <a:lnTo>
                    <a:pt x="630" y="401"/>
                  </a:lnTo>
                  <a:lnTo>
                    <a:pt x="624" y="397"/>
                  </a:lnTo>
                  <a:lnTo>
                    <a:pt x="604" y="407"/>
                  </a:lnTo>
                  <a:lnTo>
                    <a:pt x="601" y="406"/>
                  </a:lnTo>
                  <a:lnTo>
                    <a:pt x="595" y="396"/>
                  </a:lnTo>
                  <a:lnTo>
                    <a:pt x="585" y="391"/>
                  </a:lnTo>
                  <a:lnTo>
                    <a:pt x="564" y="394"/>
                  </a:lnTo>
                  <a:lnTo>
                    <a:pt x="549" y="391"/>
                  </a:lnTo>
                  <a:lnTo>
                    <a:pt x="536" y="393"/>
                  </a:lnTo>
                  <a:lnTo>
                    <a:pt x="528" y="396"/>
                  </a:lnTo>
                  <a:lnTo>
                    <a:pt x="529" y="401"/>
                  </a:lnTo>
                  <a:lnTo>
                    <a:pt x="527" y="410"/>
                  </a:lnTo>
                  <a:lnTo>
                    <a:pt x="530" y="414"/>
                  </a:lnTo>
                  <a:lnTo>
                    <a:pt x="526" y="417"/>
                  </a:lnTo>
                  <a:lnTo>
                    <a:pt x="520" y="414"/>
                  </a:lnTo>
                  <a:lnTo>
                    <a:pt x="512" y="417"/>
                  </a:lnTo>
                  <a:lnTo>
                    <a:pt x="500" y="417"/>
                  </a:lnTo>
                  <a:lnTo>
                    <a:pt x="489" y="406"/>
                  </a:lnTo>
                  <a:lnTo>
                    <a:pt x="473" y="408"/>
                  </a:lnTo>
                  <a:lnTo>
                    <a:pt x="462" y="404"/>
                  </a:lnTo>
                  <a:lnTo>
                    <a:pt x="450" y="405"/>
                  </a:lnTo>
                  <a:lnTo>
                    <a:pt x="434" y="410"/>
                  </a:lnTo>
                  <a:lnTo>
                    <a:pt x="415" y="426"/>
                  </a:lnTo>
                  <a:lnTo>
                    <a:pt x="395" y="434"/>
                  </a:lnTo>
                  <a:lnTo>
                    <a:pt x="383" y="444"/>
                  </a:lnTo>
                  <a:lnTo>
                    <a:pt x="376" y="454"/>
                  </a:lnTo>
                  <a:lnTo>
                    <a:pt x="373" y="468"/>
                  </a:lnTo>
                  <a:lnTo>
                    <a:pt x="372" y="478"/>
                  </a:lnTo>
                  <a:lnTo>
                    <a:pt x="374" y="485"/>
                  </a:lnTo>
                  <a:lnTo>
                    <a:pt x="366" y="486"/>
                  </a:lnTo>
                  <a:lnTo>
                    <a:pt x="355" y="481"/>
                  </a:lnTo>
                  <a:lnTo>
                    <a:pt x="342" y="475"/>
                  </a:lnTo>
                  <a:lnTo>
                    <a:pt x="340" y="465"/>
                  </a:lnTo>
                  <a:lnTo>
                    <a:pt x="339" y="450"/>
                  </a:lnTo>
                  <a:lnTo>
                    <a:pt x="332" y="438"/>
                  </a:lnTo>
                  <a:lnTo>
                    <a:pt x="328" y="426"/>
                  </a:lnTo>
                  <a:lnTo>
                    <a:pt x="323" y="412"/>
                  </a:lnTo>
                  <a:lnTo>
                    <a:pt x="313" y="404"/>
                  </a:lnTo>
                  <a:lnTo>
                    <a:pt x="299" y="404"/>
                  </a:lnTo>
                  <a:lnTo>
                    <a:pt x="283" y="421"/>
                  </a:lnTo>
                  <a:lnTo>
                    <a:pt x="270" y="414"/>
                  </a:lnTo>
                  <a:lnTo>
                    <a:pt x="262" y="408"/>
                  </a:lnTo>
                  <a:lnTo>
                    <a:pt x="261" y="397"/>
                  </a:lnTo>
                  <a:lnTo>
                    <a:pt x="259" y="386"/>
                  </a:lnTo>
                  <a:lnTo>
                    <a:pt x="251" y="377"/>
                  </a:lnTo>
                  <a:lnTo>
                    <a:pt x="244" y="370"/>
                  </a:lnTo>
                  <a:lnTo>
                    <a:pt x="240" y="363"/>
                  </a:lnTo>
                  <a:lnTo>
                    <a:pt x="209" y="363"/>
                  </a:lnTo>
                  <a:lnTo>
                    <a:pt x="207" y="371"/>
                  </a:lnTo>
                  <a:lnTo>
                    <a:pt x="193" y="371"/>
                  </a:lnTo>
                  <a:lnTo>
                    <a:pt x="158" y="372"/>
                  </a:lnTo>
                  <a:lnTo>
                    <a:pt x="123" y="357"/>
                  </a:lnTo>
                  <a:lnTo>
                    <a:pt x="100" y="347"/>
                  </a:lnTo>
                  <a:lnTo>
                    <a:pt x="102" y="343"/>
                  </a:lnTo>
                  <a:lnTo>
                    <a:pt x="80" y="345"/>
                  </a:lnTo>
                  <a:lnTo>
                    <a:pt x="59" y="347"/>
                  </a:lnTo>
                  <a:lnTo>
                    <a:pt x="60" y="336"/>
                  </a:lnTo>
                  <a:lnTo>
                    <a:pt x="53" y="324"/>
                  </a:lnTo>
                  <a:lnTo>
                    <a:pt x="46" y="322"/>
                  </a:lnTo>
                  <a:lnTo>
                    <a:pt x="46" y="316"/>
                  </a:lnTo>
                  <a:lnTo>
                    <a:pt x="37" y="315"/>
                  </a:lnTo>
                  <a:lnTo>
                    <a:pt x="33" y="309"/>
                  </a:lnTo>
                  <a:lnTo>
                    <a:pt x="18" y="307"/>
                  </a:lnTo>
                  <a:lnTo>
                    <a:pt x="14" y="304"/>
                  </a:lnTo>
                  <a:lnTo>
                    <a:pt x="17" y="292"/>
                  </a:lnTo>
                  <a:lnTo>
                    <a:pt x="8" y="272"/>
                  </a:lnTo>
                  <a:lnTo>
                    <a:pt x="7" y="243"/>
                  </a:lnTo>
                  <a:lnTo>
                    <a:pt x="9" y="238"/>
                  </a:lnTo>
                  <a:lnTo>
                    <a:pt x="5" y="231"/>
                  </a:lnTo>
                  <a:lnTo>
                    <a:pt x="0" y="214"/>
                  </a:lnTo>
                  <a:lnTo>
                    <a:pt x="5" y="197"/>
                  </a:lnTo>
                  <a:lnTo>
                    <a:pt x="2" y="186"/>
                  </a:lnTo>
                  <a:lnTo>
                    <a:pt x="14" y="169"/>
                  </a:lnTo>
                  <a:lnTo>
                    <a:pt x="23" y="151"/>
                  </a:lnTo>
                  <a:lnTo>
                    <a:pt x="26" y="135"/>
                  </a:lnTo>
                  <a:lnTo>
                    <a:pt x="43" y="116"/>
                  </a:lnTo>
                  <a:lnTo>
                    <a:pt x="56" y="98"/>
                  </a:lnTo>
                  <a:lnTo>
                    <a:pt x="69" y="79"/>
                  </a:lnTo>
                  <a:lnTo>
                    <a:pt x="82" y="52"/>
                  </a:lnTo>
                  <a:lnTo>
                    <a:pt x="88" y="34"/>
                  </a:lnTo>
                  <a:lnTo>
                    <a:pt x="89" y="25"/>
                  </a:lnTo>
                  <a:lnTo>
                    <a:pt x="94" y="21"/>
                  </a:lnTo>
                  <a:lnTo>
                    <a:pt x="113" y="28"/>
                  </a:lnTo>
                  <a:lnTo>
                    <a:pt x="109" y="47"/>
                  </a:lnTo>
                  <a:lnTo>
                    <a:pt x="117" y="41"/>
                  </a:lnTo>
                  <a:lnTo>
                    <a:pt x="124" y="25"/>
                  </a:lnTo>
                  <a:lnTo>
                    <a:pt x="130" y="8"/>
                  </a:lnTo>
                  <a:lnTo>
                    <a:pt x="175" y="8"/>
                  </a:lnTo>
                  <a:lnTo>
                    <a:pt x="223" y="8"/>
                  </a:lnTo>
                  <a:lnTo>
                    <a:pt x="239" y="8"/>
                  </a:lnTo>
                  <a:lnTo>
                    <a:pt x="288" y="8"/>
                  </a:lnTo>
                  <a:lnTo>
                    <a:pt x="335" y="8"/>
                  </a:lnTo>
                  <a:lnTo>
                    <a:pt x="384" y="8"/>
                  </a:lnTo>
                  <a:lnTo>
                    <a:pt x="432" y="8"/>
                  </a:lnTo>
                  <a:lnTo>
                    <a:pt x="487" y="8"/>
                  </a:lnTo>
                  <a:lnTo>
                    <a:pt x="541" y="8"/>
                  </a:lnTo>
                  <a:lnTo>
                    <a:pt x="575" y="8"/>
                  </a:lnTo>
                  <a:lnTo>
                    <a:pt x="579" y="0"/>
                  </a:lnTo>
                  <a:lnTo>
                    <a:pt x="584"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47" name="Freeform 211"/>
            <p:cNvSpPr>
              <a:spLocks/>
            </p:cNvSpPr>
            <p:nvPr/>
          </p:nvSpPr>
          <p:spPr bwMode="auto">
            <a:xfrm>
              <a:off x="5645150" y="2206629"/>
              <a:ext cx="492125" cy="274638"/>
            </a:xfrm>
            <a:custGeom>
              <a:avLst/>
              <a:gdLst>
                <a:gd name="T0" fmla="*/ 218 w 310"/>
                <a:gd name="T1" fmla="*/ 169 h 173"/>
                <a:gd name="T2" fmla="*/ 215 w 310"/>
                <a:gd name="T3" fmla="*/ 156 h 173"/>
                <a:gd name="T4" fmla="*/ 190 w 310"/>
                <a:gd name="T5" fmla="*/ 147 h 173"/>
                <a:gd name="T6" fmla="*/ 170 w 310"/>
                <a:gd name="T7" fmla="*/ 137 h 173"/>
                <a:gd name="T8" fmla="*/ 157 w 310"/>
                <a:gd name="T9" fmla="*/ 127 h 173"/>
                <a:gd name="T10" fmla="*/ 134 w 310"/>
                <a:gd name="T11" fmla="*/ 113 h 173"/>
                <a:gd name="T12" fmla="*/ 120 w 310"/>
                <a:gd name="T13" fmla="*/ 92 h 173"/>
                <a:gd name="T14" fmla="*/ 114 w 310"/>
                <a:gd name="T15" fmla="*/ 88 h 173"/>
                <a:gd name="T16" fmla="*/ 96 w 310"/>
                <a:gd name="T17" fmla="*/ 89 h 173"/>
                <a:gd name="T18" fmla="*/ 88 w 310"/>
                <a:gd name="T19" fmla="*/ 85 h 173"/>
                <a:gd name="T20" fmla="*/ 82 w 310"/>
                <a:gd name="T21" fmla="*/ 69 h 173"/>
                <a:gd name="T22" fmla="*/ 57 w 310"/>
                <a:gd name="T23" fmla="*/ 58 h 173"/>
                <a:gd name="T24" fmla="*/ 46 w 310"/>
                <a:gd name="T25" fmla="*/ 70 h 173"/>
                <a:gd name="T26" fmla="*/ 33 w 310"/>
                <a:gd name="T27" fmla="*/ 77 h 173"/>
                <a:gd name="T28" fmla="*/ 39 w 310"/>
                <a:gd name="T29" fmla="*/ 87 h 173"/>
                <a:gd name="T30" fmla="*/ 20 w 310"/>
                <a:gd name="T31" fmla="*/ 87 h 173"/>
                <a:gd name="T32" fmla="*/ 0 w 310"/>
                <a:gd name="T33" fmla="*/ 12 h 173"/>
                <a:gd name="T34" fmla="*/ 39 w 310"/>
                <a:gd name="T35" fmla="*/ 0 h 173"/>
                <a:gd name="T36" fmla="*/ 43 w 310"/>
                <a:gd name="T37" fmla="*/ 2 h 173"/>
                <a:gd name="T38" fmla="*/ 73 w 310"/>
                <a:gd name="T39" fmla="*/ 16 h 173"/>
                <a:gd name="T40" fmla="*/ 88 w 310"/>
                <a:gd name="T41" fmla="*/ 24 h 173"/>
                <a:gd name="T42" fmla="*/ 109 w 310"/>
                <a:gd name="T43" fmla="*/ 42 h 173"/>
                <a:gd name="T44" fmla="*/ 128 w 310"/>
                <a:gd name="T45" fmla="*/ 39 h 173"/>
                <a:gd name="T46" fmla="*/ 156 w 310"/>
                <a:gd name="T47" fmla="*/ 38 h 173"/>
                <a:gd name="T48" fmla="*/ 180 w 310"/>
                <a:gd name="T49" fmla="*/ 53 h 173"/>
                <a:gd name="T50" fmla="*/ 185 w 310"/>
                <a:gd name="T51" fmla="*/ 73 h 173"/>
                <a:gd name="T52" fmla="*/ 193 w 310"/>
                <a:gd name="T53" fmla="*/ 74 h 173"/>
                <a:gd name="T54" fmla="*/ 201 w 310"/>
                <a:gd name="T55" fmla="*/ 90 h 173"/>
                <a:gd name="T56" fmla="*/ 223 w 310"/>
                <a:gd name="T57" fmla="*/ 91 h 173"/>
                <a:gd name="T58" fmla="*/ 230 w 310"/>
                <a:gd name="T59" fmla="*/ 101 h 173"/>
                <a:gd name="T60" fmla="*/ 236 w 310"/>
                <a:gd name="T61" fmla="*/ 101 h 173"/>
                <a:gd name="T62" fmla="*/ 240 w 310"/>
                <a:gd name="T63" fmla="*/ 86 h 173"/>
                <a:gd name="T64" fmla="*/ 257 w 310"/>
                <a:gd name="T65" fmla="*/ 72 h 173"/>
                <a:gd name="T66" fmla="*/ 266 w 310"/>
                <a:gd name="T67" fmla="*/ 68 h 173"/>
                <a:gd name="T68" fmla="*/ 271 w 310"/>
                <a:gd name="T69" fmla="*/ 70 h 173"/>
                <a:gd name="T70" fmla="*/ 261 w 310"/>
                <a:gd name="T71" fmla="*/ 83 h 173"/>
                <a:gd name="T72" fmla="*/ 276 w 310"/>
                <a:gd name="T73" fmla="*/ 91 h 173"/>
                <a:gd name="T74" fmla="*/ 286 w 310"/>
                <a:gd name="T75" fmla="*/ 86 h 173"/>
                <a:gd name="T76" fmla="*/ 310 w 310"/>
                <a:gd name="T77" fmla="*/ 96 h 173"/>
                <a:gd name="T78" fmla="*/ 292 w 310"/>
                <a:gd name="T79" fmla="*/ 111 h 173"/>
                <a:gd name="T80" fmla="*/ 279 w 310"/>
                <a:gd name="T81" fmla="*/ 109 h 173"/>
                <a:gd name="T82" fmla="*/ 272 w 310"/>
                <a:gd name="T83" fmla="*/ 110 h 173"/>
                <a:gd name="T84" fmla="*/ 268 w 310"/>
                <a:gd name="T85" fmla="*/ 104 h 173"/>
                <a:gd name="T86" fmla="*/ 269 w 310"/>
                <a:gd name="T87" fmla="*/ 94 h 173"/>
                <a:gd name="T88" fmla="*/ 248 w 310"/>
                <a:gd name="T89" fmla="*/ 99 h 173"/>
                <a:gd name="T90" fmla="*/ 246 w 310"/>
                <a:gd name="T91" fmla="*/ 113 h 173"/>
                <a:gd name="T92" fmla="*/ 241 w 310"/>
                <a:gd name="T93" fmla="*/ 124 h 173"/>
                <a:gd name="T94" fmla="*/ 227 w 310"/>
                <a:gd name="T95" fmla="*/ 123 h 173"/>
                <a:gd name="T96" fmla="*/ 225 w 310"/>
                <a:gd name="T97" fmla="*/ 132 h 173"/>
                <a:gd name="T98" fmla="*/ 238 w 310"/>
                <a:gd name="T99" fmla="*/ 137 h 173"/>
                <a:gd name="T100" fmla="*/ 246 w 310"/>
                <a:gd name="T101" fmla="*/ 152 h 173"/>
                <a:gd name="T102" fmla="*/ 241 w 310"/>
                <a:gd name="T103" fmla="*/ 173 h 173"/>
                <a:gd name="T104" fmla="*/ 228 w 310"/>
                <a:gd name="T105" fmla="*/ 169 h 173"/>
                <a:gd name="T106" fmla="*/ 218 w 310"/>
                <a:gd name="T107" fmla="*/ 16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0" h="173">
                  <a:moveTo>
                    <a:pt x="218" y="169"/>
                  </a:moveTo>
                  <a:lnTo>
                    <a:pt x="215" y="156"/>
                  </a:lnTo>
                  <a:lnTo>
                    <a:pt x="190" y="147"/>
                  </a:lnTo>
                  <a:lnTo>
                    <a:pt x="170" y="137"/>
                  </a:lnTo>
                  <a:lnTo>
                    <a:pt x="157" y="127"/>
                  </a:lnTo>
                  <a:lnTo>
                    <a:pt x="134" y="113"/>
                  </a:lnTo>
                  <a:lnTo>
                    <a:pt x="120" y="92"/>
                  </a:lnTo>
                  <a:lnTo>
                    <a:pt x="114" y="88"/>
                  </a:lnTo>
                  <a:lnTo>
                    <a:pt x="96" y="89"/>
                  </a:lnTo>
                  <a:lnTo>
                    <a:pt x="88" y="85"/>
                  </a:lnTo>
                  <a:lnTo>
                    <a:pt x="82" y="69"/>
                  </a:lnTo>
                  <a:lnTo>
                    <a:pt x="57" y="58"/>
                  </a:lnTo>
                  <a:lnTo>
                    <a:pt x="46" y="70"/>
                  </a:lnTo>
                  <a:lnTo>
                    <a:pt x="33" y="77"/>
                  </a:lnTo>
                  <a:lnTo>
                    <a:pt x="39" y="87"/>
                  </a:lnTo>
                  <a:lnTo>
                    <a:pt x="20" y="87"/>
                  </a:lnTo>
                  <a:lnTo>
                    <a:pt x="0" y="12"/>
                  </a:lnTo>
                  <a:lnTo>
                    <a:pt x="39" y="0"/>
                  </a:lnTo>
                  <a:lnTo>
                    <a:pt x="43" y="2"/>
                  </a:lnTo>
                  <a:lnTo>
                    <a:pt x="73" y="16"/>
                  </a:lnTo>
                  <a:lnTo>
                    <a:pt x="88" y="24"/>
                  </a:lnTo>
                  <a:lnTo>
                    <a:pt x="109" y="42"/>
                  </a:lnTo>
                  <a:lnTo>
                    <a:pt x="128" y="39"/>
                  </a:lnTo>
                  <a:lnTo>
                    <a:pt x="156" y="38"/>
                  </a:lnTo>
                  <a:lnTo>
                    <a:pt x="180" y="53"/>
                  </a:lnTo>
                  <a:lnTo>
                    <a:pt x="185" y="73"/>
                  </a:lnTo>
                  <a:lnTo>
                    <a:pt x="193" y="74"/>
                  </a:lnTo>
                  <a:lnTo>
                    <a:pt x="201" y="90"/>
                  </a:lnTo>
                  <a:lnTo>
                    <a:pt x="223" y="91"/>
                  </a:lnTo>
                  <a:lnTo>
                    <a:pt x="230" y="101"/>
                  </a:lnTo>
                  <a:lnTo>
                    <a:pt x="236" y="101"/>
                  </a:lnTo>
                  <a:lnTo>
                    <a:pt x="240" y="86"/>
                  </a:lnTo>
                  <a:lnTo>
                    <a:pt x="257" y="72"/>
                  </a:lnTo>
                  <a:lnTo>
                    <a:pt x="266" y="68"/>
                  </a:lnTo>
                  <a:lnTo>
                    <a:pt x="271" y="70"/>
                  </a:lnTo>
                  <a:lnTo>
                    <a:pt x="261" y="83"/>
                  </a:lnTo>
                  <a:lnTo>
                    <a:pt x="276" y="91"/>
                  </a:lnTo>
                  <a:lnTo>
                    <a:pt x="286" y="86"/>
                  </a:lnTo>
                  <a:lnTo>
                    <a:pt x="310" y="96"/>
                  </a:lnTo>
                  <a:lnTo>
                    <a:pt x="292" y="111"/>
                  </a:lnTo>
                  <a:lnTo>
                    <a:pt x="279" y="109"/>
                  </a:lnTo>
                  <a:lnTo>
                    <a:pt x="272" y="110"/>
                  </a:lnTo>
                  <a:lnTo>
                    <a:pt x="268" y="104"/>
                  </a:lnTo>
                  <a:lnTo>
                    <a:pt x="269" y="94"/>
                  </a:lnTo>
                  <a:lnTo>
                    <a:pt x="248" y="99"/>
                  </a:lnTo>
                  <a:lnTo>
                    <a:pt x="246" y="113"/>
                  </a:lnTo>
                  <a:lnTo>
                    <a:pt x="241" y="124"/>
                  </a:lnTo>
                  <a:lnTo>
                    <a:pt x="227" y="123"/>
                  </a:lnTo>
                  <a:lnTo>
                    <a:pt x="225" y="132"/>
                  </a:lnTo>
                  <a:lnTo>
                    <a:pt x="238" y="137"/>
                  </a:lnTo>
                  <a:lnTo>
                    <a:pt x="246" y="152"/>
                  </a:lnTo>
                  <a:lnTo>
                    <a:pt x="241" y="173"/>
                  </a:lnTo>
                  <a:lnTo>
                    <a:pt x="228" y="169"/>
                  </a:lnTo>
                  <a:lnTo>
                    <a:pt x="218" y="16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48" name="Freeform 212"/>
            <p:cNvSpPr>
              <a:spLocks/>
            </p:cNvSpPr>
            <p:nvPr/>
          </p:nvSpPr>
          <p:spPr bwMode="auto">
            <a:xfrm>
              <a:off x="2051050" y="3305179"/>
              <a:ext cx="393700" cy="376238"/>
            </a:xfrm>
            <a:custGeom>
              <a:avLst/>
              <a:gdLst>
                <a:gd name="T0" fmla="*/ 39 w 248"/>
                <a:gd name="T1" fmla="*/ 13 h 237"/>
                <a:gd name="T2" fmla="*/ 33 w 248"/>
                <a:gd name="T3" fmla="*/ 24 h 237"/>
                <a:gd name="T4" fmla="*/ 23 w 248"/>
                <a:gd name="T5" fmla="*/ 47 h 237"/>
                <a:gd name="T6" fmla="*/ 38 w 248"/>
                <a:gd name="T7" fmla="*/ 62 h 237"/>
                <a:gd name="T8" fmla="*/ 37 w 248"/>
                <a:gd name="T9" fmla="*/ 40 h 237"/>
                <a:gd name="T10" fmla="*/ 61 w 248"/>
                <a:gd name="T11" fmla="*/ 16 h 237"/>
                <a:gd name="T12" fmla="*/ 65 w 248"/>
                <a:gd name="T13" fmla="*/ 0 h 237"/>
                <a:gd name="T14" fmla="*/ 84 w 248"/>
                <a:gd name="T15" fmla="*/ 15 h 237"/>
                <a:gd name="T16" fmla="*/ 95 w 248"/>
                <a:gd name="T17" fmla="*/ 33 h 237"/>
                <a:gd name="T18" fmla="*/ 131 w 248"/>
                <a:gd name="T19" fmla="*/ 31 h 237"/>
                <a:gd name="T20" fmla="*/ 155 w 248"/>
                <a:gd name="T21" fmla="*/ 43 h 237"/>
                <a:gd name="T22" fmla="*/ 166 w 248"/>
                <a:gd name="T23" fmla="*/ 31 h 237"/>
                <a:gd name="T24" fmla="*/ 211 w 248"/>
                <a:gd name="T25" fmla="*/ 30 h 237"/>
                <a:gd name="T26" fmla="*/ 201 w 248"/>
                <a:gd name="T27" fmla="*/ 46 h 237"/>
                <a:gd name="T28" fmla="*/ 229 w 248"/>
                <a:gd name="T29" fmla="*/ 58 h 237"/>
                <a:gd name="T30" fmla="*/ 241 w 248"/>
                <a:gd name="T31" fmla="*/ 74 h 237"/>
                <a:gd name="T32" fmla="*/ 233 w 248"/>
                <a:gd name="T33" fmla="*/ 91 h 237"/>
                <a:gd name="T34" fmla="*/ 237 w 248"/>
                <a:gd name="T35" fmla="*/ 106 h 237"/>
                <a:gd name="T36" fmla="*/ 221 w 248"/>
                <a:gd name="T37" fmla="*/ 113 h 237"/>
                <a:gd name="T38" fmla="*/ 216 w 248"/>
                <a:gd name="T39" fmla="*/ 129 h 237"/>
                <a:gd name="T40" fmla="*/ 230 w 248"/>
                <a:gd name="T41" fmla="*/ 150 h 237"/>
                <a:gd name="T42" fmla="*/ 202 w 248"/>
                <a:gd name="T43" fmla="*/ 166 h 237"/>
                <a:gd name="T44" fmla="*/ 184 w 248"/>
                <a:gd name="T45" fmla="*/ 174 h 237"/>
                <a:gd name="T46" fmla="*/ 156 w 248"/>
                <a:gd name="T47" fmla="*/ 166 h 237"/>
                <a:gd name="T48" fmla="*/ 160 w 248"/>
                <a:gd name="T49" fmla="*/ 173 h 237"/>
                <a:gd name="T50" fmla="*/ 162 w 248"/>
                <a:gd name="T51" fmla="*/ 201 h 237"/>
                <a:gd name="T52" fmla="*/ 178 w 248"/>
                <a:gd name="T53" fmla="*/ 207 h 237"/>
                <a:gd name="T54" fmla="*/ 163 w 248"/>
                <a:gd name="T55" fmla="*/ 221 h 237"/>
                <a:gd name="T56" fmla="*/ 142 w 248"/>
                <a:gd name="T57" fmla="*/ 230 h 237"/>
                <a:gd name="T58" fmla="*/ 124 w 248"/>
                <a:gd name="T59" fmla="*/ 237 h 237"/>
                <a:gd name="T60" fmla="*/ 108 w 248"/>
                <a:gd name="T61" fmla="*/ 206 h 237"/>
                <a:gd name="T62" fmla="*/ 97 w 248"/>
                <a:gd name="T63" fmla="*/ 194 h 237"/>
                <a:gd name="T64" fmla="*/ 106 w 248"/>
                <a:gd name="T65" fmla="*/ 179 h 237"/>
                <a:gd name="T66" fmla="*/ 97 w 248"/>
                <a:gd name="T67" fmla="*/ 159 h 237"/>
                <a:gd name="T68" fmla="*/ 103 w 248"/>
                <a:gd name="T69" fmla="*/ 137 h 237"/>
                <a:gd name="T70" fmla="*/ 101 w 248"/>
                <a:gd name="T71" fmla="*/ 122 h 237"/>
                <a:gd name="T72" fmla="*/ 77 w 248"/>
                <a:gd name="T73" fmla="*/ 123 h 237"/>
                <a:gd name="T74" fmla="*/ 57 w 248"/>
                <a:gd name="T75" fmla="*/ 108 h 237"/>
                <a:gd name="T76" fmla="*/ 23 w 248"/>
                <a:gd name="T77" fmla="*/ 107 h 237"/>
                <a:gd name="T78" fmla="*/ 14 w 248"/>
                <a:gd name="T79" fmla="*/ 98 h 237"/>
                <a:gd name="T80" fmla="*/ 16 w 248"/>
                <a:gd name="T81" fmla="*/ 86 h 237"/>
                <a:gd name="T82" fmla="*/ 11 w 248"/>
                <a:gd name="T83" fmla="*/ 73 h 237"/>
                <a:gd name="T84" fmla="*/ 0 w 248"/>
                <a:gd name="T85" fmla="*/ 62 h 237"/>
                <a:gd name="T86" fmla="*/ 9 w 248"/>
                <a:gd name="T87" fmla="*/ 35 h 237"/>
                <a:gd name="T88" fmla="*/ 22 w 248"/>
                <a:gd name="T89" fmla="*/ 22 h 237"/>
                <a:gd name="T90" fmla="*/ 40 w 248"/>
                <a:gd name="T91" fmla="*/ 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 h="237">
                  <a:moveTo>
                    <a:pt x="40" y="8"/>
                  </a:moveTo>
                  <a:lnTo>
                    <a:pt x="39" y="13"/>
                  </a:lnTo>
                  <a:lnTo>
                    <a:pt x="28" y="15"/>
                  </a:lnTo>
                  <a:lnTo>
                    <a:pt x="33" y="24"/>
                  </a:lnTo>
                  <a:lnTo>
                    <a:pt x="32" y="35"/>
                  </a:lnTo>
                  <a:lnTo>
                    <a:pt x="23" y="47"/>
                  </a:lnTo>
                  <a:lnTo>
                    <a:pt x="29" y="64"/>
                  </a:lnTo>
                  <a:lnTo>
                    <a:pt x="38" y="62"/>
                  </a:lnTo>
                  <a:lnTo>
                    <a:pt x="42" y="48"/>
                  </a:lnTo>
                  <a:lnTo>
                    <a:pt x="37" y="40"/>
                  </a:lnTo>
                  <a:lnTo>
                    <a:pt x="37" y="24"/>
                  </a:lnTo>
                  <a:lnTo>
                    <a:pt x="61" y="16"/>
                  </a:lnTo>
                  <a:lnTo>
                    <a:pt x="59" y="6"/>
                  </a:lnTo>
                  <a:lnTo>
                    <a:pt x="65" y="0"/>
                  </a:lnTo>
                  <a:lnTo>
                    <a:pt x="71" y="14"/>
                  </a:lnTo>
                  <a:lnTo>
                    <a:pt x="84" y="15"/>
                  </a:lnTo>
                  <a:lnTo>
                    <a:pt x="95" y="26"/>
                  </a:lnTo>
                  <a:lnTo>
                    <a:pt x="95" y="33"/>
                  </a:lnTo>
                  <a:lnTo>
                    <a:pt x="112" y="33"/>
                  </a:lnTo>
                  <a:lnTo>
                    <a:pt x="131" y="31"/>
                  </a:lnTo>
                  <a:lnTo>
                    <a:pt x="141" y="41"/>
                  </a:lnTo>
                  <a:lnTo>
                    <a:pt x="155" y="43"/>
                  </a:lnTo>
                  <a:lnTo>
                    <a:pt x="166" y="37"/>
                  </a:lnTo>
                  <a:lnTo>
                    <a:pt x="166" y="31"/>
                  </a:lnTo>
                  <a:lnTo>
                    <a:pt x="189" y="30"/>
                  </a:lnTo>
                  <a:lnTo>
                    <a:pt x="211" y="30"/>
                  </a:lnTo>
                  <a:lnTo>
                    <a:pt x="195" y="36"/>
                  </a:lnTo>
                  <a:lnTo>
                    <a:pt x="201" y="46"/>
                  </a:lnTo>
                  <a:lnTo>
                    <a:pt x="215" y="47"/>
                  </a:lnTo>
                  <a:lnTo>
                    <a:pt x="229" y="58"/>
                  </a:lnTo>
                  <a:lnTo>
                    <a:pt x="231" y="74"/>
                  </a:lnTo>
                  <a:lnTo>
                    <a:pt x="241" y="74"/>
                  </a:lnTo>
                  <a:lnTo>
                    <a:pt x="248" y="79"/>
                  </a:lnTo>
                  <a:lnTo>
                    <a:pt x="233" y="91"/>
                  </a:lnTo>
                  <a:lnTo>
                    <a:pt x="231" y="98"/>
                  </a:lnTo>
                  <a:lnTo>
                    <a:pt x="237" y="106"/>
                  </a:lnTo>
                  <a:lnTo>
                    <a:pt x="232" y="110"/>
                  </a:lnTo>
                  <a:lnTo>
                    <a:pt x="221" y="113"/>
                  </a:lnTo>
                  <a:lnTo>
                    <a:pt x="221" y="123"/>
                  </a:lnTo>
                  <a:lnTo>
                    <a:pt x="216" y="129"/>
                  </a:lnTo>
                  <a:lnTo>
                    <a:pt x="228" y="144"/>
                  </a:lnTo>
                  <a:lnTo>
                    <a:pt x="230" y="150"/>
                  </a:lnTo>
                  <a:lnTo>
                    <a:pt x="223" y="158"/>
                  </a:lnTo>
                  <a:lnTo>
                    <a:pt x="202" y="166"/>
                  </a:lnTo>
                  <a:lnTo>
                    <a:pt x="189" y="169"/>
                  </a:lnTo>
                  <a:lnTo>
                    <a:pt x="184" y="174"/>
                  </a:lnTo>
                  <a:lnTo>
                    <a:pt x="169" y="169"/>
                  </a:lnTo>
                  <a:lnTo>
                    <a:pt x="156" y="166"/>
                  </a:lnTo>
                  <a:lnTo>
                    <a:pt x="152" y="168"/>
                  </a:lnTo>
                  <a:lnTo>
                    <a:pt x="160" y="173"/>
                  </a:lnTo>
                  <a:lnTo>
                    <a:pt x="159" y="187"/>
                  </a:lnTo>
                  <a:lnTo>
                    <a:pt x="162" y="201"/>
                  </a:lnTo>
                  <a:lnTo>
                    <a:pt x="177" y="202"/>
                  </a:lnTo>
                  <a:lnTo>
                    <a:pt x="178" y="207"/>
                  </a:lnTo>
                  <a:lnTo>
                    <a:pt x="165" y="213"/>
                  </a:lnTo>
                  <a:lnTo>
                    <a:pt x="163" y="221"/>
                  </a:lnTo>
                  <a:lnTo>
                    <a:pt x="155" y="225"/>
                  </a:lnTo>
                  <a:lnTo>
                    <a:pt x="142" y="230"/>
                  </a:lnTo>
                  <a:lnTo>
                    <a:pt x="138" y="236"/>
                  </a:lnTo>
                  <a:lnTo>
                    <a:pt x="124" y="237"/>
                  </a:lnTo>
                  <a:lnTo>
                    <a:pt x="114" y="226"/>
                  </a:lnTo>
                  <a:lnTo>
                    <a:pt x="108" y="206"/>
                  </a:lnTo>
                  <a:lnTo>
                    <a:pt x="103" y="198"/>
                  </a:lnTo>
                  <a:lnTo>
                    <a:pt x="97" y="194"/>
                  </a:lnTo>
                  <a:lnTo>
                    <a:pt x="106" y="183"/>
                  </a:lnTo>
                  <a:lnTo>
                    <a:pt x="106" y="179"/>
                  </a:lnTo>
                  <a:lnTo>
                    <a:pt x="101" y="173"/>
                  </a:lnTo>
                  <a:lnTo>
                    <a:pt x="97" y="159"/>
                  </a:lnTo>
                  <a:lnTo>
                    <a:pt x="99" y="144"/>
                  </a:lnTo>
                  <a:lnTo>
                    <a:pt x="103" y="137"/>
                  </a:lnTo>
                  <a:lnTo>
                    <a:pt x="107" y="126"/>
                  </a:lnTo>
                  <a:lnTo>
                    <a:pt x="101" y="122"/>
                  </a:lnTo>
                  <a:lnTo>
                    <a:pt x="90" y="125"/>
                  </a:lnTo>
                  <a:lnTo>
                    <a:pt x="77" y="123"/>
                  </a:lnTo>
                  <a:lnTo>
                    <a:pt x="69" y="126"/>
                  </a:lnTo>
                  <a:lnTo>
                    <a:pt x="57" y="108"/>
                  </a:lnTo>
                  <a:lnTo>
                    <a:pt x="47" y="105"/>
                  </a:lnTo>
                  <a:lnTo>
                    <a:pt x="23" y="107"/>
                  </a:lnTo>
                  <a:lnTo>
                    <a:pt x="19" y="100"/>
                  </a:lnTo>
                  <a:lnTo>
                    <a:pt x="14" y="98"/>
                  </a:lnTo>
                  <a:lnTo>
                    <a:pt x="14" y="94"/>
                  </a:lnTo>
                  <a:lnTo>
                    <a:pt x="16" y="86"/>
                  </a:lnTo>
                  <a:lnTo>
                    <a:pt x="15" y="78"/>
                  </a:lnTo>
                  <a:lnTo>
                    <a:pt x="11" y="73"/>
                  </a:lnTo>
                  <a:lnTo>
                    <a:pt x="9" y="64"/>
                  </a:lnTo>
                  <a:lnTo>
                    <a:pt x="0" y="62"/>
                  </a:lnTo>
                  <a:lnTo>
                    <a:pt x="6" y="50"/>
                  </a:lnTo>
                  <a:lnTo>
                    <a:pt x="9" y="35"/>
                  </a:lnTo>
                  <a:lnTo>
                    <a:pt x="15" y="28"/>
                  </a:lnTo>
                  <a:lnTo>
                    <a:pt x="22" y="22"/>
                  </a:lnTo>
                  <a:lnTo>
                    <a:pt x="28" y="11"/>
                  </a:lnTo>
                  <a:lnTo>
                    <a:pt x="40" y="8"/>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49" name="Freeform 213"/>
            <p:cNvSpPr>
              <a:spLocks/>
            </p:cNvSpPr>
            <p:nvPr/>
          </p:nvSpPr>
          <p:spPr bwMode="auto">
            <a:xfrm>
              <a:off x="7096125" y="2935291"/>
              <a:ext cx="252413" cy="487363"/>
            </a:xfrm>
            <a:custGeom>
              <a:avLst/>
              <a:gdLst>
                <a:gd name="T0" fmla="*/ 109 w 159"/>
                <a:gd name="T1" fmla="*/ 38 h 307"/>
                <a:gd name="T2" fmla="*/ 88 w 159"/>
                <a:gd name="T3" fmla="*/ 55 h 307"/>
                <a:gd name="T4" fmla="*/ 77 w 159"/>
                <a:gd name="T5" fmla="*/ 75 h 307"/>
                <a:gd name="T6" fmla="*/ 75 w 159"/>
                <a:gd name="T7" fmla="*/ 90 h 307"/>
                <a:gd name="T8" fmla="*/ 92 w 159"/>
                <a:gd name="T9" fmla="*/ 111 h 307"/>
                <a:gd name="T10" fmla="*/ 113 w 159"/>
                <a:gd name="T11" fmla="*/ 139 h 307"/>
                <a:gd name="T12" fmla="*/ 131 w 159"/>
                <a:gd name="T13" fmla="*/ 151 h 307"/>
                <a:gd name="T14" fmla="*/ 145 w 159"/>
                <a:gd name="T15" fmla="*/ 168 h 307"/>
                <a:gd name="T16" fmla="*/ 158 w 159"/>
                <a:gd name="T17" fmla="*/ 206 h 307"/>
                <a:gd name="T18" fmla="*/ 159 w 159"/>
                <a:gd name="T19" fmla="*/ 243 h 307"/>
                <a:gd name="T20" fmla="*/ 145 w 159"/>
                <a:gd name="T21" fmla="*/ 257 h 307"/>
                <a:gd name="T22" fmla="*/ 125 w 159"/>
                <a:gd name="T23" fmla="*/ 270 h 307"/>
                <a:gd name="T24" fmla="*/ 112 w 159"/>
                <a:gd name="T25" fmla="*/ 287 h 307"/>
                <a:gd name="T26" fmla="*/ 90 w 159"/>
                <a:gd name="T27" fmla="*/ 307 h 307"/>
                <a:gd name="T28" fmla="*/ 83 w 159"/>
                <a:gd name="T29" fmla="*/ 294 h 307"/>
                <a:gd name="T30" fmla="*/ 87 w 159"/>
                <a:gd name="T31" fmla="*/ 279 h 307"/>
                <a:gd name="T32" fmla="*/ 72 w 159"/>
                <a:gd name="T33" fmla="*/ 268 h 307"/>
                <a:gd name="T34" fmla="*/ 88 w 159"/>
                <a:gd name="T35" fmla="*/ 259 h 307"/>
                <a:gd name="T36" fmla="*/ 107 w 159"/>
                <a:gd name="T37" fmla="*/ 258 h 307"/>
                <a:gd name="T38" fmla="*/ 98 w 159"/>
                <a:gd name="T39" fmla="*/ 245 h 307"/>
                <a:gd name="T40" fmla="*/ 127 w 159"/>
                <a:gd name="T41" fmla="*/ 229 h 307"/>
                <a:gd name="T42" fmla="*/ 126 w 159"/>
                <a:gd name="T43" fmla="*/ 204 h 307"/>
                <a:gd name="T44" fmla="*/ 120 w 159"/>
                <a:gd name="T45" fmla="*/ 190 h 307"/>
                <a:gd name="T46" fmla="*/ 121 w 159"/>
                <a:gd name="T47" fmla="*/ 170 h 307"/>
                <a:gd name="T48" fmla="*/ 115 w 159"/>
                <a:gd name="T49" fmla="*/ 155 h 307"/>
                <a:gd name="T50" fmla="*/ 99 w 159"/>
                <a:gd name="T51" fmla="*/ 141 h 307"/>
                <a:gd name="T52" fmla="*/ 85 w 159"/>
                <a:gd name="T53" fmla="*/ 122 h 307"/>
                <a:gd name="T54" fmla="*/ 66 w 159"/>
                <a:gd name="T55" fmla="*/ 98 h 307"/>
                <a:gd name="T56" fmla="*/ 42 w 159"/>
                <a:gd name="T57" fmla="*/ 85 h 307"/>
                <a:gd name="T58" fmla="*/ 46 w 159"/>
                <a:gd name="T59" fmla="*/ 78 h 307"/>
                <a:gd name="T60" fmla="*/ 57 w 159"/>
                <a:gd name="T61" fmla="*/ 72 h 307"/>
                <a:gd name="T62" fmla="*/ 47 w 159"/>
                <a:gd name="T63" fmla="*/ 54 h 307"/>
                <a:gd name="T64" fmla="*/ 25 w 159"/>
                <a:gd name="T65" fmla="*/ 54 h 307"/>
                <a:gd name="T66" fmla="*/ 13 w 159"/>
                <a:gd name="T67" fmla="*/ 35 h 307"/>
                <a:gd name="T68" fmla="*/ 0 w 159"/>
                <a:gd name="T69" fmla="*/ 19 h 307"/>
                <a:gd name="T70" fmla="*/ 8 w 159"/>
                <a:gd name="T71" fmla="*/ 14 h 307"/>
                <a:gd name="T72" fmla="*/ 23 w 159"/>
                <a:gd name="T73" fmla="*/ 14 h 307"/>
                <a:gd name="T74" fmla="*/ 39 w 159"/>
                <a:gd name="T75" fmla="*/ 11 h 307"/>
                <a:gd name="T76" fmla="*/ 53 w 159"/>
                <a:gd name="T77" fmla="*/ 0 h 307"/>
                <a:gd name="T78" fmla="*/ 63 w 159"/>
                <a:gd name="T79" fmla="*/ 8 h 307"/>
                <a:gd name="T80" fmla="*/ 80 w 159"/>
                <a:gd name="T81" fmla="*/ 12 h 307"/>
                <a:gd name="T82" fmla="*/ 79 w 159"/>
                <a:gd name="T83" fmla="*/ 24 h 307"/>
                <a:gd name="T84" fmla="*/ 90 w 159"/>
                <a:gd name="T85" fmla="*/ 32 h 307"/>
                <a:gd name="T86" fmla="*/ 109 w 159"/>
                <a:gd name="T87" fmla="*/ 3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9" h="307">
                  <a:moveTo>
                    <a:pt x="109" y="38"/>
                  </a:moveTo>
                  <a:lnTo>
                    <a:pt x="88" y="55"/>
                  </a:lnTo>
                  <a:lnTo>
                    <a:pt x="77" y="75"/>
                  </a:lnTo>
                  <a:lnTo>
                    <a:pt x="75" y="90"/>
                  </a:lnTo>
                  <a:lnTo>
                    <a:pt x="92" y="111"/>
                  </a:lnTo>
                  <a:lnTo>
                    <a:pt x="113" y="139"/>
                  </a:lnTo>
                  <a:lnTo>
                    <a:pt x="131" y="151"/>
                  </a:lnTo>
                  <a:lnTo>
                    <a:pt x="145" y="168"/>
                  </a:lnTo>
                  <a:lnTo>
                    <a:pt x="158" y="206"/>
                  </a:lnTo>
                  <a:lnTo>
                    <a:pt x="159" y="243"/>
                  </a:lnTo>
                  <a:lnTo>
                    <a:pt x="145" y="257"/>
                  </a:lnTo>
                  <a:lnTo>
                    <a:pt x="125" y="270"/>
                  </a:lnTo>
                  <a:lnTo>
                    <a:pt x="112" y="287"/>
                  </a:lnTo>
                  <a:lnTo>
                    <a:pt x="90" y="307"/>
                  </a:lnTo>
                  <a:lnTo>
                    <a:pt x="83" y="294"/>
                  </a:lnTo>
                  <a:lnTo>
                    <a:pt x="87" y="279"/>
                  </a:lnTo>
                  <a:lnTo>
                    <a:pt x="72" y="268"/>
                  </a:lnTo>
                  <a:lnTo>
                    <a:pt x="88" y="259"/>
                  </a:lnTo>
                  <a:lnTo>
                    <a:pt x="107" y="258"/>
                  </a:lnTo>
                  <a:lnTo>
                    <a:pt x="98" y="245"/>
                  </a:lnTo>
                  <a:lnTo>
                    <a:pt x="127" y="229"/>
                  </a:lnTo>
                  <a:lnTo>
                    <a:pt x="126" y="204"/>
                  </a:lnTo>
                  <a:lnTo>
                    <a:pt x="120" y="190"/>
                  </a:lnTo>
                  <a:lnTo>
                    <a:pt x="121" y="170"/>
                  </a:lnTo>
                  <a:lnTo>
                    <a:pt x="115" y="155"/>
                  </a:lnTo>
                  <a:lnTo>
                    <a:pt x="99" y="141"/>
                  </a:lnTo>
                  <a:lnTo>
                    <a:pt x="85" y="122"/>
                  </a:lnTo>
                  <a:lnTo>
                    <a:pt x="66" y="98"/>
                  </a:lnTo>
                  <a:lnTo>
                    <a:pt x="42" y="85"/>
                  </a:lnTo>
                  <a:lnTo>
                    <a:pt x="46" y="78"/>
                  </a:lnTo>
                  <a:lnTo>
                    <a:pt x="57" y="72"/>
                  </a:lnTo>
                  <a:lnTo>
                    <a:pt x="47" y="54"/>
                  </a:lnTo>
                  <a:lnTo>
                    <a:pt x="25" y="54"/>
                  </a:lnTo>
                  <a:lnTo>
                    <a:pt x="13" y="35"/>
                  </a:lnTo>
                  <a:lnTo>
                    <a:pt x="0" y="19"/>
                  </a:lnTo>
                  <a:lnTo>
                    <a:pt x="8" y="14"/>
                  </a:lnTo>
                  <a:lnTo>
                    <a:pt x="23" y="14"/>
                  </a:lnTo>
                  <a:lnTo>
                    <a:pt x="39" y="11"/>
                  </a:lnTo>
                  <a:lnTo>
                    <a:pt x="53" y="0"/>
                  </a:lnTo>
                  <a:lnTo>
                    <a:pt x="63" y="8"/>
                  </a:lnTo>
                  <a:lnTo>
                    <a:pt x="80" y="12"/>
                  </a:lnTo>
                  <a:lnTo>
                    <a:pt x="79" y="24"/>
                  </a:lnTo>
                  <a:lnTo>
                    <a:pt x="90" y="32"/>
                  </a:lnTo>
                  <a:lnTo>
                    <a:pt x="109" y="38"/>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50" name="Freeform 214"/>
            <p:cNvSpPr>
              <a:spLocks/>
            </p:cNvSpPr>
            <p:nvPr/>
          </p:nvSpPr>
          <p:spPr bwMode="auto">
            <a:xfrm>
              <a:off x="9004300" y="4230692"/>
              <a:ext cx="15875" cy="22225"/>
            </a:xfrm>
            <a:custGeom>
              <a:avLst/>
              <a:gdLst>
                <a:gd name="T0" fmla="*/ 10 w 10"/>
                <a:gd name="T1" fmla="*/ 12 h 14"/>
                <a:gd name="T2" fmla="*/ 3 w 10"/>
                <a:gd name="T3" fmla="*/ 14 h 14"/>
                <a:gd name="T4" fmla="*/ 0 w 10"/>
                <a:gd name="T5" fmla="*/ 5 h 14"/>
                <a:gd name="T6" fmla="*/ 1 w 10"/>
                <a:gd name="T7" fmla="*/ 0 h 14"/>
                <a:gd name="T8" fmla="*/ 10 w 10"/>
                <a:gd name="T9" fmla="*/ 12 h 14"/>
              </a:gdLst>
              <a:ahLst/>
              <a:cxnLst>
                <a:cxn ang="0">
                  <a:pos x="T0" y="T1"/>
                </a:cxn>
                <a:cxn ang="0">
                  <a:pos x="T2" y="T3"/>
                </a:cxn>
                <a:cxn ang="0">
                  <a:pos x="T4" y="T5"/>
                </a:cxn>
                <a:cxn ang="0">
                  <a:pos x="T6" y="T7"/>
                </a:cxn>
                <a:cxn ang="0">
                  <a:pos x="T8" y="T9"/>
                </a:cxn>
              </a:cxnLst>
              <a:rect l="0" t="0" r="r" b="b"/>
              <a:pathLst>
                <a:path w="10" h="14">
                  <a:moveTo>
                    <a:pt x="10" y="12"/>
                  </a:moveTo>
                  <a:lnTo>
                    <a:pt x="3" y="14"/>
                  </a:lnTo>
                  <a:lnTo>
                    <a:pt x="0" y="5"/>
                  </a:lnTo>
                  <a:lnTo>
                    <a:pt x="1" y="0"/>
                  </a:lnTo>
                  <a:lnTo>
                    <a:pt x="10" y="12"/>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51" name="Freeform 215"/>
            <p:cNvSpPr>
              <a:spLocks/>
            </p:cNvSpPr>
            <p:nvPr/>
          </p:nvSpPr>
          <p:spPr bwMode="auto">
            <a:xfrm>
              <a:off x="8993188" y="4187829"/>
              <a:ext cx="15875" cy="36513"/>
            </a:xfrm>
            <a:custGeom>
              <a:avLst/>
              <a:gdLst>
                <a:gd name="T0" fmla="*/ 10 w 10"/>
                <a:gd name="T1" fmla="*/ 7 h 23"/>
                <a:gd name="T2" fmla="*/ 10 w 10"/>
                <a:gd name="T3" fmla="*/ 23 h 23"/>
                <a:gd name="T4" fmla="*/ 6 w 10"/>
                <a:gd name="T5" fmla="*/ 21 h 23"/>
                <a:gd name="T6" fmla="*/ 1 w 10"/>
                <a:gd name="T7" fmla="*/ 22 h 23"/>
                <a:gd name="T8" fmla="*/ 0 w 10"/>
                <a:gd name="T9" fmla="*/ 16 h 23"/>
                <a:gd name="T10" fmla="*/ 3 w 10"/>
                <a:gd name="T11" fmla="*/ 0 h 23"/>
                <a:gd name="T12" fmla="*/ 10 w 10"/>
                <a:gd name="T13" fmla="*/ 7 h 23"/>
              </a:gdLst>
              <a:ahLst/>
              <a:cxnLst>
                <a:cxn ang="0">
                  <a:pos x="T0" y="T1"/>
                </a:cxn>
                <a:cxn ang="0">
                  <a:pos x="T2" y="T3"/>
                </a:cxn>
                <a:cxn ang="0">
                  <a:pos x="T4" y="T5"/>
                </a:cxn>
                <a:cxn ang="0">
                  <a:pos x="T6" y="T7"/>
                </a:cxn>
                <a:cxn ang="0">
                  <a:pos x="T8" y="T9"/>
                </a:cxn>
                <a:cxn ang="0">
                  <a:pos x="T10" y="T11"/>
                </a:cxn>
                <a:cxn ang="0">
                  <a:pos x="T12" y="T13"/>
                </a:cxn>
              </a:cxnLst>
              <a:rect l="0" t="0" r="r" b="b"/>
              <a:pathLst>
                <a:path w="10" h="23">
                  <a:moveTo>
                    <a:pt x="10" y="7"/>
                  </a:moveTo>
                  <a:lnTo>
                    <a:pt x="10" y="23"/>
                  </a:lnTo>
                  <a:lnTo>
                    <a:pt x="6" y="21"/>
                  </a:lnTo>
                  <a:lnTo>
                    <a:pt x="1" y="22"/>
                  </a:lnTo>
                  <a:lnTo>
                    <a:pt x="0" y="16"/>
                  </a:lnTo>
                  <a:lnTo>
                    <a:pt x="3" y="0"/>
                  </a:lnTo>
                  <a:lnTo>
                    <a:pt x="10" y="7"/>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52" name="Freeform 216"/>
            <p:cNvSpPr>
              <a:spLocks/>
            </p:cNvSpPr>
            <p:nvPr/>
          </p:nvSpPr>
          <p:spPr bwMode="auto">
            <a:xfrm>
              <a:off x="5411788" y="3079754"/>
              <a:ext cx="300038" cy="211138"/>
            </a:xfrm>
            <a:custGeom>
              <a:avLst/>
              <a:gdLst>
                <a:gd name="T0" fmla="*/ 189 w 189"/>
                <a:gd name="T1" fmla="*/ 49 h 133"/>
                <a:gd name="T2" fmla="*/ 177 w 189"/>
                <a:gd name="T3" fmla="*/ 54 h 133"/>
                <a:gd name="T4" fmla="*/ 174 w 189"/>
                <a:gd name="T5" fmla="*/ 63 h 133"/>
                <a:gd name="T6" fmla="*/ 174 w 189"/>
                <a:gd name="T7" fmla="*/ 70 h 133"/>
                <a:gd name="T8" fmla="*/ 156 w 189"/>
                <a:gd name="T9" fmla="*/ 79 h 133"/>
                <a:gd name="T10" fmla="*/ 128 w 189"/>
                <a:gd name="T11" fmla="*/ 89 h 133"/>
                <a:gd name="T12" fmla="*/ 112 w 189"/>
                <a:gd name="T13" fmla="*/ 103 h 133"/>
                <a:gd name="T14" fmla="*/ 104 w 189"/>
                <a:gd name="T15" fmla="*/ 105 h 133"/>
                <a:gd name="T16" fmla="*/ 99 w 189"/>
                <a:gd name="T17" fmla="*/ 103 h 133"/>
                <a:gd name="T18" fmla="*/ 89 w 189"/>
                <a:gd name="T19" fmla="*/ 112 h 133"/>
                <a:gd name="T20" fmla="*/ 77 w 189"/>
                <a:gd name="T21" fmla="*/ 116 h 133"/>
                <a:gd name="T22" fmla="*/ 62 w 189"/>
                <a:gd name="T23" fmla="*/ 117 h 133"/>
                <a:gd name="T24" fmla="*/ 57 w 189"/>
                <a:gd name="T25" fmla="*/ 118 h 133"/>
                <a:gd name="T26" fmla="*/ 53 w 189"/>
                <a:gd name="T27" fmla="*/ 124 h 133"/>
                <a:gd name="T28" fmla="*/ 49 w 189"/>
                <a:gd name="T29" fmla="*/ 125 h 133"/>
                <a:gd name="T30" fmla="*/ 46 w 189"/>
                <a:gd name="T31" fmla="*/ 131 h 133"/>
                <a:gd name="T32" fmla="*/ 37 w 189"/>
                <a:gd name="T33" fmla="*/ 130 h 133"/>
                <a:gd name="T34" fmla="*/ 32 w 189"/>
                <a:gd name="T35" fmla="*/ 133 h 133"/>
                <a:gd name="T36" fmla="*/ 19 w 189"/>
                <a:gd name="T37" fmla="*/ 132 h 133"/>
                <a:gd name="T38" fmla="*/ 14 w 189"/>
                <a:gd name="T39" fmla="*/ 120 h 133"/>
                <a:gd name="T40" fmla="*/ 14 w 189"/>
                <a:gd name="T41" fmla="*/ 108 h 133"/>
                <a:gd name="T42" fmla="*/ 10 w 189"/>
                <a:gd name="T43" fmla="*/ 102 h 133"/>
                <a:gd name="T44" fmla="*/ 6 w 189"/>
                <a:gd name="T45" fmla="*/ 87 h 133"/>
                <a:gd name="T46" fmla="*/ 0 w 189"/>
                <a:gd name="T47" fmla="*/ 78 h 133"/>
                <a:gd name="T48" fmla="*/ 4 w 189"/>
                <a:gd name="T49" fmla="*/ 77 h 133"/>
                <a:gd name="T50" fmla="*/ 2 w 189"/>
                <a:gd name="T51" fmla="*/ 68 h 133"/>
                <a:gd name="T52" fmla="*/ 4 w 189"/>
                <a:gd name="T53" fmla="*/ 64 h 133"/>
                <a:gd name="T54" fmla="*/ 2 w 189"/>
                <a:gd name="T55" fmla="*/ 55 h 133"/>
                <a:gd name="T56" fmla="*/ 10 w 189"/>
                <a:gd name="T57" fmla="*/ 48 h 133"/>
                <a:gd name="T58" fmla="*/ 8 w 189"/>
                <a:gd name="T59" fmla="*/ 39 h 133"/>
                <a:gd name="T60" fmla="*/ 12 w 189"/>
                <a:gd name="T61" fmla="*/ 29 h 133"/>
                <a:gd name="T62" fmla="*/ 20 w 189"/>
                <a:gd name="T63" fmla="*/ 35 h 133"/>
                <a:gd name="T64" fmla="*/ 24 w 189"/>
                <a:gd name="T65" fmla="*/ 33 h 133"/>
                <a:gd name="T66" fmla="*/ 45 w 189"/>
                <a:gd name="T67" fmla="*/ 32 h 133"/>
                <a:gd name="T68" fmla="*/ 49 w 189"/>
                <a:gd name="T69" fmla="*/ 34 h 133"/>
                <a:gd name="T70" fmla="*/ 66 w 189"/>
                <a:gd name="T71" fmla="*/ 36 h 133"/>
                <a:gd name="T72" fmla="*/ 73 w 189"/>
                <a:gd name="T73" fmla="*/ 35 h 133"/>
                <a:gd name="T74" fmla="*/ 78 w 189"/>
                <a:gd name="T75" fmla="*/ 42 h 133"/>
                <a:gd name="T76" fmla="*/ 86 w 189"/>
                <a:gd name="T77" fmla="*/ 39 h 133"/>
                <a:gd name="T78" fmla="*/ 98 w 189"/>
                <a:gd name="T79" fmla="*/ 17 h 133"/>
                <a:gd name="T80" fmla="*/ 114 w 189"/>
                <a:gd name="T81" fmla="*/ 8 h 133"/>
                <a:gd name="T82" fmla="*/ 166 w 189"/>
                <a:gd name="T83" fmla="*/ 0 h 133"/>
                <a:gd name="T84" fmla="*/ 182 w 189"/>
                <a:gd name="T85" fmla="*/ 34 h 133"/>
                <a:gd name="T86" fmla="*/ 189 w 189"/>
                <a:gd name="T87" fmla="*/ 4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33">
                  <a:moveTo>
                    <a:pt x="189" y="49"/>
                  </a:moveTo>
                  <a:lnTo>
                    <a:pt x="177" y="54"/>
                  </a:lnTo>
                  <a:lnTo>
                    <a:pt x="174" y="63"/>
                  </a:lnTo>
                  <a:lnTo>
                    <a:pt x="174" y="70"/>
                  </a:lnTo>
                  <a:lnTo>
                    <a:pt x="156" y="79"/>
                  </a:lnTo>
                  <a:lnTo>
                    <a:pt x="128" y="89"/>
                  </a:lnTo>
                  <a:lnTo>
                    <a:pt x="112" y="103"/>
                  </a:lnTo>
                  <a:lnTo>
                    <a:pt x="104" y="105"/>
                  </a:lnTo>
                  <a:lnTo>
                    <a:pt x="99" y="103"/>
                  </a:lnTo>
                  <a:lnTo>
                    <a:pt x="89" y="112"/>
                  </a:lnTo>
                  <a:lnTo>
                    <a:pt x="77" y="116"/>
                  </a:lnTo>
                  <a:lnTo>
                    <a:pt x="62" y="117"/>
                  </a:lnTo>
                  <a:lnTo>
                    <a:pt x="57" y="118"/>
                  </a:lnTo>
                  <a:lnTo>
                    <a:pt x="53" y="124"/>
                  </a:lnTo>
                  <a:lnTo>
                    <a:pt x="49" y="125"/>
                  </a:lnTo>
                  <a:lnTo>
                    <a:pt x="46" y="131"/>
                  </a:lnTo>
                  <a:lnTo>
                    <a:pt x="37" y="130"/>
                  </a:lnTo>
                  <a:lnTo>
                    <a:pt x="32" y="133"/>
                  </a:lnTo>
                  <a:lnTo>
                    <a:pt x="19" y="132"/>
                  </a:lnTo>
                  <a:lnTo>
                    <a:pt x="14" y="120"/>
                  </a:lnTo>
                  <a:lnTo>
                    <a:pt x="14" y="108"/>
                  </a:lnTo>
                  <a:lnTo>
                    <a:pt x="10" y="102"/>
                  </a:lnTo>
                  <a:lnTo>
                    <a:pt x="6" y="87"/>
                  </a:lnTo>
                  <a:lnTo>
                    <a:pt x="0" y="78"/>
                  </a:lnTo>
                  <a:lnTo>
                    <a:pt x="4" y="77"/>
                  </a:lnTo>
                  <a:lnTo>
                    <a:pt x="2" y="68"/>
                  </a:lnTo>
                  <a:lnTo>
                    <a:pt x="4" y="64"/>
                  </a:lnTo>
                  <a:lnTo>
                    <a:pt x="2" y="55"/>
                  </a:lnTo>
                  <a:lnTo>
                    <a:pt x="10" y="48"/>
                  </a:lnTo>
                  <a:lnTo>
                    <a:pt x="8" y="39"/>
                  </a:lnTo>
                  <a:lnTo>
                    <a:pt x="12" y="29"/>
                  </a:lnTo>
                  <a:lnTo>
                    <a:pt x="20" y="35"/>
                  </a:lnTo>
                  <a:lnTo>
                    <a:pt x="24" y="33"/>
                  </a:lnTo>
                  <a:lnTo>
                    <a:pt x="45" y="32"/>
                  </a:lnTo>
                  <a:lnTo>
                    <a:pt x="49" y="34"/>
                  </a:lnTo>
                  <a:lnTo>
                    <a:pt x="66" y="36"/>
                  </a:lnTo>
                  <a:lnTo>
                    <a:pt x="73" y="35"/>
                  </a:lnTo>
                  <a:lnTo>
                    <a:pt x="78" y="42"/>
                  </a:lnTo>
                  <a:lnTo>
                    <a:pt x="86" y="39"/>
                  </a:lnTo>
                  <a:lnTo>
                    <a:pt x="98" y="17"/>
                  </a:lnTo>
                  <a:lnTo>
                    <a:pt x="114" y="8"/>
                  </a:lnTo>
                  <a:lnTo>
                    <a:pt x="166" y="0"/>
                  </a:lnTo>
                  <a:lnTo>
                    <a:pt x="182" y="34"/>
                  </a:lnTo>
                  <a:lnTo>
                    <a:pt x="189" y="49"/>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53" name="Freeform 217"/>
            <p:cNvSpPr>
              <a:spLocks/>
            </p:cNvSpPr>
            <p:nvPr/>
          </p:nvSpPr>
          <p:spPr bwMode="auto">
            <a:xfrm>
              <a:off x="4640263" y="4433892"/>
              <a:ext cx="468313" cy="419100"/>
            </a:xfrm>
            <a:custGeom>
              <a:avLst/>
              <a:gdLst>
                <a:gd name="T0" fmla="*/ 264 w 295"/>
                <a:gd name="T1" fmla="*/ 152 h 264"/>
                <a:gd name="T2" fmla="*/ 250 w 295"/>
                <a:gd name="T3" fmla="*/ 173 h 264"/>
                <a:gd name="T4" fmla="*/ 217 w 295"/>
                <a:gd name="T5" fmla="*/ 210 h 264"/>
                <a:gd name="T6" fmla="*/ 190 w 295"/>
                <a:gd name="T7" fmla="*/ 232 h 264"/>
                <a:gd name="T8" fmla="*/ 162 w 295"/>
                <a:gd name="T9" fmla="*/ 241 h 264"/>
                <a:gd name="T10" fmla="*/ 149 w 295"/>
                <a:gd name="T11" fmla="*/ 243 h 264"/>
                <a:gd name="T12" fmla="*/ 121 w 295"/>
                <a:gd name="T13" fmla="*/ 243 h 264"/>
                <a:gd name="T14" fmla="*/ 104 w 295"/>
                <a:gd name="T15" fmla="*/ 245 h 264"/>
                <a:gd name="T16" fmla="*/ 70 w 295"/>
                <a:gd name="T17" fmla="*/ 256 h 264"/>
                <a:gd name="T18" fmla="*/ 51 w 295"/>
                <a:gd name="T19" fmla="*/ 264 h 264"/>
                <a:gd name="T20" fmla="*/ 38 w 295"/>
                <a:gd name="T21" fmla="*/ 257 h 264"/>
                <a:gd name="T22" fmla="*/ 30 w 295"/>
                <a:gd name="T23" fmla="*/ 250 h 264"/>
                <a:gd name="T24" fmla="*/ 29 w 295"/>
                <a:gd name="T25" fmla="*/ 232 h 264"/>
                <a:gd name="T26" fmla="*/ 30 w 295"/>
                <a:gd name="T27" fmla="*/ 215 h 264"/>
                <a:gd name="T28" fmla="*/ 20 w 295"/>
                <a:gd name="T29" fmla="*/ 180 h 264"/>
                <a:gd name="T30" fmla="*/ 12 w 295"/>
                <a:gd name="T31" fmla="*/ 162 h 264"/>
                <a:gd name="T32" fmla="*/ 9 w 295"/>
                <a:gd name="T33" fmla="*/ 125 h 264"/>
                <a:gd name="T34" fmla="*/ 19 w 295"/>
                <a:gd name="T35" fmla="*/ 139 h 264"/>
                <a:gd name="T36" fmla="*/ 38 w 295"/>
                <a:gd name="T37" fmla="*/ 145 h 264"/>
                <a:gd name="T38" fmla="*/ 63 w 295"/>
                <a:gd name="T39" fmla="*/ 133 h 264"/>
                <a:gd name="T40" fmla="*/ 71 w 295"/>
                <a:gd name="T41" fmla="*/ 59 h 264"/>
                <a:gd name="T42" fmla="*/ 79 w 295"/>
                <a:gd name="T43" fmla="*/ 91 h 264"/>
                <a:gd name="T44" fmla="*/ 95 w 295"/>
                <a:gd name="T45" fmla="*/ 97 h 264"/>
                <a:gd name="T46" fmla="*/ 113 w 295"/>
                <a:gd name="T47" fmla="*/ 81 h 264"/>
                <a:gd name="T48" fmla="*/ 127 w 295"/>
                <a:gd name="T49" fmla="*/ 66 h 264"/>
                <a:gd name="T50" fmla="*/ 143 w 295"/>
                <a:gd name="T51" fmla="*/ 75 h 264"/>
                <a:gd name="T52" fmla="*/ 169 w 295"/>
                <a:gd name="T53" fmla="*/ 71 h 264"/>
                <a:gd name="T54" fmla="*/ 175 w 295"/>
                <a:gd name="T55" fmla="*/ 54 h 264"/>
                <a:gd name="T56" fmla="*/ 191 w 295"/>
                <a:gd name="T57" fmla="*/ 45 h 264"/>
                <a:gd name="T58" fmla="*/ 214 w 295"/>
                <a:gd name="T59" fmla="*/ 16 h 264"/>
                <a:gd name="T60" fmla="*/ 248 w 295"/>
                <a:gd name="T61" fmla="*/ 1 h 264"/>
                <a:gd name="T62" fmla="*/ 262 w 295"/>
                <a:gd name="T63" fmla="*/ 2 h 264"/>
                <a:gd name="T64" fmla="*/ 279 w 295"/>
                <a:gd name="T65" fmla="*/ 33 h 264"/>
                <a:gd name="T66" fmla="*/ 278 w 295"/>
                <a:gd name="T67" fmla="*/ 71 h 264"/>
                <a:gd name="T68" fmla="*/ 270 w 295"/>
                <a:gd name="T69" fmla="*/ 74 h 264"/>
                <a:gd name="T70" fmla="*/ 263 w 295"/>
                <a:gd name="T71" fmla="*/ 82 h 264"/>
                <a:gd name="T72" fmla="*/ 257 w 295"/>
                <a:gd name="T73" fmla="*/ 97 h 264"/>
                <a:gd name="T74" fmla="*/ 277 w 295"/>
                <a:gd name="T75" fmla="*/ 106 h 264"/>
                <a:gd name="T76" fmla="*/ 295 w 295"/>
                <a:gd name="T77" fmla="*/ 97 h 264"/>
                <a:gd name="T78" fmla="*/ 286 w 295"/>
                <a:gd name="T79" fmla="*/ 129 h 264"/>
                <a:gd name="T80" fmla="*/ 268 w 295"/>
                <a:gd name="T81" fmla="*/ 14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5" h="264">
                  <a:moveTo>
                    <a:pt x="268" y="149"/>
                  </a:moveTo>
                  <a:lnTo>
                    <a:pt x="264" y="152"/>
                  </a:lnTo>
                  <a:lnTo>
                    <a:pt x="256" y="163"/>
                  </a:lnTo>
                  <a:lnTo>
                    <a:pt x="250" y="173"/>
                  </a:lnTo>
                  <a:lnTo>
                    <a:pt x="239" y="188"/>
                  </a:lnTo>
                  <a:lnTo>
                    <a:pt x="217" y="210"/>
                  </a:lnTo>
                  <a:lnTo>
                    <a:pt x="204" y="222"/>
                  </a:lnTo>
                  <a:lnTo>
                    <a:pt x="190" y="232"/>
                  </a:lnTo>
                  <a:lnTo>
                    <a:pt x="171" y="240"/>
                  </a:lnTo>
                  <a:lnTo>
                    <a:pt x="162" y="241"/>
                  </a:lnTo>
                  <a:lnTo>
                    <a:pt x="159" y="246"/>
                  </a:lnTo>
                  <a:lnTo>
                    <a:pt x="149" y="243"/>
                  </a:lnTo>
                  <a:lnTo>
                    <a:pt x="140" y="247"/>
                  </a:lnTo>
                  <a:lnTo>
                    <a:pt x="121" y="243"/>
                  </a:lnTo>
                  <a:lnTo>
                    <a:pt x="111" y="246"/>
                  </a:lnTo>
                  <a:lnTo>
                    <a:pt x="104" y="245"/>
                  </a:lnTo>
                  <a:lnTo>
                    <a:pt x="85" y="253"/>
                  </a:lnTo>
                  <a:lnTo>
                    <a:pt x="70" y="256"/>
                  </a:lnTo>
                  <a:lnTo>
                    <a:pt x="59" y="264"/>
                  </a:lnTo>
                  <a:lnTo>
                    <a:pt x="51" y="264"/>
                  </a:lnTo>
                  <a:lnTo>
                    <a:pt x="44" y="257"/>
                  </a:lnTo>
                  <a:lnTo>
                    <a:pt x="38" y="257"/>
                  </a:lnTo>
                  <a:lnTo>
                    <a:pt x="31" y="247"/>
                  </a:lnTo>
                  <a:lnTo>
                    <a:pt x="30" y="250"/>
                  </a:lnTo>
                  <a:lnTo>
                    <a:pt x="28" y="245"/>
                  </a:lnTo>
                  <a:lnTo>
                    <a:pt x="29" y="232"/>
                  </a:lnTo>
                  <a:lnTo>
                    <a:pt x="24" y="219"/>
                  </a:lnTo>
                  <a:lnTo>
                    <a:pt x="30" y="215"/>
                  </a:lnTo>
                  <a:lnTo>
                    <a:pt x="30" y="199"/>
                  </a:lnTo>
                  <a:lnTo>
                    <a:pt x="20" y="180"/>
                  </a:lnTo>
                  <a:lnTo>
                    <a:pt x="12" y="162"/>
                  </a:lnTo>
                  <a:lnTo>
                    <a:pt x="12" y="162"/>
                  </a:lnTo>
                  <a:lnTo>
                    <a:pt x="0" y="135"/>
                  </a:lnTo>
                  <a:lnTo>
                    <a:pt x="9" y="125"/>
                  </a:lnTo>
                  <a:lnTo>
                    <a:pt x="16" y="131"/>
                  </a:lnTo>
                  <a:lnTo>
                    <a:pt x="19" y="139"/>
                  </a:lnTo>
                  <a:lnTo>
                    <a:pt x="27" y="141"/>
                  </a:lnTo>
                  <a:lnTo>
                    <a:pt x="38" y="145"/>
                  </a:lnTo>
                  <a:lnTo>
                    <a:pt x="47" y="143"/>
                  </a:lnTo>
                  <a:lnTo>
                    <a:pt x="63" y="133"/>
                  </a:lnTo>
                  <a:lnTo>
                    <a:pt x="67" y="56"/>
                  </a:lnTo>
                  <a:lnTo>
                    <a:pt x="71" y="59"/>
                  </a:lnTo>
                  <a:lnTo>
                    <a:pt x="81" y="79"/>
                  </a:lnTo>
                  <a:lnTo>
                    <a:pt x="79" y="91"/>
                  </a:lnTo>
                  <a:lnTo>
                    <a:pt x="83" y="99"/>
                  </a:lnTo>
                  <a:lnTo>
                    <a:pt x="95" y="97"/>
                  </a:lnTo>
                  <a:lnTo>
                    <a:pt x="105" y="87"/>
                  </a:lnTo>
                  <a:lnTo>
                    <a:pt x="113" y="81"/>
                  </a:lnTo>
                  <a:lnTo>
                    <a:pt x="118" y="71"/>
                  </a:lnTo>
                  <a:lnTo>
                    <a:pt x="127" y="66"/>
                  </a:lnTo>
                  <a:lnTo>
                    <a:pt x="135" y="69"/>
                  </a:lnTo>
                  <a:lnTo>
                    <a:pt x="143" y="75"/>
                  </a:lnTo>
                  <a:lnTo>
                    <a:pt x="157" y="76"/>
                  </a:lnTo>
                  <a:lnTo>
                    <a:pt x="169" y="71"/>
                  </a:lnTo>
                  <a:lnTo>
                    <a:pt x="171" y="64"/>
                  </a:lnTo>
                  <a:lnTo>
                    <a:pt x="175" y="54"/>
                  </a:lnTo>
                  <a:lnTo>
                    <a:pt x="185" y="53"/>
                  </a:lnTo>
                  <a:lnTo>
                    <a:pt x="191" y="45"/>
                  </a:lnTo>
                  <a:lnTo>
                    <a:pt x="197" y="31"/>
                  </a:lnTo>
                  <a:lnTo>
                    <a:pt x="214" y="16"/>
                  </a:lnTo>
                  <a:lnTo>
                    <a:pt x="240" y="0"/>
                  </a:lnTo>
                  <a:lnTo>
                    <a:pt x="248" y="1"/>
                  </a:lnTo>
                  <a:lnTo>
                    <a:pt x="256" y="4"/>
                  </a:lnTo>
                  <a:lnTo>
                    <a:pt x="262" y="2"/>
                  </a:lnTo>
                  <a:lnTo>
                    <a:pt x="272" y="4"/>
                  </a:lnTo>
                  <a:lnTo>
                    <a:pt x="279" y="33"/>
                  </a:lnTo>
                  <a:lnTo>
                    <a:pt x="282" y="48"/>
                  </a:lnTo>
                  <a:lnTo>
                    <a:pt x="278" y="71"/>
                  </a:lnTo>
                  <a:lnTo>
                    <a:pt x="279" y="78"/>
                  </a:lnTo>
                  <a:lnTo>
                    <a:pt x="270" y="74"/>
                  </a:lnTo>
                  <a:lnTo>
                    <a:pt x="265" y="76"/>
                  </a:lnTo>
                  <a:lnTo>
                    <a:pt x="263" y="82"/>
                  </a:lnTo>
                  <a:lnTo>
                    <a:pt x="257" y="90"/>
                  </a:lnTo>
                  <a:lnTo>
                    <a:pt x="257" y="97"/>
                  </a:lnTo>
                  <a:lnTo>
                    <a:pt x="267" y="108"/>
                  </a:lnTo>
                  <a:lnTo>
                    <a:pt x="277" y="106"/>
                  </a:lnTo>
                  <a:lnTo>
                    <a:pt x="281" y="97"/>
                  </a:lnTo>
                  <a:lnTo>
                    <a:pt x="295" y="97"/>
                  </a:lnTo>
                  <a:lnTo>
                    <a:pt x="289" y="112"/>
                  </a:lnTo>
                  <a:lnTo>
                    <a:pt x="286" y="129"/>
                  </a:lnTo>
                  <a:lnTo>
                    <a:pt x="281" y="139"/>
                  </a:lnTo>
                  <a:lnTo>
                    <a:pt x="268" y="149"/>
                  </a:lnTo>
                  <a:close/>
                </a:path>
              </a:pathLst>
            </a:custGeom>
            <a:solidFill>
              <a:srgbClr val="4F81BD"/>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54" name="Freeform 218"/>
            <p:cNvSpPr>
              <a:spLocks/>
            </p:cNvSpPr>
            <p:nvPr/>
          </p:nvSpPr>
          <p:spPr bwMode="auto">
            <a:xfrm>
              <a:off x="4937125" y="4651379"/>
              <a:ext cx="66675" cy="65088"/>
            </a:xfrm>
            <a:custGeom>
              <a:avLst/>
              <a:gdLst>
                <a:gd name="T0" fmla="*/ 36 w 42"/>
                <a:gd name="T1" fmla="*/ 6 h 41"/>
                <a:gd name="T2" fmla="*/ 29 w 42"/>
                <a:gd name="T3" fmla="*/ 0 h 41"/>
                <a:gd name="T4" fmla="*/ 20 w 42"/>
                <a:gd name="T5" fmla="*/ 4 h 41"/>
                <a:gd name="T6" fmla="*/ 10 w 42"/>
                <a:gd name="T7" fmla="*/ 12 h 41"/>
                <a:gd name="T8" fmla="*/ 0 w 42"/>
                <a:gd name="T9" fmla="*/ 25 h 41"/>
                <a:gd name="T10" fmla="*/ 12 w 42"/>
                <a:gd name="T11" fmla="*/ 41 h 41"/>
                <a:gd name="T12" fmla="*/ 18 w 42"/>
                <a:gd name="T13" fmla="*/ 39 h 41"/>
                <a:gd name="T14" fmla="*/ 22 w 42"/>
                <a:gd name="T15" fmla="*/ 32 h 41"/>
                <a:gd name="T16" fmla="*/ 32 w 42"/>
                <a:gd name="T17" fmla="*/ 29 h 41"/>
                <a:gd name="T18" fmla="*/ 36 w 42"/>
                <a:gd name="T19" fmla="*/ 22 h 41"/>
                <a:gd name="T20" fmla="*/ 42 w 42"/>
                <a:gd name="T21" fmla="*/ 12 h 41"/>
                <a:gd name="T22" fmla="*/ 36 w 42"/>
                <a:gd name="T2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1">
                  <a:moveTo>
                    <a:pt x="36" y="6"/>
                  </a:moveTo>
                  <a:lnTo>
                    <a:pt x="29" y="0"/>
                  </a:lnTo>
                  <a:lnTo>
                    <a:pt x="20" y="4"/>
                  </a:lnTo>
                  <a:lnTo>
                    <a:pt x="10" y="12"/>
                  </a:lnTo>
                  <a:lnTo>
                    <a:pt x="0" y="25"/>
                  </a:lnTo>
                  <a:lnTo>
                    <a:pt x="12" y="41"/>
                  </a:lnTo>
                  <a:lnTo>
                    <a:pt x="18" y="39"/>
                  </a:lnTo>
                  <a:lnTo>
                    <a:pt x="22" y="32"/>
                  </a:lnTo>
                  <a:lnTo>
                    <a:pt x="32" y="29"/>
                  </a:lnTo>
                  <a:lnTo>
                    <a:pt x="36" y="22"/>
                  </a:lnTo>
                  <a:lnTo>
                    <a:pt x="42" y="12"/>
                  </a:lnTo>
                  <a:lnTo>
                    <a:pt x="36" y="6"/>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55" name="Freeform 219"/>
            <p:cNvSpPr>
              <a:spLocks/>
            </p:cNvSpPr>
            <p:nvPr/>
          </p:nvSpPr>
          <p:spPr bwMode="auto">
            <a:xfrm>
              <a:off x="4813300" y="3978279"/>
              <a:ext cx="341313" cy="320675"/>
            </a:xfrm>
            <a:custGeom>
              <a:avLst/>
              <a:gdLst>
                <a:gd name="T0" fmla="*/ 202 w 215"/>
                <a:gd name="T1" fmla="*/ 20 h 202"/>
                <a:gd name="T2" fmla="*/ 211 w 215"/>
                <a:gd name="T3" fmla="*/ 30 h 202"/>
                <a:gd name="T4" fmla="*/ 215 w 215"/>
                <a:gd name="T5" fmla="*/ 47 h 202"/>
                <a:gd name="T6" fmla="*/ 211 w 215"/>
                <a:gd name="T7" fmla="*/ 53 h 202"/>
                <a:gd name="T8" fmla="*/ 207 w 215"/>
                <a:gd name="T9" fmla="*/ 70 h 202"/>
                <a:gd name="T10" fmla="*/ 210 w 215"/>
                <a:gd name="T11" fmla="*/ 87 h 202"/>
                <a:gd name="T12" fmla="*/ 204 w 215"/>
                <a:gd name="T13" fmla="*/ 94 h 202"/>
                <a:gd name="T14" fmla="*/ 198 w 215"/>
                <a:gd name="T15" fmla="*/ 113 h 202"/>
                <a:gd name="T16" fmla="*/ 208 w 215"/>
                <a:gd name="T17" fmla="*/ 119 h 202"/>
                <a:gd name="T18" fmla="*/ 152 w 215"/>
                <a:gd name="T19" fmla="*/ 136 h 202"/>
                <a:gd name="T20" fmla="*/ 153 w 215"/>
                <a:gd name="T21" fmla="*/ 151 h 202"/>
                <a:gd name="T22" fmla="*/ 139 w 215"/>
                <a:gd name="T23" fmla="*/ 154 h 202"/>
                <a:gd name="T24" fmla="*/ 128 w 215"/>
                <a:gd name="T25" fmla="*/ 162 h 202"/>
                <a:gd name="T26" fmla="*/ 126 w 215"/>
                <a:gd name="T27" fmla="*/ 169 h 202"/>
                <a:gd name="T28" fmla="*/ 119 w 215"/>
                <a:gd name="T29" fmla="*/ 171 h 202"/>
                <a:gd name="T30" fmla="*/ 103 w 215"/>
                <a:gd name="T31" fmla="*/ 188 h 202"/>
                <a:gd name="T32" fmla="*/ 92 w 215"/>
                <a:gd name="T33" fmla="*/ 201 h 202"/>
                <a:gd name="T34" fmla="*/ 86 w 215"/>
                <a:gd name="T35" fmla="*/ 202 h 202"/>
                <a:gd name="T36" fmla="*/ 80 w 215"/>
                <a:gd name="T37" fmla="*/ 199 h 202"/>
                <a:gd name="T38" fmla="*/ 60 w 215"/>
                <a:gd name="T39" fmla="*/ 197 h 202"/>
                <a:gd name="T40" fmla="*/ 57 w 215"/>
                <a:gd name="T41" fmla="*/ 195 h 202"/>
                <a:gd name="T42" fmla="*/ 57 w 215"/>
                <a:gd name="T43" fmla="*/ 194 h 202"/>
                <a:gd name="T44" fmla="*/ 50 w 215"/>
                <a:gd name="T45" fmla="*/ 189 h 202"/>
                <a:gd name="T46" fmla="*/ 38 w 215"/>
                <a:gd name="T47" fmla="*/ 188 h 202"/>
                <a:gd name="T48" fmla="*/ 23 w 215"/>
                <a:gd name="T49" fmla="*/ 193 h 202"/>
                <a:gd name="T50" fmla="*/ 12 w 215"/>
                <a:gd name="T51" fmla="*/ 180 h 202"/>
                <a:gd name="T52" fmla="*/ 0 w 215"/>
                <a:gd name="T53" fmla="*/ 163 h 202"/>
                <a:gd name="T54" fmla="*/ 2 w 215"/>
                <a:gd name="T55" fmla="*/ 96 h 202"/>
                <a:gd name="T56" fmla="*/ 41 w 215"/>
                <a:gd name="T57" fmla="*/ 97 h 202"/>
                <a:gd name="T58" fmla="*/ 39 w 215"/>
                <a:gd name="T59" fmla="*/ 90 h 202"/>
                <a:gd name="T60" fmla="*/ 42 w 215"/>
                <a:gd name="T61" fmla="*/ 82 h 202"/>
                <a:gd name="T62" fmla="*/ 39 w 215"/>
                <a:gd name="T63" fmla="*/ 72 h 202"/>
                <a:gd name="T64" fmla="*/ 41 w 215"/>
                <a:gd name="T65" fmla="*/ 62 h 202"/>
                <a:gd name="T66" fmla="*/ 40 w 215"/>
                <a:gd name="T67" fmla="*/ 55 h 202"/>
                <a:gd name="T68" fmla="*/ 46 w 215"/>
                <a:gd name="T69" fmla="*/ 56 h 202"/>
                <a:gd name="T70" fmla="*/ 47 w 215"/>
                <a:gd name="T71" fmla="*/ 63 h 202"/>
                <a:gd name="T72" fmla="*/ 55 w 215"/>
                <a:gd name="T73" fmla="*/ 62 h 202"/>
                <a:gd name="T74" fmla="*/ 67 w 215"/>
                <a:gd name="T75" fmla="*/ 64 h 202"/>
                <a:gd name="T76" fmla="*/ 73 w 215"/>
                <a:gd name="T77" fmla="*/ 73 h 202"/>
                <a:gd name="T78" fmla="*/ 87 w 215"/>
                <a:gd name="T79" fmla="*/ 76 h 202"/>
                <a:gd name="T80" fmla="*/ 99 w 215"/>
                <a:gd name="T81" fmla="*/ 70 h 202"/>
                <a:gd name="T82" fmla="*/ 102 w 215"/>
                <a:gd name="T83" fmla="*/ 81 h 202"/>
                <a:gd name="T84" fmla="*/ 116 w 215"/>
                <a:gd name="T85" fmla="*/ 83 h 202"/>
                <a:gd name="T86" fmla="*/ 123 w 215"/>
                <a:gd name="T87" fmla="*/ 92 h 202"/>
                <a:gd name="T88" fmla="*/ 130 w 215"/>
                <a:gd name="T89" fmla="*/ 104 h 202"/>
                <a:gd name="T90" fmla="*/ 144 w 215"/>
                <a:gd name="T91" fmla="*/ 104 h 202"/>
                <a:gd name="T92" fmla="*/ 143 w 215"/>
                <a:gd name="T93" fmla="*/ 82 h 202"/>
                <a:gd name="T94" fmla="*/ 138 w 215"/>
                <a:gd name="T95" fmla="*/ 85 h 202"/>
                <a:gd name="T96" fmla="*/ 126 w 215"/>
                <a:gd name="T97" fmla="*/ 77 h 202"/>
                <a:gd name="T98" fmla="*/ 121 w 215"/>
                <a:gd name="T99" fmla="*/ 73 h 202"/>
                <a:gd name="T100" fmla="*/ 123 w 215"/>
                <a:gd name="T101" fmla="*/ 53 h 202"/>
                <a:gd name="T102" fmla="*/ 127 w 215"/>
                <a:gd name="T103" fmla="*/ 28 h 202"/>
                <a:gd name="T104" fmla="*/ 123 w 215"/>
                <a:gd name="T105" fmla="*/ 19 h 202"/>
                <a:gd name="T106" fmla="*/ 129 w 215"/>
                <a:gd name="T107" fmla="*/ 6 h 202"/>
                <a:gd name="T108" fmla="*/ 134 w 215"/>
                <a:gd name="T109" fmla="*/ 3 h 202"/>
                <a:gd name="T110" fmla="*/ 158 w 215"/>
                <a:gd name="T111" fmla="*/ 0 h 202"/>
                <a:gd name="T112" fmla="*/ 166 w 215"/>
                <a:gd name="T113" fmla="*/ 2 h 202"/>
                <a:gd name="T114" fmla="*/ 173 w 215"/>
                <a:gd name="T115" fmla="*/ 7 h 202"/>
                <a:gd name="T116" fmla="*/ 180 w 215"/>
                <a:gd name="T117" fmla="*/ 11 h 202"/>
                <a:gd name="T118" fmla="*/ 192 w 215"/>
                <a:gd name="T119" fmla="*/ 14 h 202"/>
                <a:gd name="T120" fmla="*/ 202 w 215"/>
                <a:gd name="T121" fmla="*/ 2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5" h="202">
                  <a:moveTo>
                    <a:pt x="202" y="20"/>
                  </a:moveTo>
                  <a:lnTo>
                    <a:pt x="211" y="30"/>
                  </a:lnTo>
                  <a:lnTo>
                    <a:pt x="215" y="47"/>
                  </a:lnTo>
                  <a:lnTo>
                    <a:pt x="211" y="53"/>
                  </a:lnTo>
                  <a:lnTo>
                    <a:pt x="207" y="70"/>
                  </a:lnTo>
                  <a:lnTo>
                    <a:pt x="210" y="87"/>
                  </a:lnTo>
                  <a:lnTo>
                    <a:pt x="204" y="94"/>
                  </a:lnTo>
                  <a:lnTo>
                    <a:pt x="198" y="113"/>
                  </a:lnTo>
                  <a:lnTo>
                    <a:pt x="208" y="119"/>
                  </a:lnTo>
                  <a:lnTo>
                    <a:pt x="152" y="136"/>
                  </a:lnTo>
                  <a:lnTo>
                    <a:pt x="153" y="151"/>
                  </a:lnTo>
                  <a:lnTo>
                    <a:pt x="139" y="154"/>
                  </a:lnTo>
                  <a:lnTo>
                    <a:pt x="128" y="162"/>
                  </a:lnTo>
                  <a:lnTo>
                    <a:pt x="126" y="169"/>
                  </a:lnTo>
                  <a:lnTo>
                    <a:pt x="119" y="171"/>
                  </a:lnTo>
                  <a:lnTo>
                    <a:pt x="103" y="188"/>
                  </a:lnTo>
                  <a:lnTo>
                    <a:pt x="92" y="201"/>
                  </a:lnTo>
                  <a:lnTo>
                    <a:pt x="86" y="202"/>
                  </a:lnTo>
                  <a:lnTo>
                    <a:pt x="80" y="199"/>
                  </a:lnTo>
                  <a:lnTo>
                    <a:pt x="60" y="197"/>
                  </a:lnTo>
                  <a:lnTo>
                    <a:pt x="57" y="195"/>
                  </a:lnTo>
                  <a:lnTo>
                    <a:pt x="57" y="194"/>
                  </a:lnTo>
                  <a:lnTo>
                    <a:pt x="50" y="189"/>
                  </a:lnTo>
                  <a:lnTo>
                    <a:pt x="38" y="188"/>
                  </a:lnTo>
                  <a:lnTo>
                    <a:pt x="23" y="193"/>
                  </a:lnTo>
                  <a:lnTo>
                    <a:pt x="12" y="180"/>
                  </a:lnTo>
                  <a:lnTo>
                    <a:pt x="0" y="163"/>
                  </a:lnTo>
                  <a:lnTo>
                    <a:pt x="2" y="96"/>
                  </a:lnTo>
                  <a:lnTo>
                    <a:pt x="41" y="97"/>
                  </a:lnTo>
                  <a:lnTo>
                    <a:pt x="39" y="90"/>
                  </a:lnTo>
                  <a:lnTo>
                    <a:pt x="42" y="82"/>
                  </a:lnTo>
                  <a:lnTo>
                    <a:pt x="39" y="72"/>
                  </a:lnTo>
                  <a:lnTo>
                    <a:pt x="41" y="62"/>
                  </a:lnTo>
                  <a:lnTo>
                    <a:pt x="40" y="55"/>
                  </a:lnTo>
                  <a:lnTo>
                    <a:pt x="46" y="56"/>
                  </a:lnTo>
                  <a:lnTo>
                    <a:pt x="47" y="63"/>
                  </a:lnTo>
                  <a:lnTo>
                    <a:pt x="55" y="62"/>
                  </a:lnTo>
                  <a:lnTo>
                    <a:pt x="67" y="64"/>
                  </a:lnTo>
                  <a:lnTo>
                    <a:pt x="73" y="73"/>
                  </a:lnTo>
                  <a:lnTo>
                    <a:pt x="87" y="76"/>
                  </a:lnTo>
                  <a:lnTo>
                    <a:pt x="99" y="70"/>
                  </a:lnTo>
                  <a:lnTo>
                    <a:pt x="102" y="81"/>
                  </a:lnTo>
                  <a:lnTo>
                    <a:pt x="116" y="83"/>
                  </a:lnTo>
                  <a:lnTo>
                    <a:pt x="123" y="92"/>
                  </a:lnTo>
                  <a:lnTo>
                    <a:pt x="130" y="104"/>
                  </a:lnTo>
                  <a:lnTo>
                    <a:pt x="144" y="104"/>
                  </a:lnTo>
                  <a:lnTo>
                    <a:pt x="143" y="82"/>
                  </a:lnTo>
                  <a:lnTo>
                    <a:pt x="138" y="85"/>
                  </a:lnTo>
                  <a:lnTo>
                    <a:pt x="126" y="77"/>
                  </a:lnTo>
                  <a:lnTo>
                    <a:pt x="121" y="73"/>
                  </a:lnTo>
                  <a:lnTo>
                    <a:pt x="123" y="53"/>
                  </a:lnTo>
                  <a:lnTo>
                    <a:pt x="127" y="28"/>
                  </a:lnTo>
                  <a:lnTo>
                    <a:pt x="123" y="19"/>
                  </a:lnTo>
                  <a:lnTo>
                    <a:pt x="129" y="6"/>
                  </a:lnTo>
                  <a:lnTo>
                    <a:pt x="134" y="3"/>
                  </a:lnTo>
                  <a:lnTo>
                    <a:pt x="158" y="0"/>
                  </a:lnTo>
                  <a:lnTo>
                    <a:pt x="166" y="2"/>
                  </a:lnTo>
                  <a:lnTo>
                    <a:pt x="173" y="7"/>
                  </a:lnTo>
                  <a:lnTo>
                    <a:pt x="180" y="11"/>
                  </a:lnTo>
                  <a:lnTo>
                    <a:pt x="192" y="14"/>
                  </a:lnTo>
                  <a:lnTo>
                    <a:pt x="202" y="20"/>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56" name="Freeform 220"/>
            <p:cNvSpPr>
              <a:spLocks/>
            </p:cNvSpPr>
            <p:nvPr/>
          </p:nvSpPr>
          <p:spPr bwMode="auto">
            <a:xfrm>
              <a:off x="4908550" y="4217992"/>
              <a:ext cx="220663" cy="222250"/>
            </a:xfrm>
            <a:custGeom>
              <a:avLst/>
              <a:gdLst>
                <a:gd name="T0" fmla="*/ 103 w 139"/>
                <a:gd name="T1" fmla="*/ 140 h 140"/>
                <a:gd name="T2" fmla="*/ 93 w 139"/>
                <a:gd name="T3" fmla="*/ 138 h 140"/>
                <a:gd name="T4" fmla="*/ 87 w 139"/>
                <a:gd name="T5" fmla="*/ 140 h 140"/>
                <a:gd name="T6" fmla="*/ 79 w 139"/>
                <a:gd name="T7" fmla="*/ 137 h 140"/>
                <a:gd name="T8" fmla="*/ 71 w 139"/>
                <a:gd name="T9" fmla="*/ 136 h 140"/>
                <a:gd name="T10" fmla="*/ 60 w 139"/>
                <a:gd name="T11" fmla="*/ 127 h 140"/>
                <a:gd name="T12" fmla="*/ 47 w 139"/>
                <a:gd name="T13" fmla="*/ 124 h 140"/>
                <a:gd name="T14" fmla="*/ 42 w 139"/>
                <a:gd name="T15" fmla="*/ 111 h 140"/>
                <a:gd name="T16" fmla="*/ 42 w 139"/>
                <a:gd name="T17" fmla="*/ 103 h 140"/>
                <a:gd name="T18" fmla="*/ 35 w 139"/>
                <a:gd name="T19" fmla="*/ 101 h 140"/>
                <a:gd name="T20" fmla="*/ 15 w 139"/>
                <a:gd name="T21" fmla="*/ 78 h 140"/>
                <a:gd name="T22" fmla="*/ 10 w 139"/>
                <a:gd name="T23" fmla="*/ 66 h 140"/>
                <a:gd name="T24" fmla="*/ 6 w 139"/>
                <a:gd name="T25" fmla="*/ 63 h 140"/>
                <a:gd name="T26" fmla="*/ 0 w 139"/>
                <a:gd name="T27" fmla="*/ 46 h 140"/>
                <a:gd name="T28" fmla="*/ 20 w 139"/>
                <a:gd name="T29" fmla="*/ 48 h 140"/>
                <a:gd name="T30" fmla="*/ 26 w 139"/>
                <a:gd name="T31" fmla="*/ 51 h 140"/>
                <a:gd name="T32" fmla="*/ 32 w 139"/>
                <a:gd name="T33" fmla="*/ 50 h 140"/>
                <a:gd name="T34" fmla="*/ 43 w 139"/>
                <a:gd name="T35" fmla="*/ 37 h 140"/>
                <a:gd name="T36" fmla="*/ 59 w 139"/>
                <a:gd name="T37" fmla="*/ 20 h 140"/>
                <a:gd name="T38" fmla="*/ 66 w 139"/>
                <a:gd name="T39" fmla="*/ 18 h 140"/>
                <a:gd name="T40" fmla="*/ 68 w 139"/>
                <a:gd name="T41" fmla="*/ 11 h 140"/>
                <a:gd name="T42" fmla="*/ 79 w 139"/>
                <a:gd name="T43" fmla="*/ 3 h 140"/>
                <a:gd name="T44" fmla="*/ 93 w 139"/>
                <a:gd name="T45" fmla="*/ 0 h 140"/>
                <a:gd name="T46" fmla="*/ 94 w 139"/>
                <a:gd name="T47" fmla="*/ 7 h 140"/>
                <a:gd name="T48" fmla="*/ 109 w 139"/>
                <a:gd name="T49" fmla="*/ 7 h 140"/>
                <a:gd name="T50" fmla="*/ 117 w 139"/>
                <a:gd name="T51" fmla="*/ 11 h 140"/>
                <a:gd name="T52" fmla="*/ 121 w 139"/>
                <a:gd name="T53" fmla="*/ 16 h 140"/>
                <a:gd name="T54" fmla="*/ 130 w 139"/>
                <a:gd name="T55" fmla="*/ 18 h 140"/>
                <a:gd name="T56" fmla="*/ 139 w 139"/>
                <a:gd name="T57" fmla="*/ 25 h 140"/>
                <a:gd name="T58" fmla="*/ 138 w 139"/>
                <a:gd name="T59" fmla="*/ 51 h 140"/>
                <a:gd name="T60" fmla="*/ 133 w 139"/>
                <a:gd name="T61" fmla="*/ 65 h 140"/>
                <a:gd name="T62" fmla="*/ 132 w 139"/>
                <a:gd name="T63" fmla="*/ 81 h 140"/>
                <a:gd name="T64" fmla="*/ 134 w 139"/>
                <a:gd name="T65" fmla="*/ 87 h 140"/>
                <a:gd name="T66" fmla="*/ 131 w 139"/>
                <a:gd name="T67" fmla="*/ 99 h 140"/>
                <a:gd name="T68" fmla="*/ 129 w 139"/>
                <a:gd name="T69" fmla="*/ 101 h 140"/>
                <a:gd name="T70" fmla="*/ 123 w 139"/>
                <a:gd name="T71" fmla="*/ 116 h 140"/>
                <a:gd name="T72" fmla="*/ 103 w 139"/>
                <a:gd name="T7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9" h="140">
                  <a:moveTo>
                    <a:pt x="103" y="140"/>
                  </a:moveTo>
                  <a:lnTo>
                    <a:pt x="93" y="138"/>
                  </a:lnTo>
                  <a:lnTo>
                    <a:pt x="87" y="140"/>
                  </a:lnTo>
                  <a:lnTo>
                    <a:pt x="79" y="137"/>
                  </a:lnTo>
                  <a:lnTo>
                    <a:pt x="71" y="136"/>
                  </a:lnTo>
                  <a:lnTo>
                    <a:pt x="60" y="127"/>
                  </a:lnTo>
                  <a:lnTo>
                    <a:pt x="47" y="124"/>
                  </a:lnTo>
                  <a:lnTo>
                    <a:pt x="42" y="111"/>
                  </a:lnTo>
                  <a:lnTo>
                    <a:pt x="42" y="103"/>
                  </a:lnTo>
                  <a:lnTo>
                    <a:pt x="35" y="101"/>
                  </a:lnTo>
                  <a:lnTo>
                    <a:pt x="15" y="78"/>
                  </a:lnTo>
                  <a:lnTo>
                    <a:pt x="10" y="66"/>
                  </a:lnTo>
                  <a:lnTo>
                    <a:pt x="6" y="63"/>
                  </a:lnTo>
                  <a:lnTo>
                    <a:pt x="0" y="46"/>
                  </a:lnTo>
                  <a:lnTo>
                    <a:pt x="20" y="48"/>
                  </a:lnTo>
                  <a:lnTo>
                    <a:pt x="26" y="51"/>
                  </a:lnTo>
                  <a:lnTo>
                    <a:pt x="32" y="50"/>
                  </a:lnTo>
                  <a:lnTo>
                    <a:pt x="43" y="37"/>
                  </a:lnTo>
                  <a:lnTo>
                    <a:pt x="59" y="20"/>
                  </a:lnTo>
                  <a:lnTo>
                    <a:pt x="66" y="18"/>
                  </a:lnTo>
                  <a:lnTo>
                    <a:pt x="68" y="11"/>
                  </a:lnTo>
                  <a:lnTo>
                    <a:pt x="79" y="3"/>
                  </a:lnTo>
                  <a:lnTo>
                    <a:pt x="93" y="0"/>
                  </a:lnTo>
                  <a:lnTo>
                    <a:pt x="94" y="7"/>
                  </a:lnTo>
                  <a:lnTo>
                    <a:pt x="109" y="7"/>
                  </a:lnTo>
                  <a:lnTo>
                    <a:pt x="117" y="11"/>
                  </a:lnTo>
                  <a:lnTo>
                    <a:pt x="121" y="16"/>
                  </a:lnTo>
                  <a:lnTo>
                    <a:pt x="130" y="18"/>
                  </a:lnTo>
                  <a:lnTo>
                    <a:pt x="139" y="25"/>
                  </a:lnTo>
                  <a:lnTo>
                    <a:pt x="138" y="51"/>
                  </a:lnTo>
                  <a:lnTo>
                    <a:pt x="133" y="65"/>
                  </a:lnTo>
                  <a:lnTo>
                    <a:pt x="132" y="81"/>
                  </a:lnTo>
                  <a:lnTo>
                    <a:pt x="134" y="87"/>
                  </a:lnTo>
                  <a:lnTo>
                    <a:pt x="131" y="99"/>
                  </a:lnTo>
                  <a:lnTo>
                    <a:pt x="129" y="101"/>
                  </a:lnTo>
                  <a:lnTo>
                    <a:pt x="123" y="116"/>
                  </a:lnTo>
                  <a:lnTo>
                    <a:pt x="103" y="140"/>
                  </a:lnTo>
                  <a:close/>
                </a:path>
              </a:pathLst>
            </a:custGeom>
            <a:solidFill>
              <a:schemeClr val="accent2">
                <a:lumMod val="40000"/>
                <a:lumOff val="60000"/>
              </a:schemeClr>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57" name="Freeform 221"/>
            <p:cNvSpPr>
              <a:spLocks/>
            </p:cNvSpPr>
            <p:nvPr/>
          </p:nvSpPr>
          <p:spPr bwMode="auto">
            <a:xfrm>
              <a:off x="4786313" y="1262066"/>
              <a:ext cx="3484563" cy="1089025"/>
            </a:xfrm>
            <a:custGeom>
              <a:avLst/>
              <a:gdLst>
                <a:gd name="T0" fmla="*/ 751 w 2195"/>
                <a:gd name="T1" fmla="*/ 25 h 686"/>
                <a:gd name="T2" fmla="*/ 649 w 2195"/>
                <a:gd name="T3" fmla="*/ 59 h 686"/>
                <a:gd name="T4" fmla="*/ 594 w 2195"/>
                <a:gd name="T5" fmla="*/ 101 h 686"/>
                <a:gd name="T6" fmla="*/ 603 w 2195"/>
                <a:gd name="T7" fmla="*/ 140 h 686"/>
                <a:gd name="T8" fmla="*/ 600 w 2195"/>
                <a:gd name="T9" fmla="*/ 189 h 686"/>
                <a:gd name="T10" fmla="*/ 541 w 2195"/>
                <a:gd name="T11" fmla="*/ 77 h 686"/>
                <a:gd name="T12" fmla="*/ 524 w 2195"/>
                <a:gd name="T13" fmla="*/ 135 h 686"/>
                <a:gd name="T14" fmla="*/ 434 w 2195"/>
                <a:gd name="T15" fmla="*/ 142 h 686"/>
                <a:gd name="T16" fmla="*/ 337 w 2195"/>
                <a:gd name="T17" fmla="*/ 143 h 686"/>
                <a:gd name="T18" fmla="*/ 241 w 2195"/>
                <a:gd name="T19" fmla="*/ 154 h 686"/>
                <a:gd name="T20" fmla="*/ 172 w 2195"/>
                <a:gd name="T21" fmla="*/ 204 h 686"/>
                <a:gd name="T22" fmla="*/ 111 w 2195"/>
                <a:gd name="T23" fmla="*/ 223 h 686"/>
                <a:gd name="T24" fmla="*/ 177 w 2195"/>
                <a:gd name="T25" fmla="*/ 168 h 686"/>
                <a:gd name="T26" fmla="*/ 1 w 2195"/>
                <a:gd name="T27" fmla="*/ 152 h 686"/>
                <a:gd name="T28" fmla="*/ 67 w 2195"/>
                <a:gd name="T29" fmla="*/ 262 h 686"/>
                <a:gd name="T30" fmla="*/ 30 w 2195"/>
                <a:gd name="T31" fmla="*/ 356 h 686"/>
                <a:gd name="T32" fmla="*/ 95 w 2195"/>
                <a:gd name="T33" fmla="*/ 403 h 686"/>
                <a:gd name="T34" fmla="*/ 111 w 2195"/>
                <a:gd name="T35" fmla="*/ 441 h 686"/>
                <a:gd name="T36" fmla="*/ 161 w 2195"/>
                <a:gd name="T37" fmla="*/ 469 h 686"/>
                <a:gd name="T38" fmla="*/ 227 w 2195"/>
                <a:gd name="T39" fmla="*/ 507 h 686"/>
                <a:gd name="T40" fmla="*/ 240 w 2195"/>
                <a:gd name="T41" fmla="*/ 555 h 686"/>
                <a:gd name="T42" fmla="*/ 239 w 2195"/>
                <a:gd name="T43" fmla="*/ 614 h 686"/>
                <a:gd name="T44" fmla="*/ 363 w 2195"/>
                <a:gd name="T45" fmla="*/ 654 h 686"/>
                <a:gd name="T46" fmla="*/ 434 w 2195"/>
                <a:gd name="T47" fmla="*/ 672 h 686"/>
                <a:gd name="T48" fmla="*/ 412 w 2195"/>
                <a:gd name="T49" fmla="*/ 564 h 686"/>
                <a:gd name="T50" fmla="*/ 394 w 2195"/>
                <a:gd name="T51" fmla="*/ 493 h 686"/>
                <a:gd name="T52" fmla="*/ 571 w 2195"/>
                <a:gd name="T53" fmla="*/ 488 h 686"/>
                <a:gd name="T54" fmla="*/ 571 w 2195"/>
                <a:gd name="T55" fmla="*/ 425 h 686"/>
                <a:gd name="T56" fmla="*/ 758 w 2195"/>
                <a:gd name="T57" fmla="*/ 424 h 686"/>
                <a:gd name="T58" fmla="*/ 920 w 2195"/>
                <a:gd name="T59" fmla="*/ 489 h 686"/>
                <a:gd name="T60" fmla="*/ 1027 w 2195"/>
                <a:gd name="T61" fmla="*/ 519 h 686"/>
                <a:gd name="T62" fmla="*/ 1175 w 2195"/>
                <a:gd name="T63" fmla="*/ 510 h 686"/>
                <a:gd name="T64" fmla="*/ 1273 w 2195"/>
                <a:gd name="T65" fmla="*/ 503 h 686"/>
                <a:gd name="T66" fmla="*/ 1408 w 2195"/>
                <a:gd name="T67" fmla="*/ 518 h 686"/>
                <a:gd name="T68" fmla="*/ 1516 w 2195"/>
                <a:gd name="T69" fmla="*/ 493 h 686"/>
                <a:gd name="T70" fmla="*/ 1570 w 2195"/>
                <a:gd name="T71" fmla="*/ 441 h 686"/>
                <a:gd name="T72" fmla="*/ 1742 w 2195"/>
                <a:gd name="T73" fmla="*/ 550 h 686"/>
                <a:gd name="T74" fmla="*/ 1789 w 2195"/>
                <a:gd name="T75" fmla="*/ 600 h 686"/>
                <a:gd name="T76" fmla="*/ 1821 w 2195"/>
                <a:gd name="T77" fmla="*/ 642 h 686"/>
                <a:gd name="T78" fmla="*/ 1879 w 2195"/>
                <a:gd name="T79" fmla="*/ 536 h 686"/>
                <a:gd name="T80" fmla="*/ 1746 w 2195"/>
                <a:gd name="T81" fmla="*/ 425 h 686"/>
                <a:gd name="T82" fmla="*/ 1855 w 2195"/>
                <a:gd name="T83" fmla="*/ 317 h 686"/>
                <a:gd name="T84" fmla="*/ 1972 w 2195"/>
                <a:gd name="T85" fmla="*/ 275 h 686"/>
                <a:gd name="T86" fmla="*/ 1981 w 2195"/>
                <a:gd name="T87" fmla="*/ 358 h 686"/>
                <a:gd name="T88" fmla="*/ 2115 w 2195"/>
                <a:gd name="T89" fmla="*/ 441 h 686"/>
                <a:gd name="T90" fmla="*/ 2041 w 2195"/>
                <a:gd name="T91" fmla="*/ 341 h 686"/>
                <a:gd name="T92" fmla="*/ 2121 w 2195"/>
                <a:gd name="T93" fmla="*/ 301 h 686"/>
                <a:gd name="T94" fmla="*/ 2165 w 2195"/>
                <a:gd name="T95" fmla="*/ 245 h 686"/>
                <a:gd name="T96" fmla="*/ 2127 w 2195"/>
                <a:gd name="T97" fmla="*/ 194 h 686"/>
                <a:gd name="T98" fmla="*/ 2155 w 2195"/>
                <a:gd name="T99" fmla="*/ 143 h 686"/>
                <a:gd name="T100" fmla="*/ 2081 w 2195"/>
                <a:gd name="T101" fmla="*/ 119 h 686"/>
                <a:gd name="T102" fmla="*/ 1867 w 2195"/>
                <a:gd name="T103" fmla="*/ 130 h 686"/>
                <a:gd name="T104" fmla="*/ 1729 w 2195"/>
                <a:gd name="T105" fmla="*/ 128 h 686"/>
                <a:gd name="T106" fmla="*/ 1395 w 2195"/>
                <a:gd name="T107" fmla="*/ 82 h 686"/>
                <a:gd name="T108" fmla="*/ 1301 w 2195"/>
                <a:gd name="T109" fmla="*/ 103 h 686"/>
                <a:gd name="T110" fmla="*/ 1124 w 2195"/>
                <a:gd name="T111" fmla="*/ 71 h 686"/>
                <a:gd name="T112" fmla="*/ 983 w 2195"/>
                <a:gd name="T113" fmla="*/ 54 h 686"/>
                <a:gd name="T114" fmla="*/ 913 w 2195"/>
                <a:gd name="T115" fmla="*/ 18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5" h="686">
                  <a:moveTo>
                    <a:pt x="856" y="0"/>
                  </a:moveTo>
                  <a:lnTo>
                    <a:pt x="836" y="6"/>
                  </a:lnTo>
                  <a:lnTo>
                    <a:pt x="832" y="12"/>
                  </a:lnTo>
                  <a:lnTo>
                    <a:pt x="836" y="19"/>
                  </a:lnTo>
                  <a:lnTo>
                    <a:pt x="813" y="18"/>
                  </a:lnTo>
                  <a:lnTo>
                    <a:pt x="795" y="27"/>
                  </a:lnTo>
                  <a:lnTo>
                    <a:pt x="781" y="23"/>
                  </a:lnTo>
                  <a:lnTo>
                    <a:pt x="751" y="25"/>
                  </a:lnTo>
                  <a:lnTo>
                    <a:pt x="752" y="29"/>
                  </a:lnTo>
                  <a:lnTo>
                    <a:pt x="721" y="31"/>
                  </a:lnTo>
                  <a:lnTo>
                    <a:pt x="705" y="39"/>
                  </a:lnTo>
                  <a:lnTo>
                    <a:pt x="692" y="39"/>
                  </a:lnTo>
                  <a:lnTo>
                    <a:pt x="687" y="49"/>
                  </a:lnTo>
                  <a:lnTo>
                    <a:pt x="705" y="58"/>
                  </a:lnTo>
                  <a:lnTo>
                    <a:pt x="680" y="60"/>
                  </a:lnTo>
                  <a:lnTo>
                    <a:pt x="649" y="59"/>
                  </a:lnTo>
                  <a:lnTo>
                    <a:pt x="630" y="62"/>
                  </a:lnTo>
                  <a:lnTo>
                    <a:pt x="646" y="80"/>
                  </a:lnTo>
                  <a:lnTo>
                    <a:pt x="669" y="93"/>
                  </a:lnTo>
                  <a:lnTo>
                    <a:pt x="637" y="84"/>
                  </a:lnTo>
                  <a:lnTo>
                    <a:pt x="611" y="85"/>
                  </a:lnTo>
                  <a:lnTo>
                    <a:pt x="595" y="91"/>
                  </a:lnTo>
                  <a:lnTo>
                    <a:pt x="610" y="104"/>
                  </a:lnTo>
                  <a:lnTo>
                    <a:pt x="594" y="101"/>
                  </a:lnTo>
                  <a:lnTo>
                    <a:pt x="587" y="84"/>
                  </a:lnTo>
                  <a:lnTo>
                    <a:pt x="573" y="75"/>
                  </a:lnTo>
                  <a:lnTo>
                    <a:pt x="567" y="76"/>
                  </a:lnTo>
                  <a:lnTo>
                    <a:pt x="579" y="87"/>
                  </a:lnTo>
                  <a:lnTo>
                    <a:pt x="564" y="99"/>
                  </a:lnTo>
                  <a:lnTo>
                    <a:pt x="591" y="112"/>
                  </a:lnTo>
                  <a:lnTo>
                    <a:pt x="593" y="130"/>
                  </a:lnTo>
                  <a:lnTo>
                    <a:pt x="603" y="140"/>
                  </a:lnTo>
                  <a:lnTo>
                    <a:pt x="618" y="141"/>
                  </a:lnTo>
                  <a:lnTo>
                    <a:pt x="620" y="152"/>
                  </a:lnTo>
                  <a:lnTo>
                    <a:pt x="635" y="162"/>
                  </a:lnTo>
                  <a:lnTo>
                    <a:pt x="629" y="171"/>
                  </a:lnTo>
                  <a:lnTo>
                    <a:pt x="631" y="180"/>
                  </a:lnTo>
                  <a:lnTo>
                    <a:pt x="619" y="185"/>
                  </a:lnTo>
                  <a:lnTo>
                    <a:pt x="617" y="191"/>
                  </a:lnTo>
                  <a:lnTo>
                    <a:pt x="600" y="189"/>
                  </a:lnTo>
                  <a:lnTo>
                    <a:pt x="611" y="163"/>
                  </a:lnTo>
                  <a:lnTo>
                    <a:pt x="608" y="151"/>
                  </a:lnTo>
                  <a:lnTo>
                    <a:pt x="586" y="141"/>
                  </a:lnTo>
                  <a:lnTo>
                    <a:pt x="573" y="117"/>
                  </a:lnTo>
                  <a:lnTo>
                    <a:pt x="560" y="105"/>
                  </a:lnTo>
                  <a:lnTo>
                    <a:pt x="549" y="99"/>
                  </a:lnTo>
                  <a:lnTo>
                    <a:pt x="551" y="86"/>
                  </a:lnTo>
                  <a:lnTo>
                    <a:pt x="541" y="77"/>
                  </a:lnTo>
                  <a:lnTo>
                    <a:pt x="505" y="72"/>
                  </a:lnTo>
                  <a:lnTo>
                    <a:pt x="498" y="75"/>
                  </a:lnTo>
                  <a:lnTo>
                    <a:pt x="500" y="91"/>
                  </a:lnTo>
                  <a:lnTo>
                    <a:pt x="486" y="106"/>
                  </a:lnTo>
                  <a:lnTo>
                    <a:pt x="490" y="111"/>
                  </a:lnTo>
                  <a:lnTo>
                    <a:pt x="506" y="124"/>
                  </a:lnTo>
                  <a:lnTo>
                    <a:pt x="507" y="133"/>
                  </a:lnTo>
                  <a:lnTo>
                    <a:pt x="524" y="135"/>
                  </a:lnTo>
                  <a:lnTo>
                    <a:pt x="526" y="138"/>
                  </a:lnTo>
                  <a:lnTo>
                    <a:pt x="546" y="148"/>
                  </a:lnTo>
                  <a:lnTo>
                    <a:pt x="543" y="157"/>
                  </a:lnTo>
                  <a:lnTo>
                    <a:pt x="482" y="137"/>
                  </a:lnTo>
                  <a:lnTo>
                    <a:pt x="460" y="131"/>
                  </a:lnTo>
                  <a:lnTo>
                    <a:pt x="418" y="126"/>
                  </a:lnTo>
                  <a:lnTo>
                    <a:pt x="414" y="132"/>
                  </a:lnTo>
                  <a:lnTo>
                    <a:pt x="434" y="142"/>
                  </a:lnTo>
                  <a:lnTo>
                    <a:pt x="425" y="153"/>
                  </a:lnTo>
                  <a:lnTo>
                    <a:pt x="404" y="143"/>
                  </a:lnTo>
                  <a:lnTo>
                    <a:pt x="388" y="150"/>
                  </a:lnTo>
                  <a:lnTo>
                    <a:pt x="363" y="151"/>
                  </a:lnTo>
                  <a:lnTo>
                    <a:pt x="357" y="157"/>
                  </a:lnTo>
                  <a:lnTo>
                    <a:pt x="339" y="155"/>
                  </a:lnTo>
                  <a:lnTo>
                    <a:pt x="347" y="144"/>
                  </a:lnTo>
                  <a:lnTo>
                    <a:pt x="337" y="143"/>
                  </a:lnTo>
                  <a:lnTo>
                    <a:pt x="297" y="159"/>
                  </a:lnTo>
                  <a:lnTo>
                    <a:pt x="272" y="167"/>
                  </a:lnTo>
                  <a:lnTo>
                    <a:pt x="274" y="178"/>
                  </a:lnTo>
                  <a:lnTo>
                    <a:pt x="255" y="183"/>
                  </a:lnTo>
                  <a:lnTo>
                    <a:pt x="241" y="176"/>
                  </a:lnTo>
                  <a:lnTo>
                    <a:pt x="237" y="166"/>
                  </a:lnTo>
                  <a:lnTo>
                    <a:pt x="253" y="164"/>
                  </a:lnTo>
                  <a:lnTo>
                    <a:pt x="241" y="154"/>
                  </a:lnTo>
                  <a:lnTo>
                    <a:pt x="202" y="148"/>
                  </a:lnTo>
                  <a:lnTo>
                    <a:pt x="216" y="159"/>
                  </a:lnTo>
                  <a:lnTo>
                    <a:pt x="214" y="170"/>
                  </a:lnTo>
                  <a:lnTo>
                    <a:pt x="229" y="181"/>
                  </a:lnTo>
                  <a:lnTo>
                    <a:pt x="226" y="193"/>
                  </a:lnTo>
                  <a:lnTo>
                    <a:pt x="210" y="187"/>
                  </a:lnTo>
                  <a:lnTo>
                    <a:pt x="197" y="186"/>
                  </a:lnTo>
                  <a:lnTo>
                    <a:pt x="172" y="204"/>
                  </a:lnTo>
                  <a:lnTo>
                    <a:pt x="186" y="217"/>
                  </a:lnTo>
                  <a:lnTo>
                    <a:pt x="175" y="222"/>
                  </a:lnTo>
                  <a:lnTo>
                    <a:pt x="138" y="210"/>
                  </a:lnTo>
                  <a:lnTo>
                    <a:pt x="131" y="217"/>
                  </a:lnTo>
                  <a:lnTo>
                    <a:pt x="142" y="225"/>
                  </a:lnTo>
                  <a:lnTo>
                    <a:pt x="143" y="234"/>
                  </a:lnTo>
                  <a:lnTo>
                    <a:pt x="130" y="229"/>
                  </a:lnTo>
                  <a:lnTo>
                    <a:pt x="111" y="223"/>
                  </a:lnTo>
                  <a:lnTo>
                    <a:pt x="104" y="205"/>
                  </a:lnTo>
                  <a:lnTo>
                    <a:pt x="101" y="196"/>
                  </a:lnTo>
                  <a:lnTo>
                    <a:pt x="74" y="183"/>
                  </a:lnTo>
                  <a:lnTo>
                    <a:pt x="84" y="181"/>
                  </a:lnTo>
                  <a:lnTo>
                    <a:pt x="149" y="194"/>
                  </a:lnTo>
                  <a:lnTo>
                    <a:pt x="170" y="190"/>
                  </a:lnTo>
                  <a:lnTo>
                    <a:pt x="182" y="180"/>
                  </a:lnTo>
                  <a:lnTo>
                    <a:pt x="177" y="168"/>
                  </a:lnTo>
                  <a:lnTo>
                    <a:pt x="163" y="160"/>
                  </a:lnTo>
                  <a:lnTo>
                    <a:pt x="106" y="140"/>
                  </a:lnTo>
                  <a:lnTo>
                    <a:pt x="68" y="135"/>
                  </a:lnTo>
                  <a:lnTo>
                    <a:pt x="43" y="125"/>
                  </a:lnTo>
                  <a:lnTo>
                    <a:pt x="31" y="131"/>
                  </a:lnTo>
                  <a:lnTo>
                    <a:pt x="10" y="138"/>
                  </a:lnTo>
                  <a:lnTo>
                    <a:pt x="0" y="140"/>
                  </a:lnTo>
                  <a:lnTo>
                    <a:pt x="1" y="152"/>
                  </a:lnTo>
                  <a:lnTo>
                    <a:pt x="25" y="164"/>
                  </a:lnTo>
                  <a:lnTo>
                    <a:pt x="16" y="177"/>
                  </a:lnTo>
                  <a:lnTo>
                    <a:pt x="38" y="198"/>
                  </a:lnTo>
                  <a:lnTo>
                    <a:pt x="32" y="213"/>
                  </a:lnTo>
                  <a:lnTo>
                    <a:pt x="48" y="228"/>
                  </a:lnTo>
                  <a:lnTo>
                    <a:pt x="45" y="240"/>
                  </a:lnTo>
                  <a:lnTo>
                    <a:pt x="70" y="253"/>
                  </a:lnTo>
                  <a:lnTo>
                    <a:pt x="67" y="262"/>
                  </a:lnTo>
                  <a:lnTo>
                    <a:pt x="56" y="273"/>
                  </a:lnTo>
                  <a:lnTo>
                    <a:pt x="30" y="297"/>
                  </a:lnTo>
                  <a:lnTo>
                    <a:pt x="47" y="306"/>
                  </a:lnTo>
                  <a:lnTo>
                    <a:pt x="33" y="317"/>
                  </a:lnTo>
                  <a:lnTo>
                    <a:pt x="36" y="321"/>
                  </a:lnTo>
                  <a:lnTo>
                    <a:pt x="28" y="332"/>
                  </a:lnTo>
                  <a:lnTo>
                    <a:pt x="35" y="350"/>
                  </a:lnTo>
                  <a:lnTo>
                    <a:pt x="30" y="356"/>
                  </a:lnTo>
                  <a:lnTo>
                    <a:pt x="38" y="361"/>
                  </a:lnTo>
                  <a:lnTo>
                    <a:pt x="41" y="370"/>
                  </a:lnTo>
                  <a:lnTo>
                    <a:pt x="48" y="382"/>
                  </a:lnTo>
                  <a:lnTo>
                    <a:pt x="65" y="386"/>
                  </a:lnTo>
                  <a:lnTo>
                    <a:pt x="68" y="392"/>
                  </a:lnTo>
                  <a:lnTo>
                    <a:pt x="76" y="389"/>
                  </a:lnTo>
                  <a:lnTo>
                    <a:pt x="92" y="394"/>
                  </a:lnTo>
                  <a:lnTo>
                    <a:pt x="95" y="403"/>
                  </a:lnTo>
                  <a:lnTo>
                    <a:pt x="93" y="408"/>
                  </a:lnTo>
                  <a:lnTo>
                    <a:pt x="105" y="422"/>
                  </a:lnTo>
                  <a:lnTo>
                    <a:pt x="112" y="425"/>
                  </a:lnTo>
                  <a:lnTo>
                    <a:pt x="112" y="429"/>
                  </a:lnTo>
                  <a:lnTo>
                    <a:pt x="123" y="432"/>
                  </a:lnTo>
                  <a:lnTo>
                    <a:pt x="129" y="438"/>
                  </a:lnTo>
                  <a:lnTo>
                    <a:pt x="123" y="442"/>
                  </a:lnTo>
                  <a:lnTo>
                    <a:pt x="111" y="441"/>
                  </a:lnTo>
                  <a:lnTo>
                    <a:pt x="108" y="443"/>
                  </a:lnTo>
                  <a:lnTo>
                    <a:pt x="113" y="450"/>
                  </a:lnTo>
                  <a:lnTo>
                    <a:pt x="119" y="463"/>
                  </a:lnTo>
                  <a:lnTo>
                    <a:pt x="125" y="463"/>
                  </a:lnTo>
                  <a:lnTo>
                    <a:pt x="128" y="459"/>
                  </a:lnTo>
                  <a:lnTo>
                    <a:pt x="133" y="460"/>
                  </a:lnTo>
                  <a:lnTo>
                    <a:pt x="149" y="458"/>
                  </a:lnTo>
                  <a:lnTo>
                    <a:pt x="161" y="469"/>
                  </a:lnTo>
                  <a:lnTo>
                    <a:pt x="158" y="474"/>
                  </a:lnTo>
                  <a:lnTo>
                    <a:pt x="161" y="480"/>
                  </a:lnTo>
                  <a:lnTo>
                    <a:pt x="174" y="481"/>
                  </a:lnTo>
                  <a:lnTo>
                    <a:pt x="181" y="489"/>
                  </a:lnTo>
                  <a:lnTo>
                    <a:pt x="182" y="493"/>
                  </a:lnTo>
                  <a:lnTo>
                    <a:pt x="203" y="500"/>
                  </a:lnTo>
                  <a:lnTo>
                    <a:pt x="215" y="497"/>
                  </a:lnTo>
                  <a:lnTo>
                    <a:pt x="227" y="507"/>
                  </a:lnTo>
                  <a:lnTo>
                    <a:pt x="236" y="507"/>
                  </a:lnTo>
                  <a:lnTo>
                    <a:pt x="261" y="513"/>
                  </a:lnTo>
                  <a:lnTo>
                    <a:pt x="262" y="519"/>
                  </a:lnTo>
                  <a:lnTo>
                    <a:pt x="258" y="530"/>
                  </a:lnTo>
                  <a:lnTo>
                    <a:pt x="264" y="541"/>
                  </a:lnTo>
                  <a:lnTo>
                    <a:pt x="263" y="547"/>
                  </a:lnTo>
                  <a:lnTo>
                    <a:pt x="248" y="549"/>
                  </a:lnTo>
                  <a:lnTo>
                    <a:pt x="240" y="555"/>
                  </a:lnTo>
                  <a:lnTo>
                    <a:pt x="241" y="564"/>
                  </a:lnTo>
                  <a:lnTo>
                    <a:pt x="255" y="560"/>
                  </a:lnTo>
                  <a:lnTo>
                    <a:pt x="257" y="565"/>
                  </a:lnTo>
                  <a:lnTo>
                    <a:pt x="234" y="573"/>
                  </a:lnTo>
                  <a:lnTo>
                    <a:pt x="245" y="581"/>
                  </a:lnTo>
                  <a:lnTo>
                    <a:pt x="234" y="598"/>
                  </a:lnTo>
                  <a:lnTo>
                    <a:pt x="223" y="602"/>
                  </a:lnTo>
                  <a:lnTo>
                    <a:pt x="239" y="614"/>
                  </a:lnTo>
                  <a:lnTo>
                    <a:pt x="259" y="621"/>
                  </a:lnTo>
                  <a:lnTo>
                    <a:pt x="284" y="639"/>
                  </a:lnTo>
                  <a:lnTo>
                    <a:pt x="285" y="636"/>
                  </a:lnTo>
                  <a:lnTo>
                    <a:pt x="300" y="640"/>
                  </a:lnTo>
                  <a:lnTo>
                    <a:pt x="325" y="643"/>
                  </a:lnTo>
                  <a:lnTo>
                    <a:pt x="350" y="653"/>
                  </a:lnTo>
                  <a:lnTo>
                    <a:pt x="353" y="657"/>
                  </a:lnTo>
                  <a:lnTo>
                    <a:pt x="363" y="654"/>
                  </a:lnTo>
                  <a:lnTo>
                    <a:pt x="379" y="658"/>
                  </a:lnTo>
                  <a:lnTo>
                    <a:pt x="386" y="666"/>
                  </a:lnTo>
                  <a:lnTo>
                    <a:pt x="398" y="671"/>
                  </a:lnTo>
                  <a:lnTo>
                    <a:pt x="402" y="672"/>
                  </a:lnTo>
                  <a:lnTo>
                    <a:pt x="416" y="684"/>
                  </a:lnTo>
                  <a:lnTo>
                    <a:pt x="424" y="686"/>
                  </a:lnTo>
                  <a:lnTo>
                    <a:pt x="426" y="680"/>
                  </a:lnTo>
                  <a:lnTo>
                    <a:pt x="434" y="672"/>
                  </a:lnTo>
                  <a:lnTo>
                    <a:pt x="411" y="648"/>
                  </a:lnTo>
                  <a:lnTo>
                    <a:pt x="410" y="634"/>
                  </a:lnTo>
                  <a:lnTo>
                    <a:pt x="391" y="615"/>
                  </a:lnTo>
                  <a:lnTo>
                    <a:pt x="402" y="594"/>
                  </a:lnTo>
                  <a:lnTo>
                    <a:pt x="417" y="590"/>
                  </a:lnTo>
                  <a:lnTo>
                    <a:pt x="422" y="578"/>
                  </a:lnTo>
                  <a:lnTo>
                    <a:pt x="413" y="575"/>
                  </a:lnTo>
                  <a:lnTo>
                    <a:pt x="412" y="564"/>
                  </a:lnTo>
                  <a:lnTo>
                    <a:pt x="398" y="551"/>
                  </a:lnTo>
                  <a:lnTo>
                    <a:pt x="386" y="551"/>
                  </a:lnTo>
                  <a:lnTo>
                    <a:pt x="369" y="537"/>
                  </a:lnTo>
                  <a:lnTo>
                    <a:pt x="375" y="522"/>
                  </a:lnTo>
                  <a:lnTo>
                    <a:pt x="369" y="518"/>
                  </a:lnTo>
                  <a:lnTo>
                    <a:pt x="376" y="496"/>
                  </a:lnTo>
                  <a:lnTo>
                    <a:pt x="396" y="507"/>
                  </a:lnTo>
                  <a:lnTo>
                    <a:pt x="394" y="493"/>
                  </a:lnTo>
                  <a:lnTo>
                    <a:pt x="420" y="471"/>
                  </a:lnTo>
                  <a:lnTo>
                    <a:pt x="445" y="470"/>
                  </a:lnTo>
                  <a:lnTo>
                    <a:pt x="484" y="484"/>
                  </a:lnTo>
                  <a:lnTo>
                    <a:pt x="505" y="492"/>
                  </a:lnTo>
                  <a:lnTo>
                    <a:pt x="519" y="484"/>
                  </a:lnTo>
                  <a:lnTo>
                    <a:pt x="544" y="484"/>
                  </a:lnTo>
                  <a:lnTo>
                    <a:pt x="568" y="494"/>
                  </a:lnTo>
                  <a:lnTo>
                    <a:pt x="571" y="488"/>
                  </a:lnTo>
                  <a:lnTo>
                    <a:pt x="593" y="489"/>
                  </a:lnTo>
                  <a:lnTo>
                    <a:pt x="594" y="479"/>
                  </a:lnTo>
                  <a:lnTo>
                    <a:pt x="563" y="466"/>
                  </a:lnTo>
                  <a:lnTo>
                    <a:pt x="575" y="456"/>
                  </a:lnTo>
                  <a:lnTo>
                    <a:pt x="570" y="450"/>
                  </a:lnTo>
                  <a:lnTo>
                    <a:pt x="583" y="445"/>
                  </a:lnTo>
                  <a:lnTo>
                    <a:pt x="567" y="431"/>
                  </a:lnTo>
                  <a:lnTo>
                    <a:pt x="571" y="425"/>
                  </a:lnTo>
                  <a:lnTo>
                    <a:pt x="626" y="417"/>
                  </a:lnTo>
                  <a:lnTo>
                    <a:pt x="632" y="413"/>
                  </a:lnTo>
                  <a:lnTo>
                    <a:pt x="667" y="406"/>
                  </a:lnTo>
                  <a:lnTo>
                    <a:pt x="677" y="397"/>
                  </a:lnTo>
                  <a:lnTo>
                    <a:pt x="707" y="401"/>
                  </a:lnTo>
                  <a:lnTo>
                    <a:pt x="721" y="422"/>
                  </a:lnTo>
                  <a:lnTo>
                    <a:pt x="735" y="417"/>
                  </a:lnTo>
                  <a:lnTo>
                    <a:pt x="758" y="424"/>
                  </a:lnTo>
                  <a:lnTo>
                    <a:pt x="762" y="435"/>
                  </a:lnTo>
                  <a:lnTo>
                    <a:pt x="776" y="434"/>
                  </a:lnTo>
                  <a:lnTo>
                    <a:pt x="806" y="415"/>
                  </a:lnTo>
                  <a:lnTo>
                    <a:pt x="803" y="421"/>
                  </a:lnTo>
                  <a:lnTo>
                    <a:pt x="831" y="436"/>
                  </a:lnTo>
                  <a:lnTo>
                    <a:pt x="889" y="487"/>
                  </a:lnTo>
                  <a:lnTo>
                    <a:pt x="893" y="477"/>
                  </a:lnTo>
                  <a:lnTo>
                    <a:pt x="920" y="489"/>
                  </a:lnTo>
                  <a:lnTo>
                    <a:pt x="940" y="483"/>
                  </a:lnTo>
                  <a:lnTo>
                    <a:pt x="951" y="487"/>
                  </a:lnTo>
                  <a:lnTo>
                    <a:pt x="964" y="499"/>
                  </a:lnTo>
                  <a:lnTo>
                    <a:pt x="977" y="503"/>
                  </a:lnTo>
                  <a:lnTo>
                    <a:pt x="988" y="511"/>
                  </a:lnTo>
                  <a:lnTo>
                    <a:pt x="1007" y="509"/>
                  </a:lnTo>
                  <a:lnTo>
                    <a:pt x="1022" y="521"/>
                  </a:lnTo>
                  <a:lnTo>
                    <a:pt x="1027" y="519"/>
                  </a:lnTo>
                  <a:lnTo>
                    <a:pt x="1042" y="516"/>
                  </a:lnTo>
                  <a:lnTo>
                    <a:pt x="1064" y="498"/>
                  </a:lnTo>
                  <a:lnTo>
                    <a:pt x="1084" y="489"/>
                  </a:lnTo>
                  <a:lnTo>
                    <a:pt x="1101" y="495"/>
                  </a:lnTo>
                  <a:lnTo>
                    <a:pt x="1117" y="495"/>
                  </a:lnTo>
                  <a:lnTo>
                    <a:pt x="1133" y="505"/>
                  </a:lnTo>
                  <a:lnTo>
                    <a:pt x="1149" y="505"/>
                  </a:lnTo>
                  <a:lnTo>
                    <a:pt x="1175" y="510"/>
                  </a:lnTo>
                  <a:lnTo>
                    <a:pt x="1183" y="497"/>
                  </a:lnTo>
                  <a:lnTo>
                    <a:pt x="1170" y="485"/>
                  </a:lnTo>
                  <a:lnTo>
                    <a:pt x="1175" y="464"/>
                  </a:lnTo>
                  <a:lnTo>
                    <a:pt x="1197" y="472"/>
                  </a:lnTo>
                  <a:lnTo>
                    <a:pt x="1213" y="474"/>
                  </a:lnTo>
                  <a:lnTo>
                    <a:pt x="1234" y="479"/>
                  </a:lnTo>
                  <a:lnTo>
                    <a:pt x="1246" y="495"/>
                  </a:lnTo>
                  <a:lnTo>
                    <a:pt x="1273" y="503"/>
                  </a:lnTo>
                  <a:lnTo>
                    <a:pt x="1286" y="499"/>
                  </a:lnTo>
                  <a:lnTo>
                    <a:pt x="1305" y="497"/>
                  </a:lnTo>
                  <a:lnTo>
                    <a:pt x="1323" y="500"/>
                  </a:lnTo>
                  <a:lnTo>
                    <a:pt x="1344" y="509"/>
                  </a:lnTo>
                  <a:lnTo>
                    <a:pt x="1360" y="520"/>
                  </a:lnTo>
                  <a:lnTo>
                    <a:pt x="1374" y="519"/>
                  </a:lnTo>
                  <a:lnTo>
                    <a:pt x="1397" y="523"/>
                  </a:lnTo>
                  <a:lnTo>
                    <a:pt x="1408" y="518"/>
                  </a:lnTo>
                  <a:lnTo>
                    <a:pt x="1427" y="514"/>
                  </a:lnTo>
                  <a:lnTo>
                    <a:pt x="1442" y="500"/>
                  </a:lnTo>
                  <a:lnTo>
                    <a:pt x="1453" y="502"/>
                  </a:lnTo>
                  <a:lnTo>
                    <a:pt x="1465" y="509"/>
                  </a:lnTo>
                  <a:lnTo>
                    <a:pt x="1483" y="507"/>
                  </a:lnTo>
                  <a:lnTo>
                    <a:pt x="1508" y="515"/>
                  </a:lnTo>
                  <a:lnTo>
                    <a:pt x="1522" y="502"/>
                  </a:lnTo>
                  <a:lnTo>
                    <a:pt x="1516" y="493"/>
                  </a:lnTo>
                  <a:lnTo>
                    <a:pt x="1516" y="472"/>
                  </a:lnTo>
                  <a:lnTo>
                    <a:pt x="1520" y="465"/>
                  </a:lnTo>
                  <a:lnTo>
                    <a:pt x="1512" y="454"/>
                  </a:lnTo>
                  <a:lnTo>
                    <a:pt x="1500" y="450"/>
                  </a:lnTo>
                  <a:lnTo>
                    <a:pt x="1505" y="440"/>
                  </a:lnTo>
                  <a:lnTo>
                    <a:pt x="1522" y="436"/>
                  </a:lnTo>
                  <a:lnTo>
                    <a:pt x="1542" y="436"/>
                  </a:lnTo>
                  <a:lnTo>
                    <a:pt x="1570" y="441"/>
                  </a:lnTo>
                  <a:lnTo>
                    <a:pt x="1589" y="449"/>
                  </a:lnTo>
                  <a:lnTo>
                    <a:pt x="1614" y="469"/>
                  </a:lnTo>
                  <a:lnTo>
                    <a:pt x="1627" y="478"/>
                  </a:lnTo>
                  <a:lnTo>
                    <a:pt x="1641" y="490"/>
                  </a:lnTo>
                  <a:lnTo>
                    <a:pt x="1661" y="510"/>
                  </a:lnTo>
                  <a:lnTo>
                    <a:pt x="1693" y="516"/>
                  </a:lnTo>
                  <a:lnTo>
                    <a:pt x="1722" y="531"/>
                  </a:lnTo>
                  <a:lnTo>
                    <a:pt x="1742" y="550"/>
                  </a:lnTo>
                  <a:lnTo>
                    <a:pt x="1766" y="550"/>
                  </a:lnTo>
                  <a:lnTo>
                    <a:pt x="1775" y="542"/>
                  </a:lnTo>
                  <a:lnTo>
                    <a:pt x="1797" y="536"/>
                  </a:lnTo>
                  <a:lnTo>
                    <a:pt x="1802" y="554"/>
                  </a:lnTo>
                  <a:lnTo>
                    <a:pt x="1801" y="562"/>
                  </a:lnTo>
                  <a:lnTo>
                    <a:pt x="1810" y="584"/>
                  </a:lnTo>
                  <a:lnTo>
                    <a:pt x="1811" y="604"/>
                  </a:lnTo>
                  <a:lnTo>
                    <a:pt x="1789" y="600"/>
                  </a:lnTo>
                  <a:lnTo>
                    <a:pt x="1779" y="607"/>
                  </a:lnTo>
                  <a:lnTo>
                    <a:pt x="1794" y="625"/>
                  </a:lnTo>
                  <a:lnTo>
                    <a:pt x="1806" y="649"/>
                  </a:lnTo>
                  <a:lnTo>
                    <a:pt x="1798" y="650"/>
                  </a:lnTo>
                  <a:lnTo>
                    <a:pt x="1804" y="660"/>
                  </a:lnTo>
                  <a:lnTo>
                    <a:pt x="1808" y="664"/>
                  </a:lnTo>
                  <a:lnTo>
                    <a:pt x="1807" y="657"/>
                  </a:lnTo>
                  <a:lnTo>
                    <a:pt x="1821" y="642"/>
                  </a:lnTo>
                  <a:lnTo>
                    <a:pt x="1837" y="652"/>
                  </a:lnTo>
                  <a:lnTo>
                    <a:pt x="1848" y="651"/>
                  </a:lnTo>
                  <a:lnTo>
                    <a:pt x="1863" y="639"/>
                  </a:lnTo>
                  <a:lnTo>
                    <a:pt x="1866" y="627"/>
                  </a:lnTo>
                  <a:lnTo>
                    <a:pt x="1873" y="604"/>
                  </a:lnTo>
                  <a:lnTo>
                    <a:pt x="1880" y="580"/>
                  </a:lnTo>
                  <a:lnTo>
                    <a:pt x="1876" y="566"/>
                  </a:lnTo>
                  <a:lnTo>
                    <a:pt x="1879" y="536"/>
                  </a:lnTo>
                  <a:lnTo>
                    <a:pt x="1862" y="504"/>
                  </a:lnTo>
                  <a:lnTo>
                    <a:pt x="1844" y="480"/>
                  </a:lnTo>
                  <a:lnTo>
                    <a:pt x="1840" y="460"/>
                  </a:lnTo>
                  <a:lnTo>
                    <a:pt x="1825" y="443"/>
                  </a:lnTo>
                  <a:lnTo>
                    <a:pt x="1784" y="421"/>
                  </a:lnTo>
                  <a:lnTo>
                    <a:pt x="1766" y="420"/>
                  </a:lnTo>
                  <a:lnTo>
                    <a:pt x="1764" y="430"/>
                  </a:lnTo>
                  <a:lnTo>
                    <a:pt x="1746" y="425"/>
                  </a:lnTo>
                  <a:lnTo>
                    <a:pt x="1728" y="413"/>
                  </a:lnTo>
                  <a:lnTo>
                    <a:pt x="1701" y="410"/>
                  </a:lnTo>
                  <a:lnTo>
                    <a:pt x="1718" y="364"/>
                  </a:lnTo>
                  <a:lnTo>
                    <a:pt x="1729" y="326"/>
                  </a:lnTo>
                  <a:lnTo>
                    <a:pt x="1772" y="320"/>
                  </a:lnTo>
                  <a:lnTo>
                    <a:pt x="1821" y="323"/>
                  </a:lnTo>
                  <a:lnTo>
                    <a:pt x="1829" y="314"/>
                  </a:lnTo>
                  <a:lnTo>
                    <a:pt x="1855" y="317"/>
                  </a:lnTo>
                  <a:lnTo>
                    <a:pt x="1869" y="331"/>
                  </a:lnTo>
                  <a:lnTo>
                    <a:pt x="1890" y="329"/>
                  </a:lnTo>
                  <a:lnTo>
                    <a:pt x="1917" y="324"/>
                  </a:lnTo>
                  <a:lnTo>
                    <a:pt x="1892" y="312"/>
                  </a:lnTo>
                  <a:lnTo>
                    <a:pt x="1892" y="280"/>
                  </a:lnTo>
                  <a:lnTo>
                    <a:pt x="1921" y="273"/>
                  </a:lnTo>
                  <a:lnTo>
                    <a:pt x="1961" y="297"/>
                  </a:lnTo>
                  <a:lnTo>
                    <a:pt x="1972" y="275"/>
                  </a:lnTo>
                  <a:lnTo>
                    <a:pt x="1961" y="260"/>
                  </a:lnTo>
                  <a:lnTo>
                    <a:pt x="1977" y="258"/>
                  </a:lnTo>
                  <a:lnTo>
                    <a:pt x="1999" y="285"/>
                  </a:lnTo>
                  <a:lnTo>
                    <a:pt x="1992" y="301"/>
                  </a:lnTo>
                  <a:lnTo>
                    <a:pt x="1989" y="320"/>
                  </a:lnTo>
                  <a:lnTo>
                    <a:pt x="1990" y="345"/>
                  </a:lnTo>
                  <a:lnTo>
                    <a:pt x="1972" y="349"/>
                  </a:lnTo>
                  <a:lnTo>
                    <a:pt x="1981" y="358"/>
                  </a:lnTo>
                  <a:lnTo>
                    <a:pt x="1980" y="370"/>
                  </a:lnTo>
                  <a:lnTo>
                    <a:pt x="2001" y="397"/>
                  </a:lnTo>
                  <a:lnTo>
                    <a:pt x="2053" y="441"/>
                  </a:lnTo>
                  <a:lnTo>
                    <a:pt x="2086" y="471"/>
                  </a:lnTo>
                  <a:lnTo>
                    <a:pt x="2105" y="485"/>
                  </a:lnTo>
                  <a:lnTo>
                    <a:pt x="2110" y="466"/>
                  </a:lnTo>
                  <a:lnTo>
                    <a:pt x="2096" y="446"/>
                  </a:lnTo>
                  <a:lnTo>
                    <a:pt x="2115" y="441"/>
                  </a:lnTo>
                  <a:lnTo>
                    <a:pt x="2098" y="418"/>
                  </a:lnTo>
                  <a:lnTo>
                    <a:pt x="2114" y="408"/>
                  </a:lnTo>
                  <a:lnTo>
                    <a:pt x="2099" y="399"/>
                  </a:lnTo>
                  <a:lnTo>
                    <a:pt x="2088" y="383"/>
                  </a:lnTo>
                  <a:lnTo>
                    <a:pt x="2102" y="382"/>
                  </a:lnTo>
                  <a:lnTo>
                    <a:pt x="2072" y="354"/>
                  </a:lnTo>
                  <a:lnTo>
                    <a:pt x="2050" y="349"/>
                  </a:lnTo>
                  <a:lnTo>
                    <a:pt x="2041" y="341"/>
                  </a:lnTo>
                  <a:lnTo>
                    <a:pt x="2037" y="322"/>
                  </a:lnTo>
                  <a:lnTo>
                    <a:pt x="2027" y="310"/>
                  </a:lnTo>
                  <a:lnTo>
                    <a:pt x="2050" y="312"/>
                  </a:lnTo>
                  <a:lnTo>
                    <a:pt x="2054" y="304"/>
                  </a:lnTo>
                  <a:lnTo>
                    <a:pt x="2069" y="311"/>
                  </a:lnTo>
                  <a:lnTo>
                    <a:pt x="2089" y="296"/>
                  </a:lnTo>
                  <a:lnTo>
                    <a:pt x="2127" y="309"/>
                  </a:lnTo>
                  <a:lnTo>
                    <a:pt x="2121" y="301"/>
                  </a:lnTo>
                  <a:lnTo>
                    <a:pt x="2127" y="289"/>
                  </a:lnTo>
                  <a:lnTo>
                    <a:pt x="2132" y="275"/>
                  </a:lnTo>
                  <a:lnTo>
                    <a:pt x="2142" y="273"/>
                  </a:lnTo>
                  <a:lnTo>
                    <a:pt x="2162" y="259"/>
                  </a:lnTo>
                  <a:lnTo>
                    <a:pt x="2195" y="263"/>
                  </a:lnTo>
                  <a:lnTo>
                    <a:pt x="2192" y="258"/>
                  </a:lnTo>
                  <a:lnTo>
                    <a:pt x="2179" y="250"/>
                  </a:lnTo>
                  <a:lnTo>
                    <a:pt x="2165" y="245"/>
                  </a:lnTo>
                  <a:lnTo>
                    <a:pt x="2135" y="230"/>
                  </a:lnTo>
                  <a:lnTo>
                    <a:pt x="2107" y="220"/>
                  </a:lnTo>
                  <a:lnTo>
                    <a:pt x="2128" y="221"/>
                  </a:lnTo>
                  <a:lnTo>
                    <a:pt x="2134" y="213"/>
                  </a:lnTo>
                  <a:lnTo>
                    <a:pt x="2128" y="210"/>
                  </a:lnTo>
                  <a:lnTo>
                    <a:pt x="2117" y="188"/>
                  </a:lnTo>
                  <a:lnTo>
                    <a:pt x="2124" y="183"/>
                  </a:lnTo>
                  <a:lnTo>
                    <a:pt x="2127" y="194"/>
                  </a:lnTo>
                  <a:lnTo>
                    <a:pt x="2139" y="195"/>
                  </a:lnTo>
                  <a:lnTo>
                    <a:pt x="2136" y="183"/>
                  </a:lnTo>
                  <a:lnTo>
                    <a:pt x="2149" y="185"/>
                  </a:lnTo>
                  <a:lnTo>
                    <a:pt x="2158" y="186"/>
                  </a:lnTo>
                  <a:lnTo>
                    <a:pt x="2154" y="172"/>
                  </a:lnTo>
                  <a:lnTo>
                    <a:pt x="2163" y="168"/>
                  </a:lnTo>
                  <a:lnTo>
                    <a:pt x="2150" y="158"/>
                  </a:lnTo>
                  <a:lnTo>
                    <a:pt x="2155" y="143"/>
                  </a:lnTo>
                  <a:lnTo>
                    <a:pt x="2167" y="151"/>
                  </a:lnTo>
                  <a:lnTo>
                    <a:pt x="2166" y="129"/>
                  </a:lnTo>
                  <a:lnTo>
                    <a:pt x="2163" y="113"/>
                  </a:lnTo>
                  <a:lnTo>
                    <a:pt x="2134" y="115"/>
                  </a:lnTo>
                  <a:lnTo>
                    <a:pt x="2116" y="123"/>
                  </a:lnTo>
                  <a:lnTo>
                    <a:pt x="2102" y="129"/>
                  </a:lnTo>
                  <a:lnTo>
                    <a:pt x="2098" y="133"/>
                  </a:lnTo>
                  <a:lnTo>
                    <a:pt x="2081" y="119"/>
                  </a:lnTo>
                  <a:lnTo>
                    <a:pt x="2021" y="141"/>
                  </a:lnTo>
                  <a:lnTo>
                    <a:pt x="2020" y="142"/>
                  </a:lnTo>
                  <a:lnTo>
                    <a:pt x="2020" y="142"/>
                  </a:lnTo>
                  <a:lnTo>
                    <a:pt x="1988" y="134"/>
                  </a:lnTo>
                  <a:lnTo>
                    <a:pt x="1936" y="126"/>
                  </a:lnTo>
                  <a:lnTo>
                    <a:pt x="1911" y="126"/>
                  </a:lnTo>
                  <a:lnTo>
                    <a:pt x="1861" y="122"/>
                  </a:lnTo>
                  <a:lnTo>
                    <a:pt x="1867" y="130"/>
                  </a:lnTo>
                  <a:lnTo>
                    <a:pt x="1896" y="141"/>
                  </a:lnTo>
                  <a:lnTo>
                    <a:pt x="1888" y="146"/>
                  </a:lnTo>
                  <a:lnTo>
                    <a:pt x="1841" y="131"/>
                  </a:lnTo>
                  <a:lnTo>
                    <a:pt x="1818" y="132"/>
                  </a:lnTo>
                  <a:lnTo>
                    <a:pt x="1788" y="129"/>
                  </a:lnTo>
                  <a:lnTo>
                    <a:pt x="1765" y="130"/>
                  </a:lnTo>
                  <a:lnTo>
                    <a:pt x="1753" y="133"/>
                  </a:lnTo>
                  <a:lnTo>
                    <a:pt x="1729" y="128"/>
                  </a:lnTo>
                  <a:lnTo>
                    <a:pt x="1711" y="115"/>
                  </a:lnTo>
                  <a:lnTo>
                    <a:pt x="1690" y="109"/>
                  </a:lnTo>
                  <a:lnTo>
                    <a:pt x="1660" y="106"/>
                  </a:lnTo>
                  <a:lnTo>
                    <a:pt x="1612" y="109"/>
                  </a:lnTo>
                  <a:lnTo>
                    <a:pt x="1559" y="96"/>
                  </a:lnTo>
                  <a:lnTo>
                    <a:pt x="1533" y="86"/>
                  </a:lnTo>
                  <a:lnTo>
                    <a:pt x="1402" y="75"/>
                  </a:lnTo>
                  <a:lnTo>
                    <a:pt x="1395" y="82"/>
                  </a:lnTo>
                  <a:lnTo>
                    <a:pt x="1426" y="98"/>
                  </a:lnTo>
                  <a:lnTo>
                    <a:pt x="1402" y="96"/>
                  </a:lnTo>
                  <a:lnTo>
                    <a:pt x="1399" y="101"/>
                  </a:lnTo>
                  <a:lnTo>
                    <a:pt x="1367" y="95"/>
                  </a:lnTo>
                  <a:lnTo>
                    <a:pt x="1351" y="100"/>
                  </a:lnTo>
                  <a:lnTo>
                    <a:pt x="1320" y="92"/>
                  </a:lnTo>
                  <a:lnTo>
                    <a:pt x="1331" y="110"/>
                  </a:lnTo>
                  <a:lnTo>
                    <a:pt x="1301" y="103"/>
                  </a:lnTo>
                  <a:lnTo>
                    <a:pt x="1268" y="90"/>
                  </a:lnTo>
                  <a:lnTo>
                    <a:pt x="1267" y="83"/>
                  </a:lnTo>
                  <a:lnTo>
                    <a:pt x="1247" y="72"/>
                  </a:lnTo>
                  <a:lnTo>
                    <a:pt x="1215" y="64"/>
                  </a:lnTo>
                  <a:lnTo>
                    <a:pt x="1195" y="64"/>
                  </a:lnTo>
                  <a:lnTo>
                    <a:pt x="1165" y="61"/>
                  </a:lnTo>
                  <a:lnTo>
                    <a:pt x="1180" y="73"/>
                  </a:lnTo>
                  <a:lnTo>
                    <a:pt x="1124" y="71"/>
                  </a:lnTo>
                  <a:lnTo>
                    <a:pt x="1111" y="63"/>
                  </a:lnTo>
                  <a:lnTo>
                    <a:pt x="1068" y="61"/>
                  </a:lnTo>
                  <a:lnTo>
                    <a:pt x="1051" y="63"/>
                  </a:lnTo>
                  <a:lnTo>
                    <a:pt x="1051" y="68"/>
                  </a:lnTo>
                  <a:lnTo>
                    <a:pt x="1032" y="57"/>
                  </a:lnTo>
                  <a:lnTo>
                    <a:pt x="1024" y="60"/>
                  </a:lnTo>
                  <a:lnTo>
                    <a:pt x="1001" y="56"/>
                  </a:lnTo>
                  <a:lnTo>
                    <a:pt x="983" y="54"/>
                  </a:lnTo>
                  <a:lnTo>
                    <a:pt x="986" y="49"/>
                  </a:lnTo>
                  <a:lnTo>
                    <a:pt x="1008" y="40"/>
                  </a:lnTo>
                  <a:lnTo>
                    <a:pt x="1016" y="36"/>
                  </a:lnTo>
                  <a:lnTo>
                    <a:pt x="1009" y="28"/>
                  </a:lnTo>
                  <a:lnTo>
                    <a:pt x="992" y="22"/>
                  </a:lnTo>
                  <a:lnTo>
                    <a:pt x="955" y="15"/>
                  </a:lnTo>
                  <a:lnTo>
                    <a:pt x="920" y="14"/>
                  </a:lnTo>
                  <a:lnTo>
                    <a:pt x="913" y="18"/>
                  </a:lnTo>
                  <a:lnTo>
                    <a:pt x="901" y="11"/>
                  </a:lnTo>
                  <a:lnTo>
                    <a:pt x="901" y="11"/>
                  </a:lnTo>
                  <a:lnTo>
                    <a:pt x="871" y="8"/>
                  </a:lnTo>
                  <a:lnTo>
                    <a:pt x="883" y="5"/>
                  </a:lnTo>
                  <a:lnTo>
                    <a:pt x="856" y="0"/>
                  </a:lnTo>
                  <a:close/>
                </a:path>
              </a:pathLst>
            </a:custGeom>
            <a:solidFill>
              <a:srgbClr val="FFFFFF"/>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58" name="Freeform 222"/>
            <p:cNvSpPr>
              <a:spLocks/>
            </p:cNvSpPr>
            <p:nvPr/>
          </p:nvSpPr>
          <p:spPr bwMode="auto">
            <a:xfrm>
              <a:off x="4937125" y="4651379"/>
              <a:ext cx="66675" cy="65088"/>
            </a:xfrm>
            <a:custGeom>
              <a:avLst/>
              <a:gdLst>
                <a:gd name="T0" fmla="*/ 36 w 42"/>
                <a:gd name="T1" fmla="*/ 6 h 41"/>
                <a:gd name="T2" fmla="*/ 29 w 42"/>
                <a:gd name="T3" fmla="*/ 0 h 41"/>
                <a:gd name="T4" fmla="*/ 20 w 42"/>
                <a:gd name="T5" fmla="*/ 4 h 41"/>
                <a:gd name="T6" fmla="*/ 10 w 42"/>
                <a:gd name="T7" fmla="*/ 12 h 41"/>
                <a:gd name="T8" fmla="*/ 0 w 42"/>
                <a:gd name="T9" fmla="*/ 25 h 41"/>
                <a:gd name="T10" fmla="*/ 12 w 42"/>
                <a:gd name="T11" fmla="*/ 41 h 41"/>
                <a:gd name="T12" fmla="*/ 18 w 42"/>
                <a:gd name="T13" fmla="*/ 39 h 41"/>
                <a:gd name="T14" fmla="*/ 22 w 42"/>
                <a:gd name="T15" fmla="*/ 32 h 41"/>
                <a:gd name="T16" fmla="*/ 32 w 42"/>
                <a:gd name="T17" fmla="*/ 29 h 41"/>
                <a:gd name="T18" fmla="*/ 36 w 42"/>
                <a:gd name="T19" fmla="*/ 22 h 41"/>
                <a:gd name="T20" fmla="*/ 42 w 42"/>
                <a:gd name="T21" fmla="*/ 12 h 41"/>
                <a:gd name="T22" fmla="*/ 36 w 42"/>
                <a:gd name="T2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1">
                  <a:moveTo>
                    <a:pt x="36" y="6"/>
                  </a:moveTo>
                  <a:lnTo>
                    <a:pt x="29" y="0"/>
                  </a:lnTo>
                  <a:lnTo>
                    <a:pt x="20" y="4"/>
                  </a:lnTo>
                  <a:lnTo>
                    <a:pt x="10" y="12"/>
                  </a:lnTo>
                  <a:lnTo>
                    <a:pt x="0" y="25"/>
                  </a:lnTo>
                  <a:lnTo>
                    <a:pt x="12" y="41"/>
                  </a:lnTo>
                  <a:lnTo>
                    <a:pt x="18" y="39"/>
                  </a:lnTo>
                  <a:lnTo>
                    <a:pt x="22" y="32"/>
                  </a:lnTo>
                  <a:lnTo>
                    <a:pt x="32" y="29"/>
                  </a:lnTo>
                  <a:lnTo>
                    <a:pt x="36" y="22"/>
                  </a:lnTo>
                  <a:lnTo>
                    <a:pt x="42" y="12"/>
                  </a:lnTo>
                  <a:lnTo>
                    <a:pt x="36" y="6"/>
                  </a:lnTo>
                  <a:close/>
                </a:path>
              </a:pathLst>
            </a:custGeom>
            <a:solidFill>
              <a:srgbClr val="E6B9B8"/>
            </a:solidFill>
            <a:ln w="1"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hu-HU"/>
            </a:p>
          </p:txBody>
        </p:sp>
        <p:sp>
          <p:nvSpPr>
            <p:cNvPr id="259" name="Freeform 366"/>
            <p:cNvSpPr>
              <a:spLocks/>
            </p:cNvSpPr>
            <p:nvPr>
              <p:custDataLst>
                <p:tags r:id="rId1"/>
              </p:custDataLst>
            </p:nvPr>
          </p:nvSpPr>
          <p:spPr bwMode="auto">
            <a:xfrm>
              <a:off x="5731579" y="4311758"/>
              <a:ext cx="21949" cy="67074"/>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FFFFFF"/>
            </a:solidFill>
            <a:ln w="3175" cmpd="sng">
              <a:solidFill>
                <a:srgbClr val="000000"/>
              </a:solidFill>
              <a:prstDash val="solid"/>
              <a:round/>
              <a:headEnd/>
              <a:tailEnd/>
            </a:ln>
          </p:spPr>
          <p:txBody>
            <a:bodyPr/>
            <a:lstStyle/>
            <a:p>
              <a:endParaRPr lang="en-US"/>
            </a:p>
          </p:txBody>
        </p:sp>
      </p:grpSp>
    </p:spTree>
    <p:extLst>
      <p:ext uri="{BB962C8B-B14F-4D97-AF65-F5344CB8AC3E}">
        <p14:creationId xmlns:p14="http://schemas.microsoft.com/office/powerpoint/2010/main" val="3369609"/>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p:cNvSpPr txBox="1"/>
          <p:nvPr/>
        </p:nvSpPr>
        <p:spPr>
          <a:xfrm>
            <a:off x="1" y="75678"/>
            <a:ext cx="9180512" cy="461665"/>
          </a:xfrm>
          <a:prstGeom prst="rect">
            <a:avLst/>
          </a:prstGeom>
          <a:noFill/>
        </p:spPr>
        <p:txBody>
          <a:bodyPr wrap="square" rtlCol="0">
            <a:spAutoFit/>
          </a:bodyPr>
          <a:lstStyle/>
          <a:p>
            <a:pPr algn="ctr"/>
            <a:r>
              <a:rPr lang="en-US" sz="2400" b="1" dirty="0" smtClean="0">
                <a:solidFill>
                  <a:srgbClr val="FFFF00"/>
                </a:solidFill>
              </a:rPr>
              <a:t>Early Infant Diagnosis within 2 Months of Birth (55 countries)</a:t>
            </a:r>
            <a:endParaRPr lang="en-US" sz="2400" b="1" dirty="0">
              <a:solidFill>
                <a:srgbClr val="FFFF00"/>
              </a:solidFill>
            </a:endParaRPr>
          </a:p>
        </p:txBody>
      </p:sp>
      <p:sp>
        <p:nvSpPr>
          <p:cNvPr id="51" name="Rectangle 50"/>
          <p:cNvSpPr/>
          <p:nvPr/>
        </p:nvSpPr>
        <p:spPr>
          <a:xfrm>
            <a:off x="17534" y="6297877"/>
            <a:ext cx="8855536" cy="461665"/>
          </a:xfrm>
          <a:prstGeom prst="rect">
            <a:avLst/>
          </a:prstGeom>
        </p:spPr>
        <p:txBody>
          <a:bodyPr wrap="square">
            <a:spAutoFit/>
          </a:bodyPr>
          <a:lstStyle/>
          <a:p>
            <a:pPr marL="228600" indent="-228600">
              <a:buFont typeface="Arial"/>
              <a:buChar char="•"/>
            </a:pPr>
            <a:r>
              <a:rPr lang="en-US" sz="1200" dirty="0" smtClean="0">
                <a:solidFill>
                  <a:srgbClr val="FFFFFF"/>
                </a:solidFill>
                <a:latin typeface="Arial"/>
                <a:cs typeface="Arial"/>
              </a:rPr>
              <a:t>Six </a:t>
            </a:r>
            <a:r>
              <a:rPr lang="en-US" sz="1200" dirty="0">
                <a:solidFill>
                  <a:srgbClr val="FFFFFF"/>
                </a:solidFill>
                <a:latin typeface="Arial"/>
                <a:cs typeface="Arial"/>
              </a:rPr>
              <a:t>countries without </a:t>
            </a:r>
            <a:r>
              <a:rPr lang="en-US" sz="1200" dirty="0" smtClean="0">
                <a:solidFill>
                  <a:srgbClr val="FFFFFF"/>
                </a:solidFill>
                <a:latin typeface="Arial"/>
                <a:cs typeface="Arial"/>
              </a:rPr>
              <a:t>recommendations </a:t>
            </a:r>
            <a:r>
              <a:rPr lang="en-US" sz="1200" dirty="0">
                <a:solidFill>
                  <a:srgbClr val="FFFFFF"/>
                </a:solidFill>
                <a:latin typeface="Arial"/>
                <a:cs typeface="Arial"/>
              </a:rPr>
              <a:t>and </a:t>
            </a:r>
            <a:r>
              <a:rPr lang="en-US" sz="1200" dirty="0" smtClean="0">
                <a:solidFill>
                  <a:srgbClr val="FFFFFF"/>
                </a:solidFill>
                <a:latin typeface="Arial"/>
                <a:cs typeface="Arial"/>
              </a:rPr>
              <a:t>one country (Sudan) recommending </a:t>
            </a:r>
            <a:r>
              <a:rPr lang="en-US" sz="1200" dirty="0">
                <a:solidFill>
                  <a:srgbClr val="FFFFFF"/>
                </a:solidFill>
                <a:latin typeface="Arial"/>
                <a:cs typeface="Arial"/>
              </a:rPr>
              <a:t>EID at first </a:t>
            </a:r>
            <a:r>
              <a:rPr lang="en-US" sz="1200" dirty="0" smtClean="0">
                <a:solidFill>
                  <a:srgbClr val="FFFFFF"/>
                </a:solidFill>
                <a:latin typeface="Arial"/>
                <a:cs typeface="Arial"/>
              </a:rPr>
              <a:t>encounter </a:t>
            </a:r>
            <a:r>
              <a:rPr lang="en-US" sz="1200" dirty="0">
                <a:solidFill>
                  <a:srgbClr val="FFFFFF"/>
                </a:solidFill>
                <a:latin typeface="Arial"/>
                <a:cs typeface="Arial"/>
              </a:rPr>
              <a:t>are not shown</a:t>
            </a:r>
            <a:r>
              <a:rPr lang="en-US" sz="1200" dirty="0" smtClean="0">
                <a:solidFill>
                  <a:srgbClr val="FFFFFF"/>
                </a:solidFill>
                <a:latin typeface="Arial"/>
                <a:cs typeface="Arial"/>
              </a:rPr>
              <a:t>. </a:t>
            </a:r>
          </a:p>
          <a:p>
            <a:pPr marL="228600" indent="-228600">
              <a:buFont typeface="Arial"/>
              <a:buChar char="•"/>
            </a:pPr>
            <a:r>
              <a:rPr lang="en-US" sz="1200" dirty="0">
                <a:solidFill>
                  <a:srgbClr val="FFFFFF"/>
                </a:solidFill>
                <a:latin typeface="Arial"/>
                <a:cs typeface="Arial"/>
              </a:rPr>
              <a:t>WHO 2016 guidelines recommend addition of nucleic acid testing at birth to existing EID testing </a:t>
            </a:r>
            <a:r>
              <a:rPr lang="en-US" sz="1200" dirty="0" smtClean="0">
                <a:solidFill>
                  <a:srgbClr val="FFFFFF"/>
                </a:solidFill>
                <a:latin typeface="Arial"/>
                <a:cs typeface="Arial"/>
              </a:rPr>
              <a:t>approaches</a:t>
            </a:r>
            <a:endParaRPr lang="en-US" sz="1200" dirty="0">
              <a:solidFill>
                <a:srgbClr val="FFFFFF"/>
              </a:solidFill>
              <a:latin typeface="Arial"/>
              <a:cs typeface="Arial"/>
            </a:endParaRPr>
          </a:p>
        </p:txBody>
      </p:sp>
      <p:sp>
        <p:nvSpPr>
          <p:cNvPr id="81" name="Oval 40"/>
          <p:cNvSpPr>
            <a:spLocks noChangeArrowheads="1"/>
          </p:cNvSpPr>
          <p:nvPr/>
        </p:nvSpPr>
        <p:spPr bwMode="auto">
          <a:xfrm>
            <a:off x="6910976" y="4147067"/>
            <a:ext cx="172065"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sp>
        <p:nvSpPr>
          <p:cNvPr id="82" name="Text Box 61"/>
          <p:cNvSpPr txBox="1">
            <a:spLocks noChangeArrowheads="1"/>
          </p:cNvSpPr>
          <p:nvPr/>
        </p:nvSpPr>
        <p:spPr bwMode="auto">
          <a:xfrm>
            <a:off x="140295" y="4945273"/>
            <a:ext cx="3150109" cy="102722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defTabSz="914400" fontAlgn="base">
              <a:spcBef>
                <a:spcPct val="0"/>
              </a:spcBef>
              <a:spcAft>
                <a:spcPts val="1000"/>
              </a:spcAft>
            </a:pPr>
            <a:r>
              <a:rPr lang="en-US" sz="1200" b="0" i="0" dirty="0" smtClean="0">
                <a:solidFill>
                  <a:srgbClr val="FFFFFF"/>
                </a:solidFill>
                <a:latin typeface="Arial"/>
                <a:ea typeface="Geneva"/>
                <a:cs typeface="Arial"/>
              </a:rPr>
              <a:t>Benin, </a:t>
            </a:r>
            <a:r>
              <a:rPr lang="en-US" sz="1200" dirty="0">
                <a:solidFill>
                  <a:srgbClr val="FFFFFF"/>
                </a:solidFill>
                <a:latin typeface="Arial"/>
                <a:ea typeface="Geneva"/>
                <a:cs typeface="Arial"/>
              </a:rPr>
              <a:t>Botswana, Burkina </a:t>
            </a:r>
            <a:r>
              <a:rPr lang="en-US" sz="1200" b="0" i="0" dirty="0" smtClean="0">
                <a:solidFill>
                  <a:srgbClr val="FFFFFF"/>
                </a:solidFill>
                <a:latin typeface="Arial"/>
                <a:ea typeface="Geneva"/>
                <a:cs typeface="Arial"/>
              </a:rPr>
              <a:t>Faso, Cameroon, China, </a:t>
            </a:r>
            <a:r>
              <a:rPr lang="en-US" sz="1200" b="1" i="0" dirty="0" smtClean="0">
                <a:solidFill>
                  <a:srgbClr val="FFFFFF"/>
                </a:solidFill>
                <a:latin typeface="Arial"/>
                <a:ea typeface="Geneva"/>
                <a:cs typeface="Arial"/>
              </a:rPr>
              <a:t>Dominican Republic</a:t>
            </a:r>
            <a:r>
              <a:rPr lang="en-US" sz="1200" b="0" i="0" dirty="0" smtClean="0">
                <a:solidFill>
                  <a:srgbClr val="FFFFFF"/>
                </a:solidFill>
                <a:latin typeface="Arial"/>
                <a:ea typeface="Geneva"/>
                <a:cs typeface="Arial"/>
              </a:rPr>
              <a:t>,  Ethiopia, Ghana, Guinea, India, </a:t>
            </a:r>
            <a:r>
              <a:rPr lang="en-US" sz="1200" b="1" i="0" dirty="0" smtClean="0">
                <a:solidFill>
                  <a:srgbClr val="FFFFFF"/>
                </a:solidFill>
                <a:latin typeface="Arial"/>
                <a:ea typeface="Geneva"/>
                <a:cs typeface="Arial"/>
              </a:rPr>
              <a:t>Lesotho, </a:t>
            </a:r>
            <a:r>
              <a:rPr lang="en-US" sz="1200" b="0" i="0" dirty="0" smtClean="0">
                <a:solidFill>
                  <a:srgbClr val="FFFFFF"/>
                </a:solidFill>
                <a:latin typeface="Arial"/>
                <a:ea typeface="Geneva"/>
                <a:cs typeface="Arial"/>
              </a:rPr>
              <a:t>Malawi, Nepal, </a:t>
            </a:r>
            <a:r>
              <a:rPr lang="en-US" sz="1200" i="0" dirty="0" smtClean="0">
                <a:solidFill>
                  <a:srgbClr val="FFFFFF"/>
                </a:solidFill>
                <a:latin typeface="Arial"/>
                <a:ea typeface="Geneva"/>
                <a:cs typeface="Arial"/>
              </a:rPr>
              <a:t>Papua New Guinea, Uganda</a:t>
            </a:r>
            <a:endParaRPr kumimoji="0" lang="en-US" sz="1200" u="none" strike="noStrike" cap="none" normalizeH="0" baseline="30000" dirty="0">
              <a:ln>
                <a:noFill/>
              </a:ln>
              <a:solidFill>
                <a:srgbClr val="FFFFFF"/>
              </a:solidFill>
              <a:effectLst/>
              <a:latin typeface="Arial"/>
              <a:ea typeface="Times New Roman" pitchFamily="-111" charset="0"/>
              <a:cs typeface="Arial"/>
            </a:endParaRPr>
          </a:p>
        </p:txBody>
      </p:sp>
      <p:sp>
        <p:nvSpPr>
          <p:cNvPr id="83" name="Oval 40"/>
          <p:cNvSpPr>
            <a:spLocks noChangeArrowheads="1"/>
          </p:cNvSpPr>
          <p:nvPr/>
        </p:nvSpPr>
        <p:spPr bwMode="auto">
          <a:xfrm>
            <a:off x="6912032" y="5233305"/>
            <a:ext cx="171174"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sp>
        <p:nvSpPr>
          <p:cNvPr id="84" name="Text Box 9"/>
          <p:cNvSpPr txBox="1">
            <a:spLocks noChangeArrowheads="1"/>
          </p:cNvSpPr>
          <p:nvPr/>
        </p:nvSpPr>
        <p:spPr bwMode="auto">
          <a:xfrm>
            <a:off x="2918919" y="5982830"/>
            <a:ext cx="371486" cy="21085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000" b="1" i="0" u="none" strike="noStrike" cap="none" normalizeH="0" baseline="0" dirty="0" smtClean="0">
                <a:ln>
                  <a:noFill/>
                </a:ln>
                <a:solidFill>
                  <a:srgbClr val="FFFFFF"/>
                </a:solidFill>
                <a:effectLst/>
                <a:latin typeface="Geneva"/>
                <a:ea typeface="Times New Roman" pitchFamily="-111" charset="0"/>
                <a:cs typeface="Geneva"/>
              </a:rPr>
              <a:t>1</a:t>
            </a:r>
            <a:endParaRPr kumimoji="0" lang="en-US" sz="1000" b="0" i="0" u="none" strike="noStrike" cap="none" normalizeH="0" baseline="0" dirty="0">
              <a:ln>
                <a:noFill/>
              </a:ln>
              <a:solidFill>
                <a:srgbClr val="FFFFFF"/>
              </a:solidFill>
              <a:effectLst/>
              <a:latin typeface="Geneva"/>
              <a:ea typeface="Times New Roman" pitchFamily="-111" charset="0"/>
              <a:cs typeface="Geneva"/>
            </a:endParaRPr>
          </a:p>
        </p:txBody>
      </p:sp>
      <p:sp>
        <p:nvSpPr>
          <p:cNvPr id="85" name="Line 56"/>
          <p:cNvSpPr>
            <a:spLocks noChangeShapeType="1"/>
          </p:cNvSpPr>
          <p:nvPr/>
        </p:nvSpPr>
        <p:spPr bwMode="auto">
          <a:xfrm flipV="1">
            <a:off x="2328332" y="5910216"/>
            <a:ext cx="6631938" cy="5336"/>
          </a:xfrm>
          <a:prstGeom prst="line">
            <a:avLst/>
          </a:prstGeom>
          <a:noFill/>
          <a:ln w="9525">
            <a:solidFill>
              <a:schemeClr val="bg1"/>
            </a:solidFill>
            <a:round/>
            <a:headEnd type="none"/>
            <a:tailEnd type="arrow" w="med" len="med"/>
          </a:ln>
        </p:spPr>
        <p:txBody>
          <a:bodyPr vert="horz" wrap="square" lIns="91440" tIns="45720" rIns="91440" bIns="45720" numCol="1" anchor="t" anchorCtr="0" compatLnSpc="1">
            <a:prstTxWarp prst="textNoShape">
              <a:avLst/>
            </a:prstTxWarp>
          </a:bodyPr>
          <a:lstStyle/>
          <a:p>
            <a:endParaRPr lang="en-US" sz="1000">
              <a:solidFill>
                <a:srgbClr val="FFFFFF"/>
              </a:solidFill>
              <a:latin typeface="Geneva"/>
              <a:cs typeface="Geneva"/>
            </a:endParaRPr>
          </a:p>
        </p:txBody>
      </p:sp>
      <p:cxnSp>
        <p:nvCxnSpPr>
          <p:cNvPr id="86" name="Straight Connector 85"/>
          <p:cNvCxnSpPr/>
          <p:nvPr/>
        </p:nvCxnSpPr>
        <p:spPr>
          <a:xfrm flipV="1">
            <a:off x="140296" y="4945273"/>
            <a:ext cx="8902734" cy="8457"/>
          </a:xfrm>
          <a:prstGeom prst="line">
            <a:avLst/>
          </a:prstGeom>
          <a:ln w="3175"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sp>
        <p:nvSpPr>
          <p:cNvPr id="87" name="Text Box 9"/>
          <p:cNvSpPr txBox="1">
            <a:spLocks noChangeArrowheads="1"/>
          </p:cNvSpPr>
          <p:nvPr/>
        </p:nvSpPr>
        <p:spPr bwMode="auto">
          <a:xfrm>
            <a:off x="3516816" y="5970690"/>
            <a:ext cx="678378" cy="21085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000" b="1" i="0" u="none" strike="noStrike" cap="none" normalizeH="0" baseline="0" dirty="0" smtClean="0">
                <a:ln>
                  <a:noFill/>
                </a:ln>
                <a:solidFill>
                  <a:srgbClr val="FFFFFF"/>
                </a:solidFill>
                <a:effectLst/>
                <a:latin typeface="Geneva"/>
                <a:ea typeface="Times New Roman" pitchFamily="-111" charset="0"/>
                <a:cs typeface="Geneva"/>
              </a:rPr>
              <a:t>2</a:t>
            </a:r>
            <a:endParaRPr kumimoji="0" lang="en-US" sz="1000" b="0" i="0" u="none" strike="noStrike" cap="none" normalizeH="0" baseline="0" dirty="0">
              <a:ln>
                <a:noFill/>
              </a:ln>
              <a:solidFill>
                <a:srgbClr val="FFFFFF"/>
              </a:solidFill>
              <a:effectLst/>
              <a:latin typeface="Geneva"/>
              <a:ea typeface="Times New Roman" pitchFamily="-111" charset="0"/>
              <a:cs typeface="Geneva"/>
            </a:endParaRPr>
          </a:p>
        </p:txBody>
      </p:sp>
      <p:sp>
        <p:nvSpPr>
          <p:cNvPr id="88" name="Text Box 9"/>
          <p:cNvSpPr txBox="1">
            <a:spLocks noChangeArrowheads="1"/>
          </p:cNvSpPr>
          <p:nvPr/>
        </p:nvSpPr>
        <p:spPr bwMode="auto">
          <a:xfrm>
            <a:off x="4259738" y="5974196"/>
            <a:ext cx="678378" cy="21085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000" b="1" i="0" u="none" strike="noStrike" cap="none" normalizeH="0" baseline="0" dirty="0" smtClean="0">
                <a:ln>
                  <a:noFill/>
                </a:ln>
                <a:solidFill>
                  <a:srgbClr val="FFFFFF"/>
                </a:solidFill>
                <a:effectLst/>
                <a:latin typeface="Geneva"/>
                <a:ea typeface="Times New Roman" pitchFamily="-111" charset="0"/>
                <a:cs typeface="Geneva"/>
              </a:rPr>
              <a:t>3</a:t>
            </a:r>
            <a:endParaRPr kumimoji="0" lang="en-US" sz="1000" b="0" i="0" u="none" strike="noStrike" cap="none" normalizeH="0" baseline="0" dirty="0">
              <a:ln>
                <a:noFill/>
              </a:ln>
              <a:solidFill>
                <a:srgbClr val="FFFFFF"/>
              </a:solidFill>
              <a:effectLst/>
              <a:latin typeface="Geneva"/>
              <a:ea typeface="Times New Roman" pitchFamily="-111" charset="0"/>
              <a:cs typeface="Geneva"/>
            </a:endParaRPr>
          </a:p>
        </p:txBody>
      </p:sp>
      <p:sp>
        <p:nvSpPr>
          <p:cNvPr id="89" name="Text Box 9"/>
          <p:cNvSpPr txBox="1">
            <a:spLocks noChangeArrowheads="1"/>
          </p:cNvSpPr>
          <p:nvPr/>
        </p:nvSpPr>
        <p:spPr bwMode="auto">
          <a:xfrm>
            <a:off x="5048911" y="5967846"/>
            <a:ext cx="678378" cy="21085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000" b="1" i="0" u="none" strike="noStrike" cap="none" normalizeH="0" baseline="0" dirty="0" smtClean="0">
                <a:ln>
                  <a:noFill/>
                </a:ln>
                <a:solidFill>
                  <a:srgbClr val="FFFFFF"/>
                </a:solidFill>
                <a:effectLst/>
                <a:latin typeface="Geneva"/>
                <a:ea typeface="Times New Roman" pitchFamily="-111" charset="0"/>
                <a:cs typeface="Geneva"/>
              </a:rPr>
              <a:t>4</a:t>
            </a:r>
            <a:endParaRPr kumimoji="0" lang="en-US" sz="1000" b="0" i="0" u="none" strike="noStrike" cap="none" normalizeH="0" baseline="0" dirty="0">
              <a:ln>
                <a:noFill/>
              </a:ln>
              <a:solidFill>
                <a:srgbClr val="FFFFFF"/>
              </a:solidFill>
              <a:effectLst/>
              <a:latin typeface="Geneva"/>
              <a:ea typeface="Times New Roman" pitchFamily="-111" charset="0"/>
              <a:cs typeface="Geneva"/>
            </a:endParaRPr>
          </a:p>
        </p:txBody>
      </p:sp>
      <p:sp>
        <p:nvSpPr>
          <p:cNvPr id="90" name="Text Box 9"/>
          <p:cNvSpPr txBox="1">
            <a:spLocks noChangeArrowheads="1"/>
          </p:cNvSpPr>
          <p:nvPr/>
        </p:nvSpPr>
        <p:spPr bwMode="auto">
          <a:xfrm>
            <a:off x="5870163" y="5964671"/>
            <a:ext cx="678378" cy="21085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000" b="1" i="0" u="none" strike="noStrike" cap="none" normalizeH="0" baseline="0" dirty="0" smtClean="0">
                <a:ln>
                  <a:noFill/>
                </a:ln>
                <a:solidFill>
                  <a:srgbClr val="FFFFFF"/>
                </a:solidFill>
                <a:effectLst/>
                <a:latin typeface="Geneva"/>
                <a:ea typeface="Times New Roman" pitchFamily="-111" charset="0"/>
                <a:cs typeface="Geneva"/>
              </a:rPr>
              <a:t>5</a:t>
            </a:r>
            <a:endParaRPr kumimoji="0" lang="en-US" sz="1000" b="0" i="0" u="none" strike="noStrike" cap="none" normalizeH="0" baseline="0" dirty="0">
              <a:ln>
                <a:noFill/>
              </a:ln>
              <a:solidFill>
                <a:srgbClr val="FFFFFF"/>
              </a:solidFill>
              <a:effectLst/>
              <a:latin typeface="Geneva"/>
              <a:ea typeface="Times New Roman" pitchFamily="-111" charset="0"/>
              <a:cs typeface="Geneva"/>
            </a:endParaRPr>
          </a:p>
        </p:txBody>
      </p:sp>
      <p:sp>
        <p:nvSpPr>
          <p:cNvPr id="91" name="Text Box 9"/>
          <p:cNvSpPr txBox="1">
            <a:spLocks noChangeArrowheads="1"/>
          </p:cNvSpPr>
          <p:nvPr/>
        </p:nvSpPr>
        <p:spPr bwMode="auto">
          <a:xfrm>
            <a:off x="6661302" y="5971021"/>
            <a:ext cx="678378" cy="21085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000" b="1" i="0" u="none" strike="noStrike" cap="none" normalizeH="0" baseline="0" dirty="0" smtClean="0">
                <a:ln>
                  <a:noFill/>
                </a:ln>
                <a:solidFill>
                  <a:srgbClr val="FFFFFF"/>
                </a:solidFill>
                <a:effectLst/>
                <a:latin typeface="Geneva"/>
                <a:ea typeface="Times New Roman" pitchFamily="-111" charset="0"/>
                <a:cs typeface="Geneva"/>
              </a:rPr>
              <a:t>6</a:t>
            </a:r>
            <a:endParaRPr kumimoji="0" lang="en-US" sz="1000" b="0" i="0" u="none" strike="noStrike" cap="none" normalizeH="0" baseline="0" dirty="0">
              <a:ln>
                <a:noFill/>
              </a:ln>
              <a:solidFill>
                <a:srgbClr val="FFFFFF"/>
              </a:solidFill>
              <a:effectLst/>
              <a:latin typeface="Geneva"/>
              <a:ea typeface="Times New Roman" pitchFamily="-111" charset="0"/>
              <a:cs typeface="Geneva"/>
            </a:endParaRPr>
          </a:p>
        </p:txBody>
      </p:sp>
      <p:sp>
        <p:nvSpPr>
          <p:cNvPr id="92" name="Text Box 9"/>
          <p:cNvSpPr txBox="1">
            <a:spLocks noChangeArrowheads="1"/>
          </p:cNvSpPr>
          <p:nvPr/>
        </p:nvSpPr>
        <p:spPr bwMode="auto">
          <a:xfrm>
            <a:off x="7430298" y="5967846"/>
            <a:ext cx="678378" cy="21085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000" b="1" i="0" u="none" strike="noStrike" cap="none" normalizeH="0" baseline="0" dirty="0" smtClean="0">
                <a:ln>
                  <a:noFill/>
                </a:ln>
                <a:solidFill>
                  <a:srgbClr val="FFFFFF"/>
                </a:solidFill>
                <a:effectLst/>
                <a:latin typeface="Geneva"/>
                <a:ea typeface="Times New Roman" pitchFamily="-111" charset="0"/>
                <a:cs typeface="Geneva"/>
              </a:rPr>
              <a:t>7</a:t>
            </a:r>
            <a:endParaRPr kumimoji="0" lang="en-US" sz="1000" b="0" i="0" u="none" strike="noStrike" cap="none" normalizeH="0" baseline="0" dirty="0">
              <a:ln>
                <a:noFill/>
              </a:ln>
              <a:solidFill>
                <a:srgbClr val="FFFFFF"/>
              </a:solidFill>
              <a:effectLst/>
              <a:latin typeface="Geneva"/>
              <a:ea typeface="Times New Roman" pitchFamily="-111" charset="0"/>
              <a:cs typeface="Geneva"/>
            </a:endParaRPr>
          </a:p>
        </p:txBody>
      </p:sp>
      <p:sp>
        <p:nvSpPr>
          <p:cNvPr id="93" name="Text Box 9"/>
          <p:cNvSpPr txBox="1">
            <a:spLocks noChangeArrowheads="1"/>
          </p:cNvSpPr>
          <p:nvPr/>
        </p:nvSpPr>
        <p:spPr bwMode="auto">
          <a:xfrm>
            <a:off x="8215385" y="5967846"/>
            <a:ext cx="678378" cy="21085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000" b="1" i="0" u="none" strike="noStrike" cap="none" normalizeH="0" baseline="0" dirty="0" smtClean="0">
                <a:ln>
                  <a:noFill/>
                </a:ln>
                <a:solidFill>
                  <a:srgbClr val="FFFFFF"/>
                </a:solidFill>
                <a:effectLst/>
                <a:latin typeface="Geneva"/>
                <a:ea typeface="Times New Roman" pitchFamily="-111" charset="0"/>
                <a:cs typeface="Geneva"/>
              </a:rPr>
              <a:t>8</a:t>
            </a:r>
            <a:endParaRPr kumimoji="0" lang="en-US" sz="1000" b="0" i="0" u="none" strike="noStrike" cap="none" normalizeH="0" baseline="0" dirty="0">
              <a:ln>
                <a:noFill/>
              </a:ln>
              <a:solidFill>
                <a:srgbClr val="FFFFFF"/>
              </a:solidFill>
              <a:effectLst/>
              <a:latin typeface="Geneva"/>
              <a:ea typeface="Times New Roman" pitchFamily="-111" charset="0"/>
              <a:cs typeface="Geneva"/>
            </a:endParaRPr>
          </a:p>
        </p:txBody>
      </p:sp>
      <p:sp>
        <p:nvSpPr>
          <p:cNvPr id="94" name="Oval 40"/>
          <p:cNvSpPr>
            <a:spLocks noChangeArrowheads="1"/>
          </p:cNvSpPr>
          <p:nvPr/>
        </p:nvSpPr>
        <p:spPr bwMode="auto">
          <a:xfrm>
            <a:off x="5292080" y="4730417"/>
            <a:ext cx="171174"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cxnSp>
        <p:nvCxnSpPr>
          <p:cNvPr id="95" name="Straight Connector 94"/>
          <p:cNvCxnSpPr>
            <a:cxnSpLocks noChangeShapeType="1"/>
          </p:cNvCxnSpPr>
          <p:nvPr/>
        </p:nvCxnSpPr>
        <p:spPr bwMode="auto">
          <a:xfrm flipV="1">
            <a:off x="6988735" y="3611943"/>
            <a:ext cx="1687721" cy="9184"/>
          </a:xfrm>
          <a:prstGeom prst="line">
            <a:avLst/>
          </a:prstGeom>
          <a:noFill/>
          <a:ln w="9525">
            <a:solidFill>
              <a:schemeClr val="bg1"/>
            </a:solidFill>
            <a:round/>
            <a:headEnd/>
            <a:tailEnd/>
          </a:ln>
        </p:spPr>
      </p:cxnSp>
      <p:sp>
        <p:nvSpPr>
          <p:cNvPr id="96" name="Oval 40"/>
          <p:cNvSpPr>
            <a:spLocks noChangeArrowheads="1"/>
          </p:cNvSpPr>
          <p:nvPr/>
        </p:nvSpPr>
        <p:spPr bwMode="auto">
          <a:xfrm>
            <a:off x="8504391" y="3540519"/>
            <a:ext cx="172065"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sp>
        <p:nvSpPr>
          <p:cNvPr id="97" name="Oval 40"/>
          <p:cNvSpPr>
            <a:spLocks noChangeArrowheads="1"/>
          </p:cNvSpPr>
          <p:nvPr/>
        </p:nvSpPr>
        <p:spPr bwMode="auto">
          <a:xfrm>
            <a:off x="6921106" y="3549703"/>
            <a:ext cx="171174"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sp>
        <p:nvSpPr>
          <p:cNvPr id="98" name="Oval 40"/>
          <p:cNvSpPr>
            <a:spLocks noChangeArrowheads="1"/>
          </p:cNvSpPr>
          <p:nvPr/>
        </p:nvSpPr>
        <p:spPr bwMode="auto">
          <a:xfrm>
            <a:off x="4535006" y="2857202"/>
            <a:ext cx="171174"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sp>
        <p:nvSpPr>
          <p:cNvPr id="99" name="Oval 40"/>
          <p:cNvSpPr>
            <a:spLocks noChangeArrowheads="1"/>
          </p:cNvSpPr>
          <p:nvPr/>
        </p:nvSpPr>
        <p:spPr bwMode="auto">
          <a:xfrm>
            <a:off x="3793957" y="2864437"/>
            <a:ext cx="172065"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cxnSp>
        <p:nvCxnSpPr>
          <p:cNvPr id="100" name="Straight Connector 99"/>
          <p:cNvCxnSpPr>
            <a:cxnSpLocks noChangeShapeType="1"/>
          </p:cNvCxnSpPr>
          <p:nvPr/>
        </p:nvCxnSpPr>
        <p:spPr bwMode="auto">
          <a:xfrm flipV="1">
            <a:off x="3813007" y="2925343"/>
            <a:ext cx="882781" cy="10518"/>
          </a:xfrm>
          <a:prstGeom prst="line">
            <a:avLst/>
          </a:prstGeom>
          <a:noFill/>
          <a:ln w="9525">
            <a:solidFill>
              <a:schemeClr val="bg1"/>
            </a:solidFill>
            <a:round/>
            <a:headEnd/>
            <a:tailEnd/>
          </a:ln>
        </p:spPr>
      </p:cxnSp>
      <p:sp>
        <p:nvSpPr>
          <p:cNvPr id="101" name="Oval 40"/>
          <p:cNvSpPr>
            <a:spLocks noChangeArrowheads="1"/>
          </p:cNvSpPr>
          <p:nvPr/>
        </p:nvSpPr>
        <p:spPr bwMode="auto">
          <a:xfrm>
            <a:off x="8504391" y="2857825"/>
            <a:ext cx="172065"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sp>
        <p:nvSpPr>
          <p:cNvPr id="102" name="Oval 101"/>
          <p:cNvSpPr>
            <a:spLocks noChangeArrowheads="1"/>
          </p:cNvSpPr>
          <p:nvPr/>
        </p:nvSpPr>
        <p:spPr bwMode="auto">
          <a:xfrm>
            <a:off x="5292080" y="2881409"/>
            <a:ext cx="171174"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cxnSp>
        <p:nvCxnSpPr>
          <p:cNvPr id="103" name="Straight Connector 102"/>
          <p:cNvCxnSpPr>
            <a:cxnSpLocks noChangeShapeType="1"/>
          </p:cNvCxnSpPr>
          <p:nvPr/>
        </p:nvCxnSpPr>
        <p:spPr bwMode="auto">
          <a:xfrm flipV="1">
            <a:off x="5390813" y="2929249"/>
            <a:ext cx="3145420" cy="21494"/>
          </a:xfrm>
          <a:prstGeom prst="line">
            <a:avLst/>
          </a:prstGeom>
          <a:noFill/>
          <a:ln w="9525">
            <a:solidFill>
              <a:schemeClr val="bg1"/>
            </a:solidFill>
            <a:round/>
            <a:headEnd/>
            <a:tailEnd/>
          </a:ln>
        </p:spPr>
      </p:cxnSp>
      <p:sp>
        <p:nvSpPr>
          <p:cNvPr id="104" name="Oval 40"/>
          <p:cNvSpPr>
            <a:spLocks noChangeArrowheads="1"/>
          </p:cNvSpPr>
          <p:nvPr/>
        </p:nvSpPr>
        <p:spPr bwMode="auto">
          <a:xfrm>
            <a:off x="8504391" y="3194665"/>
            <a:ext cx="172065"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sp>
        <p:nvSpPr>
          <p:cNvPr id="105" name="Oval 40"/>
          <p:cNvSpPr>
            <a:spLocks noChangeArrowheads="1"/>
          </p:cNvSpPr>
          <p:nvPr/>
        </p:nvSpPr>
        <p:spPr bwMode="auto">
          <a:xfrm>
            <a:off x="5292080" y="3218249"/>
            <a:ext cx="171174"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cxnSp>
        <p:nvCxnSpPr>
          <p:cNvPr id="106" name="Straight Connector 105"/>
          <p:cNvCxnSpPr>
            <a:cxnSpLocks noChangeShapeType="1"/>
          </p:cNvCxnSpPr>
          <p:nvPr/>
        </p:nvCxnSpPr>
        <p:spPr bwMode="auto">
          <a:xfrm flipV="1">
            <a:off x="5387020" y="3266089"/>
            <a:ext cx="3145420" cy="21494"/>
          </a:xfrm>
          <a:prstGeom prst="line">
            <a:avLst/>
          </a:prstGeom>
          <a:noFill/>
          <a:ln w="9525">
            <a:solidFill>
              <a:schemeClr val="bg1"/>
            </a:solidFill>
            <a:round/>
            <a:headEnd/>
            <a:tailEnd/>
          </a:ln>
        </p:spPr>
      </p:cxnSp>
      <p:sp>
        <p:nvSpPr>
          <p:cNvPr id="107" name="Oval 40"/>
          <p:cNvSpPr>
            <a:spLocks noChangeArrowheads="1"/>
          </p:cNvSpPr>
          <p:nvPr/>
        </p:nvSpPr>
        <p:spPr bwMode="auto">
          <a:xfrm>
            <a:off x="2411760" y="1560897"/>
            <a:ext cx="171174"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100" b="0" i="0" u="none" strike="noStrike" cap="none" normalizeH="0" baseline="0">
              <a:ln>
                <a:noFill/>
              </a:ln>
              <a:solidFill>
                <a:srgbClr val="FFFFFF"/>
              </a:solidFill>
              <a:effectLst/>
              <a:latin typeface="Arial"/>
              <a:ea typeface="Times New Roman" pitchFamily="-111" charset="0"/>
              <a:cs typeface="Arial"/>
            </a:endParaRPr>
          </a:p>
        </p:txBody>
      </p:sp>
      <p:sp>
        <p:nvSpPr>
          <p:cNvPr id="108" name="Oval 40"/>
          <p:cNvSpPr>
            <a:spLocks noChangeArrowheads="1"/>
          </p:cNvSpPr>
          <p:nvPr/>
        </p:nvSpPr>
        <p:spPr bwMode="auto">
          <a:xfrm>
            <a:off x="4524728" y="1579695"/>
            <a:ext cx="172065"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sp>
        <p:nvSpPr>
          <p:cNvPr id="109" name="Oval 40"/>
          <p:cNvSpPr>
            <a:spLocks noChangeArrowheads="1"/>
          </p:cNvSpPr>
          <p:nvPr/>
        </p:nvSpPr>
        <p:spPr bwMode="auto">
          <a:xfrm>
            <a:off x="8504391" y="1583312"/>
            <a:ext cx="172065"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cxnSp>
        <p:nvCxnSpPr>
          <p:cNvPr id="110" name="Straight Connector 109"/>
          <p:cNvCxnSpPr/>
          <p:nvPr/>
        </p:nvCxnSpPr>
        <p:spPr>
          <a:xfrm>
            <a:off x="140296" y="4647776"/>
            <a:ext cx="8906631" cy="9465"/>
          </a:xfrm>
          <a:prstGeom prst="line">
            <a:avLst/>
          </a:prstGeom>
          <a:ln w="3175"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sp>
        <p:nvSpPr>
          <p:cNvPr id="111" name="Text Box 61"/>
          <p:cNvSpPr txBox="1">
            <a:spLocks noChangeArrowheads="1"/>
          </p:cNvSpPr>
          <p:nvPr/>
        </p:nvSpPr>
        <p:spPr bwMode="auto">
          <a:xfrm>
            <a:off x="140296" y="4657241"/>
            <a:ext cx="2892378" cy="4210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defTabSz="914400" fontAlgn="base">
              <a:spcBef>
                <a:spcPct val="0"/>
              </a:spcBef>
              <a:spcAft>
                <a:spcPts val="1000"/>
              </a:spcAft>
            </a:pPr>
            <a:r>
              <a:rPr kumimoji="0" lang="en-US" sz="1200" u="none" strike="noStrike" cap="none" normalizeH="0" dirty="0" smtClean="0">
                <a:ln>
                  <a:noFill/>
                </a:ln>
                <a:solidFill>
                  <a:srgbClr val="FFFFFF"/>
                </a:solidFill>
                <a:effectLst/>
                <a:latin typeface="Arial"/>
                <a:ea typeface="Times New Roman" pitchFamily="-111" charset="0"/>
                <a:cs typeface="Arial"/>
              </a:rPr>
              <a:t>Haiti, Mozambique, Venezuela</a:t>
            </a:r>
            <a:endParaRPr kumimoji="0" lang="en-US" sz="1200" u="none" strike="noStrike" cap="none" normalizeH="0" dirty="0">
              <a:ln>
                <a:noFill/>
              </a:ln>
              <a:solidFill>
                <a:srgbClr val="FFFFFF"/>
              </a:solidFill>
              <a:effectLst/>
              <a:latin typeface="Arial"/>
              <a:ea typeface="Times New Roman" pitchFamily="-111" charset="0"/>
              <a:cs typeface="Arial"/>
            </a:endParaRPr>
          </a:p>
        </p:txBody>
      </p:sp>
      <p:sp>
        <p:nvSpPr>
          <p:cNvPr id="112" name="Text Box 61"/>
          <p:cNvSpPr txBox="1">
            <a:spLocks noChangeArrowheads="1"/>
          </p:cNvSpPr>
          <p:nvPr/>
        </p:nvSpPr>
        <p:spPr bwMode="auto">
          <a:xfrm>
            <a:off x="140296" y="3791577"/>
            <a:ext cx="2892378" cy="7936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ts val="1000"/>
              </a:spcAft>
            </a:pPr>
            <a:r>
              <a:rPr lang="en-US" sz="1200" b="0" i="0" dirty="0" smtClean="0">
                <a:solidFill>
                  <a:srgbClr val="FFFFFF"/>
                </a:solidFill>
                <a:latin typeface="Arial"/>
                <a:ea typeface="Geneva"/>
                <a:cs typeface="Arial"/>
              </a:rPr>
              <a:t>Angola, </a:t>
            </a:r>
            <a:r>
              <a:rPr lang="en-US" sz="1200" dirty="0">
                <a:solidFill>
                  <a:srgbClr val="FFFFFF"/>
                </a:solidFill>
                <a:latin typeface="Arial"/>
                <a:ea typeface="Times New Roman" pitchFamily="-111" charset="0"/>
                <a:cs typeface="Arial"/>
              </a:rPr>
              <a:t>Brazil, </a:t>
            </a:r>
            <a:r>
              <a:rPr lang="en-US" sz="1200" b="0" i="0" dirty="0" smtClean="0">
                <a:solidFill>
                  <a:srgbClr val="FFFFFF"/>
                </a:solidFill>
                <a:latin typeface="Arial"/>
                <a:ea typeface="Geneva"/>
                <a:cs typeface="Arial"/>
              </a:rPr>
              <a:t>Democratic Republic of Congo, Indonesia, Madagascar, Mali, Myanmar, Nigeria,</a:t>
            </a:r>
            <a:r>
              <a:rPr lang="en-US" sz="1200" dirty="0" smtClean="0">
                <a:solidFill>
                  <a:srgbClr val="FFFFFF"/>
                </a:solidFill>
                <a:latin typeface="Arial"/>
                <a:ea typeface="Geneva"/>
                <a:cs typeface="Arial"/>
              </a:rPr>
              <a:t> </a:t>
            </a:r>
            <a:r>
              <a:rPr lang="en-US" sz="1200" b="0" i="0" dirty="0" smtClean="0">
                <a:solidFill>
                  <a:srgbClr val="FFFFFF"/>
                </a:solidFill>
                <a:latin typeface="Arial"/>
                <a:ea typeface="Geneva"/>
                <a:cs typeface="Arial"/>
              </a:rPr>
              <a:t>Pakistan, </a:t>
            </a:r>
            <a:r>
              <a:rPr lang="en-US" sz="1200" dirty="0">
                <a:solidFill>
                  <a:srgbClr val="FFFFFF"/>
                </a:solidFill>
                <a:latin typeface="Arial"/>
                <a:ea typeface="Geneva"/>
                <a:cs typeface="Arial"/>
              </a:rPr>
              <a:t>Peru, </a:t>
            </a:r>
            <a:r>
              <a:rPr lang="en-US" sz="1200" b="0" i="0" dirty="0" smtClean="0">
                <a:solidFill>
                  <a:srgbClr val="FFFFFF"/>
                </a:solidFill>
                <a:latin typeface="Arial"/>
                <a:ea typeface="Geneva"/>
                <a:cs typeface="Arial"/>
              </a:rPr>
              <a:t>Tanzania, South Sudan, </a:t>
            </a:r>
            <a:r>
              <a:rPr lang="en-US" sz="1200" i="0" dirty="0" smtClean="0">
                <a:solidFill>
                  <a:srgbClr val="FFFFFF"/>
                </a:solidFill>
                <a:latin typeface="Arial"/>
                <a:ea typeface="Geneva"/>
                <a:cs typeface="Arial"/>
              </a:rPr>
              <a:t>Viet Nam</a:t>
            </a:r>
            <a:endParaRPr lang="en-US" sz="1200" b="0" i="0" dirty="0" smtClean="0">
              <a:solidFill>
                <a:srgbClr val="FFFFFF"/>
              </a:solidFill>
              <a:latin typeface="Arial"/>
              <a:ea typeface="Geneva"/>
              <a:cs typeface="Arial"/>
            </a:endParaRPr>
          </a:p>
        </p:txBody>
      </p:sp>
      <p:cxnSp>
        <p:nvCxnSpPr>
          <p:cNvPr id="113" name="Straight Connector 112"/>
          <p:cNvCxnSpPr/>
          <p:nvPr/>
        </p:nvCxnSpPr>
        <p:spPr>
          <a:xfrm>
            <a:off x="140296" y="3792745"/>
            <a:ext cx="8909499" cy="0"/>
          </a:xfrm>
          <a:prstGeom prst="line">
            <a:avLst/>
          </a:prstGeom>
          <a:ln w="3175"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p:cNvCxnSpPr/>
          <p:nvPr/>
        </p:nvCxnSpPr>
        <p:spPr>
          <a:xfrm>
            <a:off x="140296" y="3433505"/>
            <a:ext cx="8909499" cy="0"/>
          </a:xfrm>
          <a:prstGeom prst="line">
            <a:avLst/>
          </a:prstGeom>
          <a:ln w="3175"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sp>
        <p:nvSpPr>
          <p:cNvPr id="115" name="Text Box 61"/>
          <p:cNvSpPr txBox="1">
            <a:spLocks noChangeArrowheads="1"/>
          </p:cNvSpPr>
          <p:nvPr/>
        </p:nvSpPr>
        <p:spPr bwMode="auto">
          <a:xfrm>
            <a:off x="140296" y="3505513"/>
            <a:ext cx="2188036" cy="28763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defTabSz="914400" fontAlgn="base">
              <a:spcBef>
                <a:spcPct val="0"/>
              </a:spcBef>
              <a:spcAft>
                <a:spcPts val="1000"/>
              </a:spcAft>
            </a:pPr>
            <a:r>
              <a:rPr lang="en-US" sz="1200" b="1" dirty="0">
                <a:solidFill>
                  <a:srgbClr val="FFFFFF"/>
                </a:solidFill>
                <a:latin typeface="Arial"/>
                <a:ea typeface="Geneva"/>
                <a:cs typeface="Arial"/>
              </a:rPr>
              <a:t>Rwanda</a:t>
            </a:r>
            <a:r>
              <a:rPr lang="en-US" sz="1200" dirty="0" smtClean="0">
                <a:solidFill>
                  <a:srgbClr val="FFFFFF"/>
                </a:solidFill>
                <a:latin typeface="Arial"/>
                <a:ea typeface="Geneva"/>
                <a:cs typeface="Arial"/>
              </a:rPr>
              <a:t>,</a:t>
            </a:r>
            <a:r>
              <a:rPr lang="en-US" sz="1200" b="1" dirty="0" smtClean="0">
                <a:solidFill>
                  <a:srgbClr val="FFFFFF"/>
                </a:solidFill>
                <a:latin typeface="Arial"/>
                <a:ea typeface="Geneva"/>
                <a:cs typeface="Arial"/>
              </a:rPr>
              <a:t> Swaziland</a:t>
            </a:r>
            <a:endParaRPr kumimoji="0" lang="en-US" sz="1200" u="none" strike="noStrike" cap="none" normalizeH="0" dirty="0">
              <a:ln>
                <a:noFill/>
              </a:ln>
              <a:solidFill>
                <a:srgbClr val="FFFFFF"/>
              </a:solidFill>
              <a:effectLst/>
              <a:latin typeface="Arial"/>
              <a:ea typeface="Times New Roman" pitchFamily="-111" charset="0"/>
              <a:cs typeface="Arial"/>
            </a:endParaRPr>
          </a:p>
        </p:txBody>
      </p:sp>
      <p:cxnSp>
        <p:nvCxnSpPr>
          <p:cNvPr id="116" name="Straight Connector 115"/>
          <p:cNvCxnSpPr/>
          <p:nvPr/>
        </p:nvCxnSpPr>
        <p:spPr>
          <a:xfrm>
            <a:off x="140296" y="3073065"/>
            <a:ext cx="8902734" cy="0"/>
          </a:xfrm>
          <a:prstGeom prst="line">
            <a:avLst/>
          </a:prstGeom>
          <a:ln w="3175"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sp>
        <p:nvSpPr>
          <p:cNvPr id="117" name="Text Box 61"/>
          <p:cNvSpPr txBox="1">
            <a:spLocks noChangeArrowheads="1"/>
          </p:cNvSpPr>
          <p:nvPr/>
        </p:nvSpPr>
        <p:spPr bwMode="auto">
          <a:xfrm>
            <a:off x="140296" y="3145073"/>
            <a:ext cx="2559496" cy="23844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defTabSz="914400" fontAlgn="base">
              <a:spcBef>
                <a:spcPct val="0"/>
              </a:spcBef>
              <a:spcAft>
                <a:spcPts val="1000"/>
              </a:spcAft>
            </a:pPr>
            <a:r>
              <a:rPr lang="fr-FR" sz="1200" dirty="0" smtClean="0">
                <a:solidFill>
                  <a:srgbClr val="FFFFFF"/>
                </a:solidFill>
                <a:latin typeface="Arial"/>
                <a:cs typeface="Arial"/>
              </a:rPr>
              <a:t>Guatemala, Ukraine, </a:t>
            </a:r>
            <a:r>
              <a:rPr lang="fr-FR" sz="1200" b="1" dirty="0" smtClean="0">
                <a:solidFill>
                  <a:srgbClr val="FFFFFF"/>
                </a:solidFill>
                <a:latin typeface="Arial"/>
                <a:cs typeface="Arial"/>
              </a:rPr>
              <a:t>Thailand</a:t>
            </a:r>
            <a:endParaRPr kumimoji="0" lang="en-US" sz="1200" b="1" u="none" strike="noStrike" cap="none" normalizeH="0" dirty="0">
              <a:ln>
                <a:noFill/>
              </a:ln>
              <a:solidFill>
                <a:srgbClr val="FFFFFF"/>
              </a:solidFill>
              <a:effectLst/>
              <a:latin typeface="Arial"/>
              <a:ea typeface="Times New Roman" pitchFamily="-111" charset="0"/>
              <a:cs typeface="Arial"/>
            </a:endParaRPr>
          </a:p>
        </p:txBody>
      </p:sp>
      <p:cxnSp>
        <p:nvCxnSpPr>
          <p:cNvPr id="118" name="Straight Connector 117"/>
          <p:cNvCxnSpPr/>
          <p:nvPr/>
        </p:nvCxnSpPr>
        <p:spPr>
          <a:xfrm>
            <a:off x="140296" y="2713025"/>
            <a:ext cx="8900281" cy="0"/>
          </a:xfrm>
          <a:prstGeom prst="line">
            <a:avLst/>
          </a:prstGeom>
          <a:ln w="3175"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sp>
        <p:nvSpPr>
          <p:cNvPr id="119" name="Text Box 61"/>
          <p:cNvSpPr txBox="1">
            <a:spLocks noChangeArrowheads="1"/>
          </p:cNvSpPr>
          <p:nvPr/>
        </p:nvSpPr>
        <p:spPr bwMode="auto">
          <a:xfrm>
            <a:off x="127596" y="2785433"/>
            <a:ext cx="2188036" cy="28763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defTabSz="914400" fontAlgn="base">
              <a:spcBef>
                <a:spcPct val="0"/>
              </a:spcBef>
              <a:spcAft>
                <a:spcPts val="1000"/>
              </a:spcAft>
            </a:pPr>
            <a:r>
              <a:rPr lang="fr-FR" sz="1200" dirty="0" smtClean="0">
                <a:solidFill>
                  <a:srgbClr val="FFFFFF"/>
                </a:solidFill>
                <a:latin typeface="Arial"/>
                <a:cs typeface="Arial"/>
              </a:rPr>
              <a:t>Argentina, Malaysia</a:t>
            </a:r>
            <a:endParaRPr kumimoji="0" lang="en-US" sz="1200" u="none" strike="noStrike" cap="none" normalizeH="0" dirty="0">
              <a:ln>
                <a:noFill/>
              </a:ln>
              <a:solidFill>
                <a:srgbClr val="FFFFFF"/>
              </a:solidFill>
              <a:effectLst/>
              <a:latin typeface="Arial"/>
              <a:ea typeface="Times New Roman" pitchFamily="-111" charset="0"/>
              <a:cs typeface="Arial"/>
            </a:endParaRPr>
          </a:p>
        </p:txBody>
      </p:sp>
      <p:sp>
        <p:nvSpPr>
          <p:cNvPr id="120" name="Text Box 61"/>
          <p:cNvSpPr txBox="1">
            <a:spLocks noChangeArrowheads="1"/>
          </p:cNvSpPr>
          <p:nvPr/>
        </p:nvSpPr>
        <p:spPr bwMode="auto">
          <a:xfrm>
            <a:off x="127596" y="1488889"/>
            <a:ext cx="2188036" cy="28763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defTabSz="914400" fontAlgn="base">
              <a:spcBef>
                <a:spcPct val="0"/>
              </a:spcBef>
              <a:spcAft>
                <a:spcPts val="1000"/>
              </a:spcAft>
            </a:pPr>
            <a:r>
              <a:rPr lang="fr-FR" sz="1200" dirty="0" smtClean="0">
                <a:solidFill>
                  <a:srgbClr val="FFFFFF"/>
                </a:solidFill>
                <a:latin typeface="Arial"/>
                <a:cs typeface="Arial"/>
              </a:rPr>
              <a:t>Mexico</a:t>
            </a:r>
            <a:endParaRPr kumimoji="0" lang="en-US" sz="1200" u="none" strike="noStrike" cap="none" normalizeH="0" dirty="0">
              <a:ln>
                <a:noFill/>
              </a:ln>
              <a:solidFill>
                <a:srgbClr val="FFFFFF"/>
              </a:solidFill>
              <a:effectLst/>
              <a:latin typeface="Arial"/>
              <a:ea typeface="Times New Roman" pitchFamily="-111" charset="0"/>
              <a:cs typeface="Arial"/>
            </a:endParaRPr>
          </a:p>
        </p:txBody>
      </p:sp>
      <p:sp>
        <p:nvSpPr>
          <p:cNvPr id="121" name="Rectangle 120"/>
          <p:cNvSpPr/>
          <p:nvPr/>
        </p:nvSpPr>
        <p:spPr>
          <a:xfrm>
            <a:off x="127596" y="624793"/>
            <a:ext cx="8931737" cy="5590202"/>
          </a:xfrm>
          <a:prstGeom prst="rect">
            <a:avLst/>
          </a:prstGeom>
          <a:no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dirty="0">
              <a:solidFill>
                <a:srgbClr val="FFFFFF"/>
              </a:solidFill>
            </a:endParaRPr>
          </a:p>
        </p:txBody>
      </p:sp>
      <p:sp>
        <p:nvSpPr>
          <p:cNvPr id="123" name="Oval 40"/>
          <p:cNvSpPr>
            <a:spLocks noChangeArrowheads="1"/>
          </p:cNvSpPr>
          <p:nvPr/>
        </p:nvSpPr>
        <p:spPr bwMode="auto">
          <a:xfrm>
            <a:off x="5292080" y="4153953"/>
            <a:ext cx="171174"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sp>
        <p:nvSpPr>
          <p:cNvPr id="124" name="Oval 40"/>
          <p:cNvSpPr>
            <a:spLocks noChangeArrowheads="1"/>
          </p:cNvSpPr>
          <p:nvPr/>
        </p:nvSpPr>
        <p:spPr bwMode="auto">
          <a:xfrm>
            <a:off x="3779912" y="1600508"/>
            <a:ext cx="172065"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cxnSp>
        <p:nvCxnSpPr>
          <p:cNvPr id="125" name="Straight Connector 124"/>
          <p:cNvCxnSpPr>
            <a:cxnSpLocks noChangeShapeType="1"/>
          </p:cNvCxnSpPr>
          <p:nvPr/>
        </p:nvCxnSpPr>
        <p:spPr bwMode="auto">
          <a:xfrm flipV="1">
            <a:off x="3813007" y="1661414"/>
            <a:ext cx="882781" cy="10518"/>
          </a:xfrm>
          <a:prstGeom prst="line">
            <a:avLst/>
          </a:prstGeom>
          <a:noFill/>
          <a:ln w="9525">
            <a:solidFill>
              <a:schemeClr val="bg1"/>
            </a:solidFill>
            <a:round/>
            <a:headEnd/>
            <a:tailEnd/>
          </a:ln>
        </p:spPr>
      </p:cxnSp>
      <p:sp>
        <p:nvSpPr>
          <p:cNvPr id="126" name="Oval 125"/>
          <p:cNvSpPr>
            <a:spLocks noChangeArrowheads="1"/>
          </p:cNvSpPr>
          <p:nvPr/>
        </p:nvSpPr>
        <p:spPr bwMode="auto">
          <a:xfrm>
            <a:off x="5292080" y="1604780"/>
            <a:ext cx="171174"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cxnSp>
        <p:nvCxnSpPr>
          <p:cNvPr id="127" name="Straight Connector 126"/>
          <p:cNvCxnSpPr>
            <a:cxnSpLocks noChangeShapeType="1"/>
          </p:cNvCxnSpPr>
          <p:nvPr/>
        </p:nvCxnSpPr>
        <p:spPr bwMode="auto">
          <a:xfrm flipV="1">
            <a:off x="5387020" y="1652620"/>
            <a:ext cx="3145420" cy="21494"/>
          </a:xfrm>
          <a:prstGeom prst="line">
            <a:avLst/>
          </a:prstGeom>
          <a:noFill/>
          <a:ln w="9525">
            <a:solidFill>
              <a:schemeClr val="bg1"/>
            </a:solidFill>
            <a:round/>
            <a:headEnd/>
            <a:tailEnd/>
          </a:ln>
        </p:spPr>
      </p:cxnSp>
      <p:sp>
        <p:nvSpPr>
          <p:cNvPr id="128" name="Rectangle 127"/>
          <p:cNvSpPr/>
          <p:nvPr/>
        </p:nvSpPr>
        <p:spPr>
          <a:xfrm>
            <a:off x="1621413" y="5953385"/>
            <a:ext cx="646331" cy="261610"/>
          </a:xfrm>
          <a:prstGeom prst="rect">
            <a:avLst/>
          </a:prstGeom>
        </p:spPr>
        <p:txBody>
          <a:bodyPr wrap="none">
            <a:spAutoFit/>
          </a:bodyPr>
          <a:lstStyle/>
          <a:p>
            <a:r>
              <a:rPr lang="en-US" sz="1100" b="1" dirty="0" smtClean="0">
                <a:solidFill>
                  <a:srgbClr val="FFFFFF"/>
                </a:solidFill>
                <a:latin typeface="Arial"/>
                <a:ea typeface="Times New Roman" pitchFamily="-111" charset="0"/>
                <a:cs typeface="Arial"/>
              </a:rPr>
              <a:t>Weeks </a:t>
            </a:r>
            <a:endParaRPr lang="en-US" sz="1100" b="1" dirty="0">
              <a:solidFill>
                <a:srgbClr val="FFFFFF"/>
              </a:solidFill>
              <a:latin typeface="Arial"/>
              <a:cs typeface="Arial"/>
            </a:endParaRPr>
          </a:p>
        </p:txBody>
      </p:sp>
      <p:sp>
        <p:nvSpPr>
          <p:cNvPr id="129" name="Text Box 9"/>
          <p:cNvSpPr txBox="1">
            <a:spLocks noChangeArrowheads="1"/>
          </p:cNvSpPr>
          <p:nvPr/>
        </p:nvSpPr>
        <p:spPr bwMode="auto">
          <a:xfrm>
            <a:off x="2145765" y="5972314"/>
            <a:ext cx="371486" cy="21085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000" b="1" i="0" u="none" strike="noStrike" cap="none" normalizeH="0" baseline="0" dirty="0" smtClean="0">
                <a:ln>
                  <a:noFill/>
                </a:ln>
                <a:solidFill>
                  <a:srgbClr val="FFFFFF"/>
                </a:solidFill>
                <a:effectLst/>
                <a:latin typeface="Geneva"/>
                <a:ea typeface="Times New Roman" pitchFamily="-111" charset="0"/>
                <a:cs typeface="Geneva"/>
              </a:rPr>
              <a:t>0</a:t>
            </a:r>
            <a:endParaRPr kumimoji="0" lang="en-US" sz="1000" b="0" i="0" u="none" strike="noStrike" cap="none" normalizeH="0" baseline="0" dirty="0">
              <a:ln>
                <a:noFill/>
              </a:ln>
              <a:solidFill>
                <a:srgbClr val="FFFFFF"/>
              </a:solidFill>
              <a:effectLst/>
              <a:latin typeface="Geneva"/>
              <a:ea typeface="Times New Roman" pitchFamily="-111" charset="0"/>
              <a:cs typeface="Geneva"/>
            </a:endParaRPr>
          </a:p>
        </p:txBody>
      </p:sp>
      <p:cxnSp>
        <p:nvCxnSpPr>
          <p:cNvPr id="130" name="Straight Connector 129"/>
          <p:cNvCxnSpPr/>
          <p:nvPr/>
        </p:nvCxnSpPr>
        <p:spPr>
          <a:xfrm flipV="1">
            <a:off x="2328332" y="5822069"/>
            <a:ext cx="0" cy="144283"/>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31" name="Straight Connector 130"/>
          <p:cNvCxnSpPr/>
          <p:nvPr/>
        </p:nvCxnSpPr>
        <p:spPr>
          <a:xfrm flipV="1">
            <a:off x="3103032" y="5822069"/>
            <a:ext cx="0" cy="144283"/>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32" name="Straight Connector 131"/>
          <p:cNvCxnSpPr/>
          <p:nvPr/>
        </p:nvCxnSpPr>
        <p:spPr>
          <a:xfrm flipV="1">
            <a:off x="3852332" y="5822069"/>
            <a:ext cx="0" cy="144283"/>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33" name="Straight Connector 132"/>
          <p:cNvCxnSpPr/>
          <p:nvPr/>
        </p:nvCxnSpPr>
        <p:spPr>
          <a:xfrm flipV="1">
            <a:off x="4588932" y="5822069"/>
            <a:ext cx="0" cy="144283"/>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34" name="Straight Connector 133"/>
          <p:cNvCxnSpPr/>
          <p:nvPr/>
        </p:nvCxnSpPr>
        <p:spPr>
          <a:xfrm flipV="1">
            <a:off x="5389032" y="5822069"/>
            <a:ext cx="0" cy="144283"/>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35" name="Straight Connector 134"/>
          <p:cNvCxnSpPr/>
          <p:nvPr/>
        </p:nvCxnSpPr>
        <p:spPr>
          <a:xfrm flipV="1">
            <a:off x="6201832" y="5822069"/>
            <a:ext cx="0" cy="144283"/>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36" name="Straight Connector 135"/>
          <p:cNvCxnSpPr/>
          <p:nvPr/>
        </p:nvCxnSpPr>
        <p:spPr>
          <a:xfrm flipV="1">
            <a:off x="6989232" y="5822069"/>
            <a:ext cx="0" cy="144283"/>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37" name="Straight Connector 136"/>
          <p:cNvCxnSpPr/>
          <p:nvPr/>
        </p:nvCxnSpPr>
        <p:spPr>
          <a:xfrm flipV="1">
            <a:off x="7763932" y="5822069"/>
            <a:ext cx="0" cy="144283"/>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38" name="Straight Connector 137"/>
          <p:cNvCxnSpPr/>
          <p:nvPr/>
        </p:nvCxnSpPr>
        <p:spPr>
          <a:xfrm flipV="1">
            <a:off x="8551332" y="5809369"/>
            <a:ext cx="0" cy="144283"/>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39" name="Straight Connector 138"/>
          <p:cNvCxnSpPr>
            <a:cxnSpLocks noChangeShapeType="1"/>
          </p:cNvCxnSpPr>
          <p:nvPr/>
        </p:nvCxnSpPr>
        <p:spPr bwMode="auto">
          <a:xfrm flipV="1">
            <a:off x="5292080" y="4229931"/>
            <a:ext cx="1687721" cy="9184"/>
          </a:xfrm>
          <a:prstGeom prst="line">
            <a:avLst/>
          </a:prstGeom>
          <a:noFill/>
          <a:ln w="9525">
            <a:solidFill>
              <a:schemeClr val="bg1"/>
            </a:solidFill>
            <a:round/>
            <a:headEnd/>
            <a:tailEnd/>
          </a:ln>
        </p:spPr>
      </p:cxnSp>
      <p:cxnSp>
        <p:nvCxnSpPr>
          <p:cNvPr id="140" name="Straight Connector 139"/>
          <p:cNvCxnSpPr/>
          <p:nvPr/>
        </p:nvCxnSpPr>
        <p:spPr>
          <a:xfrm>
            <a:off x="107504" y="1848929"/>
            <a:ext cx="8919331" cy="0"/>
          </a:xfrm>
          <a:prstGeom prst="line">
            <a:avLst/>
          </a:prstGeom>
          <a:ln w="3175"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sp>
        <p:nvSpPr>
          <p:cNvPr id="141" name="Oval 40"/>
          <p:cNvSpPr>
            <a:spLocks noChangeArrowheads="1"/>
          </p:cNvSpPr>
          <p:nvPr/>
        </p:nvSpPr>
        <p:spPr bwMode="auto">
          <a:xfrm>
            <a:off x="3032674" y="2412286"/>
            <a:ext cx="171174"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sp>
        <p:nvSpPr>
          <p:cNvPr id="142" name="Oval 40"/>
          <p:cNvSpPr>
            <a:spLocks noChangeArrowheads="1"/>
          </p:cNvSpPr>
          <p:nvPr/>
        </p:nvSpPr>
        <p:spPr bwMode="auto">
          <a:xfrm>
            <a:off x="6933508" y="2382219"/>
            <a:ext cx="172065"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sp>
        <p:nvSpPr>
          <p:cNvPr id="143" name="Text Box 61"/>
          <p:cNvSpPr txBox="1">
            <a:spLocks noChangeArrowheads="1"/>
          </p:cNvSpPr>
          <p:nvPr/>
        </p:nvSpPr>
        <p:spPr bwMode="auto">
          <a:xfrm>
            <a:off x="127596" y="2353385"/>
            <a:ext cx="2188036" cy="28763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defTabSz="914400" fontAlgn="base">
              <a:spcBef>
                <a:spcPct val="0"/>
              </a:spcBef>
              <a:spcAft>
                <a:spcPts val="1000"/>
              </a:spcAft>
            </a:pPr>
            <a:r>
              <a:rPr lang="fr-FR" sz="1200" dirty="0" smtClean="0">
                <a:solidFill>
                  <a:srgbClr val="FFFFFF"/>
                </a:solidFill>
                <a:latin typeface="Arial"/>
                <a:cs typeface="Arial"/>
              </a:rPr>
              <a:t>Morocco</a:t>
            </a:r>
            <a:endParaRPr kumimoji="0" lang="en-US" sz="1200" u="none" strike="noStrike" cap="none" normalizeH="0" dirty="0">
              <a:ln>
                <a:noFill/>
              </a:ln>
              <a:solidFill>
                <a:srgbClr val="FFFFFF"/>
              </a:solidFill>
              <a:effectLst/>
              <a:latin typeface="Arial"/>
              <a:ea typeface="Times New Roman" pitchFamily="-111" charset="0"/>
              <a:cs typeface="Arial"/>
            </a:endParaRPr>
          </a:p>
        </p:txBody>
      </p:sp>
      <p:cxnSp>
        <p:nvCxnSpPr>
          <p:cNvPr id="144" name="Straight Connector 143"/>
          <p:cNvCxnSpPr>
            <a:cxnSpLocks noChangeShapeType="1"/>
            <a:stCxn id="145" idx="6"/>
          </p:cNvCxnSpPr>
          <p:nvPr/>
        </p:nvCxnSpPr>
        <p:spPr bwMode="auto">
          <a:xfrm flipV="1">
            <a:off x="5463254" y="2456156"/>
            <a:ext cx="1475144" cy="19586"/>
          </a:xfrm>
          <a:prstGeom prst="line">
            <a:avLst/>
          </a:prstGeom>
          <a:noFill/>
          <a:ln w="9525">
            <a:solidFill>
              <a:schemeClr val="bg1"/>
            </a:solidFill>
            <a:round/>
            <a:headEnd/>
            <a:tailEnd/>
          </a:ln>
        </p:spPr>
      </p:cxnSp>
      <p:sp>
        <p:nvSpPr>
          <p:cNvPr id="145" name="Oval 40"/>
          <p:cNvSpPr>
            <a:spLocks noChangeArrowheads="1"/>
          </p:cNvSpPr>
          <p:nvPr/>
        </p:nvSpPr>
        <p:spPr bwMode="auto">
          <a:xfrm>
            <a:off x="5292080" y="2404318"/>
            <a:ext cx="171174"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cxnSp>
        <p:nvCxnSpPr>
          <p:cNvPr id="146" name="Straight Connector 145"/>
          <p:cNvCxnSpPr/>
          <p:nvPr/>
        </p:nvCxnSpPr>
        <p:spPr>
          <a:xfrm>
            <a:off x="107504" y="1416881"/>
            <a:ext cx="8919331" cy="0"/>
          </a:xfrm>
          <a:prstGeom prst="line">
            <a:avLst/>
          </a:prstGeom>
          <a:ln w="3175"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sp>
        <p:nvSpPr>
          <p:cNvPr id="147" name="Oval 40"/>
          <p:cNvSpPr>
            <a:spLocks noChangeArrowheads="1"/>
          </p:cNvSpPr>
          <p:nvPr/>
        </p:nvSpPr>
        <p:spPr bwMode="auto">
          <a:xfrm>
            <a:off x="2411760" y="1056841"/>
            <a:ext cx="171174"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100" b="0" i="0" u="none" strike="noStrike" cap="none" normalizeH="0" baseline="0">
              <a:ln>
                <a:noFill/>
              </a:ln>
              <a:solidFill>
                <a:srgbClr val="FFFFFF"/>
              </a:solidFill>
              <a:effectLst/>
              <a:latin typeface="Arial"/>
              <a:ea typeface="Times New Roman" pitchFamily="-111" charset="0"/>
              <a:cs typeface="Arial"/>
            </a:endParaRPr>
          </a:p>
        </p:txBody>
      </p:sp>
      <p:sp>
        <p:nvSpPr>
          <p:cNvPr id="148" name="Text Box 61"/>
          <p:cNvSpPr txBox="1">
            <a:spLocks noChangeArrowheads="1"/>
          </p:cNvSpPr>
          <p:nvPr/>
        </p:nvSpPr>
        <p:spPr bwMode="auto">
          <a:xfrm>
            <a:off x="127595" y="912825"/>
            <a:ext cx="2389655" cy="4320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defTabSz="914400">
              <a:spcAft>
                <a:spcPts val="1000"/>
              </a:spcAft>
            </a:pPr>
            <a:r>
              <a:rPr lang="en-US" sz="1200" dirty="0">
                <a:solidFill>
                  <a:srgbClr val="FFFFFF"/>
                </a:solidFill>
                <a:latin typeface="Arial"/>
                <a:ea typeface="Geneva"/>
                <a:cs typeface="Arial"/>
              </a:rPr>
              <a:t>Burundi, Cambodia, </a:t>
            </a:r>
            <a:r>
              <a:rPr lang="en-US" sz="1200" dirty="0" smtClean="0">
                <a:solidFill>
                  <a:srgbClr val="FFFFFF"/>
                </a:solidFill>
                <a:latin typeface="Arial"/>
                <a:ea typeface="Geneva"/>
                <a:cs typeface="Arial"/>
              </a:rPr>
              <a:t>Kenya, </a:t>
            </a:r>
            <a:r>
              <a:rPr lang="en-US" sz="1200" b="1" dirty="0">
                <a:solidFill>
                  <a:srgbClr val="FFFFFF"/>
                </a:solidFill>
                <a:latin typeface="Arial"/>
                <a:ea typeface="Geneva"/>
                <a:cs typeface="Arial"/>
              </a:rPr>
              <a:t>Namibia</a:t>
            </a:r>
            <a:r>
              <a:rPr lang="en-US" sz="1200" dirty="0" smtClean="0">
                <a:solidFill>
                  <a:srgbClr val="FFFFFF"/>
                </a:solidFill>
                <a:latin typeface="Arial"/>
                <a:ea typeface="Geneva"/>
                <a:cs typeface="Arial"/>
              </a:rPr>
              <a:t>, </a:t>
            </a:r>
            <a:r>
              <a:rPr lang="fr-FR" sz="1200" dirty="0" err="1" smtClean="0">
                <a:solidFill>
                  <a:srgbClr val="FFFFFF"/>
                </a:solidFill>
                <a:latin typeface="Arial"/>
                <a:cs typeface="Arial"/>
              </a:rPr>
              <a:t>Zambia</a:t>
            </a:r>
            <a:r>
              <a:rPr lang="fr-FR" sz="1200" dirty="0" smtClean="0">
                <a:solidFill>
                  <a:srgbClr val="FFFFFF"/>
                </a:solidFill>
                <a:latin typeface="Arial"/>
                <a:cs typeface="Arial"/>
              </a:rPr>
              <a:t>, Zimbabwe</a:t>
            </a:r>
            <a:endParaRPr lang="en-US" sz="1200" dirty="0">
              <a:solidFill>
                <a:srgbClr val="FFFFFF"/>
              </a:solidFill>
              <a:latin typeface="Arial"/>
              <a:ea typeface="Times New Roman" pitchFamily="-111" charset="0"/>
              <a:cs typeface="Arial"/>
            </a:endParaRPr>
          </a:p>
          <a:p>
            <a:pPr lvl="0" defTabSz="914400" fontAlgn="base">
              <a:spcBef>
                <a:spcPct val="0"/>
              </a:spcBef>
              <a:spcAft>
                <a:spcPts val="1000"/>
              </a:spcAft>
            </a:pPr>
            <a:endParaRPr kumimoji="0" lang="en-US" sz="1200" b="1" u="none" strike="noStrike" cap="none" normalizeH="0" dirty="0">
              <a:ln>
                <a:noFill/>
              </a:ln>
              <a:solidFill>
                <a:srgbClr val="FFFFFF"/>
              </a:solidFill>
              <a:effectLst/>
              <a:latin typeface="Arial"/>
              <a:ea typeface="Times New Roman" pitchFamily="-111" charset="0"/>
              <a:cs typeface="Arial"/>
            </a:endParaRPr>
          </a:p>
        </p:txBody>
      </p:sp>
      <p:cxnSp>
        <p:nvCxnSpPr>
          <p:cNvPr id="149" name="Straight Connector 148"/>
          <p:cNvCxnSpPr/>
          <p:nvPr/>
        </p:nvCxnSpPr>
        <p:spPr>
          <a:xfrm>
            <a:off x="107504" y="2280977"/>
            <a:ext cx="8919331" cy="0"/>
          </a:xfrm>
          <a:prstGeom prst="line">
            <a:avLst/>
          </a:prstGeom>
          <a:ln w="3175"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sp>
        <p:nvSpPr>
          <p:cNvPr id="150" name="Text Box 61"/>
          <p:cNvSpPr txBox="1">
            <a:spLocks noChangeArrowheads="1"/>
          </p:cNvSpPr>
          <p:nvPr/>
        </p:nvSpPr>
        <p:spPr bwMode="auto">
          <a:xfrm>
            <a:off x="140296" y="1921337"/>
            <a:ext cx="2188036" cy="28763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defTabSz="914400" fontAlgn="base">
              <a:spcBef>
                <a:spcPct val="0"/>
              </a:spcBef>
              <a:spcAft>
                <a:spcPts val="1000"/>
              </a:spcAft>
            </a:pPr>
            <a:r>
              <a:rPr lang="fr-FR" sz="1200" dirty="0" smtClean="0">
                <a:solidFill>
                  <a:srgbClr val="FFFFFF"/>
                </a:solidFill>
                <a:latin typeface="Arial"/>
                <a:cs typeface="Arial"/>
              </a:rPr>
              <a:t>Chile</a:t>
            </a:r>
            <a:endParaRPr kumimoji="0" lang="en-US" sz="1200" u="none" strike="noStrike" cap="none" normalizeH="0" dirty="0">
              <a:ln>
                <a:noFill/>
              </a:ln>
              <a:solidFill>
                <a:srgbClr val="FFFFFF"/>
              </a:solidFill>
              <a:effectLst/>
              <a:latin typeface="Arial"/>
              <a:ea typeface="Times New Roman" pitchFamily="-111" charset="0"/>
              <a:cs typeface="Arial"/>
            </a:endParaRPr>
          </a:p>
        </p:txBody>
      </p:sp>
      <p:sp>
        <p:nvSpPr>
          <p:cNvPr id="151" name="Oval 40"/>
          <p:cNvSpPr>
            <a:spLocks noChangeArrowheads="1"/>
          </p:cNvSpPr>
          <p:nvPr/>
        </p:nvSpPr>
        <p:spPr bwMode="auto">
          <a:xfrm>
            <a:off x="2431988" y="1999173"/>
            <a:ext cx="171174"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100" b="0" i="0" u="none" strike="noStrike" cap="none" normalizeH="0" baseline="0">
              <a:ln>
                <a:noFill/>
              </a:ln>
              <a:solidFill>
                <a:srgbClr val="FFFFFF"/>
              </a:solidFill>
              <a:effectLst/>
              <a:latin typeface="Arial"/>
              <a:ea typeface="Times New Roman" pitchFamily="-111" charset="0"/>
              <a:cs typeface="Arial"/>
            </a:endParaRPr>
          </a:p>
        </p:txBody>
      </p:sp>
      <p:sp>
        <p:nvSpPr>
          <p:cNvPr id="152" name="Oval 151"/>
          <p:cNvSpPr>
            <a:spLocks noChangeArrowheads="1"/>
          </p:cNvSpPr>
          <p:nvPr/>
        </p:nvSpPr>
        <p:spPr bwMode="auto">
          <a:xfrm>
            <a:off x="3747648" y="2007057"/>
            <a:ext cx="171174"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sp>
        <p:nvSpPr>
          <p:cNvPr id="153" name="Oval 152"/>
          <p:cNvSpPr>
            <a:spLocks noChangeArrowheads="1"/>
          </p:cNvSpPr>
          <p:nvPr/>
        </p:nvSpPr>
        <p:spPr bwMode="auto">
          <a:xfrm>
            <a:off x="5273306" y="1962149"/>
            <a:ext cx="171174"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cxnSp>
        <p:nvCxnSpPr>
          <p:cNvPr id="154" name="Straight Connector 153"/>
          <p:cNvCxnSpPr>
            <a:cxnSpLocks noChangeShapeType="1"/>
          </p:cNvCxnSpPr>
          <p:nvPr/>
        </p:nvCxnSpPr>
        <p:spPr bwMode="auto">
          <a:xfrm flipV="1">
            <a:off x="3906754" y="2033573"/>
            <a:ext cx="1475144" cy="19586"/>
          </a:xfrm>
          <a:prstGeom prst="line">
            <a:avLst/>
          </a:prstGeom>
          <a:noFill/>
          <a:ln w="9525">
            <a:solidFill>
              <a:schemeClr val="bg1"/>
            </a:solidFill>
            <a:round/>
            <a:headEnd/>
            <a:tailEnd/>
          </a:ln>
        </p:spPr>
      </p:cxnSp>
      <p:cxnSp>
        <p:nvCxnSpPr>
          <p:cNvPr id="155" name="Straight Connector 154"/>
          <p:cNvCxnSpPr/>
          <p:nvPr/>
        </p:nvCxnSpPr>
        <p:spPr>
          <a:xfrm>
            <a:off x="107504" y="912825"/>
            <a:ext cx="8919331" cy="0"/>
          </a:xfrm>
          <a:prstGeom prst="line">
            <a:avLst/>
          </a:prstGeom>
          <a:ln w="3175"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sp>
        <p:nvSpPr>
          <p:cNvPr id="156" name="Oval 40"/>
          <p:cNvSpPr>
            <a:spLocks noChangeArrowheads="1"/>
          </p:cNvSpPr>
          <p:nvPr/>
        </p:nvSpPr>
        <p:spPr bwMode="auto">
          <a:xfrm>
            <a:off x="2411760" y="696801"/>
            <a:ext cx="171174"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100" b="0" i="0" u="none" strike="noStrike" cap="none" normalizeH="0" baseline="0">
              <a:ln>
                <a:noFill/>
              </a:ln>
              <a:solidFill>
                <a:srgbClr val="FFFFFF"/>
              </a:solidFill>
              <a:effectLst/>
              <a:latin typeface="Arial"/>
              <a:ea typeface="Times New Roman" pitchFamily="-111" charset="0"/>
              <a:cs typeface="Arial"/>
            </a:endParaRPr>
          </a:p>
        </p:txBody>
      </p:sp>
      <p:sp>
        <p:nvSpPr>
          <p:cNvPr id="157" name="Text Box 61"/>
          <p:cNvSpPr txBox="1">
            <a:spLocks noChangeArrowheads="1"/>
          </p:cNvSpPr>
          <p:nvPr/>
        </p:nvSpPr>
        <p:spPr bwMode="auto">
          <a:xfrm>
            <a:off x="151716" y="624793"/>
            <a:ext cx="2188036" cy="28763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defTabSz="914400" fontAlgn="base">
              <a:spcBef>
                <a:spcPct val="0"/>
              </a:spcBef>
              <a:spcAft>
                <a:spcPts val="1000"/>
              </a:spcAft>
            </a:pPr>
            <a:r>
              <a:rPr lang="fr-FR" sz="1200" dirty="0" smtClean="0">
                <a:solidFill>
                  <a:srgbClr val="FFFFFF"/>
                </a:solidFill>
                <a:latin typeface="Arial"/>
                <a:cs typeface="Arial"/>
              </a:rPr>
              <a:t>Colombia, </a:t>
            </a:r>
            <a:r>
              <a:rPr lang="fr-FR" sz="1200" b="1" dirty="0" smtClean="0">
                <a:solidFill>
                  <a:srgbClr val="FFFFFF"/>
                </a:solidFill>
                <a:latin typeface="Arial"/>
                <a:cs typeface="Arial"/>
              </a:rPr>
              <a:t>South Africa</a:t>
            </a:r>
            <a:endParaRPr kumimoji="0" lang="en-US" sz="1200" b="1" u="none" strike="noStrike" cap="none" normalizeH="0" dirty="0">
              <a:ln>
                <a:noFill/>
              </a:ln>
              <a:solidFill>
                <a:srgbClr val="FFFFFF"/>
              </a:solidFill>
              <a:effectLst/>
              <a:latin typeface="Arial"/>
              <a:ea typeface="Times New Roman" pitchFamily="-111" charset="0"/>
              <a:cs typeface="Arial"/>
            </a:endParaRPr>
          </a:p>
        </p:txBody>
      </p:sp>
      <p:sp>
        <p:nvSpPr>
          <p:cNvPr id="158" name="Oval 40"/>
          <p:cNvSpPr>
            <a:spLocks noChangeArrowheads="1"/>
          </p:cNvSpPr>
          <p:nvPr/>
        </p:nvSpPr>
        <p:spPr bwMode="auto">
          <a:xfrm>
            <a:off x="6948264" y="1128849"/>
            <a:ext cx="172065" cy="142848"/>
          </a:xfrm>
          <a:prstGeom prst="ellipse">
            <a:avLst/>
          </a:prstGeom>
          <a:solidFill>
            <a:srgbClr val="FFFFFF"/>
          </a:solidFill>
          <a:ln w="9525">
            <a:solidFill>
              <a:schemeClr val="bg1"/>
            </a:solidFill>
            <a:round/>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a:ln>
                <a:noFill/>
              </a:ln>
              <a:solidFill>
                <a:srgbClr val="FFFFFF"/>
              </a:solidFill>
              <a:effectLst/>
              <a:latin typeface="Times New Roman" pitchFamily="-111" charset="0"/>
              <a:ea typeface="Times New Roman" pitchFamily="-111" charset="0"/>
            </a:endParaRPr>
          </a:p>
        </p:txBody>
      </p:sp>
      <p:pic>
        <p:nvPicPr>
          <p:cNvPr id="159" name="Picture 158"/>
          <p:cNvPicPr>
            <a:picLocks noChangeAspect="1"/>
          </p:cNvPicPr>
          <p:nvPr/>
        </p:nvPicPr>
        <p:blipFill>
          <a:blip r:embed="rId2"/>
          <a:stretch>
            <a:fillRect/>
          </a:stretch>
        </p:blipFill>
        <p:spPr>
          <a:xfrm>
            <a:off x="8168318" y="6485466"/>
            <a:ext cx="975682" cy="372533"/>
          </a:xfrm>
          <a:prstGeom prst="rect">
            <a:avLst/>
          </a:prstGeom>
        </p:spPr>
      </p:pic>
    </p:spTree>
    <p:extLst>
      <p:ext uri="{BB962C8B-B14F-4D97-AF65-F5344CB8AC3E}">
        <p14:creationId xmlns:p14="http://schemas.microsoft.com/office/powerpoint/2010/main" val="191513355"/>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Text Box 4"/>
          <p:cNvSpPr txBox="1">
            <a:spLocks noChangeArrowheads="1"/>
          </p:cNvSpPr>
          <p:nvPr/>
        </p:nvSpPr>
        <p:spPr bwMode="auto">
          <a:xfrm>
            <a:off x="1" y="0"/>
            <a:ext cx="9143999" cy="646331"/>
          </a:xfrm>
          <a:prstGeom prst="rect">
            <a:avLst/>
          </a:prstGeom>
          <a:noFill/>
          <a:ln w="9525">
            <a:noFill/>
            <a:miter lim="800000"/>
            <a:headEnd/>
            <a:tailEnd/>
          </a:ln>
        </p:spPr>
        <p:txBody>
          <a:bodyPr wrap="square">
            <a:spAutoFit/>
          </a:bodyPr>
          <a:lstStyle/>
          <a:p>
            <a:pPr algn="ctr">
              <a:spcBef>
                <a:spcPct val="50000"/>
              </a:spcBef>
            </a:pPr>
            <a:r>
              <a:rPr lang="en-US" sz="3600" dirty="0" smtClean="0">
                <a:solidFill>
                  <a:srgbClr val="FFFF00"/>
                </a:solidFill>
                <a:ea typeface="ヒラギノ角ゴ Pro W3"/>
                <a:cs typeface="ヒラギノ角ゴ Pro W3"/>
              </a:rPr>
              <a:t>ART initiation for asymptomatic people</a:t>
            </a:r>
            <a:endParaRPr lang="en-US" sz="3600" dirty="0">
              <a:solidFill>
                <a:srgbClr val="FFFF00"/>
              </a:solidFill>
              <a:ea typeface="ヒラギノ角ゴ Pro W3"/>
              <a:cs typeface="ヒラギノ角ゴ Pro W3"/>
            </a:endParaRPr>
          </a:p>
        </p:txBody>
      </p:sp>
      <p:graphicFrame>
        <p:nvGraphicFramePr>
          <p:cNvPr id="10" name="Table 9"/>
          <p:cNvGraphicFramePr>
            <a:graphicFrameLocks noGrp="1"/>
          </p:cNvGraphicFramePr>
          <p:nvPr>
            <p:extLst>
              <p:ext uri="{D42A27DB-BD31-4B8C-83A1-F6EECF244321}">
                <p14:modId xmlns:p14="http://schemas.microsoft.com/office/powerpoint/2010/main" val="597982022"/>
              </p:ext>
            </p:extLst>
          </p:nvPr>
        </p:nvGraphicFramePr>
        <p:xfrm>
          <a:off x="67734" y="643466"/>
          <a:ext cx="8991599" cy="5771934"/>
        </p:xfrm>
        <a:graphic>
          <a:graphicData uri="http://schemas.openxmlformats.org/drawingml/2006/table">
            <a:tbl>
              <a:tblPr/>
              <a:tblGrid>
                <a:gridCol w="1388538"/>
                <a:gridCol w="880533"/>
                <a:gridCol w="1100666"/>
                <a:gridCol w="5621862"/>
              </a:tblGrid>
              <a:tr h="372533">
                <a:tc>
                  <a:txBody>
                    <a:bodyPr/>
                    <a:lstStyle/>
                    <a:p>
                      <a:pPr algn="ctr" fontAlgn="b"/>
                      <a:r>
                        <a:rPr lang="en-US" sz="1400" b="1" i="0" u="none" strike="noStrike" dirty="0" smtClean="0">
                          <a:solidFill>
                            <a:srgbClr val="FFFFFF"/>
                          </a:solidFill>
                          <a:effectLst/>
                          <a:latin typeface="Arial"/>
                          <a:cs typeface="Arial"/>
                        </a:rPr>
                        <a:t>ART initiation criteria</a:t>
                      </a:r>
                      <a:endParaRPr lang="en-US" sz="1400" b="1" i="0" u="none" strike="noStrike" dirty="0">
                        <a:solidFill>
                          <a:srgbClr val="FFFFFF"/>
                        </a:solidFill>
                        <a:effectLst/>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US" sz="1400" b="1" i="0" u="none" strike="noStrike" dirty="0" smtClean="0">
                          <a:solidFill>
                            <a:srgbClr val="FFFFFF"/>
                          </a:solidFill>
                          <a:effectLst/>
                          <a:latin typeface="Arial"/>
                          <a:cs typeface="Arial"/>
                        </a:rPr>
                        <a:t>No.</a:t>
                      </a:r>
                      <a:r>
                        <a:rPr lang="en-US" sz="1400" b="1" i="0" u="none" strike="noStrike" baseline="0" dirty="0" smtClean="0">
                          <a:solidFill>
                            <a:srgbClr val="FFFFFF"/>
                          </a:solidFill>
                          <a:effectLst/>
                          <a:latin typeface="Arial"/>
                          <a:cs typeface="Arial"/>
                        </a:rPr>
                        <a:t> of Countries</a:t>
                      </a:r>
                      <a:endParaRPr lang="en-US" sz="1400" b="1" i="0" u="none" strike="noStrike" dirty="0">
                        <a:solidFill>
                          <a:srgbClr val="FFFFFF"/>
                        </a:solidFill>
                        <a:effectLst/>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C0504D"/>
                    </a:solidFill>
                  </a:tcPr>
                </a:tc>
                <a:tc>
                  <a:txBody>
                    <a:bodyPr/>
                    <a:lstStyle/>
                    <a:p>
                      <a:pPr algn="ctr" fontAlgn="b"/>
                      <a:r>
                        <a:rPr lang="en-US" sz="1400" b="1" i="0" u="none" strike="noStrike" dirty="0" smtClean="0">
                          <a:solidFill>
                            <a:srgbClr val="FFFFFF"/>
                          </a:solidFill>
                          <a:effectLst/>
                          <a:latin typeface="Arial"/>
                          <a:cs typeface="Arial"/>
                        </a:rPr>
                        <a:t>People with</a:t>
                      </a:r>
                      <a:r>
                        <a:rPr lang="en-US" sz="1400" b="1" i="0" u="none" strike="noStrike" baseline="0" dirty="0" smtClean="0">
                          <a:solidFill>
                            <a:srgbClr val="FFFFFF"/>
                          </a:solidFill>
                          <a:effectLst/>
                          <a:latin typeface="Arial"/>
                          <a:cs typeface="Arial"/>
                        </a:rPr>
                        <a:t> HIV (2015)</a:t>
                      </a:r>
                      <a:endParaRPr lang="en-US" sz="1400" b="1" i="0" u="none" strike="noStrike" dirty="0">
                        <a:solidFill>
                          <a:srgbClr val="FFFFFF"/>
                        </a:solidFill>
                        <a:effectLst/>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C0504D"/>
                    </a:solidFill>
                  </a:tcPr>
                </a:tc>
                <a:tc>
                  <a:txBody>
                    <a:bodyPr/>
                    <a:lstStyle/>
                    <a:p>
                      <a:pPr algn="ctr" fontAlgn="b"/>
                      <a:r>
                        <a:rPr lang="en-US" sz="1400" b="1" i="0" u="none" strike="noStrike" dirty="0" smtClean="0">
                          <a:solidFill>
                            <a:srgbClr val="FFFFFF"/>
                          </a:solidFill>
                          <a:effectLst/>
                          <a:latin typeface="Arial"/>
                          <a:cs typeface="Arial"/>
                        </a:rPr>
                        <a:t>Countries</a:t>
                      </a:r>
                      <a:endParaRPr lang="en-US" sz="1400" b="1" i="0" u="none" strike="noStrike" dirty="0">
                        <a:solidFill>
                          <a:srgbClr val="FFFFFF"/>
                        </a:solidFill>
                        <a:effectLst/>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C0504D"/>
                    </a:solidFill>
                  </a:tcPr>
                </a:tc>
              </a:tr>
              <a:tr h="1474049">
                <a:tc>
                  <a:txBody>
                    <a:bodyPr/>
                    <a:lstStyle/>
                    <a:p>
                      <a:pPr algn="ctr"/>
                      <a:r>
                        <a:rPr lang="en-US" sz="1300" dirty="0" smtClean="0">
                          <a:solidFill>
                            <a:schemeClr val="bg1"/>
                          </a:solidFill>
                          <a:latin typeface="Arial"/>
                          <a:cs typeface="Arial"/>
                        </a:rPr>
                        <a:t>Irrespective of CD4 count</a:t>
                      </a:r>
                      <a:endParaRPr lang="en-US" sz="1300" dirty="0">
                        <a:solidFill>
                          <a:schemeClr val="bg1"/>
                        </a:solidFill>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Calibri" charset="0"/>
                          <a:ea typeface="ＭＳ Ｐゴシック" charset="0"/>
                          <a:cs typeface="ＭＳ Ｐゴシック" charset="0"/>
                        </a:rPr>
                        <a:t>48</a:t>
                      </a:r>
                      <a:endParaRPr kumimoji="0" lang="en-US" sz="1400" b="1" i="0" u="none" strike="noStrike" cap="none" normalizeH="0" baseline="0" dirty="0">
                        <a:ln>
                          <a:noFill/>
                        </a:ln>
                        <a:solidFill>
                          <a:schemeClr val="bg1"/>
                        </a:solidFill>
                        <a:effectLst/>
                        <a:latin typeface="Calibri" charset="0"/>
                        <a:ea typeface="ＭＳ Ｐゴシック" charset="0"/>
                        <a:cs typeface="ＭＳ Ｐゴシック" charset="0"/>
                      </a:endParaRPr>
                    </a:p>
                  </a:txBody>
                  <a:tcPr marL="12700" marR="12700" marT="12696" marB="0" anchor="ctr" horzOverflow="overflow">
                    <a:lnL w="12700" cap="flat" cmpd="sng" algn="ctr">
                      <a:solidFill>
                        <a:srgbClr val="FFFFFF"/>
                      </a:solidFill>
                      <a:prstDash val="solid"/>
                      <a:round/>
                      <a:headEnd type="none" w="med" len="med"/>
                      <a:tailEnd type="none" w="med" len="med"/>
                    </a:lnL>
                    <a:lnR w="12700" cap="flat" cmpd="sng" algn="ctr">
                      <a:solidFill>
                        <a:prstClr val="white"/>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23,132,000 (63%</a:t>
                      </a:r>
                      <a:r>
                        <a:rPr kumimoji="0" lang="en-US" sz="1300" b="0" i="0" u="none" strike="noStrike" cap="none" normalizeH="0" baseline="0" dirty="0">
                          <a:ln>
                            <a:noFill/>
                          </a:ln>
                          <a:solidFill>
                            <a:schemeClr val="bg1"/>
                          </a:solidFill>
                          <a:effectLst/>
                          <a:latin typeface="Arial" charset="0"/>
                          <a:ea typeface="ＭＳ Ｐゴシック" charset="0"/>
                          <a:cs typeface="Arial" charset="0"/>
                        </a:rPr>
                        <a:t>)</a:t>
                      </a:r>
                    </a:p>
                  </a:txBody>
                  <a:tcPr marL="12700" marR="12700" marT="12696" marB="0" anchor="ctr" horzOverflow="overflow">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 Argentina, Australia</a:t>
                      </a:r>
                      <a:r>
                        <a:rPr kumimoji="0" lang="en-US" sz="1300" b="0" i="0" u="none" strike="noStrike" cap="none" normalizeH="0" baseline="0" dirty="0">
                          <a:ln>
                            <a:noFill/>
                          </a:ln>
                          <a:solidFill>
                            <a:schemeClr val="bg1"/>
                          </a:solidFill>
                          <a:effectLst/>
                          <a:latin typeface="Arial" charset="0"/>
                          <a:ea typeface="ＭＳ Ｐゴシック" charset="0"/>
                          <a:cs typeface="Arial" charset="0"/>
                        </a:rPr>
                        <a:t>, </a:t>
                      </a: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Austria, Botswana, Brazil, </a:t>
                      </a:r>
                      <a:r>
                        <a:rPr lang="en-US" sz="1300" dirty="0" smtClean="0">
                          <a:solidFill>
                            <a:schemeClr val="bg1"/>
                          </a:solidFill>
                          <a:latin typeface="Arial"/>
                          <a:cs typeface="Arial"/>
                        </a:rPr>
                        <a:t>Burundi, </a:t>
                      </a: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Cambodia, China, Croatia, Denmark, France</a:t>
                      </a:r>
                      <a:r>
                        <a:rPr kumimoji="0" lang="en-US" sz="1300" b="0" i="0" u="none" strike="noStrike" cap="none" normalizeH="0" baseline="0" dirty="0">
                          <a:ln>
                            <a:noFill/>
                          </a:ln>
                          <a:solidFill>
                            <a:schemeClr val="bg1"/>
                          </a:solidFill>
                          <a:effectLst/>
                          <a:latin typeface="Arial" charset="0"/>
                          <a:ea typeface="ＭＳ Ｐゴシック" charset="0"/>
                          <a:cs typeface="Arial" charset="0"/>
                        </a:rPr>
                        <a:t>, </a:t>
                      </a: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Georgia, Germany</a:t>
                      </a: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 Haiti, </a:t>
                      </a:r>
                      <a:r>
                        <a:rPr lang="en-US" sz="1300" baseline="0" dirty="0" smtClean="0">
                          <a:solidFill>
                            <a:srgbClr val="FFFFFF"/>
                          </a:solidFill>
                          <a:latin typeface="Arial"/>
                          <a:cs typeface="Arial"/>
                        </a:rPr>
                        <a:t>India, </a:t>
                      </a: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Italy, Jamaica, Japan, Kenya, Korea (Republic), </a:t>
                      </a:r>
                      <a:r>
                        <a:rPr lang="en-US" sz="1200" dirty="0" smtClean="0">
                          <a:solidFill>
                            <a:srgbClr val="FFFFFF"/>
                          </a:solidFill>
                          <a:latin typeface="Arial"/>
                          <a:cs typeface="Arial"/>
                        </a:rPr>
                        <a:t>Lao PDR, </a:t>
                      </a:r>
                      <a:r>
                        <a:rPr lang="en-US" sz="1300" dirty="0" smtClean="0">
                          <a:solidFill>
                            <a:srgbClr val="FFFFFF"/>
                          </a:solidFill>
                          <a:latin typeface="Arial"/>
                          <a:cs typeface="Arial"/>
                        </a:rPr>
                        <a:t>Lesotho, Malawi, </a:t>
                      </a: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Malaysia, Maldives, Mexico, Montenegro, Mozambique, </a:t>
                      </a:r>
                      <a:r>
                        <a:rPr lang="en-US" sz="1300" dirty="0" smtClean="0">
                          <a:solidFill>
                            <a:srgbClr val="FFFFFF"/>
                          </a:solidFill>
                          <a:latin typeface="Arial"/>
                          <a:cs typeface="Arial"/>
                        </a:rPr>
                        <a:t>Namibia, </a:t>
                      </a: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Netherlands, Norway, Papua New Guinea, Poland, Portugal, </a:t>
                      </a:r>
                      <a:r>
                        <a:rPr lang="en-US" sz="1300" dirty="0" smtClean="0">
                          <a:solidFill>
                            <a:srgbClr val="FFFFFF"/>
                          </a:solidFill>
                          <a:latin typeface="Arial"/>
                          <a:cs typeface="Arial"/>
                        </a:rPr>
                        <a:t>Romania,</a:t>
                      </a:r>
                      <a:r>
                        <a:rPr lang="en-US" sz="1300" baseline="0" dirty="0" smtClean="0">
                          <a:solidFill>
                            <a:srgbClr val="FFFFFF"/>
                          </a:solidFill>
                          <a:latin typeface="Arial"/>
                          <a:cs typeface="Arial"/>
                        </a:rPr>
                        <a:t> Rwanda, </a:t>
                      </a:r>
                      <a:r>
                        <a:rPr lang="en-US" sz="1300" dirty="0" smtClean="0">
                          <a:solidFill>
                            <a:srgbClr val="FFFFFF"/>
                          </a:solidFill>
                          <a:latin typeface="Arial"/>
                          <a:cs typeface="Arial"/>
                        </a:rPr>
                        <a:t>South Africa, </a:t>
                      </a: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Spain</a:t>
                      </a:r>
                      <a:r>
                        <a:rPr kumimoji="0" lang="en-US" sz="1300" b="0" i="0" u="none" strike="noStrike" cap="none" normalizeH="0" baseline="0" dirty="0">
                          <a:ln>
                            <a:noFill/>
                          </a:ln>
                          <a:solidFill>
                            <a:srgbClr val="FFFFFF"/>
                          </a:solidFill>
                          <a:effectLst/>
                          <a:latin typeface="Arial" charset="0"/>
                          <a:ea typeface="ＭＳ Ｐゴシック" charset="0"/>
                          <a:cs typeface="Arial" charset="0"/>
                        </a:rPr>
                        <a:t>, </a:t>
                      </a:r>
                      <a:r>
                        <a:rPr lang="en-US" sz="1300" baseline="0" dirty="0" smtClean="0">
                          <a:solidFill>
                            <a:srgbClr val="FFFFFF"/>
                          </a:solidFill>
                          <a:latin typeface="Arial"/>
                          <a:cs typeface="Arial"/>
                        </a:rPr>
                        <a:t>Sri Lanka, </a:t>
                      </a: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Sweden, Switzerland, Thailand</a:t>
                      </a:r>
                      <a:r>
                        <a:rPr kumimoji="0" lang="en-US" sz="1300" b="0" i="0" u="none" strike="noStrike" cap="none" normalizeH="0" baseline="0" dirty="0">
                          <a:ln>
                            <a:noFill/>
                          </a:ln>
                          <a:solidFill>
                            <a:srgbClr val="FFFFFF"/>
                          </a:solidFill>
                          <a:effectLst/>
                          <a:latin typeface="Arial" charset="0"/>
                          <a:ea typeface="ＭＳ Ｐゴシック" charset="0"/>
                          <a:cs typeface="Arial" charset="0"/>
                        </a:rPr>
                        <a:t>, </a:t>
                      </a: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Turkey, </a:t>
                      </a:r>
                      <a:r>
                        <a:rPr lang="en-US" sz="1300" baseline="0" dirty="0" smtClean="0">
                          <a:solidFill>
                            <a:srgbClr val="FFFFFF"/>
                          </a:solidFill>
                          <a:latin typeface="Arial"/>
                          <a:cs typeface="Arial"/>
                        </a:rPr>
                        <a:t>Uganda,</a:t>
                      </a:r>
                      <a:r>
                        <a:rPr lang="en-US" sz="1300" dirty="0" smtClean="0">
                          <a:solidFill>
                            <a:srgbClr val="FFFFFF"/>
                          </a:solidFill>
                          <a:latin typeface="Arial"/>
                          <a:cs typeface="Arial"/>
                        </a:rPr>
                        <a:t> </a:t>
                      </a: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United Kingdom, US, </a:t>
                      </a:r>
                      <a:r>
                        <a:rPr lang="en-US" sz="1300" baseline="0" dirty="0" smtClean="0">
                          <a:solidFill>
                            <a:srgbClr val="FFFFFF"/>
                          </a:solidFill>
                          <a:latin typeface="Arial"/>
                          <a:cs typeface="Arial"/>
                        </a:rPr>
                        <a:t>Zambia, Zimbabwe</a:t>
                      </a:r>
                      <a:endParaRPr kumimoji="0" lang="en-US" sz="1300" b="0" i="0" u="none" strike="noStrike" cap="none" normalizeH="0" baseline="0" dirty="0">
                        <a:ln>
                          <a:noFill/>
                        </a:ln>
                        <a:solidFill>
                          <a:srgbClr val="FFFFFF"/>
                        </a:solidFill>
                        <a:effectLst/>
                        <a:latin typeface="Arial" charset="0"/>
                        <a:ea typeface="ＭＳ Ｐゴシック" charset="0"/>
                        <a:cs typeface="Arial" charset="0"/>
                      </a:endParaRPr>
                    </a:p>
                  </a:txBody>
                  <a:tcPr marL="12700" marR="12700" marT="12696" marB="0" anchor="ctr" horzOverflow="overflow">
                    <a:lnL w="12700" cap="flat" cmpd="sng" algn="ctr">
                      <a:solidFill>
                        <a:prstClr val="white"/>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r>
              <a:tr h="270896">
                <a:tc>
                  <a:txBody>
                    <a:bodyPr/>
                    <a:lstStyle/>
                    <a:p>
                      <a:pPr algn="ctr"/>
                      <a:r>
                        <a:rPr lang="en-US" sz="1300" dirty="0" smtClean="0">
                          <a:solidFill>
                            <a:schemeClr val="bg1"/>
                          </a:solidFill>
                          <a:latin typeface="Arial"/>
                          <a:cs typeface="Arial"/>
                        </a:rPr>
                        <a:t>Consider for &gt;500</a:t>
                      </a:r>
                      <a:endParaRPr lang="en-US" sz="1300" dirty="0">
                        <a:solidFill>
                          <a:schemeClr val="bg1"/>
                        </a:solidFill>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FFFFFF"/>
                          </a:solidFill>
                          <a:effectLst/>
                          <a:latin typeface="Calibri" charset="0"/>
                          <a:ea typeface="ＭＳ Ｐゴシック" charset="0"/>
                          <a:cs typeface="ＭＳ Ｐゴシック" charset="0"/>
                        </a:rPr>
                        <a:t>5</a:t>
                      </a:r>
                    </a:p>
                  </a:txBody>
                  <a:tcPr marL="12700" marR="12700" marT="12696"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284,000 (0.8%</a:t>
                      </a:r>
                      <a:r>
                        <a:rPr kumimoji="0" lang="en-US" sz="1300" b="0" i="0" u="none" strike="noStrike" cap="none" normalizeH="0" baseline="0" dirty="0">
                          <a:ln>
                            <a:noFill/>
                          </a:ln>
                          <a:solidFill>
                            <a:srgbClr val="FFFFFF"/>
                          </a:solidFill>
                          <a:effectLst/>
                          <a:latin typeface="Arial" charset="0"/>
                          <a:ea typeface="ＭＳ Ｐゴシック" charset="0"/>
                          <a:cs typeface="Arial" charset="0"/>
                        </a:rPr>
                        <a:t>)</a:t>
                      </a:r>
                    </a:p>
                  </a:txBody>
                  <a:tcPr marL="12700" marR="12700" marT="12696"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lang="en-US" sz="1300" dirty="0" smtClean="0">
                          <a:solidFill>
                            <a:srgbClr val="FFFFFF"/>
                          </a:solidFill>
                          <a:latin typeface="Arial"/>
                          <a:cs typeface="Arial"/>
                        </a:rPr>
                        <a:t>Colombia,</a:t>
                      </a:r>
                      <a:r>
                        <a:rPr lang="en-US" sz="1300" baseline="0" dirty="0" smtClean="0">
                          <a:solidFill>
                            <a:srgbClr val="FFFFFF"/>
                          </a:solidFill>
                          <a:latin typeface="Arial"/>
                          <a:cs typeface="Arial"/>
                        </a:rPr>
                        <a:t> </a:t>
                      </a:r>
                      <a:r>
                        <a:rPr kumimoji="0" lang="en-US" sz="1300" b="0" i="0" u="none" strike="noStrike" cap="none" normalizeH="0" baseline="0" dirty="0" smtClean="0">
                          <a:ln>
                            <a:noFill/>
                          </a:ln>
                          <a:solidFill>
                            <a:srgbClr val="FFFF00"/>
                          </a:solidFill>
                          <a:effectLst/>
                          <a:latin typeface="Arial" charset="0"/>
                          <a:ea typeface="ＭＳ Ｐゴシック" charset="0"/>
                          <a:cs typeface="Arial" charset="0"/>
                        </a:rPr>
                        <a:t>Greece, </a:t>
                      </a: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Guyana</a:t>
                      </a:r>
                      <a:r>
                        <a:rPr kumimoji="0" lang="en-US" sz="1300" b="0" i="0" u="none" strike="noStrike" cap="none" normalizeH="0" baseline="0" dirty="0">
                          <a:ln>
                            <a:noFill/>
                          </a:ln>
                          <a:solidFill>
                            <a:srgbClr val="FFFFFF"/>
                          </a:solidFill>
                          <a:effectLst/>
                          <a:latin typeface="Arial" charset="0"/>
                          <a:ea typeface="ＭＳ Ｐゴシック" charset="0"/>
                          <a:cs typeface="Arial" charset="0"/>
                        </a:rPr>
                        <a:t>, Hong </a:t>
                      </a: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Kong, </a:t>
                      </a:r>
                      <a:r>
                        <a:rPr lang="en-US" sz="1300" baseline="0" dirty="0" smtClean="0">
                          <a:solidFill>
                            <a:srgbClr val="FFFFFF"/>
                          </a:solidFill>
                          <a:latin typeface="Arial"/>
                          <a:cs typeface="Arial"/>
                        </a:rPr>
                        <a:t>Venezuela</a:t>
                      </a:r>
                      <a:endParaRPr kumimoji="0" lang="en-US" sz="1300" b="0" i="0" u="none" strike="noStrike" cap="none" normalizeH="0" baseline="0" dirty="0" smtClean="0">
                        <a:ln>
                          <a:noFill/>
                        </a:ln>
                        <a:solidFill>
                          <a:srgbClr val="FFFFFF"/>
                        </a:solidFill>
                        <a:effectLst/>
                        <a:latin typeface="Arial" charset="0"/>
                        <a:ea typeface="ＭＳ Ｐゴシック" charset="0"/>
                        <a:cs typeface="Arial" charset="0"/>
                      </a:endParaRPr>
                    </a:p>
                  </a:txBody>
                  <a:tcPr marL="12700" marR="12700" marT="12696" marB="0" anchor="ctr" horzOverflow="overflow">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r>
              <a:tr h="1116764">
                <a:tc>
                  <a:txBody>
                    <a:bodyPr/>
                    <a:lstStyle/>
                    <a:p>
                      <a:pPr algn="ctr"/>
                      <a:r>
                        <a:rPr lang="en-US" sz="1300" dirty="0" smtClean="0">
                          <a:solidFill>
                            <a:schemeClr val="bg1"/>
                          </a:solidFill>
                          <a:latin typeface="Arial"/>
                          <a:cs typeface="Arial"/>
                        </a:rPr>
                        <a:t>≤500</a:t>
                      </a:r>
                      <a:endParaRPr lang="en-US" sz="1300" dirty="0">
                        <a:solidFill>
                          <a:schemeClr val="bg1"/>
                        </a:solidFill>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FFFFFF"/>
                          </a:solidFill>
                          <a:effectLst/>
                          <a:latin typeface="Calibri" charset="0"/>
                          <a:ea typeface="ＭＳ Ｐゴシック" charset="0"/>
                          <a:cs typeface="ＭＳ Ｐゴシック" charset="0"/>
                        </a:rPr>
                        <a:t>33</a:t>
                      </a:r>
                      <a:endParaRPr kumimoji="0" lang="en-US" sz="1400" b="1" i="0" u="none" strike="noStrike" cap="none" normalizeH="0" baseline="0" dirty="0">
                        <a:ln>
                          <a:noFill/>
                        </a:ln>
                        <a:solidFill>
                          <a:srgbClr val="FFFFFF"/>
                        </a:solidFill>
                        <a:effectLst/>
                        <a:latin typeface="Calibri" charset="0"/>
                        <a:ea typeface="ＭＳ Ｐゴシック" charset="0"/>
                        <a:cs typeface="ＭＳ Ｐゴシック" charset="0"/>
                      </a:endParaRPr>
                    </a:p>
                  </a:txBody>
                  <a:tcPr marL="12700" marR="12700" marT="12696"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9,811,000 (27%</a:t>
                      </a:r>
                      <a:r>
                        <a:rPr kumimoji="0" lang="en-US" sz="1300" b="0" i="0" u="none" strike="noStrike" cap="none" normalizeH="0" baseline="0" dirty="0">
                          <a:ln>
                            <a:noFill/>
                          </a:ln>
                          <a:solidFill>
                            <a:srgbClr val="FFFFFF"/>
                          </a:solidFill>
                          <a:effectLst/>
                          <a:latin typeface="Arial" charset="0"/>
                          <a:ea typeface="ＭＳ Ｐゴシック" charset="0"/>
                          <a:cs typeface="Arial" charset="0"/>
                        </a:rPr>
                        <a:t>)</a:t>
                      </a:r>
                    </a:p>
                  </a:txBody>
                  <a:tcPr marL="12700" marR="12700" marT="12696"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0" i="0" u="none" strike="noStrike" cap="none" normalizeH="0" baseline="0" dirty="0">
                          <a:ln>
                            <a:noFill/>
                          </a:ln>
                          <a:solidFill>
                            <a:srgbClr val="FFFFFF"/>
                          </a:solidFill>
                          <a:effectLst/>
                          <a:latin typeface="Arial" charset="0"/>
                          <a:ea typeface="ＭＳ Ｐゴシック" charset="0"/>
                          <a:cs typeface="Arial" charset="0"/>
                        </a:rPr>
                        <a:t> </a:t>
                      </a:r>
                      <a:r>
                        <a:rPr lang="en-US" sz="1300" dirty="0" smtClean="0">
                          <a:solidFill>
                            <a:srgbClr val="FFFFFF"/>
                          </a:solidFill>
                          <a:latin typeface="Arial"/>
                          <a:cs typeface="Arial"/>
                        </a:rPr>
                        <a:t>Algeria, Bangladesh, Bhutan, Bolivia, </a:t>
                      </a:r>
                      <a:r>
                        <a:rPr lang="en-US" sz="1300" dirty="0" smtClean="0">
                          <a:solidFill>
                            <a:srgbClr val="FFFF00"/>
                          </a:solidFill>
                          <a:latin typeface="Arial"/>
                          <a:cs typeface="Arial"/>
                        </a:rPr>
                        <a:t>Cameroon, </a:t>
                      </a:r>
                      <a:r>
                        <a:rPr lang="en-US" sz="1300" dirty="0" smtClean="0">
                          <a:solidFill>
                            <a:srgbClr val="FFFFFF"/>
                          </a:solidFill>
                          <a:latin typeface="Arial"/>
                          <a:cs typeface="Arial"/>
                        </a:rPr>
                        <a:t>Chile, </a:t>
                      </a:r>
                      <a:r>
                        <a:rPr lang="en-US" sz="1300" baseline="0" dirty="0" smtClean="0">
                          <a:solidFill>
                            <a:srgbClr val="FFFF00"/>
                          </a:solidFill>
                          <a:latin typeface="Arial"/>
                          <a:cs typeface="Arial"/>
                        </a:rPr>
                        <a:t>Democratic Republic of Congo</a:t>
                      </a:r>
                      <a:r>
                        <a:rPr lang="en-US" sz="1300" baseline="0" dirty="0" smtClean="0">
                          <a:solidFill>
                            <a:srgbClr val="FFFFFF"/>
                          </a:solidFill>
                          <a:latin typeface="Arial"/>
                          <a:cs typeface="Arial"/>
                        </a:rPr>
                        <a:t>, Ecuador, El Salvador, </a:t>
                      </a:r>
                      <a:r>
                        <a:rPr lang="en-US" sz="1300" dirty="0" smtClean="0">
                          <a:solidFill>
                            <a:srgbClr val="FFFF00"/>
                          </a:solidFill>
                          <a:latin typeface="Arial"/>
                          <a:cs typeface="Arial"/>
                        </a:rPr>
                        <a:t>Ethiopia,</a:t>
                      </a:r>
                      <a:r>
                        <a:rPr lang="en-US" sz="1300" dirty="0" smtClean="0">
                          <a:solidFill>
                            <a:srgbClr val="FFFFFF"/>
                          </a:solidFill>
                          <a:latin typeface="Arial"/>
                          <a:cs typeface="Arial"/>
                        </a:rPr>
                        <a:t> </a:t>
                      </a:r>
                      <a:r>
                        <a:rPr lang="en-US" sz="1300" baseline="0" dirty="0" smtClean="0">
                          <a:solidFill>
                            <a:srgbClr val="FFFF00"/>
                          </a:solidFill>
                          <a:latin typeface="Arial"/>
                          <a:cs typeface="Arial"/>
                        </a:rPr>
                        <a:t>Fiji</a:t>
                      </a:r>
                      <a:r>
                        <a:rPr lang="en-US" sz="1300" baseline="0" dirty="0" smtClean="0">
                          <a:solidFill>
                            <a:srgbClr val="FFFFFF"/>
                          </a:solidFill>
                          <a:latin typeface="Arial"/>
                          <a:cs typeface="Arial"/>
                        </a:rPr>
                        <a:t>, </a:t>
                      </a:r>
                      <a:r>
                        <a:rPr lang="en-US" sz="1300" dirty="0" smtClean="0">
                          <a:solidFill>
                            <a:srgbClr val="FFFFFF"/>
                          </a:solidFill>
                          <a:latin typeface="Arial"/>
                          <a:cs typeface="Arial"/>
                        </a:rPr>
                        <a:t>Gabon, </a:t>
                      </a:r>
                      <a:r>
                        <a:rPr lang="en-US" sz="1300" baseline="0" dirty="0" smtClean="0">
                          <a:solidFill>
                            <a:srgbClr val="FFFFFF"/>
                          </a:solidFill>
                          <a:latin typeface="Arial"/>
                          <a:cs typeface="Arial"/>
                        </a:rPr>
                        <a:t>Honduras, Liberia, Madagascar, Mali, </a:t>
                      </a:r>
                      <a:r>
                        <a:rPr lang="en-US" sz="1300" dirty="0" smtClean="0">
                          <a:solidFill>
                            <a:srgbClr val="FFFFFF"/>
                          </a:solidFill>
                          <a:latin typeface="Arial"/>
                          <a:cs typeface="Arial"/>
                        </a:rPr>
                        <a:t>Mauritania, </a:t>
                      </a: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Moldova, </a:t>
                      </a:r>
                      <a:r>
                        <a:rPr lang="en-US" sz="1300" baseline="0" dirty="0" smtClean="0">
                          <a:solidFill>
                            <a:srgbClr val="FFFF00"/>
                          </a:solidFill>
                          <a:latin typeface="Arial"/>
                          <a:cs typeface="Arial"/>
                        </a:rPr>
                        <a:t>Myanmar</a:t>
                      </a:r>
                      <a:r>
                        <a:rPr lang="en-US" sz="1300" baseline="0" dirty="0" smtClean="0">
                          <a:solidFill>
                            <a:srgbClr val="FFFFFF"/>
                          </a:solidFill>
                          <a:latin typeface="Arial"/>
                          <a:cs typeface="Arial"/>
                        </a:rPr>
                        <a:t>, </a:t>
                      </a:r>
                      <a:r>
                        <a:rPr lang="en-US" sz="1300" dirty="0" smtClean="0">
                          <a:solidFill>
                            <a:srgbClr val="FFFFFF"/>
                          </a:solidFill>
                          <a:latin typeface="Arial"/>
                          <a:cs typeface="Arial"/>
                        </a:rPr>
                        <a:t>Nepal, </a:t>
                      </a:r>
                      <a:r>
                        <a:rPr kumimoji="0" lang="en-US" sz="1300" b="0" i="0" u="none" strike="noStrike" cap="none" normalizeH="0" baseline="0" dirty="0" smtClean="0">
                          <a:ln>
                            <a:noFill/>
                          </a:ln>
                          <a:solidFill>
                            <a:srgbClr val="FFFF00"/>
                          </a:solidFill>
                          <a:effectLst/>
                          <a:latin typeface="Arial" charset="0"/>
                          <a:ea typeface="ＭＳ Ｐゴシック" charset="0"/>
                          <a:cs typeface="Arial" charset="0"/>
                        </a:rPr>
                        <a:t>Nigeria, </a:t>
                      </a:r>
                      <a:r>
                        <a:rPr lang="en-US" sz="1300" dirty="0" smtClean="0">
                          <a:solidFill>
                            <a:srgbClr val="FFFFFF"/>
                          </a:solidFill>
                          <a:latin typeface="Arial"/>
                          <a:cs typeface="Arial"/>
                        </a:rPr>
                        <a:t>Oman, </a:t>
                      </a: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Pakistan, </a:t>
                      </a: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Peru, </a:t>
                      </a: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Russia, </a:t>
                      </a:r>
                      <a:r>
                        <a:rPr lang="en-US" sz="1300" baseline="0" dirty="0" smtClean="0">
                          <a:solidFill>
                            <a:srgbClr val="FFFFFF"/>
                          </a:solidFill>
                          <a:latin typeface="Arial"/>
                          <a:cs typeface="Arial"/>
                        </a:rPr>
                        <a:t>South Sudan, Sudan, </a:t>
                      </a:r>
                      <a:r>
                        <a:rPr lang="en-US" sz="1300" dirty="0" smtClean="0">
                          <a:solidFill>
                            <a:srgbClr val="FFFFFF"/>
                          </a:solidFill>
                          <a:latin typeface="Arial"/>
                          <a:cs typeface="Arial"/>
                        </a:rPr>
                        <a:t>Swaziland, </a:t>
                      </a:r>
                      <a:r>
                        <a:rPr lang="en-US" sz="1300" baseline="0" dirty="0" smtClean="0">
                          <a:solidFill>
                            <a:srgbClr val="FFFFFF"/>
                          </a:solidFill>
                          <a:latin typeface="Arial"/>
                          <a:cs typeface="Arial"/>
                        </a:rPr>
                        <a:t>Tanzania</a:t>
                      </a:r>
                      <a:r>
                        <a:rPr lang="en-US" sz="1300" dirty="0" smtClean="0">
                          <a:solidFill>
                            <a:srgbClr val="FFFFFF"/>
                          </a:solidFill>
                          <a:latin typeface="Arial"/>
                          <a:cs typeface="Arial"/>
                        </a:rPr>
                        <a:t>, </a:t>
                      </a:r>
                      <a:r>
                        <a:rPr lang="en-US" sz="1300" baseline="0" dirty="0" smtClean="0">
                          <a:solidFill>
                            <a:srgbClr val="FFFFFF"/>
                          </a:solidFill>
                          <a:latin typeface="Arial"/>
                          <a:cs typeface="Arial"/>
                        </a:rPr>
                        <a:t>Tunisia</a:t>
                      </a:r>
                      <a:r>
                        <a:rPr lang="en-US" sz="1300" baseline="0" dirty="0" smtClean="0">
                          <a:solidFill>
                            <a:schemeClr val="bg1">
                              <a:lumMod val="95000"/>
                            </a:schemeClr>
                          </a:solidFill>
                          <a:latin typeface="Arial"/>
                          <a:cs typeface="Arial"/>
                        </a:rPr>
                        <a:t>, </a:t>
                      </a:r>
                      <a:r>
                        <a:rPr kumimoji="0" lang="en-US" sz="1300" b="0" i="0" u="none" strike="noStrike" cap="none" normalizeH="0" baseline="0" dirty="0" smtClean="0">
                          <a:ln>
                            <a:noFill/>
                          </a:ln>
                          <a:solidFill>
                            <a:schemeClr val="bg1">
                              <a:lumMod val="95000"/>
                            </a:schemeClr>
                          </a:solidFill>
                          <a:effectLst/>
                          <a:latin typeface="Arial" charset="0"/>
                          <a:ea typeface="ＭＳ Ｐゴシック" charset="0"/>
                          <a:cs typeface="Arial" charset="0"/>
                        </a:rPr>
                        <a:t>Ukraine</a:t>
                      </a: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 </a:t>
                      </a:r>
                      <a:r>
                        <a:rPr lang="en-US" sz="1300" dirty="0" smtClean="0">
                          <a:solidFill>
                            <a:srgbClr val="FFFFFF"/>
                          </a:solidFill>
                          <a:latin typeface="Arial"/>
                          <a:cs typeface="Arial"/>
                        </a:rPr>
                        <a:t>Uruguay, </a:t>
                      </a: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Viet Nam</a:t>
                      </a:r>
                      <a:endParaRPr lang="en-US" sz="1300" b="1" dirty="0">
                        <a:solidFill>
                          <a:srgbClr val="FFFF00"/>
                        </a:solidFill>
                        <a:latin typeface="Arial"/>
                        <a:cs typeface="Arial"/>
                      </a:endParaRPr>
                    </a:p>
                  </a:txBody>
                  <a:tcPr marL="12700" marR="12700" marT="12696" marB="0" anchor="ctr" horzOverflow="overflow">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r>
              <a:tr h="49364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300" dirty="0" smtClean="0">
                          <a:solidFill>
                            <a:schemeClr val="bg1"/>
                          </a:solidFill>
                          <a:latin typeface="Arial"/>
                          <a:cs typeface="Arial"/>
                        </a:rPr>
                        <a:t>≤350 (consider for CD4 ≤ 500)</a:t>
                      </a:r>
                    </a:p>
                  </a:txBody>
                  <a:tcPr marL="12700" marR="12700" marT="12698" marB="0" anchor="ctr">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algn="ctr"/>
                      <a:r>
                        <a:rPr lang="en-US" sz="1600" b="1" dirty="0" smtClean="0">
                          <a:solidFill>
                            <a:schemeClr val="bg1"/>
                          </a:solidFill>
                        </a:rPr>
                        <a:t>5</a:t>
                      </a:r>
                      <a:endParaRPr lang="en-US" sz="1600" b="1" dirty="0">
                        <a:solidFill>
                          <a:schemeClr val="bg1"/>
                        </a:solidFill>
                      </a:endParaRPr>
                    </a:p>
                  </a:txBody>
                  <a:tcPr marL="12700" marR="12700" marT="126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178,000 (0.5%</a:t>
                      </a:r>
                      <a:r>
                        <a:rPr kumimoji="0" lang="en-US" sz="1300" b="0" i="0" u="none" strike="noStrike" cap="none" normalizeH="0" baseline="0" dirty="0">
                          <a:ln>
                            <a:noFill/>
                          </a:ln>
                          <a:solidFill>
                            <a:schemeClr val="bg1"/>
                          </a:solidFill>
                          <a:effectLst/>
                          <a:latin typeface="Arial" charset="0"/>
                          <a:ea typeface="ＭＳ Ｐゴシック" charset="0"/>
                          <a:cs typeface="Arial" charset="0"/>
                        </a:rPr>
                        <a:t>)</a:t>
                      </a:r>
                    </a:p>
                  </a:txBody>
                  <a:tcPr marL="12701" marR="12701" marT="12696"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300" dirty="0" smtClean="0">
                          <a:solidFill>
                            <a:srgbClr val="FFFF00"/>
                          </a:solidFill>
                          <a:latin typeface="Arial"/>
                          <a:cs typeface="Arial"/>
                        </a:rPr>
                        <a:t>Belize</a:t>
                      </a:r>
                      <a:r>
                        <a:rPr lang="en-US" sz="1300" dirty="0" smtClean="0">
                          <a:solidFill>
                            <a:schemeClr val="bg1"/>
                          </a:solidFill>
                          <a:latin typeface="Arial"/>
                          <a:cs typeface="Arial"/>
                        </a:rPr>
                        <a:t>, </a:t>
                      </a:r>
                      <a:r>
                        <a:rPr lang="en-US" sz="1300" dirty="0" smtClean="0">
                          <a:solidFill>
                            <a:srgbClr val="FFFF00"/>
                          </a:solidFill>
                          <a:latin typeface="Arial"/>
                          <a:cs typeface="Arial"/>
                        </a:rPr>
                        <a:t>Costa Rica, Finland, </a:t>
                      </a:r>
                      <a:r>
                        <a:rPr lang="en-US" sz="1300" dirty="0" smtClean="0">
                          <a:solidFill>
                            <a:schemeClr val="bg1"/>
                          </a:solidFill>
                          <a:latin typeface="Arial"/>
                          <a:cs typeface="Arial"/>
                        </a:rPr>
                        <a:t>Guinea, </a:t>
                      </a:r>
                      <a:r>
                        <a:rPr lang="en-US" sz="1200" dirty="0" smtClean="0">
                          <a:solidFill>
                            <a:schemeClr val="bg1"/>
                          </a:solidFill>
                          <a:latin typeface="Arial"/>
                          <a:cs typeface="Arial"/>
                        </a:rPr>
                        <a:t>Philippines</a:t>
                      </a:r>
                      <a:endParaRPr lang="en-US" sz="1300" dirty="0">
                        <a:solidFill>
                          <a:schemeClr val="bg1"/>
                        </a:solidFill>
                        <a:latin typeface="Arial"/>
                        <a:cs typeface="Arial"/>
                      </a:endParaRPr>
                    </a:p>
                  </a:txBody>
                  <a:tcPr marL="12700" marR="12700" marT="12698" marB="0" anchor="ctr">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r>
              <a:tr h="781435">
                <a:tc>
                  <a:txBody>
                    <a:bodyPr/>
                    <a:lstStyle/>
                    <a:p>
                      <a:pPr algn="ctr"/>
                      <a:r>
                        <a:rPr lang="en-US" sz="1300" dirty="0" smtClean="0">
                          <a:solidFill>
                            <a:schemeClr val="bg1"/>
                          </a:solidFill>
                          <a:latin typeface="Arial"/>
                          <a:cs typeface="Arial"/>
                        </a:rPr>
                        <a:t>≤350</a:t>
                      </a:r>
                      <a:endParaRPr lang="en-US" sz="1300" dirty="0">
                        <a:solidFill>
                          <a:schemeClr val="bg1"/>
                        </a:solidFill>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Calibri" charset="0"/>
                          <a:ea typeface="ＭＳ Ｐゴシック" charset="0"/>
                          <a:cs typeface="ＭＳ Ｐゴシック" charset="0"/>
                        </a:rPr>
                        <a:t>24</a:t>
                      </a:r>
                      <a:endParaRPr kumimoji="0" lang="en-US" sz="1400" b="1" i="0" u="none" strike="noStrike" cap="none" normalizeH="0" baseline="0" dirty="0">
                        <a:ln>
                          <a:noFill/>
                        </a:ln>
                        <a:solidFill>
                          <a:schemeClr val="bg1"/>
                        </a:solidFill>
                        <a:effectLst/>
                        <a:latin typeface="Calibri" charset="0"/>
                        <a:ea typeface="ＭＳ Ｐゴシック" charset="0"/>
                        <a:cs typeface="ＭＳ Ｐゴシック" charset="0"/>
                      </a:endParaRPr>
                    </a:p>
                  </a:txBody>
                  <a:tcPr marL="12700" marR="12700" marT="12696"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2,309,600 (6%</a:t>
                      </a:r>
                      <a:r>
                        <a:rPr kumimoji="0" lang="en-US" sz="1300" b="0" i="0" u="none" strike="noStrike" cap="none" normalizeH="0" baseline="0" dirty="0">
                          <a:ln>
                            <a:noFill/>
                          </a:ln>
                          <a:solidFill>
                            <a:schemeClr val="bg1"/>
                          </a:solidFill>
                          <a:effectLst/>
                          <a:latin typeface="Arial" charset="0"/>
                          <a:ea typeface="ＭＳ Ｐゴシック" charset="0"/>
                          <a:cs typeface="Arial" charset="0"/>
                        </a:rPr>
                        <a:t>)</a:t>
                      </a:r>
                    </a:p>
                  </a:txBody>
                  <a:tcPr marL="12700" marR="12700" marT="12696"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sz="1300" dirty="0" smtClean="0">
                          <a:solidFill>
                            <a:srgbClr val="FFFFFF"/>
                          </a:solidFill>
                          <a:latin typeface="Arial"/>
                          <a:cs typeface="Arial"/>
                        </a:rPr>
                        <a:t>Afghanistan</a:t>
                      </a:r>
                      <a:r>
                        <a:rPr lang="en-US" sz="1200" dirty="0" smtClean="0">
                          <a:solidFill>
                            <a:srgbClr val="FFFFFF"/>
                          </a:solidFill>
                          <a:latin typeface="Arial"/>
                          <a:cs typeface="Arial"/>
                        </a:rPr>
                        <a:t>,</a:t>
                      </a: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 Angola</a:t>
                      </a:r>
                      <a:r>
                        <a:rPr kumimoji="0" lang="en-US" sz="1300" b="0" i="0" u="none" strike="noStrike" cap="none" normalizeH="0" baseline="0" dirty="0">
                          <a:ln>
                            <a:noFill/>
                          </a:ln>
                          <a:solidFill>
                            <a:schemeClr val="bg1"/>
                          </a:solidFill>
                          <a:effectLst/>
                          <a:latin typeface="Arial" charset="0"/>
                          <a:ea typeface="ＭＳ Ｐゴシック" charset="0"/>
                          <a:cs typeface="Arial" charset="0"/>
                        </a:rPr>
                        <a:t>, Benin, </a:t>
                      </a: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Burkina </a:t>
                      </a:r>
                      <a:r>
                        <a:rPr kumimoji="0" lang="en-US" sz="1300" b="0" i="0" u="none" strike="noStrike" cap="none" normalizeH="0" baseline="0" dirty="0">
                          <a:ln>
                            <a:noFill/>
                          </a:ln>
                          <a:solidFill>
                            <a:schemeClr val="bg1"/>
                          </a:solidFill>
                          <a:effectLst/>
                          <a:latin typeface="Arial" charset="0"/>
                          <a:ea typeface="ＭＳ Ｐゴシック" charset="0"/>
                          <a:cs typeface="Arial" charset="0"/>
                        </a:rPr>
                        <a:t>Faso, </a:t>
                      </a: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Canada</a:t>
                      </a:r>
                      <a:r>
                        <a:rPr kumimoji="0" lang="en-US" sz="1300" b="0" i="0" u="none" strike="noStrike" cap="none" normalizeH="0" baseline="0" dirty="0">
                          <a:ln>
                            <a:noFill/>
                          </a:ln>
                          <a:solidFill>
                            <a:schemeClr val="bg1"/>
                          </a:solidFill>
                          <a:effectLst/>
                          <a:latin typeface="Arial" charset="0"/>
                          <a:ea typeface="ＭＳ Ｐゴシック" charset="0"/>
                          <a:cs typeface="Arial" charset="0"/>
                        </a:rPr>
                        <a:t>, </a:t>
                      </a: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Cote </a:t>
                      </a:r>
                      <a:r>
                        <a:rPr kumimoji="0" lang="en-US" sz="1300" b="0" i="0" u="none" strike="noStrike" cap="none" normalizeH="0" baseline="0" dirty="0">
                          <a:ln>
                            <a:noFill/>
                          </a:ln>
                          <a:solidFill>
                            <a:schemeClr val="bg1"/>
                          </a:solidFill>
                          <a:effectLst/>
                          <a:latin typeface="Arial" charset="0"/>
                          <a:ea typeface="ＭＳ Ｐゴシック" charset="0"/>
                          <a:cs typeface="Arial" charset="0"/>
                        </a:rPr>
                        <a:t>d</a:t>
                      </a:r>
                      <a:r>
                        <a:rPr kumimoji="0" lang="ja-JP" altLang="en-US" sz="1300" b="0" i="0" u="none" strike="noStrike" cap="none" normalizeH="0" baseline="0" dirty="0">
                          <a:ln>
                            <a:noFill/>
                          </a:ln>
                          <a:solidFill>
                            <a:schemeClr val="bg1"/>
                          </a:solidFill>
                          <a:effectLst/>
                          <a:latin typeface="Arial" charset="0"/>
                          <a:ea typeface="ＭＳ Ｐゴシック" charset="0"/>
                          <a:cs typeface="Arial" charset="0"/>
                        </a:rPr>
                        <a:t>’</a:t>
                      </a:r>
                      <a:r>
                        <a:rPr kumimoji="0" lang="en-US" sz="1300" b="0" i="0" u="none" strike="noStrike" cap="none" normalizeH="0" baseline="0" dirty="0" err="1">
                          <a:ln>
                            <a:noFill/>
                          </a:ln>
                          <a:solidFill>
                            <a:schemeClr val="bg1"/>
                          </a:solidFill>
                          <a:effectLst/>
                          <a:latin typeface="Arial" charset="0"/>
                          <a:ea typeface="ＭＳ Ｐゴシック" charset="0"/>
                          <a:cs typeface="Arial" charset="0"/>
                        </a:rPr>
                        <a:t>Ivoire</a:t>
                      </a:r>
                      <a:r>
                        <a:rPr kumimoji="0" lang="en-US" sz="1300" b="0" i="0" u="none" strike="noStrike" cap="none" normalizeH="0" baseline="0" dirty="0">
                          <a:ln>
                            <a:noFill/>
                          </a:ln>
                          <a:solidFill>
                            <a:schemeClr val="bg1"/>
                          </a:solidFill>
                          <a:effectLst/>
                          <a:latin typeface="Arial" charset="0"/>
                          <a:ea typeface="ＭＳ Ｐゴシック" charset="0"/>
                          <a:cs typeface="Arial" charset="0"/>
                        </a:rPr>
                        <a:t>, </a:t>
                      </a: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Djibouti</a:t>
                      </a:r>
                      <a:r>
                        <a:rPr kumimoji="0" lang="en-US" sz="1300" b="0" i="0" u="none" strike="noStrike" cap="none" normalizeH="0" baseline="0" dirty="0">
                          <a:ln>
                            <a:noFill/>
                          </a:ln>
                          <a:solidFill>
                            <a:schemeClr val="bg1"/>
                          </a:solidFill>
                          <a:effectLst/>
                          <a:latin typeface="Arial" charset="0"/>
                          <a:ea typeface="ＭＳ Ｐゴシック" charset="0"/>
                          <a:cs typeface="Arial" charset="0"/>
                        </a:rPr>
                        <a:t>, </a:t>
                      </a:r>
                      <a:r>
                        <a:rPr kumimoji="0" lang="en-US" sz="1300" b="0" i="0" u="none" strike="noStrike" cap="none" normalizeH="0" baseline="0" dirty="0">
                          <a:ln>
                            <a:noFill/>
                          </a:ln>
                          <a:solidFill>
                            <a:srgbClr val="FFFF00"/>
                          </a:solidFill>
                          <a:effectLst/>
                          <a:latin typeface="Arial" charset="0"/>
                          <a:ea typeface="ＭＳ Ｐゴシック" charset="0"/>
                          <a:cs typeface="Arial" charset="0"/>
                        </a:rPr>
                        <a:t>Dominican Republic</a:t>
                      </a:r>
                      <a:r>
                        <a:rPr kumimoji="0" lang="en-US" sz="1300" b="0" i="0" u="none" strike="noStrike" cap="none" normalizeH="0" baseline="0" dirty="0">
                          <a:ln>
                            <a:noFill/>
                          </a:ln>
                          <a:solidFill>
                            <a:schemeClr val="bg1"/>
                          </a:solidFill>
                          <a:effectLst/>
                          <a:latin typeface="Arial" charset="0"/>
                          <a:ea typeface="ＭＳ Ｐゴシック" charset="0"/>
                          <a:cs typeface="Arial" charset="0"/>
                        </a:rPr>
                        <a:t>, Ghana, </a:t>
                      </a:r>
                      <a:r>
                        <a:rPr kumimoji="0" lang="en-US" sz="1300" b="0" i="0" u="none" strike="noStrike" cap="none" normalizeH="0" baseline="0" dirty="0">
                          <a:ln>
                            <a:noFill/>
                          </a:ln>
                          <a:solidFill>
                            <a:srgbClr val="FFFF00"/>
                          </a:solidFill>
                          <a:effectLst/>
                          <a:latin typeface="Arial" charset="0"/>
                          <a:ea typeface="ＭＳ Ｐゴシック" charset="0"/>
                          <a:cs typeface="Arial" charset="0"/>
                        </a:rPr>
                        <a:t>Guatemala, </a:t>
                      </a: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Indonesia</a:t>
                      </a:r>
                      <a:r>
                        <a:rPr kumimoji="0" lang="en-US" sz="1300" b="0" i="0" u="none" strike="noStrike" cap="none" normalizeH="0" baseline="0" dirty="0">
                          <a:ln>
                            <a:noFill/>
                          </a:ln>
                          <a:solidFill>
                            <a:schemeClr val="bg1"/>
                          </a:solidFill>
                          <a:effectLst/>
                          <a:latin typeface="Arial" charset="0"/>
                          <a:ea typeface="ＭＳ Ｐゴシック" charset="0"/>
                          <a:cs typeface="Arial" charset="0"/>
                        </a:rPr>
                        <a:t>, </a:t>
                      </a: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Kazakhstan</a:t>
                      </a:r>
                      <a:r>
                        <a:rPr kumimoji="0" lang="en-US" sz="1300" b="0" i="0" u="none" strike="noStrike" cap="none" normalizeH="0" baseline="0" dirty="0">
                          <a:ln>
                            <a:noFill/>
                          </a:ln>
                          <a:solidFill>
                            <a:schemeClr val="bg1"/>
                          </a:solidFill>
                          <a:effectLst/>
                          <a:latin typeface="Arial" charset="0"/>
                          <a:ea typeface="ＭＳ Ｐゴシック" charset="0"/>
                          <a:cs typeface="Arial" charset="0"/>
                        </a:rPr>
                        <a:t>, </a:t>
                      </a: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Latvia, Marshall Islands, </a:t>
                      </a:r>
                      <a:r>
                        <a:rPr kumimoji="0" lang="en-US" sz="1300" b="0" i="0" u="none" strike="noStrike" cap="none" normalizeH="0" baseline="0" dirty="0" smtClean="0">
                          <a:ln>
                            <a:noFill/>
                          </a:ln>
                          <a:solidFill>
                            <a:srgbClr val="FFFF00"/>
                          </a:solidFill>
                          <a:effectLst/>
                          <a:latin typeface="Arial" charset="0"/>
                          <a:ea typeface="ＭＳ Ｐゴシック" charset="0"/>
                          <a:cs typeface="Arial" charset="0"/>
                        </a:rPr>
                        <a:t>Morocco</a:t>
                      </a:r>
                      <a:r>
                        <a:rPr kumimoji="0" lang="en-US" sz="1300" b="0" i="0" u="none" strike="noStrike" cap="none" normalizeH="0" baseline="0" dirty="0">
                          <a:ln>
                            <a:noFill/>
                          </a:ln>
                          <a:solidFill>
                            <a:schemeClr val="bg1"/>
                          </a:solidFill>
                          <a:effectLst/>
                          <a:latin typeface="Arial" charset="0"/>
                          <a:ea typeface="ＭＳ Ｐゴシック" charset="0"/>
                          <a:cs typeface="Arial" charset="0"/>
                        </a:rPr>
                        <a:t>, </a:t>
                      </a: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Nicaragua</a:t>
                      </a:r>
                      <a:r>
                        <a:rPr kumimoji="0" lang="en-US" sz="1300" b="0" i="0" u="none" strike="noStrike" cap="none" normalizeH="0" baseline="0" dirty="0">
                          <a:ln>
                            <a:noFill/>
                          </a:ln>
                          <a:solidFill>
                            <a:schemeClr val="bg1"/>
                          </a:solidFill>
                          <a:effectLst/>
                          <a:latin typeface="Arial" charset="0"/>
                          <a:ea typeface="ＭＳ Ｐゴシック" charset="0"/>
                          <a:cs typeface="Arial" charset="0"/>
                        </a:rPr>
                        <a:t>, Niger, </a:t>
                      </a:r>
                      <a:r>
                        <a:rPr kumimoji="0" lang="en-US" sz="1300" b="0" i="0" u="none" strike="noStrike" cap="none" normalizeH="0" baseline="0" dirty="0" smtClean="0">
                          <a:ln>
                            <a:noFill/>
                          </a:ln>
                          <a:solidFill>
                            <a:srgbClr val="FFFF00"/>
                          </a:solidFill>
                          <a:effectLst/>
                          <a:latin typeface="Arial" charset="0"/>
                          <a:ea typeface="ＭＳ Ｐゴシック" charset="0"/>
                          <a:cs typeface="Arial" charset="0"/>
                        </a:rPr>
                        <a:t>Panama</a:t>
                      </a: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 Paraguay</a:t>
                      </a:r>
                      <a:r>
                        <a:rPr kumimoji="0" lang="en-US" sz="1300" b="0" i="0" u="none" strike="noStrike" cap="none" normalizeH="0" baseline="0" dirty="0">
                          <a:ln>
                            <a:noFill/>
                          </a:ln>
                          <a:solidFill>
                            <a:schemeClr val="bg1"/>
                          </a:solidFill>
                          <a:effectLst/>
                          <a:latin typeface="Arial" charset="0"/>
                          <a:ea typeface="ＭＳ Ｐゴシック" charset="0"/>
                          <a:cs typeface="Arial" charset="0"/>
                        </a:rPr>
                        <a:t>, </a:t>
                      </a: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Samoa, Sierra </a:t>
                      </a:r>
                      <a:r>
                        <a:rPr kumimoji="0" lang="en-US" sz="1300" b="0" i="0" u="none" strike="noStrike" cap="none" normalizeH="0" baseline="0" dirty="0">
                          <a:ln>
                            <a:noFill/>
                          </a:ln>
                          <a:solidFill>
                            <a:schemeClr val="bg1"/>
                          </a:solidFill>
                          <a:effectLst/>
                          <a:latin typeface="Arial" charset="0"/>
                          <a:ea typeface="ＭＳ Ｐゴシック" charset="0"/>
                          <a:cs typeface="Arial" charset="0"/>
                        </a:rPr>
                        <a:t>Leone</a:t>
                      </a: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 </a:t>
                      </a:r>
                      <a:r>
                        <a:rPr kumimoji="0" lang="en-US" sz="1300" b="0" i="0" u="none" strike="noStrike" cap="none" normalizeH="0" baseline="0" dirty="0" smtClean="0">
                          <a:ln>
                            <a:noFill/>
                          </a:ln>
                          <a:solidFill>
                            <a:srgbClr val="FFFF00"/>
                          </a:solidFill>
                          <a:effectLst/>
                          <a:latin typeface="Arial" charset="0"/>
                          <a:ea typeface="ＭＳ Ｐゴシック" charset="0"/>
                          <a:cs typeface="Arial" charset="0"/>
                        </a:rPr>
                        <a:t>Timor-Leste</a:t>
                      </a: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 Tuvalu, </a:t>
                      </a:r>
                      <a:r>
                        <a:rPr kumimoji="0" lang="en-US" sz="1300" b="0" i="0" u="none" strike="noStrike" cap="none" normalizeH="0" baseline="0" dirty="0" smtClean="0">
                          <a:ln>
                            <a:noFill/>
                          </a:ln>
                          <a:solidFill>
                            <a:srgbClr val="FFFF00"/>
                          </a:solidFill>
                          <a:effectLst/>
                          <a:latin typeface="Arial" charset="0"/>
                          <a:ea typeface="ＭＳ Ｐゴシック" charset="0"/>
                          <a:cs typeface="Arial" charset="0"/>
                        </a:rPr>
                        <a:t>Vanuatu</a:t>
                      </a:r>
                      <a:endParaRPr kumimoji="0" lang="en-US" sz="1300" b="0" i="0" u="none" strike="noStrike" cap="none" normalizeH="0" baseline="0" dirty="0">
                        <a:ln>
                          <a:noFill/>
                        </a:ln>
                        <a:solidFill>
                          <a:srgbClr val="FFFF00"/>
                        </a:solidFill>
                        <a:effectLst/>
                        <a:latin typeface="Arial" charset="0"/>
                        <a:ea typeface="ＭＳ Ｐゴシック" charset="0"/>
                        <a:cs typeface="Arial" charset="0"/>
                      </a:endParaRPr>
                    </a:p>
                  </a:txBody>
                  <a:tcPr marL="12700" marR="12700" marT="12696" marB="0" anchor="ctr" horzOverflow="overflow">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r>
              <a:tr h="304919">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300" dirty="0" smtClean="0">
                          <a:solidFill>
                            <a:schemeClr val="bg1"/>
                          </a:solidFill>
                          <a:latin typeface="Arial"/>
                          <a:cs typeface="Arial"/>
                        </a:rPr>
                        <a:t>≤300</a:t>
                      </a:r>
                    </a:p>
                  </a:txBody>
                  <a:tcPr marL="12700" marR="12700" marT="12698" marB="0" anchor="ctr">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algn="ctr"/>
                      <a:r>
                        <a:rPr lang="en-US" sz="1600" b="1" dirty="0" smtClean="0">
                          <a:solidFill>
                            <a:schemeClr val="bg1"/>
                          </a:solidFill>
                        </a:rPr>
                        <a:t>1</a:t>
                      </a:r>
                      <a:endParaRPr lang="en-US" sz="1600" b="1" dirty="0">
                        <a:solidFill>
                          <a:schemeClr val="bg1"/>
                        </a:solidFill>
                      </a:endParaRPr>
                    </a:p>
                  </a:txBody>
                  <a:tcPr marL="12700" marR="12700" marT="126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300" b="0" i="0" u="none" strike="noStrike" cap="none" normalizeH="0" baseline="0" dirty="0" smtClean="0">
                          <a:ln>
                            <a:noFill/>
                          </a:ln>
                          <a:solidFill>
                            <a:schemeClr val="bg1"/>
                          </a:solidFill>
                          <a:effectLst/>
                          <a:latin typeface="Arial" charset="0"/>
                          <a:ea typeface="ＭＳ Ｐゴシック" charset="0"/>
                          <a:cs typeface="Arial" charset="0"/>
                        </a:rPr>
                        <a:t>200 (&lt;0.1%)</a:t>
                      </a:r>
                      <a:endParaRPr kumimoji="0" lang="en-US" sz="1300" b="0" i="0" u="none" strike="noStrike" cap="none" normalizeH="0" baseline="0" dirty="0">
                        <a:ln>
                          <a:noFill/>
                        </a:ln>
                        <a:solidFill>
                          <a:schemeClr val="bg1"/>
                        </a:solidFill>
                        <a:effectLst/>
                        <a:latin typeface="Arial" charset="0"/>
                        <a:ea typeface="ＭＳ Ｐゴシック" charset="0"/>
                        <a:cs typeface="Arial" charset="0"/>
                      </a:endParaRPr>
                    </a:p>
                  </a:txBody>
                  <a:tcPr marL="12701" marR="12701" marT="12696"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solidFill>
                            <a:srgbClr val="FFFF00"/>
                          </a:solidFill>
                          <a:latin typeface="Arial"/>
                          <a:cs typeface="Arial"/>
                        </a:rPr>
                        <a:t> </a:t>
                      </a:r>
                      <a:r>
                        <a:rPr lang="en-US" sz="1400" dirty="0" smtClean="0">
                          <a:solidFill>
                            <a:schemeClr val="bg1"/>
                          </a:solidFill>
                          <a:latin typeface="Arial"/>
                          <a:cs typeface="Arial"/>
                        </a:rPr>
                        <a:t>Macedonia</a:t>
                      </a:r>
                      <a:endParaRPr lang="en-US" sz="1400" dirty="0">
                        <a:solidFill>
                          <a:schemeClr val="bg1"/>
                        </a:solidFill>
                        <a:latin typeface="Arial"/>
                        <a:cs typeface="Arial"/>
                      </a:endParaRPr>
                    </a:p>
                  </a:txBody>
                  <a:tcPr marL="12700" marR="12700" marT="12698" marB="0" anchor="ctr">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r>
              <a:tr h="395134">
                <a:tc>
                  <a:txBody>
                    <a:bodyPr/>
                    <a:lstStyle/>
                    <a:p>
                      <a:pPr algn="ctr"/>
                      <a:r>
                        <a:rPr lang="en-US" sz="1300" dirty="0" smtClean="0">
                          <a:solidFill>
                            <a:schemeClr val="bg1"/>
                          </a:solidFill>
                          <a:latin typeface="Arial"/>
                          <a:cs typeface="Arial"/>
                        </a:rPr>
                        <a:t>≤200 (consider for CD4 ≤ 350)</a:t>
                      </a:r>
                      <a:endParaRPr lang="en-US" sz="1300" dirty="0">
                        <a:solidFill>
                          <a:schemeClr val="bg1"/>
                        </a:solidFill>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algn="ctr"/>
                      <a:r>
                        <a:rPr lang="en-US" sz="1600" b="1" dirty="0" smtClean="0">
                          <a:solidFill>
                            <a:schemeClr val="bg1"/>
                          </a:solidFill>
                        </a:rPr>
                        <a:t>5</a:t>
                      </a:r>
                      <a:endParaRPr lang="en-US" sz="1600" b="1" dirty="0">
                        <a:solidFill>
                          <a:schemeClr val="bg1"/>
                        </a:solidFill>
                      </a:endParaRPr>
                    </a:p>
                  </a:txBody>
                  <a:tcPr marL="12700" marR="12700" marT="126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66,000 (&lt;0.2%</a:t>
                      </a:r>
                      <a:r>
                        <a:rPr kumimoji="0" lang="en-US" sz="1300" b="0" i="0" u="none" strike="noStrike" cap="none" normalizeH="0" baseline="0" dirty="0">
                          <a:ln>
                            <a:noFill/>
                          </a:ln>
                          <a:solidFill>
                            <a:srgbClr val="FFFFFF"/>
                          </a:solidFill>
                          <a:effectLst/>
                          <a:latin typeface="Arial" charset="0"/>
                          <a:ea typeface="ＭＳ Ｐゴシック" charset="0"/>
                          <a:cs typeface="Arial" charset="0"/>
                        </a:rPr>
                        <a:t>)</a:t>
                      </a:r>
                    </a:p>
                  </a:txBody>
                  <a:tcPr marL="12700" marR="12700" marT="12696"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r>
                        <a:rPr lang="en-US" sz="1400" dirty="0" smtClean="0">
                          <a:solidFill>
                            <a:schemeClr val="bg1"/>
                          </a:solidFill>
                          <a:latin typeface="Arial"/>
                          <a:cs typeface="Arial"/>
                        </a:rPr>
                        <a:t>Belarus, </a:t>
                      </a:r>
                      <a:r>
                        <a:rPr lang="en-US" sz="1400" dirty="0" smtClean="0">
                          <a:solidFill>
                            <a:srgbClr val="FFFF00"/>
                          </a:solidFill>
                          <a:latin typeface="Arial"/>
                          <a:cs typeface="Arial"/>
                        </a:rPr>
                        <a:t>Cape Verde, Cuba, Estonia, Hungary</a:t>
                      </a:r>
                      <a:endParaRPr lang="en-US" sz="1400" dirty="0">
                        <a:solidFill>
                          <a:srgbClr val="FFFF00"/>
                        </a:solidFill>
                        <a:latin typeface="Arial"/>
                        <a:cs typeface="Arial"/>
                      </a:endParaRPr>
                    </a:p>
                  </a:txBody>
                  <a:tcPr marL="12700" marR="12700" marT="12698" marB="0" anchor="ctr">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r>
              <a:tr h="320090">
                <a:tc>
                  <a:txBody>
                    <a:bodyPr/>
                    <a:lstStyle/>
                    <a:p>
                      <a:pPr algn="ctr"/>
                      <a:r>
                        <a:rPr lang="en-US" sz="1300" dirty="0" smtClean="0">
                          <a:solidFill>
                            <a:schemeClr val="bg1"/>
                          </a:solidFill>
                          <a:latin typeface="Arial"/>
                          <a:cs typeface="Arial"/>
                        </a:rPr>
                        <a:t>≤200</a:t>
                      </a:r>
                      <a:endParaRPr lang="en-US" sz="1300" dirty="0">
                        <a:solidFill>
                          <a:schemeClr val="bg1"/>
                        </a:solidFill>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noFill/>
                  </a:tcPr>
                </a:tc>
                <a:tc>
                  <a:txBody>
                    <a:bodyPr/>
                    <a:lstStyle/>
                    <a:p>
                      <a:pPr algn="ctr"/>
                      <a:r>
                        <a:rPr lang="en-US" sz="1600" b="1" dirty="0" smtClean="0">
                          <a:solidFill>
                            <a:schemeClr val="bg1"/>
                          </a:solidFill>
                        </a:rPr>
                        <a:t>2</a:t>
                      </a:r>
                      <a:endParaRPr lang="en-US" sz="1600" b="1" dirty="0">
                        <a:solidFill>
                          <a:schemeClr val="bg1"/>
                        </a:solidFill>
                      </a:endParaRPr>
                    </a:p>
                  </a:txBody>
                  <a:tcPr marL="12700" marR="12700" marT="126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300" b="0" i="0" u="none" strike="noStrike" cap="none" normalizeH="0" baseline="0" dirty="0" smtClean="0">
                          <a:ln>
                            <a:noFill/>
                          </a:ln>
                          <a:solidFill>
                            <a:srgbClr val="FFFFFF"/>
                          </a:solidFill>
                          <a:effectLst/>
                          <a:latin typeface="Arial" charset="0"/>
                          <a:ea typeface="ＭＳ Ｐゴシック" charset="0"/>
                          <a:cs typeface="Arial" charset="0"/>
                        </a:rPr>
                        <a:t>46,500 (0.1%</a:t>
                      </a:r>
                      <a:r>
                        <a:rPr kumimoji="0" lang="en-US" sz="1300" b="0" i="0" u="none" strike="noStrike" cap="none" normalizeH="0" baseline="0" dirty="0">
                          <a:ln>
                            <a:noFill/>
                          </a:ln>
                          <a:solidFill>
                            <a:srgbClr val="FFFFFF"/>
                          </a:solidFill>
                          <a:effectLst/>
                          <a:latin typeface="Arial" charset="0"/>
                          <a:ea typeface="ＭＳ Ｐゴシック" charset="0"/>
                          <a:cs typeface="Arial" charset="0"/>
                        </a:rPr>
                        <a:t>)</a:t>
                      </a:r>
                    </a:p>
                  </a:txBody>
                  <a:tcPr marL="12700" marR="12700" marT="12696"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noFill/>
                  </a:tcPr>
                </a:tc>
                <a:tc>
                  <a:txBody>
                    <a:bodyPr/>
                    <a:lstStyle/>
                    <a:p>
                      <a:r>
                        <a:rPr lang="en-US" sz="1400" dirty="0" smtClean="0">
                          <a:solidFill>
                            <a:srgbClr val="FFFF00"/>
                          </a:solidFill>
                          <a:latin typeface="Arial"/>
                          <a:cs typeface="Arial"/>
                        </a:rPr>
                        <a:t> Comoros, Senegal</a:t>
                      </a:r>
                      <a:endParaRPr lang="en-US" sz="1400" dirty="0">
                        <a:solidFill>
                          <a:srgbClr val="FFFF00"/>
                        </a:solidFill>
                        <a:latin typeface="Arial"/>
                        <a:cs typeface="Arial"/>
                      </a:endParaRPr>
                    </a:p>
                  </a:txBody>
                  <a:tcPr marL="12700" marR="12700" marT="12698" marB="0" anchor="ctr">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noFill/>
                  </a:tcPr>
                </a:tc>
              </a:tr>
            </a:tbl>
          </a:graphicData>
        </a:graphic>
      </p:graphicFrame>
      <p:sp>
        <p:nvSpPr>
          <p:cNvPr id="2" name="Rectangle 1"/>
          <p:cNvSpPr/>
          <p:nvPr/>
        </p:nvSpPr>
        <p:spPr>
          <a:xfrm>
            <a:off x="50800" y="2573865"/>
            <a:ext cx="8991600" cy="3841536"/>
          </a:xfrm>
          <a:prstGeom prst="rect">
            <a:avLst/>
          </a:prstGeom>
          <a:noFill/>
          <a:ln w="7620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Rectangle 4"/>
          <p:cNvSpPr/>
          <p:nvPr/>
        </p:nvSpPr>
        <p:spPr>
          <a:xfrm>
            <a:off x="136795" y="6504752"/>
            <a:ext cx="2165979" cy="307777"/>
          </a:xfrm>
          <a:prstGeom prst="rect">
            <a:avLst/>
          </a:prstGeom>
        </p:spPr>
        <p:txBody>
          <a:bodyPr wrap="none">
            <a:spAutoFit/>
          </a:bodyPr>
          <a:lstStyle/>
          <a:p>
            <a:pPr algn="ctr">
              <a:spcBef>
                <a:spcPct val="50000"/>
              </a:spcBef>
            </a:pPr>
            <a:r>
              <a:rPr lang="en-US" sz="1400" b="1" dirty="0" smtClean="0">
                <a:solidFill>
                  <a:srgbClr val="FFFF00"/>
                </a:solidFill>
                <a:ea typeface="ヒラギノ角ゴ Pro W3"/>
                <a:cs typeface="ヒラギノ角ゴ Pro W3"/>
              </a:rPr>
              <a:t>Source</a:t>
            </a:r>
            <a:r>
              <a:rPr lang="en-US" sz="1400" dirty="0" smtClean="0">
                <a:solidFill>
                  <a:srgbClr val="FFFF00"/>
                </a:solidFill>
                <a:ea typeface="ヒラギノ角ゴ Pro W3"/>
                <a:cs typeface="ヒラギノ角ゴ Pro W3"/>
              </a:rPr>
              <a:t>: published policy</a:t>
            </a:r>
            <a:endParaRPr lang="en-US" sz="1400" dirty="0">
              <a:solidFill>
                <a:srgbClr val="FFFF00"/>
              </a:solidFill>
              <a:ea typeface="ヒラギノ角ゴ Pro W3"/>
              <a:cs typeface="ヒラギノ角ゴ Pro W3"/>
            </a:endParaRPr>
          </a:p>
        </p:txBody>
      </p:sp>
      <p:pic>
        <p:nvPicPr>
          <p:cNvPr id="6" name="Picture 5"/>
          <p:cNvPicPr>
            <a:picLocks noChangeAspect="1"/>
          </p:cNvPicPr>
          <p:nvPr/>
        </p:nvPicPr>
        <p:blipFill>
          <a:blip r:embed="rId3"/>
          <a:stretch>
            <a:fillRect/>
          </a:stretch>
        </p:blipFill>
        <p:spPr>
          <a:xfrm>
            <a:off x="8099349" y="6459133"/>
            <a:ext cx="1044650" cy="398866"/>
          </a:xfrm>
          <a:prstGeom prst="rect">
            <a:avLst/>
          </a:prstGeom>
          <a:ln>
            <a:noFill/>
          </a:ln>
        </p:spPr>
      </p:pic>
    </p:spTree>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3" name="Group 562"/>
          <p:cNvGrpSpPr/>
          <p:nvPr/>
        </p:nvGrpSpPr>
        <p:grpSpPr>
          <a:xfrm>
            <a:off x="256105" y="755460"/>
            <a:ext cx="8701627" cy="5688000"/>
            <a:chOff x="256105" y="755460"/>
            <a:chExt cx="8701627" cy="5688000"/>
          </a:xfrm>
        </p:grpSpPr>
        <p:sp>
          <p:nvSpPr>
            <p:cNvPr id="560" name="Rectangle 559"/>
            <p:cNvSpPr/>
            <p:nvPr/>
          </p:nvSpPr>
          <p:spPr>
            <a:xfrm>
              <a:off x="256105" y="755460"/>
              <a:ext cx="8701627" cy="568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550" name="Group 549"/>
            <p:cNvGrpSpPr/>
            <p:nvPr/>
          </p:nvGrpSpPr>
          <p:grpSpPr>
            <a:xfrm>
              <a:off x="321733" y="840744"/>
              <a:ext cx="8517467" cy="4791152"/>
              <a:chOff x="958850" y="1125538"/>
              <a:chExt cx="7500938" cy="4260850"/>
            </a:xfrm>
          </p:grpSpPr>
          <p:sp>
            <p:nvSpPr>
              <p:cNvPr id="3" name="Freeform 4"/>
              <p:cNvSpPr>
                <a:spLocks/>
              </p:cNvSpPr>
              <p:nvPr>
                <p:custDataLst>
                  <p:tags r:id="rId1"/>
                </p:custDataLst>
              </p:nvPr>
            </p:nvSpPr>
            <p:spPr bwMode="auto">
              <a:xfrm>
                <a:off x="2800350" y="5322888"/>
                <a:ext cx="33338" cy="5715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4" name="Freeform 5"/>
              <p:cNvSpPr>
                <a:spLocks/>
              </p:cNvSpPr>
              <p:nvPr>
                <p:custDataLst>
                  <p:tags r:id="rId2"/>
                </p:custDataLst>
              </p:nvPr>
            </p:nvSpPr>
            <p:spPr bwMode="auto">
              <a:xfrm>
                <a:off x="958850" y="1423988"/>
                <a:ext cx="784225" cy="446087"/>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 name="Freeform 6"/>
              <p:cNvSpPr>
                <a:spLocks/>
              </p:cNvSpPr>
              <p:nvPr>
                <p:custDataLst>
                  <p:tags r:id="rId3"/>
                </p:custDataLst>
              </p:nvPr>
            </p:nvSpPr>
            <p:spPr bwMode="auto">
              <a:xfrm>
                <a:off x="1419225" y="2039938"/>
                <a:ext cx="1381125" cy="769937"/>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FFFFFF"/>
              </a:solidFill>
              <a:ln w="9525" cmpd="sng">
                <a:solidFill>
                  <a:schemeClr val="tx1"/>
                </a:solidFill>
                <a:prstDash val="solid"/>
                <a:round/>
                <a:headEnd/>
                <a:tailEnd/>
              </a:ln>
            </p:spPr>
            <p:txBody>
              <a:bodyPr/>
              <a:lstStyle/>
              <a:p>
                <a:endParaRPr lang="en-US"/>
              </a:p>
            </p:txBody>
          </p:sp>
          <p:sp>
            <p:nvSpPr>
              <p:cNvPr id="6" name="Freeform 7"/>
              <p:cNvSpPr>
                <a:spLocks/>
              </p:cNvSpPr>
              <p:nvPr>
                <p:custDataLst>
                  <p:tags r:id="rId4"/>
                </p:custDataLst>
              </p:nvPr>
            </p:nvSpPr>
            <p:spPr bwMode="auto">
              <a:xfrm>
                <a:off x="2252663" y="3590925"/>
                <a:ext cx="339725" cy="59055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7" name="Freeform 8"/>
              <p:cNvSpPr>
                <a:spLocks/>
              </p:cNvSpPr>
              <p:nvPr>
                <p:custDataLst>
                  <p:tags r:id="rId5"/>
                </p:custDataLst>
              </p:nvPr>
            </p:nvSpPr>
            <p:spPr bwMode="auto">
              <a:xfrm>
                <a:off x="2552700" y="4154488"/>
                <a:ext cx="261938" cy="113030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8" name="Freeform 9"/>
              <p:cNvSpPr>
                <a:spLocks/>
              </p:cNvSpPr>
              <p:nvPr>
                <p:custDataLst>
                  <p:tags r:id="rId6"/>
                </p:custDataLst>
              </p:nvPr>
            </p:nvSpPr>
            <p:spPr bwMode="auto">
              <a:xfrm>
                <a:off x="2457450" y="3436938"/>
                <a:ext cx="966788" cy="1203325"/>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accent3"/>
              </a:solidFill>
              <a:ln w="9525" cap="flat" cmpd="sng">
                <a:solidFill>
                  <a:schemeClr val="tx1"/>
                </a:solidFill>
                <a:prstDash val="solid"/>
                <a:round/>
                <a:headEnd type="none" w="med" len="med"/>
                <a:tailEnd type="none" w="med" len="med"/>
              </a:ln>
              <a:effectLst/>
            </p:spPr>
            <p:txBody>
              <a:bodyPr/>
              <a:lstStyle/>
              <a:p>
                <a:endParaRPr lang="en-US"/>
              </a:p>
            </p:txBody>
          </p:sp>
          <p:sp>
            <p:nvSpPr>
              <p:cNvPr id="9" name="Freeform 10"/>
              <p:cNvSpPr>
                <a:spLocks/>
              </p:cNvSpPr>
              <p:nvPr>
                <p:custDataLst>
                  <p:tags r:id="rId7"/>
                </p:custDataLst>
              </p:nvPr>
            </p:nvSpPr>
            <p:spPr bwMode="auto">
              <a:xfrm>
                <a:off x="4570413" y="2382838"/>
                <a:ext cx="69850" cy="49212"/>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10" name="Freeform 11"/>
              <p:cNvSpPr>
                <a:spLocks/>
              </p:cNvSpPr>
              <p:nvPr>
                <p:custDataLst>
                  <p:tags r:id="rId8"/>
                </p:custDataLst>
              </p:nvPr>
            </p:nvSpPr>
            <p:spPr bwMode="auto">
              <a:xfrm>
                <a:off x="4068763" y="2257425"/>
                <a:ext cx="82550" cy="160338"/>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11" name="Freeform 12"/>
              <p:cNvSpPr>
                <a:spLocks/>
              </p:cNvSpPr>
              <p:nvPr>
                <p:custDataLst>
                  <p:tags r:id="rId9"/>
                </p:custDataLst>
              </p:nvPr>
            </p:nvSpPr>
            <p:spPr bwMode="auto">
              <a:xfrm>
                <a:off x="4149725" y="1743075"/>
                <a:ext cx="171450" cy="269875"/>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FFFFFF"/>
              </a:solidFill>
              <a:ln w="9525" cmpd="sng">
                <a:solidFill>
                  <a:schemeClr val="tx1"/>
                </a:solidFill>
                <a:prstDash val="solid"/>
                <a:round/>
                <a:headEnd/>
                <a:tailEnd/>
              </a:ln>
            </p:spPr>
            <p:txBody>
              <a:bodyPr/>
              <a:lstStyle/>
              <a:p>
                <a:endParaRPr lang="en-US"/>
              </a:p>
            </p:txBody>
          </p:sp>
          <p:sp>
            <p:nvSpPr>
              <p:cNvPr id="12" name="Freeform 13"/>
              <p:cNvSpPr>
                <a:spLocks/>
              </p:cNvSpPr>
              <p:nvPr>
                <p:custDataLst>
                  <p:tags r:id="rId10"/>
                </p:custDataLst>
              </p:nvPr>
            </p:nvSpPr>
            <p:spPr bwMode="auto">
              <a:xfrm>
                <a:off x="4508500" y="2046288"/>
                <a:ext cx="169863" cy="7620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13" name="Freeform 14"/>
              <p:cNvSpPr>
                <a:spLocks/>
              </p:cNvSpPr>
              <p:nvPr>
                <p:custDataLst>
                  <p:tags r:id="rId11"/>
                </p:custDataLst>
              </p:nvPr>
            </p:nvSpPr>
            <p:spPr bwMode="auto">
              <a:xfrm>
                <a:off x="6000750" y="1895475"/>
                <a:ext cx="1281113" cy="1038225"/>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504D"/>
              </a:solidFill>
              <a:ln w="9525" cmpd="sng">
                <a:solidFill>
                  <a:schemeClr val="tx1"/>
                </a:solidFill>
                <a:prstDash val="solid"/>
                <a:round/>
                <a:headEnd/>
                <a:tailEnd/>
              </a:ln>
            </p:spPr>
            <p:txBody>
              <a:bodyPr/>
              <a:lstStyle/>
              <a:p>
                <a:endParaRPr lang="en-US"/>
              </a:p>
            </p:txBody>
          </p:sp>
          <p:sp>
            <p:nvSpPr>
              <p:cNvPr id="14" name="Freeform 15"/>
              <p:cNvSpPr>
                <a:spLocks/>
              </p:cNvSpPr>
              <p:nvPr>
                <p:custDataLst>
                  <p:tags r:id="rId12"/>
                </p:custDataLst>
              </p:nvPr>
            </p:nvSpPr>
            <p:spPr bwMode="auto">
              <a:xfrm>
                <a:off x="4692650" y="1436688"/>
                <a:ext cx="220663" cy="2730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15" name="Freeform 16"/>
              <p:cNvSpPr>
                <a:spLocks/>
              </p:cNvSpPr>
              <p:nvPr>
                <p:custDataLst>
                  <p:tags r:id="rId13"/>
                </p:custDataLst>
              </p:nvPr>
            </p:nvSpPr>
            <p:spPr bwMode="auto">
              <a:xfrm>
                <a:off x="4429125" y="1854200"/>
                <a:ext cx="182563"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16" name="Freeform 17"/>
              <p:cNvSpPr>
                <a:spLocks/>
              </p:cNvSpPr>
              <p:nvPr>
                <p:custDataLst>
                  <p:tags r:id="rId14"/>
                </p:custDataLst>
              </p:nvPr>
            </p:nvSpPr>
            <p:spPr bwMode="auto">
              <a:xfrm>
                <a:off x="4454525" y="2111375"/>
                <a:ext cx="250825" cy="274638"/>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17" name="Freeform 18"/>
              <p:cNvSpPr>
                <a:spLocks/>
              </p:cNvSpPr>
              <p:nvPr>
                <p:custDataLst>
                  <p:tags r:id="rId15"/>
                </p:custDataLst>
              </p:nvPr>
            </p:nvSpPr>
            <p:spPr bwMode="auto">
              <a:xfrm>
                <a:off x="4471988" y="2279650"/>
                <a:ext cx="33337" cy="82550"/>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grpSp>
            <p:nvGrpSpPr>
              <p:cNvPr id="18" name="Group 19"/>
              <p:cNvGrpSpPr>
                <a:grpSpLocks/>
              </p:cNvGrpSpPr>
              <p:nvPr>
                <p:custDataLst>
                  <p:tags r:id="rId16"/>
                </p:custDataLst>
              </p:nvPr>
            </p:nvGrpSpPr>
            <p:grpSpPr bwMode="auto">
              <a:xfrm>
                <a:off x="6791325" y="3340100"/>
                <a:ext cx="473075" cy="212725"/>
                <a:chOff x="4488" y="2394"/>
                <a:chExt cx="358" cy="124"/>
              </a:xfrm>
              <a:solidFill>
                <a:srgbClr val="FFFFFF"/>
              </a:solidFill>
            </p:grpSpPr>
            <p:sp>
              <p:nvSpPr>
                <p:cNvPr id="19" name="Freeform 20"/>
                <p:cNvSpPr>
                  <a:spLocks/>
                </p:cNvSpPr>
                <p:nvPr/>
              </p:nvSpPr>
              <p:spPr bwMode="auto">
                <a:xfrm>
                  <a:off x="4675" y="2394"/>
                  <a:ext cx="171" cy="124"/>
                </a:xfrm>
                <a:custGeom>
                  <a:avLst/>
                  <a:gdLst>
                    <a:gd name="T0" fmla="*/ 5 w 512"/>
                    <a:gd name="T1" fmla="*/ 2 h 408"/>
                    <a:gd name="T2" fmla="*/ 5 w 512"/>
                    <a:gd name="T3" fmla="*/ 2 h 408"/>
                    <a:gd name="T4" fmla="*/ 5 w 512"/>
                    <a:gd name="T5" fmla="*/ 2 h 408"/>
                    <a:gd name="T6" fmla="*/ 4 w 512"/>
                    <a:gd name="T7" fmla="*/ 2 h 408"/>
                    <a:gd name="T8" fmla="*/ 4 w 512"/>
                    <a:gd name="T9" fmla="*/ 2 h 408"/>
                    <a:gd name="T10" fmla="*/ 4 w 512"/>
                    <a:gd name="T11" fmla="*/ 3 h 408"/>
                    <a:gd name="T12" fmla="*/ 4 w 512"/>
                    <a:gd name="T13" fmla="*/ 3 h 408"/>
                    <a:gd name="T14" fmla="*/ 4 w 512"/>
                    <a:gd name="T15" fmla="*/ 3 h 408"/>
                    <a:gd name="T16" fmla="*/ 3 w 512"/>
                    <a:gd name="T17" fmla="*/ 3 h 408"/>
                    <a:gd name="T18" fmla="*/ 3 w 512"/>
                    <a:gd name="T19" fmla="*/ 3 h 408"/>
                    <a:gd name="T20" fmla="*/ 3 w 512"/>
                    <a:gd name="T21" fmla="*/ 3 h 408"/>
                    <a:gd name="T22" fmla="*/ 3 w 512"/>
                    <a:gd name="T23" fmla="*/ 3 h 408"/>
                    <a:gd name="T24" fmla="*/ 2 w 512"/>
                    <a:gd name="T25" fmla="*/ 3 h 408"/>
                    <a:gd name="T26" fmla="*/ 2 w 512"/>
                    <a:gd name="T27" fmla="*/ 3 h 408"/>
                    <a:gd name="T28" fmla="*/ 2 w 512"/>
                    <a:gd name="T29" fmla="*/ 3 h 408"/>
                    <a:gd name="T30" fmla="*/ 1 w 512"/>
                    <a:gd name="T31" fmla="*/ 3 h 408"/>
                    <a:gd name="T32" fmla="*/ 1 w 512"/>
                    <a:gd name="T33" fmla="*/ 4 h 408"/>
                    <a:gd name="T34" fmla="*/ 1 w 512"/>
                    <a:gd name="T35" fmla="*/ 3 h 408"/>
                    <a:gd name="T36" fmla="*/ 0 w 512"/>
                    <a:gd name="T37" fmla="*/ 3 h 408"/>
                    <a:gd name="T38" fmla="*/ 0 w 512"/>
                    <a:gd name="T39" fmla="*/ 3 h 408"/>
                    <a:gd name="T40" fmla="*/ 0 w 512"/>
                    <a:gd name="T41" fmla="*/ 3 h 408"/>
                    <a:gd name="T42" fmla="*/ 0 w 512"/>
                    <a:gd name="T43" fmla="*/ 3 h 408"/>
                    <a:gd name="T44" fmla="*/ 1 w 512"/>
                    <a:gd name="T45" fmla="*/ 3 h 408"/>
                    <a:gd name="T46" fmla="*/ 1 w 512"/>
                    <a:gd name="T47" fmla="*/ 3 h 408"/>
                    <a:gd name="T48" fmla="*/ 1 w 512"/>
                    <a:gd name="T49" fmla="*/ 3 h 408"/>
                    <a:gd name="T50" fmla="*/ 1 w 512"/>
                    <a:gd name="T51" fmla="*/ 2 h 408"/>
                    <a:gd name="T52" fmla="*/ 1 w 512"/>
                    <a:gd name="T53" fmla="*/ 2 h 408"/>
                    <a:gd name="T54" fmla="*/ 1 w 512"/>
                    <a:gd name="T55" fmla="*/ 2 h 408"/>
                    <a:gd name="T56" fmla="*/ 2 w 512"/>
                    <a:gd name="T57" fmla="*/ 2 h 408"/>
                    <a:gd name="T58" fmla="*/ 2 w 512"/>
                    <a:gd name="T59" fmla="*/ 2 h 408"/>
                    <a:gd name="T60" fmla="*/ 2 w 512"/>
                    <a:gd name="T61" fmla="*/ 2 h 408"/>
                    <a:gd name="T62" fmla="*/ 3 w 512"/>
                    <a:gd name="T63" fmla="*/ 2 h 408"/>
                    <a:gd name="T64" fmla="*/ 3 w 512"/>
                    <a:gd name="T65" fmla="*/ 2 h 408"/>
                    <a:gd name="T66" fmla="*/ 3 w 512"/>
                    <a:gd name="T67" fmla="*/ 2 h 408"/>
                    <a:gd name="T68" fmla="*/ 3 w 512"/>
                    <a:gd name="T69" fmla="*/ 1 h 408"/>
                    <a:gd name="T70" fmla="*/ 3 w 512"/>
                    <a:gd name="T71" fmla="*/ 1 h 408"/>
                    <a:gd name="T72" fmla="*/ 3 w 512"/>
                    <a:gd name="T73" fmla="*/ 1 h 408"/>
                    <a:gd name="T74" fmla="*/ 3 w 512"/>
                    <a:gd name="T75" fmla="*/ 1 h 408"/>
                    <a:gd name="T76" fmla="*/ 3 w 512"/>
                    <a:gd name="T77" fmla="*/ 2 h 408"/>
                    <a:gd name="T78" fmla="*/ 3 w 512"/>
                    <a:gd name="T79" fmla="*/ 2 h 408"/>
                    <a:gd name="T80" fmla="*/ 3 w 512"/>
                    <a:gd name="T81" fmla="*/ 2 h 408"/>
                    <a:gd name="T82" fmla="*/ 4 w 512"/>
                    <a:gd name="T83" fmla="*/ 2 h 408"/>
                    <a:gd name="T84" fmla="*/ 4 w 512"/>
                    <a:gd name="T85" fmla="*/ 2 h 408"/>
                    <a:gd name="T86" fmla="*/ 4 w 512"/>
                    <a:gd name="T87" fmla="*/ 2 h 408"/>
                    <a:gd name="T88" fmla="*/ 4 w 512"/>
                    <a:gd name="T89" fmla="*/ 2 h 408"/>
                    <a:gd name="T90" fmla="*/ 4 w 512"/>
                    <a:gd name="T91" fmla="*/ 1 h 408"/>
                    <a:gd name="T92" fmla="*/ 4 w 512"/>
                    <a:gd name="T93" fmla="*/ 1 h 408"/>
                    <a:gd name="T94" fmla="*/ 4 w 512"/>
                    <a:gd name="T95" fmla="*/ 1 h 408"/>
                    <a:gd name="T96" fmla="*/ 5 w 512"/>
                    <a:gd name="T97" fmla="*/ 0 h 408"/>
                    <a:gd name="T98" fmla="*/ 5 w 512"/>
                    <a:gd name="T99" fmla="*/ 0 h 408"/>
                    <a:gd name="T100" fmla="*/ 5 w 512"/>
                    <a:gd name="T101" fmla="*/ 0 h 408"/>
                    <a:gd name="T102" fmla="*/ 5 w 512"/>
                    <a:gd name="T103" fmla="*/ 1 h 408"/>
                    <a:gd name="T104" fmla="*/ 5 w 512"/>
                    <a:gd name="T105" fmla="*/ 1 h 408"/>
                    <a:gd name="T106" fmla="*/ 6 w 512"/>
                    <a:gd name="T107" fmla="*/ 1 h 408"/>
                    <a:gd name="T108" fmla="*/ 6 w 512"/>
                    <a:gd name="T109" fmla="*/ 1 h 408"/>
                    <a:gd name="T110" fmla="*/ 6 w 512"/>
                    <a:gd name="T111" fmla="*/ 1 h 408"/>
                    <a:gd name="T112" fmla="*/ 6 w 512"/>
                    <a:gd name="T113" fmla="*/ 1 h 408"/>
                    <a:gd name="T114" fmla="*/ 6 w 512"/>
                    <a:gd name="T115" fmla="*/ 2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 name="Freeform 21"/>
                <p:cNvSpPr>
                  <a:spLocks/>
                </p:cNvSpPr>
                <p:nvPr/>
              </p:nvSpPr>
              <p:spPr bwMode="auto">
                <a:xfrm>
                  <a:off x="4488" y="2420"/>
                  <a:ext cx="77" cy="89"/>
                </a:xfrm>
                <a:custGeom>
                  <a:avLst/>
                  <a:gdLst>
                    <a:gd name="T0" fmla="*/ 2 w 232"/>
                    <a:gd name="T1" fmla="*/ 0 h 289"/>
                    <a:gd name="T2" fmla="*/ 2 w 232"/>
                    <a:gd name="T3" fmla="*/ 1 h 289"/>
                    <a:gd name="T4" fmla="*/ 2 w 232"/>
                    <a:gd name="T5" fmla="*/ 1 h 289"/>
                    <a:gd name="T6" fmla="*/ 2 w 232"/>
                    <a:gd name="T7" fmla="*/ 1 h 289"/>
                    <a:gd name="T8" fmla="*/ 2 w 232"/>
                    <a:gd name="T9" fmla="*/ 2 h 289"/>
                    <a:gd name="T10" fmla="*/ 2 w 232"/>
                    <a:gd name="T11" fmla="*/ 2 h 289"/>
                    <a:gd name="T12" fmla="*/ 2 w 232"/>
                    <a:gd name="T13" fmla="*/ 2 h 289"/>
                    <a:gd name="T14" fmla="*/ 2 w 232"/>
                    <a:gd name="T15" fmla="*/ 2 h 289"/>
                    <a:gd name="T16" fmla="*/ 3 w 232"/>
                    <a:gd name="T17" fmla="*/ 2 h 289"/>
                    <a:gd name="T18" fmla="*/ 3 w 232"/>
                    <a:gd name="T19" fmla="*/ 2 h 289"/>
                    <a:gd name="T20" fmla="*/ 2 w 232"/>
                    <a:gd name="T21" fmla="*/ 2 h 289"/>
                    <a:gd name="T22" fmla="*/ 2 w 232"/>
                    <a:gd name="T23" fmla="*/ 2 h 289"/>
                    <a:gd name="T24" fmla="*/ 1 w 232"/>
                    <a:gd name="T25" fmla="*/ 2 h 289"/>
                    <a:gd name="T26" fmla="*/ 1 w 232"/>
                    <a:gd name="T27" fmla="*/ 2 h 289"/>
                    <a:gd name="T28" fmla="*/ 1 w 232"/>
                    <a:gd name="T29" fmla="*/ 2 h 289"/>
                    <a:gd name="T30" fmla="*/ 0 w 232"/>
                    <a:gd name="T31" fmla="*/ 1 h 289"/>
                    <a:gd name="T32" fmla="*/ 0 w 232"/>
                    <a:gd name="T33" fmla="*/ 1 h 289"/>
                    <a:gd name="T34" fmla="*/ 0 w 232"/>
                    <a:gd name="T35" fmla="*/ 1 h 289"/>
                    <a:gd name="T36" fmla="*/ 0 w 232"/>
                    <a:gd name="T37" fmla="*/ 1 h 289"/>
                    <a:gd name="T38" fmla="*/ 0 w 232"/>
                    <a:gd name="T39" fmla="*/ 1 h 289"/>
                    <a:gd name="T40" fmla="*/ 0 w 232"/>
                    <a:gd name="T41" fmla="*/ 1 h 289"/>
                    <a:gd name="T42" fmla="*/ 0 w 232"/>
                    <a:gd name="T43" fmla="*/ 1 h 289"/>
                    <a:gd name="T44" fmla="*/ 0 w 232"/>
                    <a:gd name="T45" fmla="*/ 1 h 289"/>
                    <a:gd name="T46" fmla="*/ 0 w 232"/>
                    <a:gd name="T47" fmla="*/ 0 h 289"/>
                    <a:gd name="T48" fmla="*/ 0 w 232"/>
                    <a:gd name="T49" fmla="*/ 0 h 289"/>
                    <a:gd name="T50" fmla="*/ 0 w 232"/>
                    <a:gd name="T51" fmla="*/ 0 h 289"/>
                    <a:gd name="T52" fmla="*/ 1 w 232"/>
                    <a:gd name="T53" fmla="*/ 0 h 289"/>
                    <a:gd name="T54" fmla="*/ 1 w 232"/>
                    <a:gd name="T55" fmla="*/ 0 h 289"/>
                    <a:gd name="T56" fmla="*/ 1 w 232"/>
                    <a:gd name="T57" fmla="*/ 0 h 289"/>
                    <a:gd name="T58" fmla="*/ 1 w 232"/>
                    <a:gd name="T59" fmla="*/ 0 h 289"/>
                    <a:gd name="T60" fmla="*/ 1 w 232"/>
                    <a:gd name="T61" fmla="*/ 0 h 289"/>
                    <a:gd name="T62" fmla="*/ 1 w 232"/>
                    <a:gd name="T63" fmla="*/ 0 h 289"/>
                    <a:gd name="T64" fmla="*/ 1 w 232"/>
                    <a:gd name="T65" fmla="*/ 0 h 289"/>
                    <a:gd name="T66" fmla="*/ 2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1" name="Freeform 22"/>
              <p:cNvSpPr>
                <a:spLocks/>
              </p:cNvSpPr>
              <p:nvPr>
                <p:custDataLst>
                  <p:tags r:id="rId17"/>
                </p:custDataLst>
              </p:nvPr>
            </p:nvSpPr>
            <p:spPr bwMode="auto">
              <a:xfrm>
                <a:off x="4813300" y="1216025"/>
                <a:ext cx="3065463" cy="1074738"/>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2" name="Freeform 23"/>
              <p:cNvSpPr>
                <a:spLocks/>
              </p:cNvSpPr>
              <p:nvPr>
                <p:custDataLst>
                  <p:tags r:id="rId18"/>
                </p:custDataLst>
              </p:nvPr>
            </p:nvSpPr>
            <p:spPr bwMode="auto">
              <a:xfrm>
                <a:off x="4076700" y="2203450"/>
                <a:ext cx="280988" cy="247650"/>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3" name="Freeform 24"/>
              <p:cNvSpPr>
                <a:spLocks/>
              </p:cNvSpPr>
              <p:nvPr>
                <p:custDataLst>
                  <p:tags r:id="rId19"/>
                </p:custDataLst>
              </p:nvPr>
            </p:nvSpPr>
            <p:spPr bwMode="auto">
              <a:xfrm>
                <a:off x="6708775" y="2941638"/>
                <a:ext cx="207963" cy="455612"/>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504D"/>
              </a:solidFill>
              <a:ln w="9525" cmpd="sng">
                <a:solidFill>
                  <a:schemeClr val="tx1"/>
                </a:solidFill>
                <a:prstDash val="solid"/>
                <a:round/>
                <a:headEnd/>
                <a:tailEnd/>
              </a:ln>
            </p:spPr>
            <p:txBody>
              <a:bodyPr/>
              <a:lstStyle/>
              <a:p>
                <a:endParaRPr lang="en-US"/>
              </a:p>
            </p:txBody>
          </p:sp>
          <p:sp>
            <p:nvSpPr>
              <p:cNvPr id="24" name="Freeform 25"/>
              <p:cNvSpPr>
                <a:spLocks/>
              </p:cNvSpPr>
              <p:nvPr>
                <p:custDataLst>
                  <p:tags r:id="rId20"/>
                </p:custDataLst>
              </p:nvPr>
            </p:nvSpPr>
            <p:spPr bwMode="auto">
              <a:xfrm>
                <a:off x="2817813" y="5329238"/>
                <a:ext cx="23812"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FFFFFF"/>
              </a:solidFill>
              <a:ln w="9525" cmpd="sng">
                <a:solidFill>
                  <a:schemeClr val="tx1"/>
                </a:solidFill>
                <a:prstDash val="solid"/>
                <a:round/>
                <a:headEnd/>
                <a:tailEnd/>
              </a:ln>
            </p:spPr>
            <p:txBody>
              <a:bodyPr/>
              <a:lstStyle/>
              <a:p>
                <a:endParaRPr lang="en-US"/>
              </a:p>
            </p:txBody>
          </p:sp>
          <p:sp>
            <p:nvSpPr>
              <p:cNvPr id="25" name="Line 26" descr="Horizontal dunkel"/>
              <p:cNvSpPr>
                <a:spLocks noChangeShapeType="1"/>
              </p:cNvSpPr>
              <p:nvPr>
                <p:custDataLst>
                  <p:tags r:id="rId21"/>
                </p:custDataLst>
              </p:nvPr>
            </p:nvSpPr>
            <p:spPr bwMode="auto">
              <a:xfrm>
                <a:off x="1279525" y="2251075"/>
                <a:ext cx="3175" cy="95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 name="Freeform 27"/>
              <p:cNvSpPr>
                <a:spLocks/>
              </p:cNvSpPr>
              <p:nvPr>
                <p:custDataLst>
                  <p:tags r:id="rId22"/>
                </p:custDataLst>
              </p:nvPr>
            </p:nvSpPr>
            <p:spPr bwMode="auto">
              <a:xfrm>
                <a:off x="1282700" y="2247900"/>
                <a:ext cx="3175" cy="55563"/>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FFFFFF"/>
              </a:solidFill>
              <a:ln w="9525" cmpd="sng">
                <a:solidFill>
                  <a:schemeClr val="tx1"/>
                </a:solidFill>
                <a:prstDash val="solid"/>
                <a:round/>
                <a:headEnd/>
                <a:tailEnd/>
              </a:ln>
            </p:spPr>
            <p:txBody>
              <a:bodyPr/>
              <a:lstStyle/>
              <a:p>
                <a:endParaRPr lang="en-US"/>
              </a:p>
            </p:txBody>
          </p:sp>
          <p:sp>
            <p:nvSpPr>
              <p:cNvPr id="27" name="Freeform 28"/>
              <p:cNvSpPr>
                <a:spLocks/>
              </p:cNvSpPr>
              <p:nvPr>
                <p:custDataLst>
                  <p:tags r:id="rId23"/>
                </p:custDataLst>
              </p:nvPr>
            </p:nvSpPr>
            <p:spPr bwMode="auto">
              <a:xfrm>
                <a:off x="1258888" y="2301875"/>
                <a:ext cx="23812" cy="5715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FFFFFF"/>
              </a:solidFill>
              <a:ln w="9525" cmpd="sng">
                <a:solidFill>
                  <a:schemeClr val="tx1"/>
                </a:solidFill>
                <a:prstDash val="solid"/>
                <a:round/>
                <a:headEnd/>
                <a:tailEnd/>
              </a:ln>
            </p:spPr>
            <p:txBody>
              <a:bodyPr/>
              <a:lstStyle/>
              <a:p>
                <a:endParaRPr lang="en-US"/>
              </a:p>
            </p:txBody>
          </p:sp>
          <p:sp>
            <p:nvSpPr>
              <p:cNvPr id="28" name="Freeform 29"/>
              <p:cNvSpPr>
                <a:spLocks/>
              </p:cNvSpPr>
              <p:nvPr>
                <p:custDataLst>
                  <p:tags r:id="rId24"/>
                </p:custDataLst>
              </p:nvPr>
            </p:nvSpPr>
            <p:spPr bwMode="auto">
              <a:xfrm>
                <a:off x="2584450" y="2297113"/>
                <a:ext cx="49213" cy="57150"/>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FFFFFF"/>
              </a:solidFill>
              <a:ln w="9525" cmpd="sng">
                <a:solidFill>
                  <a:schemeClr val="tx1"/>
                </a:solidFill>
                <a:prstDash val="solid"/>
                <a:round/>
                <a:headEnd/>
                <a:tailEnd/>
              </a:ln>
            </p:spPr>
            <p:txBody>
              <a:bodyPr/>
              <a:lstStyle/>
              <a:p>
                <a:endParaRPr lang="en-US"/>
              </a:p>
            </p:txBody>
          </p:sp>
          <p:sp>
            <p:nvSpPr>
              <p:cNvPr id="29" name="Freeform 30"/>
              <p:cNvSpPr>
                <a:spLocks/>
              </p:cNvSpPr>
              <p:nvPr>
                <p:custDataLst>
                  <p:tags r:id="rId25"/>
                </p:custDataLst>
              </p:nvPr>
            </p:nvSpPr>
            <p:spPr bwMode="auto">
              <a:xfrm>
                <a:off x="5322888" y="1854200"/>
                <a:ext cx="874712" cy="452438"/>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FFFFFF"/>
              </a:solidFill>
              <a:ln w="9525" cmpd="sng">
                <a:solidFill>
                  <a:schemeClr val="tx1"/>
                </a:solidFill>
                <a:prstDash val="solid"/>
                <a:round/>
                <a:headEnd/>
                <a:tailEnd/>
              </a:ln>
            </p:spPr>
            <p:txBody>
              <a:bodyPr/>
              <a:lstStyle/>
              <a:p>
                <a:endParaRPr lang="en-US"/>
              </a:p>
            </p:txBody>
          </p:sp>
          <p:sp>
            <p:nvSpPr>
              <p:cNvPr id="30" name="Freeform 31"/>
              <p:cNvSpPr>
                <a:spLocks/>
              </p:cNvSpPr>
              <p:nvPr>
                <p:custDataLst>
                  <p:tags r:id="rId26"/>
                </p:custDataLst>
              </p:nvPr>
            </p:nvSpPr>
            <p:spPr bwMode="auto">
              <a:xfrm>
                <a:off x="5553075" y="2157413"/>
                <a:ext cx="409575" cy="249237"/>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FFFFFF"/>
              </a:solidFill>
              <a:ln w="9525" cmpd="sng">
                <a:solidFill>
                  <a:schemeClr val="tx1"/>
                </a:solidFill>
                <a:prstDash val="solid"/>
                <a:round/>
                <a:headEnd/>
                <a:tailEnd/>
              </a:ln>
            </p:spPr>
            <p:txBody>
              <a:bodyPr/>
              <a:lstStyle/>
              <a:p>
                <a:endParaRPr lang="en-US"/>
              </a:p>
            </p:txBody>
          </p:sp>
          <p:sp>
            <p:nvSpPr>
              <p:cNvPr id="31" name="Freeform 32"/>
              <p:cNvSpPr>
                <a:spLocks/>
              </p:cNvSpPr>
              <p:nvPr>
                <p:custDataLst>
                  <p:tags r:id="rId27"/>
                </p:custDataLst>
              </p:nvPr>
            </p:nvSpPr>
            <p:spPr bwMode="auto">
              <a:xfrm>
                <a:off x="4360863" y="3160713"/>
                <a:ext cx="296862" cy="288925"/>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504D"/>
              </a:solidFill>
              <a:ln w="9525" cmpd="sng">
                <a:solidFill>
                  <a:schemeClr val="tx1"/>
                </a:solidFill>
                <a:prstDash val="solid"/>
                <a:round/>
                <a:headEnd/>
                <a:tailEnd/>
              </a:ln>
            </p:spPr>
            <p:txBody>
              <a:bodyPr/>
              <a:lstStyle/>
              <a:p>
                <a:endParaRPr lang="en-US"/>
              </a:p>
            </p:txBody>
          </p:sp>
          <p:sp>
            <p:nvSpPr>
              <p:cNvPr id="32" name="Freeform 33"/>
              <p:cNvSpPr>
                <a:spLocks/>
              </p:cNvSpPr>
              <p:nvPr>
                <p:custDataLst>
                  <p:tags r:id="rId28"/>
                </p:custDataLst>
              </p:nvPr>
            </p:nvSpPr>
            <p:spPr bwMode="auto">
              <a:xfrm>
                <a:off x="5203825" y="3025775"/>
                <a:ext cx="152400" cy="169863"/>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FFFFFF"/>
              </a:solidFill>
              <a:ln w="9525" cmpd="sng">
                <a:solidFill>
                  <a:schemeClr val="tx1"/>
                </a:solidFill>
                <a:prstDash val="solid"/>
                <a:round/>
                <a:headEnd/>
                <a:tailEnd/>
              </a:ln>
            </p:spPr>
            <p:txBody>
              <a:bodyPr/>
              <a:lstStyle/>
              <a:p>
                <a:endParaRPr lang="en-US"/>
              </a:p>
            </p:txBody>
          </p:sp>
          <p:sp>
            <p:nvSpPr>
              <p:cNvPr id="33" name="Freeform 34"/>
              <p:cNvSpPr>
                <a:spLocks/>
              </p:cNvSpPr>
              <p:nvPr>
                <p:custDataLst>
                  <p:tags r:id="rId29"/>
                </p:custDataLst>
              </p:nvPr>
            </p:nvSpPr>
            <p:spPr bwMode="auto">
              <a:xfrm>
                <a:off x="4665663" y="2030413"/>
                <a:ext cx="125412" cy="57150"/>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34" name="Freeform 35"/>
              <p:cNvSpPr>
                <a:spLocks/>
              </p:cNvSpPr>
              <p:nvPr>
                <p:custDataLst>
                  <p:tags r:id="rId30"/>
                </p:custDataLst>
              </p:nvPr>
            </p:nvSpPr>
            <p:spPr bwMode="auto">
              <a:xfrm>
                <a:off x="5529263" y="2751138"/>
                <a:ext cx="19050" cy="5715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FFFFFF"/>
              </a:solidFill>
              <a:ln w="9525" cmpd="sng">
                <a:solidFill>
                  <a:schemeClr val="tx1"/>
                </a:solidFill>
                <a:prstDash val="solid"/>
                <a:round/>
                <a:headEnd/>
                <a:tailEnd/>
              </a:ln>
            </p:spPr>
            <p:txBody>
              <a:bodyPr/>
              <a:lstStyle/>
              <a:p>
                <a:endParaRPr lang="en-US"/>
              </a:p>
            </p:txBody>
          </p:sp>
          <p:sp>
            <p:nvSpPr>
              <p:cNvPr id="35" name="Freeform 36"/>
              <p:cNvSpPr>
                <a:spLocks/>
              </p:cNvSpPr>
              <p:nvPr>
                <p:custDataLst>
                  <p:tags r:id="rId31"/>
                </p:custDataLst>
              </p:nvPr>
            </p:nvSpPr>
            <p:spPr bwMode="auto">
              <a:xfrm>
                <a:off x="5648325" y="2755900"/>
                <a:ext cx="14288" cy="5715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FFFFFF"/>
              </a:solidFill>
              <a:ln w="9525" cmpd="sng">
                <a:solidFill>
                  <a:schemeClr val="tx1"/>
                </a:solidFill>
                <a:prstDash val="solid"/>
                <a:round/>
                <a:headEnd/>
                <a:tailEnd/>
              </a:ln>
            </p:spPr>
            <p:txBody>
              <a:bodyPr/>
              <a:lstStyle/>
              <a:p>
                <a:endParaRPr lang="en-US"/>
              </a:p>
            </p:txBody>
          </p:sp>
          <p:sp>
            <p:nvSpPr>
              <p:cNvPr id="36" name="Freeform 37"/>
              <p:cNvSpPr>
                <a:spLocks/>
              </p:cNvSpPr>
              <p:nvPr>
                <p:custDataLst>
                  <p:tags r:id="rId32"/>
                </p:custDataLst>
              </p:nvPr>
            </p:nvSpPr>
            <p:spPr bwMode="auto">
              <a:xfrm>
                <a:off x="7135813" y="3416300"/>
                <a:ext cx="44450" cy="5715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FFFFFF"/>
              </a:solidFill>
              <a:ln w="9525" cmpd="sng">
                <a:solidFill>
                  <a:schemeClr val="tx1"/>
                </a:solidFill>
                <a:prstDash val="solid"/>
                <a:round/>
                <a:headEnd/>
                <a:tailEnd/>
              </a:ln>
            </p:spPr>
            <p:txBody>
              <a:bodyPr/>
              <a:lstStyle/>
              <a:p>
                <a:endParaRPr lang="en-US"/>
              </a:p>
            </p:txBody>
          </p:sp>
          <p:grpSp>
            <p:nvGrpSpPr>
              <p:cNvPr id="37" name="Group 38"/>
              <p:cNvGrpSpPr>
                <a:grpSpLocks/>
              </p:cNvGrpSpPr>
              <p:nvPr>
                <p:custDataLst>
                  <p:tags r:id="rId33"/>
                </p:custDataLst>
              </p:nvPr>
            </p:nvGrpSpPr>
            <p:grpSpPr bwMode="auto">
              <a:xfrm>
                <a:off x="2987675" y="5224463"/>
                <a:ext cx="65088" cy="55562"/>
                <a:chOff x="1654" y="3671"/>
                <a:chExt cx="49" cy="17"/>
              </a:xfrm>
              <a:solidFill>
                <a:srgbClr val="FFFFFF"/>
              </a:solidFill>
            </p:grpSpPr>
            <p:sp>
              <p:nvSpPr>
                <p:cNvPr id="38" name="Freeform 39"/>
                <p:cNvSpPr>
                  <a:spLocks/>
                </p:cNvSpPr>
                <p:nvPr/>
              </p:nvSpPr>
              <p:spPr bwMode="auto">
                <a:xfrm>
                  <a:off x="1654" y="3672"/>
                  <a:ext cx="20" cy="14"/>
                </a:xfrm>
                <a:custGeom>
                  <a:avLst/>
                  <a:gdLst>
                    <a:gd name="T0" fmla="*/ 0 w 59"/>
                    <a:gd name="T1" fmla="*/ 1 h 43"/>
                    <a:gd name="T2" fmla="*/ 1 w 59"/>
                    <a:gd name="T3" fmla="*/ 0 h 43"/>
                    <a:gd name="T4" fmla="*/ 1 w 59"/>
                    <a:gd name="T5" fmla="*/ 0 h 43"/>
                    <a:gd name="T6" fmla="*/ 1 w 59"/>
                    <a:gd name="T7" fmla="*/ 0 h 43"/>
                    <a:gd name="T8" fmla="*/ 1 w 59"/>
                    <a:gd name="T9" fmla="*/ 0 h 43"/>
                    <a:gd name="T10" fmla="*/ 1 w 59"/>
                    <a:gd name="T11" fmla="*/ 0 h 43"/>
                    <a:gd name="T12" fmla="*/ 1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1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chemeClr val="tx1"/>
                  </a:solidFill>
                  <a:prstDash val="solid"/>
                  <a:round/>
                  <a:headEnd/>
                  <a:tailEnd/>
                </a:ln>
              </p:spPr>
              <p:txBody>
                <a:bodyPr/>
                <a:lstStyle/>
                <a:p>
                  <a:endParaRPr lang="en-US"/>
                </a:p>
              </p:txBody>
            </p:sp>
            <p:sp>
              <p:nvSpPr>
                <p:cNvPr id="39" name="Freeform 40"/>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1 w 67"/>
                    <a:gd name="T7" fmla="*/ 0 h 51"/>
                    <a:gd name="T8" fmla="*/ 1 w 67"/>
                    <a:gd name="T9" fmla="*/ 0 h 51"/>
                    <a:gd name="T10" fmla="*/ 1 w 67"/>
                    <a:gd name="T11" fmla="*/ 0 h 51"/>
                    <a:gd name="T12" fmla="*/ 1 w 67"/>
                    <a:gd name="T13" fmla="*/ 0 h 51"/>
                    <a:gd name="T14" fmla="*/ 1 w 67"/>
                    <a:gd name="T15" fmla="*/ 0 h 51"/>
                    <a:gd name="T16" fmla="*/ 1 w 67"/>
                    <a:gd name="T17" fmla="*/ 0 h 51"/>
                    <a:gd name="T18" fmla="*/ 1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1 h 51"/>
                    <a:gd name="T36" fmla="*/ 0 w 67"/>
                    <a:gd name="T37" fmla="*/ 1 h 51"/>
                    <a:gd name="T38" fmla="*/ 0 w 67"/>
                    <a:gd name="T39" fmla="*/ 1 h 51"/>
                    <a:gd name="T40" fmla="*/ 0 w 67"/>
                    <a:gd name="T41" fmla="*/ 1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chemeClr val="tx1"/>
                  </a:solidFill>
                  <a:prstDash val="solid"/>
                  <a:round/>
                  <a:headEnd/>
                  <a:tailEnd/>
                </a:ln>
              </p:spPr>
              <p:txBody>
                <a:bodyPr/>
                <a:lstStyle/>
                <a:p>
                  <a:endParaRPr lang="en-US"/>
                </a:p>
              </p:txBody>
            </p:sp>
          </p:grpSp>
          <p:sp>
            <p:nvSpPr>
              <p:cNvPr id="40" name="Freeform 41"/>
              <p:cNvSpPr>
                <a:spLocks/>
              </p:cNvSpPr>
              <p:nvPr>
                <p:custDataLst>
                  <p:tags r:id="rId34"/>
                </p:custDataLst>
              </p:nvPr>
            </p:nvSpPr>
            <p:spPr bwMode="auto">
              <a:xfrm>
                <a:off x="2635250" y="3019425"/>
                <a:ext cx="31750" cy="58738"/>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FFFFFF"/>
              </a:solidFill>
              <a:ln w="9525" cmpd="sng">
                <a:solidFill>
                  <a:schemeClr val="tx1"/>
                </a:solidFill>
                <a:prstDash val="solid"/>
                <a:round/>
                <a:headEnd/>
                <a:tailEnd/>
              </a:ln>
            </p:spPr>
            <p:txBody>
              <a:bodyPr/>
              <a:lstStyle/>
              <a:p>
                <a:endParaRPr lang="en-US"/>
              </a:p>
            </p:txBody>
          </p:sp>
          <p:sp>
            <p:nvSpPr>
              <p:cNvPr id="41" name="Freeform 42"/>
              <p:cNvSpPr>
                <a:spLocks/>
              </p:cNvSpPr>
              <p:nvPr>
                <p:custDataLst>
                  <p:tags r:id="rId35"/>
                </p:custDataLst>
              </p:nvPr>
            </p:nvSpPr>
            <p:spPr bwMode="auto">
              <a:xfrm>
                <a:off x="2690813" y="3025775"/>
                <a:ext cx="1587" cy="58738"/>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FFFFFF"/>
              </a:solidFill>
              <a:ln w="9525" cmpd="sng">
                <a:solidFill>
                  <a:schemeClr val="tx1"/>
                </a:solidFill>
                <a:prstDash val="solid"/>
                <a:round/>
                <a:headEnd/>
                <a:tailEnd/>
              </a:ln>
            </p:spPr>
            <p:txBody>
              <a:bodyPr/>
              <a:lstStyle/>
              <a:p>
                <a:endParaRPr lang="en-US"/>
              </a:p>
            </p:txBody>
          </p:sp>
          <p:sp>
            <p:nvSpPr>
              <p:cNvPr id="42" name="Freeform 43"/>
              <p:cNvSpPr>
                <a:spLocks/>
              </p:cNvSpPr>
              <p:nvPr>
                <p:custDataLst>
                  <p:tags r:id="rId36"/>
                </p:custDataLst>
              </p:nvPr>
            </p:nvSpPr>
            <p:spPr bwMode="auto">
              <a:xfrm>
                <a:off x="2703513" y="3027363"/>
                <a:ext cx="6350" cy="58737"/>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43" name="Freeform 44"/>
              <p:cNvSpPr>
                <a:spLocks/>
              </p:cNvSpPr>
              <p:nvPr>
                <p:custDataLst>
                  <p:tags r:id="rId37"/>
                </p:custDataLst>
              </p:nvPr>
            </p:nvSpPr>
            <p:spPr bwMode="auto">
              <a:xfrm>
                <a:off x="2717800" y="3017838"/>
                <a:ext cx="7938" cy="5715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FFFFFF"/>
              </a:solidFill>
              <a:ln w="9525" cmpd="sng">
                <a:solidFill>
                  <a:schemeClr val="tx1"/>
                </a:solidFill>
                <a:prstDash val="solid"/>
                <a:round/>
                <a:headEnd/>
                <a:tailEnd/>
              </a:ln>
            </p:spPr>
            <p:txBody>
              <a:bodyPr/>
              <a:lstStyle/>
              <a:p>
                <a:endParaRPr lang="en-US"/>
              </a:p>
            </p:txBody>
          </p:sp>
          <p:sp>
            <p:nvSpPr>
              <p:cNvPr id="44" name="Freeform 45"/>
              <p:cNvSpPr>
                <a:spLocks/>
              </p:cNvSpPr>
              <p:nvPr>
                <p:custDataLst>
                  <p:tags r:id="rId38"/>
                </p:custDataLst>
              </p:nvPr>
            </p:nvSpPr>
            <p:spPr bwMode="auto">
              <a:xfrm>
                <a:off x="2697163" y="3009900"/>
                <a:ext cx="11112" cy="58738"/>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45" name="Freeform 46"/>
              <p:cNvSpPr>
                <a:spLocks/>
              </p:cNvSpPr>
              <p:nvPr>
                <p:custDataLst>
                  <p:tags r:id="rId39"/>
                </p:custDataLst>
              </p:nvPr>
            </p:nvSpPr>
            <p:spPr bwMode="auto">
              <a:xfrm>
                <a:off x="2746375" y="3038475"/>
                <a:ext cx="14288" cy="60325"/>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FFFFFF"/>
              </a:solidFill>
              <a:ln w="9525" cmpd="sng">
                <a:solidFill>
                  <a:schemeClr val="tx1"/>
                </a:solidFill>
                <a:prstDash val="solid"/>
                <a:round/>
                <a:headEnd/>
                <a:tailEnd/>
              </a:ln>
            </p:spPr>
            <p:txBody>
              <a:bodyPr/>
              <a:lstStyle/>
              <a:p>
                <a:endParaRPr lang="en-US"/>
              </a:p>
            </p:txBody>
          </p:sp>
          <p:sp>
            <p:nvSpPr>
              <p:cNvPr id="46" name="Line 47"/>
              <p:cNvSpPr>
                <a:spLocks noChangeShapeType="1"/>
              </p:cNvSpPr>
              <p:nvPr>
                <p:custDataLst>
                  <p:tags r:id="rId40"/>
                </p:custDataLst>
              </p:nvPr>
            </p:nvSpPr>
            <p:spPr bwMode="auto">
              <a:xfrm flipH="1" flipV="1">
                <a:off x="2754313" y="3035300"/>
                <a:ext cx="6350" cy="95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 name="Line 48"/>
              <p:cNvSpPr>
                <a:spLocks noChangeShapeType="1"/>
              </p:cNvSpPr>
              <p:nvPr>
                <p:custDataLst>
                  <p:tags r:id="rId41"/>
                </p:custDataLst>
              </p:nvPr>
            </p:nvSpPr>
            <p:spPr bwMode="auto">
              <a:xfrm flipH="1">
                <a:off x="2754313" y="3060700"/>
                <a:ext cx="6350" cy="1111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 name="Freeform 49"/>
              <p:cNvSpPr>
                <a:spLocks/>
              </p:cNvSpPr>
              <p:nvPr>
                <p:custDataLst>
                  <p:tags r:id="rId42"/>
                </p:custDataLst>
              </p:nvPr>
            </p:nvSpPr>
            <p:spPr bwMode="auto">
              <a:xfrm>
                <a:off x="2754313" y="3055938"/>
                <a:ext cx="11112" cy="58737"/>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FFFFFF"/>
              </a:solidFill>
              <a:ln w="9525" cmpd="sng">
                <a:solidFill>
                  <a:schemeClr val="tx1"/>
                </a:solidFill>
                <a:prstDash val="solid"/>
                <a:round/>
                <a:headEnd/>
                <a:tailEnd/>
              </a:ln>
            </p:spPr>
            <p:txBody>
              <a:bodyPr/>
              <a:lstStyle/>
              <a:p>
                <a:endParaRPr lang="en-US"/>
              </a:p>
            </p:txBody>
          </p:sp>
          <p:sp>
            <p:nvSpPr>
              <p:cNvPr id="49" name="Freeform 50"/>
              <p:cNvSpPr>
                <a:spLocks/>
              </p:cNvSpPr>
              <p:nvPr>
                <p:custDataLst>
                  <p:tags r:id="rId43"/>
                </p:custDataLst>
              </p:nvPr>
            </p:nvSpPr>
            <p:spPr bwMode="auto">
              <a:xfrm>
                <a:off x="2760663" y="3084513"/>
                <a:ext cx="17462" cy="55562"/>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FFFFFF"/>
              </a:solidFill>
              <a:ln w="9525" cmpd="sng">
                <a:solidFill>
                  <a:schemeClr val="tx1"/>
                </a:solidFill>
                <a:prstDash val="solid"/>
                <a:round/>
                <a:headEnd/>
                <a:tailEnd/>
              </a:ln>
            </p:spPr>
            <p:txBody>
              <a:bodyPr/>
              <a:lstStyle/>
              <a:p>
                <a:endParaRPr lang="en-US"/>
              </a:p>
            </p:txBody>
          </p:sp>
          <p:sp>
            <p:nvSpPr>
              <p:cNvPr id="50" name="Freeform 51"/>
              <p:cNvSpPr>
                <a:spLocks/>
              </p:cNvSpPr>
              <p:nvPr>
                <p:custDataLst>
                  <p:tags r:id="rId44"/>
                </p:custDataLst>
              </p:nvPr>
            </p:nvSpPr>
            <p:spPr bwMode="auto">
              <a:xfrm>
                <a:off x="2767013" y="3132138"/>
                <a:ext cx="15875" cy="5715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51" name="Freeform 52"/>
              <p:cNvSpPr>
                <a:spLocks/>
              </p:cNvSpPr>
              <p:nvPr>
                <p:custDataLst>
                  <p:tags r:id="rId45"/>
                </p:custDataLst>
              </p:nvPr>
            </p:nvSpPr>
            <p:spPr bwMode="auto">
              <a:xfrm>
                <a:off x="2776538" y="3157538"/>
                <a:ext cx="3175" cy="5715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FFFFFF"/>
              </a:solidFill>
              <a:ln w="9525" cmpd="sng">
                <a:solidFill>
                  <a:schemeClr val="tx1"/>
                </a:solidFill>
                <a:prstDash val="solid"/>
                <a:round/>
                <a:headEnd/>
                <a:tailEnd/>
              </a:ln>
            </p:spPr>
            <p:txBody>
              <a:bodyPr/>
              <a:lstStyle/>
              <a:p>
                <a:endParaRPr lang="en-US"/>
              </a:p>
            </p:txBody>
          </p:sp>
          <p:sp>
            <p:nvSpPr>
              <p:cNvPr id="52" name="Freeform 53"/>
              <p:cNvSpPr>
                <a:spLocks/>
              </p:cNvSpPr>
              <p:nvPr>
                <p:custDataLst>
                  <p:tags r:id="rId46"/>
                </p:custDataLst>
              </p:nvPr>
            </p:nvSpPr>
            <p:spPr bwMode="auto">
              <a:xfrm>
                <a:off x="2798763" y="3187700"/>
                <a:ext cx="1587" cy="55563"/>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53" name="Freeform 54"/>
              <p:cNvSpPr>
                <a:spLocks/>
              </p:cNvSpPr>
              <p:nvPr>
                <p:custDataLst>
                  <p:tags r:id="rId47"/>
                </p:custDataLst>
              </p:nvPr>
            </p:nvSpPr>
            <p:spPr bwMode="auto">
              <a:xfrm>
                <a:off x="2760663" y="3200400"/>
                <a:ext cx="15875" cy="58738"/>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FFFFFF"/>
              </a:solidFill>
              <a:ln w="9525" cmpd="sng">
                <a:solidFill>
                  <a:schemeClr val="tx1"/>
                </a:solidFill>
                <a:prstDash val="solid"/>
                <a:round/>
                <a:headEnd/>
                <a:tailEnd/>
              </a:ln>
            </p:spPr>
            <p:txBody>
              <a:bodyPr/>
              <a:lstStyle/>
              <a:p>
                <a:endParaRPr lang="en-US"/>
              </a:p>
            </p:txBody>
          </p:sp>
          <p:sp>
            <p:nvSpPr>
              <p:cNvPr id="54" name="Freeform 55"/>
              <p:cNvSpPr>
                <a:spLocks/>
              </p:cNvSpPr>
              <p:nvPr>
                <p:custDataLst>
                  <p:tags r:id="rId48"/>
                </p:custDataLst>
              </p:nvPr>
            </p:nvSpPr>
            <p:spPr bwMode="auto">
              <a:xfrm>
                <a:off x="2746375" y="3265488"/>
                <a:ext cx="23813" cy="57150"/>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FFFFFF"/>
              </a:solidFill>
              <a:ln w="9525" cmpd="sng">
                <a:solidFill>
                  <a:schemeClr val="tx1"/>
                </a:solidFill>
                <a:prstDash val="solid"/>
                <a:round/>
                <a:headEnd/>
                <a:tailEnd/>
              </a:ln>
            </p:spPr>
            <p:txBody>
              <a:bodyPr/>
              <a:lstStyle/>
              <a:p>
                <a:endParaRPr lang="en-US"/>
              </a:p>
            </p:txBody>
          </p:sp>
          <p:sp>
            <p:nvSpPr>
              <p:cNvPr id="55" name="Freeform 56"/>
              <p:cNvSpPr>
                <a:spLocks/>
              </p:cNvSpPr>
              <p:nvPr>
                <p:custDataLst>
                  <p:tags r:id="rId49"/>
                </p:custDataLst>
              </p:nvPr>
            </p:nvSpPr>
            <p:spPr bwMode="auto">
              <a:xfrm>
                <a:off x="2765425" y="3241675"/>
                <a:ext cx="12700" cy="5715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56" name="Freeform 57"/>
              <p:cNvSpPr>
                <a:spLocks/>
              </p:cNvSpPr>
              <p:nvPr>
                <p:custDataLst>
                  <p:tags r:id="rId50"/>
                </p:custDataLst>
              </p:nvPr>
            </p:nvSpPr>
            <p:spPr bwMode="auto">
              <a:xfrm>
                <a:off x="2247900" y="2913063"/>
                <a:ext cx="15875" cy="57150"/>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FFFFFF"/>
              </a:solidFill>
              <a:ln w="9525" cmpd="sng">
                <a:solidFill>
                  <a:schemeClr val="tx1"/>
                </a:solidFill>
                <a:prstDash val="solid"/>
                <a:round/>
                <a:headEnd/>
                <a:tailEnd/>
              </a:ln>
            </p:spPr>
            <p:txBody>
              <a:bodyPr/>
              <a:lstStyle/>
              <a:p>
                <a:endParaRPr lang="en-US"/>
              </a:p>
            </p:txBody>
          </p:sp>
          <p:grpSp>
            <p:nvGrpSpPr>
              <p:cNvPr id="57" name="Group 58"/>
              <p:cNvGrpSpPr>
                <a:grpSpLocks/>
              </p:cNvGrpSpPr>
              <p:nvPr>
                <p:custDataLst>
                  <p:tags r:id="rId51"/>
                </p:custDataLst>
              </p:nvPr>
            </p:nvGrpSpPr>
            <p:grpSpPr bwMode="auto">
              <a:xfrm>
                <a:off x="2373313" y="2746375"/>
                <a:ext cx="131762" cy="195263"/>
                <a:chOff x="1199" y="2121"/>
                <a:chExt cx="97" cy="123"/>
              </a:xfrm>
              <a:solidFill>
                <a:srgbClr val="FFFFFF"/>
              </a:solidFill>
            </p:grpSpPr>
            <p:sp>
              <p:nvSpPr>
                <p:cNvPr id="58" name="Freeform 59"/>
                <p:cNvSpPr>
                  <a:spLocks/>
                </p:cNvSpPr>
                <p:nvPr/>
              </p:nvSpPr>
              <p:spPr bwMode="auto">
                <a:xfrm>
                  <a:off x="1274" y="2236"/>
                  <a:ext cx="16"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1 w 52"/>
                    <a:gd name="T15" fmla="*/ 0 h 25"/>
                    <a:gd name="T16" fmla="*/ 1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chemeClr val="tx1"/>
                  </a:solidFill>
                  <a:prstDash val="solid"/>
                  <a:round/>
                  <a:headEnd/>
                  <a:tailEnd/>
                </a:ln>
              </p:spPr>
              <p:txBody>
                <a:bodyPr/>
                <a:lstStyle/>
                <a:p>
                  <a:endParaRPr lang="en-US"/>
                </a:p>
              </p:txBody>
            </p:sp>
            <p:sp>
              <p:nvSpPr>
                <p:cNvPr id="59" name="Freeform 60"/>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chemeClr val="tx1"/>
                  </a:solidFill>
                  <a:prstDash val="solid"/>
                  <a:round/>
                  <a:headEnd/>
                  <a:tailEnd/>
                </a:ln>
              </p:spPr>
              <p:txBody>
                <a:bodyPr/>
                <a:lstStyle/>
                <a:p>
                  <a:endParaRPr lang="en-US"/>
                </a:p>
              </p:txBody>
            </p:sp>
            <p:sp>
              <p:nvSpPr>
                <p:cNvPr id="60" name="Freeform 61"/>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1 w 67"/>
                    <a:gd name="T21" fmla="*/ 0 h 86"/>
                    <a:gd name="T22" fmla="*/ 1 w 67"/>
                    <a:gd name="T23" fmla="*/ 1 h 86"/>
                    <a:gd name="T24" fmla="*/ 1 w 67"/>
                    <a:gd name="T25" fmla="*/ 1 h 86"/>
                    <a:gd name="T26" fmla="*/ 1 w 67"/>
                    <a:gd name="T27" fmla="*/ 1 h 86"/>
                    <a:gd name="T28" fmla="*/ 1 w 67"/>
                    <a:gd name="T29" fmla="*/ 1 h 86"/>
                    <a:gd name="T30" fmla="*/ 1 w 67"/>
                    <a:gd name="T31" fmla="*/ 1 h 86"/>
                    <a:gd name="T32" fmla="*/ 0 w 67"/>
                    <a:gd name="T33" fmla="*/ 1 h 86"/>
                    <a:gd name="T34" fmla="*/ 0 w 67"/>
                    <a:gd name="T35" fmla="*/ 1 h 86"/>
                    <a:gd name="T36" fmla="*/ 0 w 67"/>
                    <a:gd name="T37" fmla="*/ 1 h 86"/>
                    <a:gd name="T38" fmla="*/ 0 w 67"/>
                    <a:gd name="T39" fmla="*/ 1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chemeClr val="tx1"/>
                  </a:solidFill>
                  <a:prstDash val="solid"/>
                  <a:round/>
                  <a:headEnd/>
                  <a:tailEnd/>
                </a:ln>
              </p:spPr>
              <p:txBody>
                <a:bodyPr/>
                <a:lstStyle/>
                <a:p>
                  <a:endParaRPr lang="en-US"/>
                </a:p>
              </p:txBody>
            </p:sp>
            <p:sp>
              <p:nvSpPr>
                <p:cNvPr id="61" name="Freeform 62"/>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1 h 86"/>
                    <a:gd name="T18" fmla="*/ 0 w 49"/>
                    <a:gd name="T19" fmla="*/ 1 h 86"/>
                    <a:gd name="T20" fmla="*/ 0 w 49"/>
                    <a:gd name="T21" fmla="*/ 1 h 86"/>
                    <a:gd name="T22" fmla="*/ 0 w 49"/>
                    <a:gd name="T23" fmla="*/ 1 h 86"/>
                    <a:gd name="T24" fmla="*/ 0 w 49"/>
                    <a:gd name="T25" fmla="*/ 1 h 86"/>
                    <a:gd name="T26" fmla="*/ 0 w 49"/>
                    <a:gd name="T27" fmla="*/ 1 h 86"/>
                    <a:gd name="T28" fmla="*/ 0 w 49"/>
                    <a:gd name="T29" fmla="*/ 1 h 86"/>
                    <a:gd name="T30" fmla="*/ 0 w 49"/>
                    <a:gd name="T31" fmla="*/ 1 h 86"/>
                    <a:gd name="T32" fmla="*/ 0 w 49"/>
                    <a:gd name="T33" fmla="*/ 1 h 86"/>
                    <a:gd name="T34" fmla="*/ 1 w 49"/>
                    <a:gd name="T35" fmla="*/ 1 h 86"/>
                    <a:gd name="T36" fmla="*/ 1 w 49"/>
                    <a:gd name="T37" fmla="*/ 1 h 86"/>
                    <a:gd name="T38" fmla="*/ 1 w 49"/>
                    <a:gd name="T39" fmla="*/ 0 h 86"/>
                    <a:gd name="T40" fmla="*/ 1 w 49"/>
                    <a:gd name="T41" fmla="*/ 0 h 86"/>
                    <a:gd name="T42" fmla="*/ 1 w 49"/>
                    <a:gd name="T43" fmla="*/ 0 h 86"/>
                    <a:gd name="T44" fmla="*/ 1 w 49"/>
                    <a:gd name="T45" fmla="*/ 0 h 86"/>
                    <a:gd name="T46" fmla="*/ 1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chemeClr val="tx1"/>
                  </a:solidFill>
                  <a:prstDash val="solid"/>
                  <a:round/>
                  <a:headEnd/>
                  <a:tailEnd/>
                </a:ln>
              </p:spPr>
              <p:txBody>
                <a:bodyPr/>
                <a:lstStyle/>
                <a:p>
                  <a:endParaRPr lang="en-US"/>
                </a:p>
              </p:txBody>
            </p:sp>
            <p:sp>
              <p:nvSpPr>
                <p:cNvPr id="62" name="Freeform 63"/>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chemeClr val="tx1"/>
                  </a:solidFill>
                  <a:prstDash val="solid"/>
                  <a:round/>
                  <a:headEnd/>
                  <a:tailEnd/>
                </a:ln>
              </p:spPr>
              <p:txBody>
                <a:bodyPr/>
                <a:lstStyle/>
                <a:p>
                  <a:endParaRPr lang="en-US"/>
                </a:p>
              </p:txBody>
            </p:sp>
            <p:sp>
              <p:nvSpPr>
                <p:cNvPr id="63" name="Freeform 64"/>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1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chemeClr val="tx1"/>
                  </a:solidFill>
                  <a:prstDash val="solid"/>
                  <a:round/>
                  <a:headEnd/>
                  <a:tailEnd/>
                </a:ln>
              </p:spPr>
              <p:txBody>
                <a:bodyPr/>
                <a:lstStyle/>
                <a:p>
                  <a:endParaRPr lang="en-US"/>
                </a:p>
              </p:txBody>
            </p:sp>
            <p:sp>
              <p:nvSpPr>
                <p:cNvPr id="64" name="Freeform 65"/>
                <p:cNvSpPr>
                  <a:spLocks/>
                </p:cNvSpPr>
                <p:nvPr/>
              </p:nvSpPr>
              <p:spPr bwMode="auto">
                <a:xfrm>
                  <a:off x="1247" y="2167"/>
                  <a:ext cx="6"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1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chemeClr val="tx1"/>
                  </a:solidFill>
                  <a:prstDash val="solid"/>
                  <a:round/>
                  <a:headEnd/>
                  <a:tailEnd/>
                </a:ln>
              </p:spPr>
              <p:txBody>
                <a:bodyPr/>
                <a:lstStyle/>
                <a:p>
                  <a:endParaRPr lang="en-US"/>
                </a:p>
              </p:txBody>
            </p:sp>
            <p:sp>
              <p:nvSpPr>
                <p:cNvPr id="65" name="Freeform 66"/>
                <p:cNvSpPr>
                  <a:spLocks/>
                </p:cNvSpPr>
                <p:nvPr/>
              </p:nvSpPr>
              <p:spPr bwMode="auto">
                <a:xfrm>
                  <a:off x="1248" y="2190"/>
                  <a:ext cx="8"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chemeClr val="tx1"/>
                  </a:solidFill>
                  <a:prstDash val="solid"/>
                  <a:round/>
                  <a:headEnd/>
                  <a:tailEnd/>
                </a:ln>
              </p:spPr>
              <p:txBody>
                <a:bodyPr/>
                <a:lstStyle/>
                <a:p>
                  <a:endParaRPr lang="en-US"/>
                </a:p>
              </p:txBody>
            </p:sp>
            <p:sp>
              <p:nvSpPr>
                <p:cNvPr id="66" name="Freeform 67"/>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1 h 55"/>
                    <a:gd name="T14" fmla="*/ 0 w 34"/>
                    <a:gd name="T15" fmla="*/ 1 h 55"/>
                    <a:gd name="T16" fmla="*/ 0 w 34"/>
                    <a:gd name="T17" fmla="*/ 1 h 55"/>
                    <a:gd name="T18" fmla="*/ 0 w 34"/>
                    <a:gd name="T19" fmla="*/ 1 h 55"/>
                    <a:gd name="T20" fmla="*/ 0 w 34"/>
                    <a:gd name="T21" fmla="*/ 1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chemeClr val="tx1"/>
                  </a:solidFill>
                  <a:prstDash val="solid"/>
                  <a:round/>
                  <a:headEnd/>
                  <a:tailEnd/>
                </a:ln>
              </p:spPr>
              <p:txBody>
                <a:bodyPr/>
                <a:lstStyle/>
                <a:p>
                  <a:endParaRPr lang="en-US"/>
                </a:p>
              </p:txBody>
            </p:sp>
            <p:sp>
              <p:nvSpPr>
                <p:cNvPr id="67" name="Freeform 68"/>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chemeClr val="tx1"/>
                  </a:solidFill>
                  <a:prstDash val="solid"/>
                  <a:round/>
                  <a:headEnd/>
                  <a:tailEnd/>
                </a:ln>
              </p:spPr>
              <p:txBody>
                <a:bodyPr/>
                <a:lstStyle/>
                <a:p>
                  <a:endParaRPr lang="en-US"/>
                </a:p>
              </p:txBody>
            </p:sp>
          </p:grpSp>
          <p:sp>
            <p:nvSpPr>
              <p:cNvPr id="68" name="Freeform 69"/>
              <p:cNvSpPr>
                <a:spLocks/>
              </p:cNvSpPr>
              <p:nvPr>
                <p:custDataLst>
                  <p:tags r:id="rId52"/>
                </p:custDataLst>
              </p:nvPr>
            </p:nvSpPr>
            <p:spPr bwMode="auto">
              <a:xfrm>
                <a:off x="8186738" y="4173538"/>
                <a:ext cx="12700" cy="5715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FFFFFF"/>
              </a:solidFill>
              <a:ln w="9525" cmpd="sng">
                <a:solidFill>
                  <a:schemeClr val="tx1"/>
                </a:solidFill>
                <a:prstDash val="solid"/>
                <a:round/>
                <a:headEnd/>
                <a:tailEnd/>
              </a:ln>
            </p:spPr>
            <p:txBody>
              <a:bodyPr/>
              <a:lstStyle/>
              <a:p>
                <a:endParaRPr lang="en-US"/>
              </a:p>
            </p:txBody>
          </p:sp>
          <p:sp>
            <p:nvSpPr>
              <p:cNvPr id="69" name="Freeform 70"/>
              <p:cNvSpPr>
                <a:spLocks/>
              </p:cNvSpPr>
              <p:nvPr>
                <p:custDataLst>
                  <p:tags r:id="rId53"/>
                </p:custDataLst>
              </p:nvPr>
            </p:nvSpPr>
            <p:spPr bwMode="auto">
              <a:xfrm>
                <a:off x="8196263" y="4264025"/>
                <a:ext cx="9525" cy="58738"/>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FFFFFF"/>
              </a:solidFill>
              <a:ln w="9525" cmpd="sng">
                <a:solidFill>
                  <a:schemeClr val="tx1"/>
                </a:solidFill>
                <a:prstDash val="solid"/>
                <a:round/>
                <a:headEnd/>
                <a:tailEnd/>
              </a:ln>
            </p:spPr>
            <p:txBody>
              <a:bodyPr/>
              <a:lstStyle/>
              <a:p>
                <a:endParaRPr lang="en-US"/>
              </a:p>
            </p:txBody>
          </p:sp>
          <p:sp>
            <p:nvSpPr>
              <p:cNvPr id="70" name="Freeform 71"/>
              <p:cNvSpPr>
                <a:spLocks/>
              </p:cNvSpPr>
              <p:nvPr>
                <p:custDataLst>
                  <p:tags r:id="rId54"/>
                </p:custDataLst>
              </p:nvPr>
            </p:nvSpPr>
            <p:spPr bwMode="auto">
              <a:xfrm>
                <a:off x="8310563" y="4173538"/>
                <a:ext cx="77787" cy="1301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FFFFFF"/>
              </a:solidFill>
              <a:ln w="9525" cmpd="sng">
                <a:solidFill>
                  <a:schemeClr val="tx1"/>
                </a:solidFill>
                <a:prstDash val="solid"/>
                <a:round/>
                <a:headEnd/>
                <a:tailEnd/>
              </a:ln>
            </p:spPr>
            <p:txBody>
              <a:bodyPr/>
              <a:lstStyle/>
              <a:p>
                <a:endParaRPr lang="en-US"/>
              </a:p>
            </p:txBody>
          </p:sp>
          <p:sp>
            <p:nvSpPr>
              <p:cNvPr id="71" name="Freeform 72"/>
              <p:cNvSpPr>
                <a:spLocks/>
              </p:cNvSpPr>
              <p:nvPr>
                <p:custDataLst>
                  <p:tags r:id="rId55"/>
                </p:custDataLst>
              </p:nvPr>
            </p:nvSpPr>
            <p:spPr bwMode="auto">
              <a:xfrm>
                <a:off x="8310563" y="4146550"/>
                <a:ext cx="14287" cy="5715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FFFFFF"/>
              </a:solidFill>
              <a:ln w="9525" cmpd="sng">
                <a:solidFill>
                  <a:schemeClr val="tx1"/>
                </a:solidFill>
                <a:prstDash val="solid"/>
                <a:round/>
                <a:headEnd/>
                <a:tailEnd/>
              </a:ln>
            </p:spPr>
            <p:txBody>
              <a:bodyPr/>
              <a:lstStyle/>
              <a:p>
                <a:endParaRPr lang="en-US"/>
              </a:p>
            </p:txBody>
          </p:sp>
          <p:grpSp>
            <p:nvGrpSpPr>
              <p:cNvPr id="72" name="Group 73"/>
              <p:cNvGrpSpPr>
                <a:grpSpLocks/>
              </p:cNvGrpSpPr>
              <p:nvPr>
                <p:custDataLst>
                  <p:tags r:id="rId56"/>
                </p:custDataLst>
              </p:nvPr>
            </p:nvGrpSpPr>
            <p:grpSpPr bwMode="auto">
              <a:xfrm>
                <a:off x="8001000" y="4667250"/>
                <a:ext cx="458788" cy="404813"/>
                <a:chOff x="5372" y="3323"/>
                <a:chExt cx="341" cy="253"/>
              </a:xfrm>
              <a:solidFill>
                <a:srgbClr val="FFFFFF"/>
              </a:solidFill>
            </p:grpSpPr>
            <p:sp>
              <p:nvSpPr>
                <p:cNvPr id="73" name="Freeform 74"/>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1 w 53"/>
                    <a:gd name="T17" fmla="*/ 0 h 33"/>
                    <a:gd name="T18" fmla="*/ 1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4" name="Freeform 75"/>
                <p:cNvSpPr>
                  <a:spLocks/>
                </p:cNvSpPr>
                <p:nvPr/>
              </p:nvSpPr>
              <p:spPr bwMode="auto">
                <a:xfrm>
                  <a:off x="5379" y="3446"/>
                  <a:ext cx="202" cy="117"/>
                </a:xfrm>
                <a:custGeom>
                  <a:avLst/>
                  <a:gdLst>
                    <a:gd name="T0" fmla="*/ 0 w 631"/>
                    <a:gd name="T1" fmla="*/ 3 h 358"/>
                    <a:gd name="T2" fmla="*/ 1 w 631"/>
                    <a:gd name="T3" fmla="*/ 3 h 358"/>
                    <a:gd name="T4" fmla="*/ 1 w 631"/>
                    <a:gd name="T5" fmla="*/ 3 h 358"/>
                    <a:gd name="T6" fmla="*/ 1 w 631"/>
                    <a:gd name="T7" fmla="*/ 3 h 358"/>
                    <a:gd name="T8" fmla="*/ 1 w 631"/>
                    <a:gd name="T9" fmla="*/ 3 h 358"/>
                    <a:gd name="T10" fmla="*/ 1 w 631"/>
                    <a:gd name="T11" fmla="*/ 3 h 358"/>
                    <a:gd name="T12" fmla="*/ 1 w 631"/>
                    <a:gd name="T13" fmla="*/ 3 h 358"/>
                    <a:gd name="T14" fmla="*/ 2 w 631"/>
                    <a:gd name="T15" fmla="*/ 3 h 358"/>
                    <a:gd name="T16" fmla="*/ 2 w 631"/>
                    <a:gd name="T17" fmla="*/ 2 h 358"/>
                    <a:gd name="T18" fmla="*/ 2 w 631"/>
                    <a:gd name="T19" fmla="*/ 2 h 358"/>
                    <a:gd name="T20" fmla="*/ 3 w 631"/>
                    <a:gd name="T21" fmla="*/ 2 h 358"/>
                    <a:gd name="T22" fmla="*/ 4 w 631"/>
                    <a:gd name="T23" fmla="*/ 2 h 358"/>
                    <a:gd name="T24" fmla="*/ 4 w 631"/>
                    <a:gd name="T25" fmla="*/ 2 h 358"/>
                    <a:gd name="T26" fmla="*/ 4 w 631"/>
                    <a:gd name="T27" fmla="*/ 2 h 358"/>
                    <a:gd name="T28" fmla="*/ 4 w 631"/>
                    <a:gd name="T29" fmla="*/ 2 h 358"/>
                    <a:gd name="T30" fmla="*/ 4 w 631"/>
                    <a:gd name="T31" fmla="*/ 1 h 358"/>
                    <a:gd name="T32" fmla="*/ 5 w 631"/>
                    <a:gd name="T33" fmla="*/ 1 h 358"/>
                    <a:gd name="T34" fmla="*/ 5 w 631"/>
                    <a:gd name="T35" fmla="*/ 1 h 358"/>
                    <a:gd name="T36" fmla="*/ 5 w 631"/>
                    <a:gd name="T37" fmla="*/ 1 h 358"/>
                    <a:gd name="T38" fmla="*/ 6 w 631"/>
                    <a:gd name="T39" fmla="*/ 0 h 358"/>
                    <a:gd name="T40" fmla="*/ 6 w 631"/>
                    <a:gd name="T41" fmla="*/ 0 h 358"/>
                    <a:gd name="T42" fmla="*/ 6 w 631"/>
                    <a:gd name="T43" fmla="*/ 0 h 358"/>
                    <a:gd name="T44" fmla="*/ 6 w 631"/>
                    <a:gd name="T45" fmla="*/ 0 h 358"/>
                    <a:gd name="T46" fmla="*/ 6 w 631"/>
                    <a:gd name="T47" fmla="*/ 0 h 358"/>
                    <a:gd name="T48" fmla="*/ 6 w 631"/>
                    <a:gd name="T49" fmla="*/ 1 h 358"/>
                    <a:gd name="T50" fmla="*/ 6 w 631"/>
                    <a:gd name="T51" fmla="*/ 1 h 358"/>
                    <a:gd name="T52" fmla="*/ 6 w 631"/>
                    <a:gd name="T53" fmla="*/ 1 h 358"/>
                    <a:gd name="T54" fmla="*/ 5 w 631"/>
                    <a:gd name="T55" fmla="*/ 2 h 358"/>
                    <a:gd name="T56" fmla="*/ 5 w 631"/>
                    <a:gd name="T57" fmla="*/ 2 h 358"/>
                    <a:gd name="T58" fmla="*/ 4 w 631"/>
                    <a:gd name="T59" fmla="*/ 2 h 358"/>
                    <a:gd name="T60" fmla="*/ 4 w 631"/>
                    <a:gd name="T61" fmla="*/ 2 h 358"/>
                    <a:gd name="T62" fmla="*/ 4 w 631"/>
                    <a:gd name="T63" fmla="*/ 2 h 358"/>
                    <a:gd name="T64" fmla="*/ 4 w 631"/>
                    <a:gd name="T65" fmla="*/ 2 h 358"/>
                    <a:gd name="T66" fmla="*/ 4 w 631"/>
                    <a:gd name="T67" fmla="*/ 3 h 358"/>
                    <a:gd name="T68" fmla="*/ 4 w 631"/>
                    <a:gd name="T69" fmla="*/ 3 h 358"/>
                    <a:gd name="T70" fmla="*/ 4 w 631"/>
                    <a:gd name="T71" fmla="*/ 2 h 358"/>
                    <a:gd name="T72" fmla="*/ 3 w 631"/>
                    <a:gd name="T73" fmla="*/ 3 h 358"/>
                    <a:gd name="T74" fmla="*/ 3 w 631"/>
                    <a:gd name="T75" fmla="*/ 3 h 358"/>
                    <a:gd name="T76" fmla="*/ 2 w 631"/>
                    <a:gd name="T77" fmla="*/ 4 h 358"/>
                    <a:gd name="T78" fmla="*/ 2 w 631"/>
                    <a:gd name="T79" fmla="*/ 4 h 358"/>
                    <a:gd name="T80" fmla="*/ 1 w 631"/>
                    <a:gd name="T81" fmla="*/ 4 h 358"/>
                    <a:gd name="T82" fmla="*/ 1 w 631"/>
                    <a:gd name="T83" fmla="*/ 4 h 358"/>
                    <a:gd name="T84" fmla="*/ 1 w 631"/>
                    <a:gd name="T85" fmla="*/ 4 h 358"/>
                    <a:gd name="T86" fmla="*/ 0 w 631"/>
                    <a:gd name="T87" fmla="*/ 4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75" name="Freeform 76"/>
                <p:cNvSpPr>
                  <a:spLocks/>
                </p:cNvSpPr>
                <p:nvPr/>
              </p:nvSpPr>
              <p:spPr bwMode="auto">
                <a:xfrm>
                  <a:off x="5597" y="3323"/>
                  <a:ext cx="116" cy="141"/>
                </a:xfrm>
                <a:custGeom>
                  <a:avLst/>
                  <a:gdLst>
                    <a:gd name="T0" fmla="*/ 1 w 359"/>
                    <a:gd name="T1" fmla="*/ 3 h 431"/>
                    <a:gd name="T2" fmla="*/ 1 w 359"/>
                    <a:gd name="T3" fmla="*/ 3 h 431"/>
                    <a:gd name="T4" fmla="*/ 2 w 359"/>
                    <a:gd name="T5" fmla="*/ 2 h 431"/>
                    <a:gd name="T6" fmla="*/ 2 w 359"/>
                    <a:gd name="T7" fmla="*/ 2 h 431"/>
                    <a:gd name="T8" fmla="*/ 2 w 359"/>
                    <a:gd name="T9" fmla="*/ 2 h 431"/>
                    <a:gd name="T10" fmla="*/ 2 w 359"/>
                    <a:gd name="T11" fmla="*/ 2 h 431"/>
                    <a:gd name="T12" fmla="*/ 2 w 359"/>
                    <a:gd name="T13" fmla="*/ 1 h 431"/>
                    <a:gd name="T14" fmla="*/ 2 w 359"/>
                    <a:gd name="T15" fmla="*/ 1 h 431"/>
                    <a:gd name="T16" fmla="*/ 2 w 359"/>
                    <a:gd name="T17" fmla="*/ 0 h 431"/>
                    <a:gd name="T18" fmla="*/ 2 w 359"/>
                    <a:gd name="T19" fmla="*/ 0 h 431"/>
                    <a:gd name="T20" fmla="*/ 2 w 359"/>
                    <a:gd name="T21" fmla="*/ 0 h 431"/>
                    <a:gd name="T22" fmla="*/ 2 w 359"/>
                    <a:gd name="T23" fmla="*/ 0 h 431"/>
                    <a:gd name="T24" fmla="*/ 3 w 359"/>
                    <a:gd name="T25" fmla="*/ 1 h 431"/>
                    <a:gd name="T26" fmla="*/ 3 w 359"/>
                    <a:gd name="T27" fmla="*/ 1 h 431"/>
                    <a:gd name="T28" fmla="*/ 3 w 359"/>
                    <a:gd name="T29" fmla="*/ 1 h 431"/>
                    <a:gd name="T30" fmla="*/ 3 w 359"/>
                    <a:gd name="T31" fmla="*/ 1 h 431"/>
                    <a:gd name="T32" fmla="*/ 2 w 359"/>
                    <a:gd name="T33" fmla="*/ 1 h 431"/>
                    <a:gd name="T34" fmla="*/ 2 w 359"/>
                    <a:gd name="T35" fmla="*/ 2 h 431"/>
                    <a:gd name="T36" fmla="*/ 2 w 359"/>
                    <a:gd name="T37" fmla="*/ 2 h 431"/>
                    <a:gd name="T38" fmla="*/ 2 w 359"/>
                    <a:gd name="T39" fmla="*/ 2 h 431"/>
                    <a:gd name="T40" fmla="*/ 3 w 359"/>
                    <a:gd name="T41" fmla="*/ 2 h 431"/>
                    <a:gd name="T42" fmla="*/ 3 w 359"/>
                    <a:gd name="T43" fmla="*/ 2 h 431"/>
                    <a:gd name="T44" fmla="*/ 3 w 359"/>
                    <a:gd name="T45" fmla="*/ 2 h 431"/>
                    <a:gd name="T46" fmla="*/ 3 w 359"/>
                    <a:gd name="T47" fmla="*/ 2 h 431"/>
                    <a:gd name="T48" fmla="*/ 3 w 359"/>
                    <a:gd name="T49" fmla="*/ 2 h 431"/>
                    <a:gd name="T50" fmla="*/ 3 w 359"/>
                    <a:gd name="T51" fmla="*/ 3 h 431"/>
                    <a:gd name="T52" fmla="*/ 3 w 359"/>
                    <a:gd name="T53" fmla="*/ 3 h 431"/>
                    <a:gd name="T54" fmla="*/ 4 w 359"/>
                    <a:gd name="T55" fmla="*/ 2 h 431"/>
                    <a:gd name="T56" fmla="*/ 4 w 359"/>
                    <a:gd name="T57" fmla="*/ 2 h 431"/>
                    <a:gd name="T58" fmla="*/ 4 w 359"/>
                    <a:gd name="T59" fmla="*/ 2 h 431"/>
                    <a:gd name="T60" fmla="*/ 4 w 359"/>
                    <a:gd name="T61" fmla="*/ 3 h 431"/>
                    <a:gd name="T62" fmla="*/ 4 w 359"/>
                    <a:gd name="T63" fmla="*/ 3 h 431"/>
                    <a:gd name="T64" fmla="*/ 3 w 359"/>
                    <a:gd name="T65" fmla="*/ 3 h 431"/>
                    <a:gd name="T66" fmla="*/ 3 w 359"/>
                    <a:gd name="T67" fmla="*/ 3 h 431"/>
                    <a:gd name="T68" fmla="*/ 2 w 359"/>
                    <a:gd name="T69" fmla="*/ 3 h 431"/>
                    <a:gd name="T70" fmla="*/ 2 w 359"/>
                    <a:gd name="T71" fmla="*/ 4 h 431"/>
                    <a:gd name="T72" fmla="*/ 2 w 359"/>
                    <a:gd name="T73" fmla="*/ 4 h 431"/>
                    <a:gd name="T74" fmla="*/ 2 w 359"/>
                    <a:gd name="T75" fmla="*/ 4 h 431"/>
                    <a:gd name="T76" fmla="*/ 1 w 359"/>
                    <a:gd name="T77" fmla="*/ 5 h 431"/>
                    <a:gd name="T78" fmla="*/ 1 w 359"/>
                    <a:gd name="T79" fmla="*/ 5 h 431"/>
                    <a:gd name="T80" fmla="*/ 0 w 359"/>
                    <a:gd name="T81" fmla="*/ 5 h 431"/>
                    <a:gd name="T82" fmla="*/ 0 w 359"/>
                    <a:gd name="T83" fmla="*/ 5 h 431"/>
                    <a:gd name="T84" fmla="*/ 0 w 359"/>
                    <a:gd name="T85" fmla="*/ 5 h 431"/>
                    <a:gd name="T86" fmla="*/ 0 w 359"/>
                    <a:gd name="T87" fmla="*/ 5 h 431"/>
                    <a:gd name="T88" fmla="*/ 0 w 359"/>
                    <a:gd name="T89" fmla="*/ 5 h 431"/>
                    <a:gd name="T90" fmla="*/ 1 w 359"/>
                    <a:gd name="T91" fmla="*/ 4 h 431"/>
                    <a:gd name="T92" fmla="*/ 1 w 359"/>
                    <a:gd name="T93" fmla="*/ 4 h 431"/>
                    <a:gd name="T94" fmla="*/ 1 w 359"/>
                    <a:gd name="T95" fmla="*/ 4 h 431"/>
                    <a:gd name="T96" fmla="*/ 1 w 359"/>
                    <a:gd name="T97" fmla="*/ 4 h 431"/>
                    <a:gd name="T98" fmla="*/ 1 w 359"/>
                    <a:gd name="T99" fmla="*/ 4 h 431"/>
                    <a:gd name="T100" fmla="*/ 0 w 359"/>
                    <a:gd name="T101" fmla="*/ 4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76" name="Freeform 77"/>
              <p:cNvSpPr>
                <a:spLocks/>
              </p:cNvSpPr>
              <p:nvPr>
                <p:custDataLst>
                  <p:tags r:id="rId57"/>
                </p:custDataLst>
              </p:nvPr>
            </p:nvSpPr>
            <p:spPr bwMode="auto">
              <a:xfrm>
                <a:off x="7643813" y="3324225"/>
                <a:ext cx="9525" cy="57150"/>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FFFFFF"/>
              </a:solidFill>
              <a:ln w="9525" cmpd="sng">
                <a:solidFill>
                  <a:schemeClr val="tx1"/>
                </a:solidFill>
                <a:prstDash val="solid"/>
                <a:round/>
                <a:headEnd/>
                <a:tailEnd/>
              </a:ln>
            </p:spPr>
            <p:txBody>
              <a:bodyPr/>
              <a:lstStyle/>
              <a:p>
                <a:endParaRPr lang="en-US"/>
              </a:p>
            </p:txBody>
          </p:sp>
          <p:sp>
            <p:nvSpPr>
              <p:cNvPr id="77" name="Freeform 78"/>
              <p:cNvSpPr>
                <a:spLocks/>
              </p:cNvSpPr>
              <p:nvPr>
                <p:custDataLst>
                  <p:tags r:id="rId58"/>
                </p:custDataLst>
              </p:nvPr>
            </p:nvSpPr>
            <p:spPr bwMode="auto">
              <a:xfrm>
                <a:off x="8370888" y="4225925"/>
                <a:ext cx="14287" cy="5715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78" name="Freeform 79"/>
              <p:cNvSpPr>
                <a:spLocks/>
              </p:cNvSpPr>
              <p:nvPr>
                <p:custDataLst>
                  <p:tags r:id="rId59"/>
                </p:custDataLst>
              </p:nvPr>
            </p:nvSpPr>
            <p:spPr bwMode="auto">
              <a:xfrm>
                <a:off x="8393113" y="4235450"/>
                <a:ext cx="17462" cy="58738"/>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FFFFFF"/>
              </a:solidFill>
              <a:ln w="9525" cmpd="sng">
                <a:solidFill>
                  <a:schemeClr val="tx1"/>
                </a:solidFill>
                <a:prstDash val="solid"/>
                <a:round/>
                <a:headEnd/>
                <a:tailEnd/>
              </a:ln>
            </p:spPr>
            <p:txBody>
              <a:bodyPr/>
              <a:lstStyle/>
              <a:p>
                <a:endParaRPr lang="en-US"/>
              </a:p>
            </p:txBody>
          </p:sp>
          <p:sp>
            <p:nvSpPr>
              <p:cNvPr id="79" name="Freeform 80"/>
              <p:cNvSpPr>
                <a:spLocks/>
              </p:cNvSpPr>
              <p:nvPr>
                <p:custDataLst>
                  <p:tags r:id="rId60"/>
                </p:custDataLst>
              </p:nvPr>
            </p:nvSpPr>
            <p:spPr bwMode="auto">
              <a:xfrm>
                <a:off x="7707313" y="3313113"/>
                <a:ext cx="1587" cy="55562"/>
              </a:xfrm>
              <a:custGeom>
                <a:avLst/>
                <a:gdLst>
                  <a:gd name="T0" fmla="*/ 0 w 7"/>
                  <a:gd name="T1" fmla="*/ 0 h 55563"/>
                  <a:gd name="T2" fmla="*/ 2147483647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80" name="Freeform 81"/>
              <p:cNvSpPr>
                <a:spLocks/>
              </p:cNvSpPr>
              <p:nvPr>
                <p:custDataLst>
                  <p:tags r:id="rId61"/>
                </p:custDataLst>
              </p:nvPr>
            </p:nvSpPr>
            <p:spPr bwMode="auto">
              <a:xfrm>
                <a:off x="7766050" y="3257550"/>
                <a:ext cx="6350" cy="5715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FFFFFF"/>
              </a:solidFill>
              <a:ln w="9525" cmpd="sng">
                <a:solidFill>
                  <a:schemeClr val="tx1"/>
                </a:solidFill>
                <a:prstDash val="solid"/>
                <a:round/>
                <a:headEnd/>
                <a:tailEnd/>
              </a:ln>
            </p:spPr>
            <p:txBody>
              <a:bodyPr/>
              <a:lstStyle/>
              <a:p>
                <a:endParaRPr lang="en-US"/>
              </a:p>
            </p:txBody>
          </p:sp>
          <p:sp>
            <p:nvSpPr>
              <p:cNvPr id="81" name="Freeform 82"/>
              <p:cNvSpPr>
                <a:spLocks/>
              </p:cNvSpPr>
              <p:nvPr>
                <p:custDataLst>
                  <p:tags r:id="rId62"/>
                </p:custDataLst>
              </p:nvPr>
            </p:nvSpPr>
            <p:spPr bwMode="auto">
              <a:xfrm>
                <a:off x="7878763" y="3146425"/>
                <a:ext cx="4762" cy="57150"/>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82" name="Freeform 83"/>
              <p:cNvSpPr>
                <a:spLocks/>
              </p:cNvSpPr>
              <p:nvPr>
                <p:custDataLst>
                  <p:tags r:id="rId63"/>
                </p:custDataLst>
              </p:nvPr>
            </p:nvSpPr>
            <p:spPr bwMode="auto">
              <a:xfrm>
                <a:off x="8031163" y="3844925"/>
                <a:ext cx="26987" cy="58738"/>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83" name="Freeform 84"/>
              <p:cNvSpPr>
                <a:spLocks/>
              </p:cNvSpPr>
              <p:nvPr>
                <p:custDataLst>
                  <p:tags r:id="rId64"/>
                </p:custDataLst>
              </p:nvPr>
            </p:nvSpPr>
            <p:spPr bwMode="auto">
              <a:xfrm>
                <a:off x="8094663" y="3859213"/>
                <a:ext cx="12700" cy="57150"/>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84" name="Freeform 85"/>
              <p:cNvSpPr>
                <a:spLocks/>
              </p:cNvSpPr>
              <p:nvPr>
                <p:custDataLst>
                  <p:tags r:id="rId65"/>
                </p:custDataLst>
              </p:nvPr>
            </p:nvSpPr>
            <p:spPr bwMode="auto">
              <a:xfrm>
                <a:off x="7951788" y="3635375"/>
                <a:ext cx="25400" cy="55563"/>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FFFFFF"/>
              </a:solidFill>
              <a:ln w="9525" cmpd="sng">
                <a:solidFill>
                  <a:schemeClr val="tx1"/>
                </a:solidFill>
                <a:prstDash val="solid"/>
                <a:round/>
                <a:headEnd/>
                <a:tailEnd/>
              </a:ln>
            </p:spPr>
            <p:txBody>
              <a:bodyPr/>
              <a:lstStyle/>
              <a:p>
                <a:endParaRPr lang="en-US"/>
              </a:p>
            </p:txBody>
          </p:sp>
          <p:sp>
            <p:nvSpPr>
              <p:cNvPr id="85" name="Freeform 86"/>
              <p:cNvSpPr>
                <a:spLocks/>
              </p:cNvSpPr>
              <p:nvPr>
                <p:custDataLst>
                  <p:tags r:id="rId66"/>
                </p:custDataLst>
              </p:nvPr>
            </p:nvSpPr>
            <p:spPr bwMode="auto">
              <a:xfrm>
                <a:off x="7894638" y="3609975"/>
                <a:ext cx="11112" cy="5715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86" name="Freeform 87"/>
              <p:cNvSpPr>
                <a:spLocks/>
              </p:cNvSpPr>
              <p:nvPr>
                <p:custDataLst>
                  <p:tags r:id="rId67"/>
                </p:custDataLst>
              </p:nvPr>
            </p:nvSpPr>
            <p:spPr bwMode="auto">
              <a:xfrm>
                <a:off x="8094663" y="3941763"/>
                <a:ext cx="31750" cy="57150"/>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FFFFFF"/>
              </a:solidFill>
              <a:ln w="9525" cmpd="sng">
                <a:solidFill>
                  <a:schemeClr val="tx1"/>
                </a:solidFill>
                <a:prstDash val="solid"/>
                <a:round/>
                <a:headEnd/>
                <a:tailEnd/>
              </a:ln>
            </p:spPr>
            <p:txBody>
              <a:bodyPr/>
              <a:lstStyle/>
              <a:p>
                <a:endParaRPr lang="en-US"/>
              </a:p>
            </p:txBody>
          </p:sp>
          <p:sp>
            <p:nvSpPr>
              <p:cNvPr id="87" name="Freeform 88"/>
              <p:cNvSpPr>
                <a:spLocks/>
              </p:cNvSpPr>
              <p:nvPr>
                <p:custDataLst>
                  <p:tags r:id="rId68"/>
                </p:custDataLst>
              </p:nvPr>
            </p:nvSpPr>
            <p:spPr bwMode="auto">
              <a:xfrm>
                <a:off x="8050213" y="3930650"/>
                <a:ext cx="22225" cy="5715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FFFFFF"/>
              </a:solidFill>
              <a:ln w="9525" cmpd="sng">
                <a:solidFill>
                  <a:schemeClr val="tx1"/>
                </a:solidFill>
                <a:prstDash val="solid"/>
                <a:round/>
                <a:headEnd/>
                <a:tailEnd/>
              </a:ln>
            </p:spPr>
            <p:txBody>
              <a:bodyPr/>
              <a:lstStyle/>
              <a:p>
                <a:endParaRPr lang="en-US"/>
              </a:p>
            </p:txBody>
          </p:sp>
          <p:sp>
            <p:nvSpPr>
              <p:cNvPr id="88" name="Line 89"/>
              <p:cNvSpPr>
                <a:spLocks noChangeShapeType="1"/>
              </p:cNvSpPr>
              <p:nvPr>
                <p:custDataLst>
                  <p:tags r:id="rId69"/>
                </p:custDataLst>
              </p:nvPr>
            </p:nvSpPr>
            <p:spPr bwMode="auto">
              <a:xfrm>
                <a:off x="8083550" y="3916363"/>
                <a:ext cx="20638" cy="63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9" name="Freeform 90"/>
              <p:cNvSpPr>
                <a:spLocks/>
              </p:cNvSpPr>
              <p:nvPr>
                <p:custDataLst>
                  <p:tags r:id="rId70"/>
                </p:custDataLst>
              </p:nvPr>
            </p:nvSpPr>
            <p:spPr bwMode="auto">
              <a:xfrm>
                <a:off x="8104188" y="3922713"/>
                <a:ext cx="1587" cy="57150"/>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FFFFFF"/>
              </a:solidFill>
              <a:ln w="9525" cmpd="sng">
                <a:solidFill>
                  <a:schemeClr val="tx1"/>
                </a:solidFill>
                <a:prstDash val="solid"/>
                <a:round/>
                <a:headEnd/>
                <a:tailEnd/>
              </a:ln>
            </p:spPr>
            <p:txBody>
              <a:bodyPr/>
              <a:lstStyle/>
              <a:p>
                <a:endParaRPr lang="en-US"/>
              </a:p>
            </p:txBody>
          </p:sp>
          <p:sp>
            <p:nvSpPr>
              <p:cNvPr id="90" name="Freeform 91"/>
              <p:cNvSpPr>
                <a:spLocks/>
              </p:cNvSpPr>
              <p:nvPr>
                <p:custDataLst>
                  <p:tags r:id="rId71"/>
                </p:custDataLst>
              </p:nvPr>
            </p:nvSpPr>
            <p:spPr bwMode="auto">
              <a:xfrm>
                <a:off x="8058150" y="3916363"/>
                <a:ext cx="14288" cy="58737"/>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FFFFFF"/>
              </a:solidFill>
              <a:ln w="9525" cmpd="sng">
                <a:solidFill>
                  <a:schemeClr val="tx1"/>
                </a:solidFill>
                <a:prstDash val="solid"/>
                <a:round/>
                <a:headEnd/>
                <a:tailEnd/>
              </a:ln>
            </p:spPr>
            <p:txBody>
              <a:bodyPr/>
              <a:lstStyle/>
              <a:p>
                <a:endParaRPr lang="en-US"/>
              </a:p>
            </p:txBody>
          </p:sp>
          <p:sp>
            <p:nvSpPr>
              <p:cNvPr id="91" name="Freeform 92"/>
              <p:cNvSpPr>
                <a:spLocks/>
              </p:cNvSpPr>
              <p:nvPr>
                <p:custDataLst>
                  <p:tags r:id="rId72"/>
                </p:custDataLst>
              </p:nvPr>
            </p:nvSpPr>
            <p:spPr bwMode="auto">
              <a:xfrm>
                <a:off x="8051800" y="3897313"/>
                <a:ext cx="6350" cy="6032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FFFFFF"/>
              </a:solidFill>
              <a:ln w="9525" cmpd="sng">
                <a:solidFill>
                  <a:schemeClr val="tx1"/>
                </a:solidFill>
                <a:prstDash val="solid"/>
                <a:round/>
                <a:headEnd/>
                <a:tailEnd/>
              </a:ln>
            </p:spPr>
            <p:txBody>
              <a:bodyPr/>
              <a:lstStyle/>
              <a:p>
                <a:endParaRPr lang="en-US"/>
              </a:p>
            </p:txBody>
          </p:sp>
          <p:sp>
            <p:nvSpPr>
              <p:cNvPr id="92" name="Freeform 93"/>
              <p:cNvSpPr>
                <a:spLocks/>
              </p:cNvSpPr>
              <p:nvPr>
                <p:custDataLst>
                  <p:tags r:id="rId73"/>
                </p:custDataLst>
              </p:nvPr>
            </p:nvSpPr>
            <p:spPr bwMode="auto">
              <a:xfrm>
                <a:off x="8132763" y="3624263"/>
                <a:ext cx="1587" cy="57150"/>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FFFFFF"/>
              </a:solidFill>
              <a:ln w="9525" cmpd="sng">
                <a:solidFill>
                  <a:schemeClr val="tx1"/>
                </a:solidFill>
                <a:prstDash val="solid"/>
                <a:round/>
                <a:headEnd/>
                <a:tailEnd/>
              </a:ln>
            </p:spPr>
            <p:txBody>
              <a:bodyPr/>
              <a:lstStyle/>
              <a:p>
                <a:endParaRPr lang="en-US"/>
              </a:p>
            </p:txBody>
          </p:sp>
          <p:grpSp>
            <p:nvGrpSpPr>
              <p:cNvPr id="93" name="Group 94"/>
              <p:cNvGrpSpPr>
                <a:grpSpLocks/>
              </p:cNvGrpSpPr>
              <p:nvPr>
                <p:custDataLst>
                  <p:tags r:id="rId74"/>
                </p:custDataLst>
              </p:nvPr>
            </p:nvGrpSpPr>
            <p:grpSpPr bwMode="auto">
              <a:xfrm>
                <a:off x="8007350" y="3295650"/>
                <a:ext cx="163513" cy="114300"/>
                <a:chOff x="5379" y="2466"/>
                <a:chExt cx="122" cy="71"/>
              </a:xfrm>
              <a:solidFill>
                <a:srgbClr val="FFFFFF"/>
              </a:solidFill>
            </p:grpSpPr>
            <p:sp>
              <p:nvSpPr>
                <p:cNvPr id="94" name="Freeform 95"/>
                <p:cNvSpPr>
                  <a:spLocks/>
                </p:cNvSpPr>
                <p:nvPr/>
              </p:nvSpPr>
              <p:spPr bwMode="auto">
                <a:xfrm>
                  <a:off x="5428" y="2492"/>
                  <a:ext cx="6"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chemeClr val="tx1"/>
                  </a:solidFill>
                  <a:prstDash val="solid"/>
                  <a:round/>
                  <a:headEnd/>
                  <a:tailEnd/>
                </a:ln>
              </p:spPr>
              <p:txBody>
                <a:bodyPr/>
                <a:lstStyle/>
                <a:p>
                  <a:endParaRPr lang="en-US"/>
                </a:p>
              </p:txBody>
            </p:sp>
            <p:sp>
              <p:nvSpPr>
                <p:cNvPr id="95" name="Freeform 96"/>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chemeClr val="tx1"/>
                  </a:solidFill>
                  <a:prstDash val="solid"/>
                  <a:round/>
                  <a:headEnd/>
                  <a:tailEnd/>
                </a:ln>
              </p:spPr>
              <p:txBody>
                <a:bodyPr/>
                <a:lstStyle/>
                <a:p>
                  <a:endParaRPr lang="en-US"/>
                </a:p>
              </p:txBody>
            </p:sp>
            <p:sp>
              <p:nvSpPr>
                <p:cNvPr id="96" name="Freeform 97"/>
                <p:cNvSpPr>
                  <a:spLocks/>
                </p:cNvSpPr>
                <p:nvPr/>
              </p:nvSpPr>
              <p:spPr bwMode="auto">
                <a:xfrm>
                  <a:off x="5392" y="2466"/>
                  <a:ext cx="5" cy="6"/>
                </a:xfrm>
                <a:custGeom>
                  <a:avLst/>
                  <a:gdLst>
                    <a:gd name="T0" fmla="*/ 0 w 13"/>
                    <a:gd name="T1" fmla="*/ 0 h 18"/>
                    <a:gd name="T2" fmla="*/ 0 w 13"/>
                    <a:gd name="T3" fmla="*/ 0 h 18"/>
                    <a:gd name="T4" fmla="*/ 0 w 13"/>
                    <a:gd name="T5" fmla="*/ 0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9525" cmpd="sng">
                  <a:solidFill>
                    <a:schemeClr val="tx1"/>
                  </a:solidFill>
                  <a:prstDash val="solid"/>
                  <a:round/>
                  <a:headEnd/>
                  <a:tailEnd/>
                </a:ln>
              </p:spPr>
              <p:txBody>
                <a:bodyPr/>
                <a:lstStyle/>
                <a:p>
                  <a:endParaRPr lang="en-US"/>
                </a:p>
              </p:txBody>
            </p:sp>
            <p:sp>
              <p:nvSpPr>
                <p:cNvPr id="97" name="Freeform 98"/>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chemeClr val="tx1"/>
                  </a:solidFill>
                  <a:prstDash val="solid"/>
                  <a:round/>
                  <a:headEnd/>
                  <a:tailEnd/>
                </a:ln>
              </p:spPr>
              <p:txBody>
                <a:bodyPr/>
                <a:lstStyle/>
                <a:p>
                  <a:endParaRPr lang="en-US"/>
                </a:p>
              </p:txBody>
            </p:sp>
            <p:sp>
              <p:nvSpPr>
                <p:cNvPr id="98" name="Freeform 99"/>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9525" cmpd="sng">
                  <a:solidFill>
                    <a:schemeClr val="tx1"/>
                  </a:solidFill>
                  <a:prstDash val="solid"/>
                  <a:round/>
                  <a:headEnd/>
                  <a:tailEnd/>
                </a:ln>
              </p:spPr>
              <p:txBody>
                <a:bodyPr/>
                <a:lstStyle/>
                <a:p>
                  <a:endParaRPr lang="en-US"/>
                </a:p>
              </p:txBody>
            </p:sp>
            <p:sp>
              <p:nvSpPr>
                <p:cNvPr id="99" name="Line 100"/>
                <p:cNvSpPr>
                  <a:spLocks noChangeShapeType="1"/>
                </p:cNvSpPr>
                <p:nvPr/>
              </p:nvSpPr>
              <p:spPr bwMode="auto">
                <a:xfrm flipH="1">
                  <a:off x="5495" y="2490"/>
                  <a:ext cx="6" cy="1"/>
                </a:xfrm>
                <a:prstGeom prst="line">
                  <a:avLst/>
                </a:prstGeom>
                <a:grpFill/>
                <a:ln w="9525">
                  <a:solidFill>
                    <a:schemeClr val="tx1"/>
                  </a:solidFill>
                  <a:round/>
                  <a:headEnd/>
                  <a:tailEnd/>
                </a:ln>
                <a:extLst/>
              </p:spPr>
              <p:txBody>
                <a:bodyPr/>
                <a:lstStyle/>
                <a:p>
                  <a:endParaRPr lang="en-US"/>
                </a:p>
              </p:txBody>
            </p:sp>
            <p:sp>
              <p:nvSpPr>
                <p:cNvPr id="100" name="Freeform 101"/>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9525" cmpd="sng">
                  <a:solidFill>
                    <a:schemeClr val="tx1"/>
                  </a:solidFill>
                  <a:prstDash val="solid"/>
                  <a:round/>
                  <a:headEnd/>
                  <a:tailEnd/>
                </a:ln>
              </p:spPr>
              <p:txBody>
                <a:bodyPr/>
                <a:lstStyle/>
                <a:p>
                  <a:endParaRPr lang="en-US"/>
                </a:p>
              </p:txBody>
            </p:sp>
            <p:sp>
              <p:nvSpPr>
                <p:cNvPr id="101" name="Line 102"/>
                <p:cNvSpPr>
                  <a:spLocks noChangeShapeType="1"/>
                </p:cNvSpPr>
                <p:nvPr/>
              </p:nvSpPr>
              <p:spPr bwMode="auto">
                <a:xfrm>
                  <a:off x="5464" y="2530"/>
                  <a:ext cx="6" cy="1"/>
                </a:xfrm>
                <a:prstGeom prst="line">
                  <a:avLst/>
                </a:prstGeom>
                <a:grpFill/>
                <a:ln w="9525">
                  <a:solidFill>
                    <a:schemeClr val="tx1"/>
                  </a:solidFill>
                  <a:round/>
                  <a:headEnd/>
                  <a:tailEnd/>
                </a:ln>
                <a:extLst/>
              </p:spPr>
              <p:txBody>
                <a:bodyPr/>
                <a:lstStyle/>
                <a:p>
                  <a:endParaRPr lang="en-US"/>
                </a:p>
              </p:txBody>
            </p:sp>
            <p:sp>
              <p:nvSpPr>
                <p:cNvPr id="102" name="Freeform 103"/>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9525" cmpd="sng">
                  <a:solidFill>
                    <a:schemeClr val="tx1"/>
                  </a:solidFill>
                  <a:prstDash val="solid"/>
                  <a:round/>
                  <a:headEnd/>
                  <a:tailEnd/>
                </a:ln>
              </p:spPr>
              <p:txBody>
                <a:bodyPr/>
                <a:lstStyle/>
                <a:p>
                  <a:endParaRPr lang="en-US"/>
                </a:p>
              </p:txBody>
            </p:sp>
          </p:grpSp>
          <p:sp>
            <p:nvSpPr>
              <p:cNvPr id="103" name="Freeform 104"/>
              <p:cNvSpPr>
                <a:spLocks/>
              </p:cNvSpPr>
              <p:nvPr>
                <p:custDataLst>
                  <p:tags r:id="rId75"/>
                </p:custDataLst>
              </p:nvPr>
            </p:nvSpPr>
            <p:spPr bwMode="auto">
              <a:xfrm>
                <a:off x="6591300" y="3157538"/>
                <a:ext cx="6350" cy="5715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FFFFFF"/>
              </a:solidFill>
              <a:ln w="9525" cmpd="sng">
                <a:solidFill>
                  <a:schemeClr val="tx1"/>
                </a:solidFill>
                <a:prstDash val="solid"/>
                <a:round/>
                <a:headEnd/>
                <a:tailEnd/>
              </a:ln>
            </p:spPr>
            <p:txBody>
              <a:bodyPr/>
              <a:lstStyle/>
              <a:p>
                <a:endParaRPr lang="en-US"/>
              </a:p>
            </p:txBody>
          </p:sp>
          <p:sp>
            <p:nvSpPr>
              <p:cNvPr id="104" name="Freeform 105"/>
              <p:cNvSpPr>
                <a:spLocks/>
              </p:cNvSpPr>
              <p:nvPr>
                <p:custDataLst>
                  <p:tags r:id="rId76"/>
                </p:custDataLst>
              </p:nvPr>
            </p:nvSpPr>
            <p:spPr bwMode="auto">
              <a:xfrm>
                <a:off x="3490913" y="5297488"/>
                <a:ext cx="53975" cy="58737"/>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FFFFFF"/>
              </a:solidFill>
              <a:ln w="9525" cmpd="sng">
                <a:solidFill>
                  <a:schemeClr val="tx1"/>
                </a:solidFill>
                <a:prstDash val="solid"/>
                <a:round/>
                <a:headEnd/>
                <a:tailEnd/>
              </a:ln>
            </p:spPr>
            <p:txBody>
              <a:bodyPr/>
              <a:lstStyle/>
              <a:p>
                <a:endParaRPr lang="en-US"/>
              </a:p>
            </p:txBody>
          </p:sp>
          <p:sp>
            <p:nvSpPr>
              <p:cNvPr id="105" name="Freeform 106"/>
              <p:cNvSpPr>
                <a:spLocks/>
              </p:cNvSpPr>
              <p:nvPr>
                <p:custDataLst>
                  <p:tags r:id="rId77"/>
                </p:custDataLst>
              </p:nvPr>
            </p:nvSpPr>
            <p:spPr bwMode="auto">
              <a:xfrm>
                <a:off x="5792788" y="5135563"/>
                <a:ext cx="30162" cy="55562"/>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106" name="Freeform 107"/>
              <p:cNvSpPr>
                <a:spLocks/>
              </p:cNvSpPr>
              <p:nvPr>
                <p:custDataLst>
                  <p:tags r:id="rId78"/>
                </p:custDataLst>
              </p:nvPr>
            </p:nvSpPr>
            <p:spPr bwMode="auto">
              <a:xfrm>
                <a:off x="7947025" y="1906588"/>
                <a:ext cx="20638" cy="5715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FFFFFF"/>
              </a:solidFill>
              <a:ln w="9525" cmpd="sng">
                <a:solidFill>
                  <a:schemeClr val="tx1"/>
                </a:solidFill>
                <a:prstDash val="solid"/>
                <a:round/>
                <a:headEnd/>
                <a:tailEnd/>
              </a:ln>
            </p:spPr>
            <p:txBody>
              <a:bodyPr/>
              <a:lstStyle/>
              <a:p>
                <a:endParaRPr lang="en-US"/>
              </a:p>
            </p:txBody>
          </p:sp>
          <p:sp>
            <p:nvSpPr>
              <p:cNvPr id="107" name="Freeform 108"/>
              <p:cNvSpPr>
                <a:spLocks/>
              </p:cNvSpPr>
              <p:nvPr>
                <p:custDataLst>
                  <p:tags r:id="rId79"/>
                </p:custDataLst>
              </p:nvPr>
            </p:nvSpPr>
            <p:spPr bwMode="auto">
              <a:xfrm>
                <a:off x="8123238" y="1939925"/>
                <a:ext cx="15875" cy="5715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FFFFFF"/>
              </a:solidFill>
              <a:ln w="9525" cmpd="sng">
                <a:solidFill>
                  <a:schemeClr val="tx1"/>
                </a:solidFill>
                <a:prstDash val="solid"/>
                <a:round/>
                <a:headEnd/>
                <a:tailEnd/>
              </a:ln>
            </p:spPr>
            <p:txBody>
              <a:bodyPr/>
              <a:lstStyle/>
              <a:p>
                <a:endParaRPr lang="en-US"/>
              </a:p>
            </p:txBody>
          </p:sp>
          <p:sp>
            <p:nvSpPr>
              <p:cNvPr id="108" name="Freeform 109"/>
              <p:cNvSpPr>
                <a:spLocks/>
              </p:cNvSpPr>
              <p:nvPr>
                <p:custDataLst>
                  <p:tags r:id="rId80"/>
                </p:custDataLst>
              </p:nvPr>
            </p:nvSpPr>
            <p:spPr bwMode="auto">
              <a:xfrm>
                <a:off x="7572375" y="2170113"/>
                <a:ext cx="4763" cy="58737"/>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FFFFFF"/>
              </a:solidFill>
              <a:ln w="9525" cmpd="sng">
                <a:solidFill>
                  <a:schemeClr val="tx1"/>
                </a:solidFill>
                <a:prstDash val="solid"/>
                <a:round/>
                <a:headEnd/>
                <a:tailEnd/>
              </a:ln>
            </p:spPr>
            <p:txBody>
              <a:bodyPr/>
              <a:lstStyle/>
              <a:p>
                <a:endParaRPr lang="en-US"/>
              </a:p>
            </p:txBody>
          </p:sp>
          <p:sp>
            <p:nvSpPr>
              <p:cNvPr id="109" name="Freeform 110"/>
              <p:cNvSpPr>
                <a:spLocks/>
              </p:cNvSpPr>
              <p:nvPr>
                <p:custDataLst>
                  <p:tags r:id="rId81"/>
                </p:custDataLst>
              </p:nvPr>
            </p:nvSpPr>
            <p:spPr bwMode="auto">
              <a:xfrm>
                <a:off x="7386638" y="2732088"/>
                <a:ext cx="14287" cy="58737"/>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FFFFFF"/>
              </a:solidFill>
              <a:ln w="9525" cmpd="sng">
                <a:solidFill>
                  <a:schemeClr val="tx1"/>
                </a:solidFill>
                <a:prstDash val="solid"/>
                <a:round/>
                <a:headEnd/>
                <a:tailEnd/>
              </a:ln>
            </p:spPr>
            <p:txBody>
              <a:bodyPr/>
              <a:lstStyle/>
              <a:p>
                <a:endParaRPr lang="en-US"/>
              </a:p>
            </p:txBody>
          </p:sp>
          <p:sp>
            <p:nvSpPr>
              <p:cNvPr id="110" name="Freeform 111"/>
              <p:cNvSpPr>
                <a:spLocks/>
              </p:cNvSpPr>
              <p:nvPr>
                <p:custDataLst>
                  <p:tags r:id="rId82"/>
                </p:custDataLst>
              </p:nvPr>
            </p:nvSpPr>
            <p:spPr bwMode="auto">
              <a:xfrm>
                <a:off x="7404100" y="2667000"/>
                <a:ext cx="15875" cy="57150"/>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FFFFFF"/>
              </a:solidFill>
              <a:ln w="9525" cmpd="sng">
                <a:solidFill>
                  <a:schemeClr val="tx1"/>
                </a:solidFill>
                <a:prstDash val="solid"/>
                <a:round/>
                <a:headEnd/>
                <a:tailEnd/>
              </a:ln>
            </p:spPr>
            <p:txBody>
              <a:bodyPr/>
              <a:lstStyle/>
              <a:p>
                <a:endParaRPr lang="en-US"/>
              </a:p>
            </p:txBody>
          </p:sp>
          <p:sp>
            <p:nvSpPr>
              <p:cNvPr id="111" name="Freeform 112"/>
              <p:cNvSpPr>
                <a:spLocks/>
              </p:cNvSpPr>
              <p:nvPr>
                <p:custDataLst>
                  <p:tags r:id="rId83"/>
                </p:custDataLst>
              </p:nvPr>
            </p:nvSpPr>
            <p:spPr bwMode="auto">
              <a:xfrm>
                <a:off x="7292975" y="2516188"/>
                <a:ext cx="1588" cy="6032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FFFFFF"/>
              </a:solidFill>
              <a:ln w="9525" cmpd="sng">
                <a:solidFill>
                  <a:schemeClr val="tx1"/>
                </a:solidFill>
                <a:prstDash val="solid"/>
                <a:round/>
                <a:headEnd/>
                <a:tailEnd/>
              </a:ln>
            </p:spPr>
            <p:txBody>
              <a:bodyPr/>
              <a:lstStyle/>
              <a:p>
                <a:endParaRPr lang="en-US"/>
              </a:p>
            </p:txBody>
          </p:sp>
          <p:sp>
            <p:nvSpPr>
              <p:cNvPr id="112" name="Freeform 113"/>
              <p:cNvSpPr>
                <a:spLocks/>
              </p:cNvSpPr>
              <p:nvPr>
                <p:custDataLst>
                  <p:tags r:id="rId84"/>
                </p:custDataLst>
              </p:nvPr>
            </p:nvSpPr>
            <p:spPr bwMode="auto">
              <a:xfrm>
                <a:off x="4144963" y="1643063"/>
                <a:ext cx="9525" cy="5715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FFFFFF"/>
              </a:solidFill>
              <a:ln w="9525" cmpd="sng">
                <a:solidFill>
                  <a:schemeClr val="tx1"/>
                </a:solidFill>
                <a:prstDash val="solid"/>
                <a:round/>
                <a:headEnd/>
                <a:tailEnd/>
              </a:ln>
            </p:spPr>
            <p:txBody>
              <a:bodyPr/>
              <a:lstStyle/>
              <a:p>
                <a:endParaRPr lang="en-US"/>
              </a:p>
            </p:txBody>
          </p:sp>
          <p:sp>
            <p:nvSpPr>
              <p:cNvPr id="113" name="Freeform 114"/>
              <p:cNvSpPr>
                <a:spLocks/>
              </p:cNvSpPr>
              <p:nvPr>
                <p:custDataLst>
                  <p:tags r:id="rId85"/>
                </p:custDataLst>
              </p:nvPr>
            </p:nvSpPr>
            <p:spPr bwMode="auto">
              <a:xfrm>
                <a:off x="4130675" y="1411288"/>
                <a:ext cx="3175" cy="57150"/>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FFFFFF"/>
              </a:solidFill>
              <a:ln w="9525" cmpd="sng">
                <a:solidFill>
                  <a:schemeClr val="tx1"/>
                </a:solidFill>
                <a:prstDash val="solid"/>
                <a:round/>
                <a:headEnd/>
                <a:tailEnd/>
              </a:ln>
            </p:spPr>
            <p:txBody>
              <a:bodyPr/>
              <a:lstStyle/>
              <a:p>
                <a:endParaRPr lang="en-US"/>
              </a:p>
            </p:txBody>
          </p:sp>
          <p:sp>
            <p:nvSpPr>
              <p:cNvPr id="114" name="Freeform 115"/>
              <p:cNvSpPr>
                <a:spLocks/>
              </p:cNvSpPr>
              <p:nvPr>
                <p:custDataLst>
                  <p:tags r:id="rId86"/>
                </p:custDataLst>
              </p:nvPr>
            </p:nvSpPr>
            <p:spPr bwMode="auto">
              <a:xfrm>
                <a:off x="5611813" y="3189288"/>
                <a:ext cx="25400" cy="55562"/>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FFFFFF"/>
              </a:solidFill>
              <a:ln w="9525" cmpd="sng">
                <a:solidFill>
                  <a:schemeClr val="tx1"/>
                </a:solidFill>
                <a:prstDash val="solid"/>
                <a:round/>
                <a:headEnd/>
                <a:tailEnd/>
              </a:ln>
            </p:spPr>
            <p:txBody>
              <a:bodyPr/>
              <a:lstStyle/>
              <a:p>
                <a:endParaRPr lang="en-US"/>
              </a:p>
            </p:txBody>
          </p:sp>
          <p:sp>
            <p:nvSpPr>
              <p:cNvPr id="115" name="Freeform 116"/>
              <p:cNvSpPr>
                <a:spLocks/>
              </p:cNvSpPr>
              <p:nvPr>
                <p:custDataLst>
                  <p:tags r:id="rId87"/>
                </p:custDataLst>
              </p:nvPr>
            </p:nvSpPr>
            <p:spPr bwMode="auto">
              <a:xfrm>
                <a:off x="5314950" y="3051175"/>
                <a:ext cx="19050" cy="58738"/>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FFFFFF"/>
              </a:solidFill>
              <a:ln w="9525" cmpd="sng">
                <a:solidFill>
                  <a:schemeClr val="tx1"/>
                </a:solidFill>
                <a:prstDash val="solid"/>
                <a:round/>
                <a:headEnd/>
                <a:tailEnd/>
              </a:ln>
            </p:spPr>
            <p:txBody>
              <a:bodyPr/>
              <a:lstStyle/>
              <a:p>
                <a:endParaRPr lang="en-US"/>
              </a:p>
            </p:txBody>
          </p:sp>
          <p:grpSp>
            <p:nvGrpSpPr>
              <p:cNvPr id="116" name="Group 117"/>
              <p:cNvGrpSpPr>
                <a:grpSpLocks/>
              </p:cNvGrpSpPr>
              <p:nvPr>
                <p:custDataLst>
                  <p:tags r:id="rId88"/>
                </p:custDataLst>
              </p:nvPr>
            </p:nvGrpSpPr>
            <p:grpSpPr bwMode="auto">
              <a:xfrm>
                <a:off x="6086475" y="3238500"/>
                <a:ext cx="46038" cy="374650"/>
                <a:chOff x="3950" y="2430"/>
                <a:chExt cx="36" cy="234"/>
              </a:xfrm>
              <a:solidFill>
                <a:srgbClr val="FFFFFF"/>
              </a:solidFill>
            </p:grpSpPr>
            <p:sp>
              <p:nvSpPr>
                <p:cNvPr id="117" name="Freeform 118"/>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tx1"/>
                  </a:solidFill>
                  <a:prstDash val="solid"/>
                  <a:round/>
                  <a:headEnd/>
                  <a:tailEnd/>
                </a:ln>
              </p:spPr>
              <p:txBody>
                <a:bodyPr/>
                <a:lstStyle/>
                <a:p>
                  <a:endParaRPr lang="en-US"/>
                </a:p>
              </p:txBody>
            </p:sp>
            <p:sp>
              <p:nvSpPr>
                <p:cNvPr id="118" name="Freeform 119"/>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chemeClr val="tx1"/>
                  </a:solidFill>
                  <a:prstDash val="solid"/>
                  <a:round/>
                  <a:headEnd/>
                  <a:tailEnd/>
                </a:ln>
              </p:spPr>
              <p:txBody>
                <a:bodyPr/>
                <a:lstStyle/>
                <a:p>
                  <a:endParaRPr lang="en-US"/>
                </a:p>
              </p:txBody>
            </p:sp>
            <p:sp>
              <p:nvSpPr>
                <p:cNvPr id="119" name="Freeform 120"/>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chemeClr val="tx1"/>
                  </a:solidFill>
                  <a:prstDash val="solid"/>
                  <a:round/>
                  <a:headEnd/>
                  <a:tailEnd/>
                </a:ln>
              </p:spPr>
              <p:txBody>
                <a:bodyPr/>
                <a:lstStyle/>
                <a:p>
                  <a:endParaRPr lang="en-US"/>
                </a:p>
              </p:txBody>
            </p:sp>
            <p:sp>
              <p:nvSpPr>
                <p:cNvPr id="120" name="Rectangle 121"/>
                <p:cNvSpPr>
                  <a:spLocks noChangeArrowheads="1"/>
                </p:cNvSpPr>
                <p:nvPr/>
              </p:nvSpPr>
              <p:spPr bwMode="auto">
                <a:xfrm>
                  <a:off x="3975" y="2632"/>
                  <a:ext cx="8" cy="2"/>
                </a:xfrm>
                <a:prstGeom prst="rect">
                  <a:avLst/>
                </a:prstGeom>
                <a:grpFill/>
                <a:ln w="9525">
                  <a:solidFill>
                    <a:schemeClr val="tx1"/>
                  </a:solidFill>
                  <a:miter lim="800000"/>
                  <a:headEnd/>
                  <a:tailEnd/>
                </a:ln>
              </p:spPr>
              <p:txBody>
                <a:bodyPr/>
                <a:lstStyle/>
                <a:p>
                  <a:endParaRPr lang="en-US"/>
                </a:p>
              </p:txBody>
            </p:sp>
            <p:sp>
              <p:nvSpPr>
                <p:cNvPr id="121" name="Line 122"/>
                <p:cNvSpPr>
                  <a:spLocks noChangeShapeType="1"/>
                </p:cNvSpPr>
                <p:nvPr/>
              </p:nvSpPr>
              <p:spPr bwMode="auto">
                <a:xfrm flipV="1">
                  <a:off x="3972" y="2595"/>
                  <a:ext cx="5" cy="4"/>
                </a:xfrm>
                <a:prstGeom prst="line">
                  <a:avLst/>
                </a:prstGeom>
                <a:grpFill/>
                <a:ln w="9525">
                  <a:solidFill>
                    <a:schemeClr val="tx1"/>
                  </a:solidFill>
                  <a:round/>
                  <a:headEnd/>
                  <a:tailEnd/>
                </a:ln>
                <a:extLst/>
              </p:spPr>
              <p:txBody>
                <a:bodyPr/>
                <a:lstStyle/>
                <a:p>
                  <a:endParaRPr lang="en-US"/>
                </a:p>
              </p:txBody>
            </p:sp>
            <p:sp>
              <p:nvSpPr>
                <p:cNvPr id="122" name="Freeform 123"/>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chemeClr val="tx1"/>
                  </a:solidFill>
                  <a:prstDash val="solid"/>
                  <a:round/>
                  <a:headEnd/>
                  <a:tailEnd/>
                </a:ln>
              </p:spPr>
              <p:txBody>
                <a:bodyPr/>
                <a:lstStyle/>
                <a:p>
                  <a:endParaRPr lang="en-US"/>
                </a:p>
              </p:txBody>
            </p:sp>
            <p:sp>
              <p:nvSpPr>
                <p:cNvPr id="123" name="Freeform 124"/>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tx1"/>
                  </a:solidFill>
                  <a:prstDash val="solid"/>
                  <a:round/>
                  <a:headEnd/>
                  <a:tailEnd/>
                </a:ln>
              </p:spPr>
              <p:txBody>
                <a:bodyPr/>
                <a:lstStyle/>
                <a:p>
                  <a:endParaRPr lang="en-US"/>
                </a:p>
              </p:txBody>
            </p:sp>
            <p:sp>
              <p:nvSpPr>
                <p:cNvPr id="124" name="Line 125"/>
                <p:cNvSpPr>
                  <a:spLocks noChangeShapeType="1"/>
                </p:cNvSpPr>
                <p:nvPr/>
              </p:nvSpPr>
              <p:spPr bwMode="auto">
                <a:xfrm>
                  <a:off x="3981" y="2559"/>
                  <a:ext cx="2" cy="1"/>
                </a:xfrm>
                <a:prstGeom prst="line">
                  <a:avLst/>
                </a:prstGeom>
                <a:grpFill/>
                <a:ln w="9525">
                  <a:solidFill>
                    <a:schemeClr val="tx1"/>
                  </a:solidFill>
                  <a:round/>
                  <a:headEnd/>
                  <a:tailEnd/>
                </a:ln>
                <a:extLst/>
              </p:spPr>
              <p:txBody>
                <a:bodyPr/>
                <a:lstStyle/>
                <a:p>
                  <a:endParaRPr lang="en-US"/>
                </a:p>
              </p:txBody>
            </p:sp>
            <p:sp>
              <p:nvSpPr>
                <p:cNvPr id="125" name="Freeform 126"/>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chemeClr val="tx1"/>
                  </a:solidFill>
                  <a:prstDash val="solid"/>
                  <a:round/>
                  <a:headEnd/>
                  <a:tailEnd/>
                </a:ln>
              </p:spPr>
              <p:txBody>
                <a:bodyPr/>
                <a:lstStyle/>
                <a:p>
                  <a:endParaRPr lang="en-US"/>
                </a:p>
              </p:txBody>
            </p:sp>
            <p:sp>
              <p:nvSpPr>
                <p:cNvPr id="126" name="Freeform 127"/>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chemeClr val="tx1"/>
                  </a:solidFill>
                  <a:prstDash val="solid"/>
                  <a:round/>
                  <a:headEnd/>
                  <a:tailEnd/>
                </a:ln>
              </p:spPr>
              <p:txBody>
                <a:bodyPr/>
                <a:lstStyle/>
                <a:p>
                  <a:endParaRPr lang="en-US"/>
                </a:p>
              </p:txBody>
            </p:sp>
            <p:sp>
              <p:nvSpPr>
                <p:cNvPr id="127" name="Line 128"/>
                <p:cNvSpPr>
                  <a:spLocks noChangeShapeType="1"/>
                </p:cNvSpPr>
                <p:nvPr/>
              </p:nvSpPr>
              <p:spPr bwMode="auto">
                <a:xfrm flipV="1">
                  <a:off x="3981" y="2599"/>
                  <a:ext cx="1" cy="4"/>
                </a:xfrm>
                <a:prstGeom prst="line">
                  <a:avLst/>
                </a:prstGeom>
                <a:grpFill/>
                <a:ln w="9525">
                  <a:solidFill>
                    <a:schemeClr val="tx1"/>
                  </a:solidFill>
                  <a:round/>
                  <a:headEnd/>
                  <a:tailEnd/>
                </a:ln>
                <a:extLst/>
              </p:spPr>
              <p:txBody>
                <a:bodyPr/>
                <a:lstStyle/>
                <a:p>
                  <a:endParaRPr lang="en-US"/>
                </a:p>
              </p:txBody>
            </p:sp>
            <p:sp>
              <p:nvSpPr>
                <p:cNvPr id="128" name="Freeform 129"/>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chemeClr val="tx1"/>
                  </a:solidFill>
                  <a:prstDash val="solid"/>
                  <a:round/>
                  <a:headEnd/>
                  <a:tailEnd/>
                </a:ln>
              </p:spPr>
              <p:txBody>
                <a:bodyPr/>
                <a:lstStyle/>
                <a:p>
                  <a:endParaRPr lang="en-US"/>
                </a:p>
              </p:txBody>
            </p:sp>
            <p:sp>
              <p:nvSpPr>
                <p:cNvPr id="129" name="Freeform 130"/>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chemeClr val="tx1"/>
                  </a:solidFill>
                  <a:prstDash val="solid"/>
                  <a:round/>
                  <a:headEnd/>
                  <a:tailEnd/>
                </a:ln>
              </p:spPr>
              <p:txBody>
                <a:bodyPr/>
                <a:lstStyle/>
                <a:p>
                  <a:endParaRPr lang="en-US"/>
                </a:p>
              </p:txBody>
            </p:sp>
            <p:sp>
              <p:nvSpPr>
                <p:cNvPr id="130" name="Freeform 131"/>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chemeClr val="tx1"/>
                  </a:solidFill>
                  <a:prstDash val="solid"/>
                  <a:round/>
                  <a:headEnd/>
                  <a:tailEnd/>
                </a:ln>
              </p:spPr>
              <p:txBody>
                <a:bodyPr/>
                <a:lstStyle/>
                <a:p>
                  <a:endParaRPr lang="en-US"/>
                </a:p>
              </p:txBody>
            </p:sp>
            <p:sp>
              <p:nvSpPr>
                <p:cNvPr id="131" name="Freeform 132"/>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chemeClr val="tx1"/>
                  </a:solidFill>
                  <a:prstDash val="solid"/>
                  <a:round/>
                  <a:headEnd/>
                  <a:tailEnd/>
                </a:ln>
              </p:spPr>
              <p:txBody>
                <a:bodyPr/>
                <a:lstStyle/>
                <a:p>
                  <a:endParaRPr lang="en-US"/>
                </a:p>
              </p:txBody>
            </p:sp>
            <p:sp>
              <p:nvSpPr>
                <p:cNvPr id="132" name="Freeform 133"/>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tx1"/>
                  </a:solidFill>
                  <a:prstDash val="solid"/>
                  <a:round/>
                  <a:headEnd/>
                  <a:tailEnd/>
                </a:ln>
              </p:spPr>
              <p:txBody>
                <a:bodyPr/>
                <a:lstStyle/>
                <a:p>
                  <a:endParaRPr lang="en-US"/>
                </a:p>
              </p:txBody>
            </p:sp>
            <p:sp>
              <p:nvSpPr>
                <p:cNvPr id="133" name="Freeform 134"/>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chemeClr val="tx1"/>
                  </a:solidFill>
                  <a:prstDash val="solid"/>
                  <a:round/>
                  <a:headEnd/>
                  <a:tailEnd/>
                </a:ln>
              </p:spPr>
              <p:txBody>
                <a:bodyPr/>
                <a:lstStyle/>
                <a:p>
                  <a:endParaRPr lang="en-US"/>
                </a:p>
              </p:txBody>
            </p:sp>
            <p:sp>
              <p:nvSpPr>
                <p:cNvPr id="134" name="Freeform 135"/>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chemeClr val="tx1"/>
                  </a:solidFill>
                  <a:prstDash val="solid"/>
                  <a:round/>
                  <a:headEnd/>
                  <a:tailEnd/>
                </a:ln>
              </p:spPr>
              <p:txBody>
                <a:bodyPr/>
                <a:lstStyle/>
                <a:p>
                  <a:endParaRPr lang="en-US"/>
                </a:p>
              </p:txBody>
            </p:sp>
            <p:sp>
              <p:nvSpPr>
                <p:cNvPr id="135" name="Rectangle 136"/>
                <p:cNvSpPr>
                  <a:spLocks noChangeArrowheads="1"/>
                </p:cNvSpPr>
                <p:nvPr/>
              </p:nvSpPr>
              <p:spPr bwMode="auto">
                <a:xfrm>
                  <a:off x="3975" y="2632"/>
                  <a:ext cx="8" cy="2"/>
                </a:xfrm>
                <a:prstGeom prst="rect">
                  <a:avLst/>
                </a:prstGeom>
                <a:grpFill/>
                <a:ln w="9525">
                  <a:solidFill>
                    <a:schemeClr val="tx1"/>
                  </a:solidFill>
                  <a:miter lim="800000"/>
                  <a:headEnd/>
                  <a:tailEnd/>
                </a:ln>
              </p:spPr>
              <p:txBody>
                <a:bodyPr/>
                <a:lstStyle/>
                <a:p>
                  <a:endParaRPr lang="en-US"/>
                </a:p>
              </p:txBody>
            </p:sp>
            <p:sp>
              <p:nvSpPr>
                <p:cNvPr id="136" name="Line 137"/>
                <p:cNvSpPr>
                  <a:spLocks noChangeShapeType="1"/>
                </p:cNvSpPr>
                <p:nvPr/>
              </p:nvSpPr>
              <p:spPr bwMode="auto">
                <a:xfrm flipV="1">
                  <a:off x="3972" y="2595"/>
                  <a:ext cx="5" cy="4"/>
                </a:xfrm>
                <a:prstGeom prst="line">
                  <a:avLst/>
                </a:prstGeom>
                <a:grpFill/>
                <a:ln w="9525">
                  <a:solidFill>
                    <a:schemeClr val="tx1"/>
                  </a:solidFill>
                  <a:round/>
                  <a:headEnd/>
                  <a:tailEnd/>
                </a:ln>
                <a:extLst/>
              </p:spPr>
              <p:txBody>
                <a:bodyPr/>
                <a:lstStyle/>
                <a:p>
                  <a:endParaRPr lang="en-US"/>
                </a:p>
              </p:txBody>
            </p:sp>
            <p:sp>
              <p:nvSpPr>
                <p:cNvPr id="137" name="Freeform 138"/>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chemeClr val="tx1"/>
                  </a:solidFill>
                  <a:prstDash val="solid"/>
                  <a:round/>
                  <a:headEnd/>
                  <a:tailEnd/>
                </a:ln>
              </p:spPr>
              <p:txBody>
                <a:bodyPr/>
                <a:lstStyle/>
                <a:p>
                  <a:endParaRPr lang="en-US"/>
                </a:p>
              </p:txBody>
            </p:sp>
            <p:sp>
              <p:nvSpPr>
                <p:cNvPr id="138" name="Freeform 139"/>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tx1"/>
                  </a:solidFill>
                  <a:prstDash val="solid"/>
                  <a:round/>
                  <a:headEnd/>
                  <a:tailEnd/>
                </a:ln>
              </p:spPr>
              <p:txBody>
                <a:bodyPr/>
                <a:lstStyle/>
                <a:p>
                  <a:endParaRPr lang="en-US"/>
                </a:p>
              </p:txBody>
            </p:sp>
            <p:sp>
              <p:nvSpPr>
                <p:cNvPr id="139" name="Line 140"/>
                <p:cNvSpPr>
                  <a:spLocks noChangeShapeType="1"/>
                </p:cNvSpPr>
                <p:nvPr/>
              </p:nvSpPr>
              <p:spPr bwMode="auto">
                <a:xfrm>
                  <a:off x="3981" y="2559"/>
                  <a:ext cx="2" cy="1"/>
                </a:xfrm>
                <a:prstGeom prst="line">
                  <a:avLst/>
                </a:prstGeom>
                <a:grpFill/>
                <a:ln w="9525">
                  <a:solidFill>
                    <a:schemeClr val="tx1"/>
                  </a:solidFill>
                  <a:round/>
                  <a:headEnd/>
                  <a:tailEnd/>
                </a:ln>
                <a:extLst/>
              </p:spPr>
              <p:txBody>
                <a:bodyPr/>
                <a:lstStyle/>
                <a:p>
                  <a:endParaRPr lang="en-US"/>
                </a:p>
              </p:txBody>
            </p:sp>
            <p:sp>
              <p:nvSpPr>
                <p:cNvPr id="140" name="Freeform 141"/>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chemeClr val="tx1"/>
                  </a:solidFill>
                  <a:prstDash val="solid"/>
                  <a:round/>
                  <a:headEnd/>
                  <a:tailEnd/>
                </a:ln>
              </p:spPr>
              <p:txBody>
                <a:bodyPr/>
                <a:lstStyle/>
                <a:p>
                  <a:endParaRPr lang="en-US"/>
                </a:p>
              </p:txBody>
            </p:sp>
            <p:sp>
              <p:nvSpPr>
                <p:cNvPr id="141" name="Freeform 142"/>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chemeClr val="tx1"/>
                  </a:solidFill>
                  <a:prstDash val="solid"/>
                  <a:round/>
                  <a:headEnd/>
                  <a:tailEnd/>
                </a:ln>
              </p:spPr>
              <p:txBody>
                <a:bodyPr/>
                <a:lstStyle/>
                <a:p>
                  <a:endParaRPr lang="en-US"/>
                </a:p>
              </p:txBody>
            </p:sp>
            <p:sp>
              <p:nvSpPr>
                <p:cNvPr id="142" name="Line 143"/>
                <p:cNvSpPr>
                  <a:spLocks noChangeShapeType="1"/>
                </p:cNvSpPr>
                <p:nvPr/>
              </p:nvSpPr>
              <p:spPr bwMode="auto">
                <a:xfrm flipV="1">
                  <a:off x="3981" y="2599"/>
                  <a:ext cx="1" cy="4"/>
                </a:xfrm>
                <a:prstGeom prst="line">
                  <a:avLst/>
                </a:prstGeom>
                <a:grpFill/>
                <a:ln w="9525">
                  <a:solidFill>
                    <a:schemeClr val="tx1"/>
                  </a:solidFill>
                  <a:round/>
                  <a:headEnd/>
                  <a:tailEnd/>
                </a:ln>
                <a:extLst/>
              </p:spPr>
              <p:txBody>
                <a:bodyPr/>
                <a:lstStyle/>
                <a:p>
                  <a:endParaRPr lang="en-US"/>
                </a:p>
              </p:txBody>
            </p:sp>
            <p:sp>
              <p:nvSpPr>
                <p:cNvPr id="143" name="Freeform 144"/>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chemeClr val="tx1"/>
                  </a:solidFill>
                  <a:prstDash val="solid"/>
                  <a:round/>
                  <a:headEnd/>
                  <a:tailEnd/>
                </a:ln>
              </p:spPr>
              <p:txBody>
                <a:bodyPr/>
                <a:lstStyle/>
                <a:p>
                  <a:endParaRPr lang="en-US"/>
                </a:p>
              </p:txBody>
            </p:sp>
            <p:sp>
              <p:nvSpPr>
                <p:cNvPr id="144" name="Freeform 145"/>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chemeClr val="tx1"/>
                  </a:solidFill>
                  <a:prstDash val="solid"/>
                  <a:round/>
                  <a:headEnd/>
                  <a:tailEnd/>
                </a:ln>
              </p:spPr>
              <p:txBody>
                <a:bodyPr/>
                <a:lstStyle/>
                <a:p>
                  <a:endParaRPr lang="en-US"/>
                </a:p>
              </p:txBody>
            </p:sp>
            <p:sp>
              <p:nvSpPr>
                <p:cNvPr id="145" name="Freeform 146"/>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chemeClr val="tx1"/>
                  </a:solidFill>
                  <a:prstDash val="solid"/>
                  <a:round/>
                  <a:headEnd/>
                  <a:tailEnd/>
                </a:ln>
              </p:spPr>
              <p:txBody>
                <a:bodyPr/>
                <a:lstStyle/>
                <a:p>
                  <a:endParaRPr lang="en-US"/>
                </a:p>
              </p:txBody>
            </p:sp>
            <p:sp>
              <p:nvSpPr>
                <p:cNvPr id="146" name="Freeform 147"/>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chemeClr val="tx1"/>
                  </a:solidFill>
                  <a:prstDash val="solid"/>
                  <a:round/>
                  <a:headEnd/>
                  <a:tailEnd/>
                </a:ln>
              </p:spPr>
              <p:txBody>
                <a:bodyPr/>
                <a:lstStyle/>
                <a:p>
                  <a:endParaRPr lang="en-US"/>
                </a:p>
              </p:txBody>
            </p:sp>
            <p:sp>
              <p:nvSpPr>
                <p:cNvPr id="147" name="Freeform 148"/>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9525" cmpd="sng">
                  <a:solidFill>
                    <a:schemeClr val="tx1"/>
                  </a:solidFill>
                  <a:prstDash val="solid"/>
                  <a:round/>
                  <a:headEnd/>
                  <a:tailEnd/>
                </a:ln>
              </p:spPr>
              <p:txBody>
                <a:bodyPr/>
                <a:lstStyle/>
                <a:p>
                  <a:endParaRPr lang="en-US"/>
                </a:p>
              </p:txBody>
            </p:sp>
          </p:grpSp>
          <p:grpSp>
            <p:nvGrpSpPr>
              <p:cNvPr id="148" name="Group 149"/>
              <p:cNvGrpSpPr>
                <a:grpSpLocks/>
              </p:cNvGrpSpPr>
              <p:nvPr>
                <p:custDataLst>
                  <p:tags r:id="rId89"/>
                </p:custDataLst>
              </p:nvPr>
            </p:nvGrpSpPr>
            <p:grpSpPr bwMode="auto">
              <a:xfrm>
                <a:off x="8151813" y="3738563"/>
                <a:ext cx="185737" cy="214312"/>
                <a:chOff x="5486" y="2743"/>
                <a:chExt cx="137" cy="132"/>
              </a:xfrm>
              <a:solidFill>
                <a:srgbClr val="FFFFFF"/>
              </a:solidFill>
            </p:grpSpPr>
            <p:sp>
              <p:nvSpPr>
                <p:cNvPr id="149" name="Freeform 150"/>
                <p:cNvSpPr>
                  <a:spLocks/>
                </p:cNvSpPr>
                <p:nvPr/>
              </p:nvSpPr>
              <p:spPr bwMode="auto">
                <a:xfrm>
                  <a:off x="5595" y="2806"/>
                  <a:ext cx="13" cy="28"/>
                </a:xfrm>
                <a:custGeom>
                  <a:avLst/>
                  <a:gdLst>
                    <a:gd name="T0" fmla="*/ 0 w 40"/>
                    <a:gd name="T1" fmla="*/ 0 h 87"/>
                    <a:gd name="T2" fmla="*/ 0 w 40"/>
                    <a:gd name="T3" fmla="*/ 1 h 87"/>
                    <a:gd name="T4" fmla="*/ 0 w 40"/>
                    <a:gd name="T5" fmla="*/ 1 h 87"/>
                    <a:gd name="T6" fmla="*/ 0 w 40"/>
                    <a:gd name="T7" fmla="*/ 1 h 87"/>
                    <a:gd name="T8" fmla="*/ 0 w 40"/>
                    <a:gd name="T9" fmla="*/ 1 h 87"/>
                    <a:gd name="T10" fmla="*/ 0 w 40"/>
                    <a:gd name="T11" fmla="*/ 1 h 87"/>
                    <a:gd name="T12" fmla="*/ 0 w 40"/>
                    <a:gd name="T13" fmla="*/ 1 h 87"/>
                    <a:gd name="T14" fmla="*/ 0 w 40"/>
                    <a:gd name="T15" fmla="*/ 1 h 87"/>
                    <a:gd name="T16" fmla="*/ 0 w 40"/>
                    <a:gd name="T17" fmla="*/ 1 h 87"/>
                    <a:gd name="T18" fmla="*/ 0 w 40"/>
                    <a:gd name="T19" fmla="*/ 1 h 87"/>
                    <a:gd name="T20" fmla="*/ 0 w 40"/>
                    <a:gd name="T21" fmla="*/ 1 h 87"/>
                    <a:gd name="T22" fmla="*/ 0 w 40"/>
                    <a:gd name="T23" fmla="*/ 1 h 87"/>
                    <a:gd name="T24" fmla="*/ 0 w 40"/>
                    <a:gd name="T25" fmla="*/ 1 h 87"/>
                    <a:gd name="T26" fmla="*/ 0 w 40"/>
                    <a:gd name="T27" fmla="*/ 1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chemeClr val="tx1"/>
                  </a:solidFill>
                  <a:prstDash val="solid"/>
                  <a:round/>
                  <a:headEnd/>
                  <a:tailEnd/>
                </a:ln>
              </p:spPr>
              <p:txBody>
                <a:bodyPr/>
                <a:lstStyle/>
                <a:p>
                  <a:endParaRPr lang="en-US"/>
                </a:p>
              </p:txBody>
            </p:sp>
            <p:sp>
              <p:nvSpPr>
                <p:cNvPr id="150" name="Freeform 151"/>
                <p:cNvSpPr>
                  <a:spLocks/>
                </p:cNvSpPr>
                <p:nvPr/>
              </p:nvSpPr>
              <p:spPr bwMode="auto">
                <a:xfrm>
                  <a:off x="5603" y="2842"/>
                  <a:ext cx="20" cy="12"/>
                </a:xfrm>
                <a:custGeom>
                  <a:avLst/>
                  <a:gdLst>
                    <a:gd name="T0" fmla="*/ 0 w 61"/>
                    <a:gd name="T1" fmla="*/ 0 h 37"/>
                    <a:gd name="T2" fmla="*/ 0 w 61"/>
                    <a:gd name="T3" fmla="*/ 0 h 37"/>
                    <a:gd name="T4" fmla="*/ 0 w 61"/>
                    <a:gd name="T5" fmla="*/ 0 h 37"/>
                    <a:gd name="T6" fmla="*/ 1 w 61"/>
                    <a:gd name="T7" fmla="*/ 0 h 37"/>
                    <a:gd name="T8" fmla="*/ 1 w 61"/>
                    <a:gd name="T9" fmla="*/ 0 h 37"/>
                    <a:gd name="T10" fmla="*/ 1 w 61"/>
                    <a:gd name="T11" fmla="*/ 0 h 37"/>
                    <a:gd name="T12" fmla="*/ 1 w 61"/>
                    <a:gd name="T13" fmla="*/ 0 h 37"/>
                    <a:gd name="T14" fmla="*/ 1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chemeClr val="tx1"/>
                  </a:solidFill>
                  <a:prstDash val="solid"/>
                  <a:round/>
                  <a:headEnd/>
                  <a:tailEnd/>
                </a:ln>
              </p:spPr>
              <p:txBody>
                <a:bodyPr/>
                <a:lstStyle/>
                <a:p>
                  <a:endParaRPr lang="en-US"/>
                </a:p>
              </p:txBody>
            </p:sp>
            <p:sp>
              <p:nvSpPr>
                <p:cNvPr id="151" name="Freeform 152"/>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chemeClr val="tx1"/>
                  </a:solidFill>
                  <a:prstDash val="solid"/>
                  <a:round/>
                  <a:headEnd/>
                  <a:tailEnd/>
                </a:ln>
              </p:spPr>
              <p:txBody>
                <a:bodyPr/>
                <a:lstStyle/>
                <a:p>
                  <a:endParaRPr lang="en-US"/>
                </a:p>
              </p:txBody>
            </p:sp>
            <p:sp>
              <p:nvSpPr>
                <p:cNvPr id="152" name="Freeform 153"/>
                <p:cNvSpPr>
                  <a:spLocks/>
                </p:cNvSpPr>
                <p:nvPr/>
              </p:nvSpPr>
              <p:spPr bwMode="auto">
                <a:xfrm>
                  <a:off x="5515" y="2789"/>
                  <a:ext cx="24" cy="26"/>
                </a:xfrm>
                <a:custGeom>
                  <a:avLst/>
                  <a:gdLst>
                    <a:gd name="T0" fmla="*/ 1 w 74"/>
                    <a:gd name="T1" fmla="*/ 1 h 80"/>
                    <a:gd name="T2" fmla="*/ 1 w 74"/>
                    <a:gd name="T3" fmla="*/ 1 h 80"/>
                    <a:gd name="T4" fmla="*/ 1 w 74"/>
                    <a:gd name="T5" fmla="*/ 1 h 80"/>
                    <a:gd name="T6" fmla="*/ 1 w 74"/>
                    <a:gd name="T7" fmla="*/ 1 h 80"/>
                    <a:gd name="T8" fmla="*/ 1 w 74"/>
                    <a:gd name="T9" fmla="*/ 1 h 80"/>
                    <a:gd name="T10" fmla="*/ 1 w 74"/>
                    <a:gd name="T11" fmla="*/ 1 h 80"/>
                    <a:gd name="T12" fmla="*/ 1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1 h 80"/>
                    <a:gd name="T40" fmla="*/ 0 w 74"/>
                    <a:gd name="T41" fmla="*/ 1 h 80"/>
                    <a:gd name="T42" fmla="*/ 0 w 74"/>
                    <a:gd name="T43" fmla="*/ 1 h 80"/>
                    <a:gd name="T44" fmla="*/ 0 w 74"/>
                    <a:gd name="T45" fmla="*/ 1 h 80"/>
                    <a:gd name="T46" fmla="*/ 0 w 74"/>
                    <a:gd name="T47" fmla="*/ 1 h 80"/>
                    <a:gd name="T48" fmla="*/ 0 w 74"/>
                    <a:gd name="T49" fmla="*/ 1 h 80"/>
                    <a:gd name="T50" fmla="*/ 1 w 74"/>
                    <a:gd name="T51" fmla="*/ 1 h 80"/>
                    <a:gd name="T52" fmla="*/ 1 w 74"/>
                    <a:gd name="T53" fmla="*/ 1 h 80"/>
                    <a:gd name="T54" fmla="*/ 1 w 74"/>
                    <a:gd name="T55" fmla="*/ 1 h 80"/>
                    <a:gd name="T56" fmla="*/ 1 w 74"/>
                    <a:gd name="T57" fmla="*/ 1 h 80"/>
                    <a:gd name="T58" fmla="*/ 1 w 74"/>
                    <a:gd name="T59" fmla="*/ 1 h 80"/>
                    <a:gd name="T60" fmla="*/ 1 w 74"/>
                    <a:gd name="T61" fmla="*/ 1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chemeClr val="tx1"/>
                  </a:solidFill>
                  <a:prstDash val="solid"/>
                  <a:round/>
                  <a:headEnd/>
                  <a:tailEnd/>
                </a:ln>
              </p:spPr>
              <p:txBody>
                <a:bodyPr/>
                <a:lstStyle/>
                <a:p>
                  <a:endParaRPr lang="en-US"/>
                </a:p>
              </p:txBody>
            </p:sp>
            <p:sp>
              <p:nvSpPr>
                <p:cNvPr id="153" name="Freeform 154"/>
                <p:cNvSpPr>
                  <a:spLocks/>
                </p:cNvSpPr>
                <p:nvPr/>
              </p:nvSpPr>
              <p:spPr bwMode="auto">
                <a:xfrm>
                  <a:off x="5555" y="2785"/>
                  <a:ext cx="26" cy="27"/>
                </a:xfrm>
                <a:custGeom>
                  <a:avLst/>
                  <a:gdLst>
                    <a:gd name="T0" fmla="*/ 1 w 86"/>
                    <a:gd name="T1" fmla="*/ 1 h 80"/>
                    <a:gd name="T2" fmla="*/ 1 w 86"/>
                    <a:gd name="T3" fmla="*/ 1 h 80"/>
                    <a:gd name="T4" fmla="*/ 1 w 86"/>
                    <a:gd name="T5" fmla="*/ 1 h 80"/>
                    <a:gd name="T6" fmla="*/ 1 w 86"/>
                    <a:gd name="T7" fmla="*/ 1 h 80"/>
                    <a:gd name="T8" fmla="*/ 1 w 86"/>
                    <a:gd name="T9" fmla="*/ 1 h 80"/>
                    <a:gd name="T10" fmla="*/ 1 w 86"/>
                    <a:gd name="T11" fmla="*/ 1 h 80"/>
                    <a:gd name="T12" fmla="*/ 1 w 86"/>
                    <a:gd name="T13" fmla="*/ 1 h 80"/>
                    <a:gd name="T14" fmla="*/ 1 w 86"/>
                    <a:gd name="T15" fmla="*/ 1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1 h 80"/>
                    <a:gd name="T34" fmla="*/ 0 w 86"/>
                    <a:gd name="T35" fmla="*/ 1 h 80"/>
                    <a:gd name="T36" fmla="*/ 0 w 86"/>
                    <a:gd name="T37" fmla="*/ 1 h 80"/>
                    <a:gd name="T38" fmla="*/ 0 w 86"/>
                    <a:gd name="T39" fmla="*/ 1 h 80"/>
                    <a:gd name="T40" fmla="*/ 0 w 86"/>
                    <a:gd name="T41" fmla="*/ 1 h 80"/>
                    <a:gd name="T42" fmla="*/ 1 w 86"/>
                    <a:gd name="T43" fmla="*/ 1 h 80"/>
                    <a:gd name="T44" fmla="*/ 1 w 86"/>
                    <a:gd name="T45" fmla="*/ 1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chemeClr val="tx1"/>
                  </a:solidFill>
                  <a:prstDash val="solid"/>
                  <a:round/>
                  <a:headEnd/>
                  <a:tailEnd/>
                </a:ln>
              </p:spPr>
              <p:txBody>
                <a:bodyPr/>
                <a:lstStyle/>
                <a:p>
                  <a:endParaRPr lang="en-US"/>
                </a:p>
              </p:txBody>
            </p:sp>
            <p:sp>
              <p:nvSpPr>
                <p:cNvPr id="154" name="Freeform 155"/>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1 w 74"/>
                    <a:gd name="T19" fmla="*/ 0 h 31"/>
                    <a:gd name="T20" fmla="*/ 1 w 74"/>
                    <a:gd name="T21" fmla="*/ 0 h 31"/>
                    <a:gd name="T22" fmla="*/ 1 w 74"/>
                    <a:gd name="T23" fmla="*/ 0 h 31"/>
                    <a:gd name="T24" fmla="*/ 1 w 74"/>
                    <a:gd name="T25" fmla="*/ 0 h 31"/>
                    <a:gd name="T26" fmla="*/ 1 w 74"/>
                    <a:gd name="T27" fmla="*/ 0 h 31"/>
                    <a:gd name="T28" fmla="*/ 1 w 74"/>
                    <a:gd name="T29" fmla="*/ 0 h 31"/>
                    <a:gd name="T30" fmla="*/ 1 w 74"/>
                    <a:gd name="T31" fmla="*/ 0 h 31"/>
                    <a:gd name="T32" fmla="*/ 1 w 74"/>
                    <a:gd name="T33" fmla="*/ 0 h 31"/>
                    <a:gd name="T34" fmla="*/ 1 w 74"/>
                    <a:gd name="T35" fmla="*/ 0 h 31"/>
                    <a:gd name="T36" fmla="*/ 1 w 74"/>
                    <a:gd name="T37" fmla="*/ 0 h 31"/>
                    <a:gd name="T38" fmla="*/ 1 w 74"/>
                    <a:gd name="T39" fmla="*/ 0 h 31"/>
                    <a:gd name="T40" fmla="*/ 1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chemeClr val="tx1"/>
                  </a:solidFill>
                  <a:prstDash val="solid"/>
                  <a:round/>
                  <a:headEnd/>
                  <a:tailEnd/>
                </a:ln>
              </p:spPr>
              <p:txBody>
                <a:bodyPr/>
                <a:lstStyle/>
                <a:p>
                  <a:endParaRPr lang="en-US"/>
                </a:p>
              </p:txBody>
            </p:sp>
            <p:sp>
              <p:nvSpPr>
                <p:cNvPr id="155" name="Freeform 156"/>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chemeClr val="tx1"/>
                  </a:solidFill>
                  <a:prstDash val="solid"/>
                  <a:round/>
                  <a:headEnd/>
                  <a:tailEnd/>
                </a:ln>
              </p:spPr>
              <p:txBody>
                <a:bodyPr/>
                <a:lstStyle/>
                <a:p>
                  <a:endParaRPr lang="en-US"/>
                </a:p>
              </p:txBody>
            </p:sp>
            <p:sp>
              <p:nvSpPr>
                <p:cNvPr id="156" name="Freeform 157"/>
                <p:cNvSpPr>
                  <a:spLocks/>
                </p:cNvSpPr>
                <p:nvPr/>
              </p:nvSpPr>
              <p:spPr bwMode="auto">
                <a:xfrm>
                  <a:off x="5509" y="2769"/>
                  <a:ext cx="32" cy="21"/>
                </a:xfrm>
                <a:custGeom>
                  <a:avLst/>
                  <a:gdLst>
                    <a:gd name="T0" fmla="*/ 0 w 100"/>
                    <a:gd name="T1" fmla="*/ 0 h 65"/>
                    <a:gd name="T2" fmla="*/ 0 w 100"/>
                    <a:gd name="T3" fmla="*/ 0 h 65"/>
                    <a:gd name="T4" fmla="*/ 1 w 100"/>
                    <a:gd name="T5" fmla="*/ 1 h 65"/>
                    <a:gd name="T6" fmla="*/ 1 w 100"/>
                    <a:gd name="T7" fmla="*/ 1 h 65"/>
                    <a:gd name="T8" fmla="*/ 1 w 100"/>
                    <a:gd name="T9" fmla="*/ 1 h 65"/>
                    <a:gd name="T10" fmla="*/ 1 w 100"/>
                    <a:gd name="T11" fmla="*/ 1 h 65"/>
                    <a:gd name="T12" fmla="*/ 1 w 100"/>
                    <a:gd name="T13" fmla="*/ 1 h 65"/>
                    <a:gd name="T14" fmla="*/ 1 w 100"/>
                    <a:gd name="T15" fmla="*/ 1 h 65"/>
                    <a:gd name="T16" fmla="*/ 1 w 100"/>
                    <a:gd name="T17" fmla="*/ 1 h 65"/>
                    <a:gd name="T18" fmla="*/ 1 w 100"/>
                    <a:gd name="T19" fmla="*/ 1 h 65"/>
                    <a:gd name="T20" fmla="*/ 1 w 100"/>
                    <a:gd name="T21" fmla="*/ 1 h 65"/>
                    <a:gd name="T22" fmla="*/ 1 w 100"/>
                    <a:gd name="T23" fmla="*/ 1 h 65"/>
                    <a:gd name="T24" fmla="*/ 1 w 100"/>
                    <a:gd name="T25" fmla="*/ 1 h 65"/>
                    <a:gd name="T26" fmla="*/ 1 w 100"/>
                    <a:gd name="T27" fmla="*/ 0 h 65"/>
                    <a:gd name="T28" fmla="*/ 1 w 100"/>
                    <a:gd name="T29" fmla="*/ 0 h 65"/>
                    <a:gd name="T30" fmla="*/ 1 w 100"/>
                    <a:gd name="T31" fmla="*/ 0 h 65"/>
                    <a:gd name="T32" fmla="*/ 1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chemeClr val="tx1"/>
                  </a:solidFill>
                  <a:prstDash val="solid"/>
                  <a:round/>
                  <a:headEnd/>
                  <a:tailEnd/>
                </a:ln>
              </p:spPr>
              <p:txBody>
                <a:bodyPr/>
                <a:lstStyle/>
                <a:p>
                  <a:endParaRPr lang="en-US"/>
                </a:p>
              </p:txBody>
            </p:sp>
            <p:sp>
              <p:nvSpPr>
                <p:cNvPr id="157" name="Freeform 158"/>
                <p:cNvSpPr>
                  <a:spLocks/>
                </p:cNvSpPr>
                <p:nvPr/>
              </p:nvSpPr>
              <p:spPr bwMode="auto">
                <a:xfrm>
                  <a:off x="5486" y="2743"/>
                  <a:ext cx="24" cy="34"/>
                </a:xfrm>
                <a:custGeom>
                  <a:avLst/>
                  <a:gdLst>
                    <a:gd name="T0" fmla="*/ 1 w 79"/>
                    <a:gd name="T1" fmla="*/ 1 h 104"/>
                    <a:gd name="T2" fmla="*/ 1 w 79"/>
                    <a:gd name="T3" fmla="*/ 1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1 h 104"/>
                    <a:gd name="T18" fmla="*/ 0 w 79"/>
                    <a:gd name="T19" fmla="*/ 1 h 104"/>
                    <a:gd name="T20" fmla="*/ 0 w 79"/>
                    <a:gd name="T21" fmla="*/ 1 h 104"/>
                    <a:gd name="T22" fmla="*/ 0 w 79"/>
                    <a:gd name="T23" fmla="*/ 1 h 104"/>
                    <a:gd name="T24" fmla="*/ 0 w 79"/>
                    <a:gd name="T25" fmla="*/ 1 h 104"/>
                    <a:gd name="T26" fmla="*/ 0 w 79"/>
                    <a:gd name="T27" fmla="*/ 1 h 104"/>
                    <a:gd name="T28" fmla="*/ 0 w 79"/>
                    <a:gd name="T29" fmla="*/ 1 h 104"/>
                    <a:gd name="T30" fmla="*/ 0 w 79"/>
                    <a:gd name="T31" fmla="*/ 1 h 104"/>
                    <a:gd name="T32" fmla="*/ 0 w 79"/>
                    <a:gd name="T33" fmla="*/ 1 h 104"/>
                    <a:gd name="T34" fmla="*/ 0 w 79"/>
                    <a:gd name="T35" fmla="*/ 1 h 104"/>
                    <a:gd name="T36" fmla="*/ 0 w 79"/>
                    <a:gd name="T37" fmla="*/ 1 h 104"/>
                    <a:gd name="T38" fmla="*/ 0 w 79"/>
                    <a:gd name="T39" fmla="*/ 1 h 104"/>
                    <a:gd name="T40" fmla="*/ 1 w 79"/>
                    <a:gd name="T41" fmla="*/ 1 h 104"/>
                    <a:gd name="T42" fmla="*/ 1 w 79"/>
                    <a:gd name="T43" fmla="*/ 1 h 104"/>
                    <a:gd name="T44" fmla="*/ 1 w 79"/>
                    <a:gd name="T45" fmla="*/ 1 h 104"/>
                    <a:gd name="T46" fmla="*/ 1 w 79"/>
                    <a:gd name="T47" fmla="*/ 1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chemeClr val="tx1"/>
                  </a:solidFill>
                  <a:prstDash val="solid"/>
                  <a:round/>
                  <a:headEnd/>
                  <a:tailEnd/>
                </a:ln>
              </p:spPr>
              <p:txBody>
                <a:bodyPr/>
                <a:lstStyle/>
                <a:p>
                  <a:endParaRPr lang="en-US"/>
                </a:p>
              </p:txBody>
            </p:sp>
          </p:grpSp>
          <p:sp>
            <p:nvSpPr>
              <p:cNvPr id="158" name="Freeform 159"/>
              <p:cNvSpPr>
                <a:spLocks/>
              </p:cNvSpPr>
              <p:nvPr>
                <p:custDataLst>
                  <p:tags r:id="rId90"/>
                </p:custDataLst>
              </p:nvPr>
            </p:nvSpPr>
            <p:spPr bwMode="auto">
              <a:xfrm>
                <a:off x="4497388" y="3476625"/>
                <a:ext cx="11112" cy="55563"/>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FFFFFF"/>
              </a:solidFill>
              <a:ln w="9525" cmpd="sng">
                <a:solidFill>
                  <a:schemeClr val="tx1"/>
                </a:solidFill>
                <a:prstDash val="solid"/>
                <a:round/>
                <a:headEnd/>
                <a:tailEnd/>
              </a:ln>
            </p:spPr>
            <p:txBody>
              <a:bodyPr/>
              <a:lstStyle/>
              <a:p>
                <a:endParaRPr lang="en-US"/>
              </a:p>
            </p:txBody>
          </p:sp>
          <p:sp>
            <p:nvSpPr>
              <p:cNvPr id="159" name="Freeform 160"/>
              <p:cNvSpPr>
                <a:spLocks/>
              </p:cNvSpPr>
              <p:nvPr>
                <p:custDataLst>
                  <p:tags r:id="rId91"/>
                </p:custDataLst>
              </p:nvPr>
            </p:nvSpPr>
            <p:spPr bwMode="auto">
              <a:xfrm>
                <a:off x="4421188" y="3616325"/>
                <a:ext cx="14287" cy="57150"/>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160" name="Freeform 161"/>
              <p:cNvSpPr>
                <a:spLocks/>
              </p:cNvSpPr>
              <p:nvPr>
                <p:custDataLst>
                  <p:tags r:id="rId92"/>
                </p:custDataLst>
              </p:nvPr>
            </p:nvSpPr>
            <p:spPr bwMode="auto">
              <a:xfrm>
                <a:off x="6219825" y="1943100"/>
                <a:ext cx="728663" cy="331788"/>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FFFFFF"/>
              </a:solidFill>
              <a:ln w="9525" cmpd="sng">
                <a:solidFill>
                  <a:schemeClr val="tx1"/>
                </a:solidFill>
                <a:prstDash val="solid"/>
                <a:round/>
                <a:headEnd/>
                <a:tailEnd/>
              </a:ln>
            </p:spPr>
            <p:txBody>
              <a:bodyPr/>
              <a:lstStyle/>
              <a:p>
                <a:endParaRPr lang="en-US"/>
              </a:p>
            </p:txBody>
          </p:sp>
          <p:sp>
            <p:nvSpPr>
              <p:cNvPr id="161" name="Freeform 162"/>
              <p:cNvSpPr>
                <a:spLocks/>
              </p:cNvSpPr>
              <p:nvPr>
                <p:custDataLst>
                  <p:tags r:id="rId93"/>
                </p:custDataLst>
              </p:nvPr>
            </p:nvSpPr>
            <p:spPr bwMode="auto">
              <a:xfrm>
                <a:off x="2546350" y="3910013"/>
                <a:ext cx="328613" cy="415925"/>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162" name="Freeform 163"/>
              <p:cNvSpPr>
                <a:spLocks/>
              </p:cNvSpPr>
              <p:nvPr>
                <p:custDataLst>
                  <p:tags r:id="rId94"/>
                </p:custDataLst>
              </p:nvPr>
            </p:nvSpPr>
            <p:spPr bwMode="auto">
              <a:xfrm>
                <a:off x="2760663" y="3340100"/>
                <a:ext cx="119062" cy="21590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grpSp>
            <p:nvGrpSpPr>
              <p:cNvPr id="163" name="Group 164"/>
              <p:cNvGrpSpPr>
                <a:grpSpLocks/>
              </p:cNvGrpSpPr>
              <p:nvPr>
                <p:custDataLst>
                  <p:tags r:id="rId95"/>
                </p:custDataLst>
              </p:nvPr>
            </p:nvGrpSpPr>
            <p:grpSpPr bwMode="auto">
              <a:xfrm>
                <a:off x="2474913" y="3175000"/>
                <a:ext cx="323850" cy="401638"/>
                <a:chOff x="1486" y="2412"/>
                <a:chExt cx="244" cy="256"/>
              </a:xfrm>
              <a:solidFill>
                <a:srgbClr val="FFFFFF"/>
              </a:solidFill>
            </p:grpSpPr>
            <p:sp>
              <p:nvSpPr>
                <p:cNvPr id="164" name="Freeform 165"/>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1 w 54"/>
                    <a:gd name="T23" fmla="*/ 0 h 22"/>
                    <a:gd name="T24" fmla="*/ 1 w 54"/>
                    <a:gd name="T25" fmla="*/ 0 h 22"/>
                    <a:gd name="T26" fmla="*/ 1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5" name="Freeform 166"/>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6" name="Freeform 167"/>
                <p:cNvSpPr>
                  <a:spLocks/>
                </p:cNvSpPr>
                <p:nvPr/>
              </p:nvSpPr>
              <p:spPr bwMode="auto">
                <a:xfrm>
                  <a:off x="1557" y="2438"/>
                  <a:ext cx="8"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7" name="Freeform 168"/>
                <p:cNvSpPr>
                  <a:spLocks/>
                </p:cNvSpPr>
                <p:nvPr/>
              </p:nvSpPr>
              <p:spPr bwMode="auto">
                <a:xfrm>
                  <a:off x="1486" y="2444"/>
                  <a:ext cx="244" cy="224"/>
                </a:xfrm>
                <a:custGeom>
                  <a:avLst/>
                  <a:gdLst>
                    <a:gd name="T0" fmla="*/ 0 w 743"/>
                    <a:gd name="T1" fmla="*/ 3 h 672"/>
                    <a:gd name="T2" fmla="*/ 1 w 743"/>
                    <a:gd name="T3" fmla="*/ 3 h 672"/>
                    <a:gd name="T4" fmla="*/ 1 w 743"/>
                    <a:gd name="T5" fmla="*/ 4 h 672"/>
                    <a:gd name="T6" fmla="*/ 2 w 743"/>
                    <a:gd name="T7" fmla="*/ 4 h 672"/>
                    <a:gd name="T8" fmla="*/ 2 w 743"/>
                    <a:gd name="T9" fmla="*/ 4 h 672"/>
                    <a:gd name="T10" fmla="*/ 4 w 743"/>
                    <a:gd name="T11" fmla="*/ 5 h 672"/>
                    <a:gd name="T12" fmla="*/ 3 w 743"/>
                    <a:gd name="T13" fmla="*/ 5 h 672"/>
                    <a:gd name="T14" fmla="*/ 4 w 743"/>
                    <a:gd name="T15" fmla="*/ 6 h 672"/>
                    <a:gd name="T16" fmla="*/ 4 w 743"/>
                    <a:gd name="T17" fmla="*/ 7 h 672"/>
                    <a:gd name="T18" fmla="*/ 4 w 743"/>
                    <a:gd name="T19" fmla="*/ 7 h 672"/>
                    <a:gd name="T20" fmla="*/ 4 w 743"/>
                    <a:gd name="T21" fmla="*/ 8 h 672"/>
                    <a:gd name="T22" fmla="*/ 4 w 743"/>
                    <a:gd name="T23" fmla="*/ 8 h 672"/>
                    <a:gd name="T24" fmla="*/ 5 w 743"/>
                    <a:gd name="T25" fmla="*/ 8 h 672"/>
                    <a:gd name="T26" fmla="*/ 5 w 743"/>
                    <a:gd name="T27" fmla="*/ 8 h 672"/>
                    <a:gd name="T28" fmla="*/ 6 w 743"/>
                    <a:gd name="T29" fmla="*/ 8 h 672"/>
                    <a:gd name="T30" fmla="*/ 6 w 743"/>
                    <a:gd name="T31" fmla="*/ 7 h 672"/>
                    <a:gd name="T32" fmla="*/ 6 w 743"/>
                    <a:gd name="T33" fmla="*/ 6 h 672"/>
                    <a:gd name="T34" fmla="*/ 7 w 743"/>
                    <a:gd name="T35" fmla="*/ 6 h 672"/>
                    <a:gd name="T36" fmla="*/ 7 w 743"/>
                    <a:gd name="T37" fmla="*/ 6 h 672"/>
                    <a:gd name="T38" fmla="*/ 8 w 743"/>
                    <a:gd name="T39" fmla="*/ 5 h 672"/>
                    <a:gd name="T40" fmla="*/ 8 w 743"/>
                    <a:gd name="T41" fmla="*/ 5 h 672"/>
                    <a:gd name="T42" fmla="*/ 8 w 743"/>
                    <a:gd name="T43" fmla="*/ 5 h 672"/>
                    <a:gd name="T44" fmla="*/ 8 w 743"/>
                    <a:gd name="T45" fmla="*/ 4 h 672"/>
                    <a:gd name="T46" fmla="*/ 8 w 743"/>
                    <a:gd name="T47" fmla="*/ 4 h 672"/>
                    <a:gd name="T48" fmla="*/ 8 w 743"/>
                    <a:gd name="T49" fmla="*/ 3 h 672"/>
                    <a:gd name="T50" fmla="*/ 9 w 743"/>
                    <a:gd name="T51" fmla="*/ 3 h 672"/>
                    <a:gd name="T52" fmla="*/ 9 w 743"/>
                    <a:gd name="T53" fmla="*/ 3 h 672"/>
                    <a:gd name="T54" fmla="*/ 8 w 743"/>
                    <a:gd name="T55" fmla="*/ 2 h 672"/>
                    <a:gd name="T56" fmla="*/ 8 w 743"/>
                    <a:gd name="T57" fmla="*/ 2 h 672"/>
                    <a:gd name="T58" fmla="*/ 8 w 743"/>
                    <a:gd name="T59" fmla="*/ 2 h 672"/>
                    <a:gd name="T60" fmla="*/ 8 w 743"/>
                    <a:gd name="T61" fmla="*/ 2 h 672"/>
                    <a:gd name="T62" fmla="*/ 7 w 743"/>
                    <a:gd name="T63" fmla="*/ 2 h 672"/>
                    <a:gd name="T64" fmla="*/ 7 w 743"/>
                    <a:gd name="T65" fmla="*/ 1 h 672"/>
                    <a:gd name="T66" fmla="*/ 7 w 743"/>
                    <a:gd name="T67" fmla="*/ 1 h 672"/>
                    <a:gd name="T68" fmla="*/ 6 w 743"/>
                    <a:gd name="T69" fmla="*/ 1 h 672"/>
                    <a:gd name="T70" fmla="*/ 6 w 743"/>
                    <a:gd name="T71" fmla="*/ 1 h 672"/>
                    <a:gd name="T72" fmla="*/ 6 w 743"/>
                    <a:gd name="T73" fmla="*/ 1 h 672"/>
                    <a:gd name="T74" fmla="*/ 5 w 743"/>
                    <a:gd name="T75" fmla="*/ 1 h 672"/>
                    <a:gd name="T76" fmla="*/ 5 w 743"/>
                    <a:gd name="T77" fmla="*/ 1 h 672"/>
                    <a:gd name="T78" fmla="*/ 5 w 743"/>
                    <a:gd name="T79" fmla="*/ 1 h 672"/>
                    <a:gd name="T80" fmla="*/ 4 w 743"/>
                    <a:gd name="T81" fmla="*/ 1 h 672"/>
                    <a:gd name="T82" fmla="*/ 4 w 743"/>
                    <a:gd name="T83" fmla="*/ 1 h 672"/>
                    <a:gd name="T84" fmla="*/ 4 w 743"/>
                    <a:gd name="T85" fmla="*/ 1 h 672"/>
                    <a:gd name="T86" fmla="*/ 3 w 743"/>
                    <a:gd name="T87" fmla="*/ 1 h 672"/>
                    <a:gd name="T88" fmla="*/ 3 w 743"/>
                    <a:gd name="T89" fmla="*/ 1 h 672"/>
                    <a:gd name="T90" fmla="*/ 2 w 743"/>
                    <a:gd name="T91" fmla="*/ 0 h 672"/>
                    <a:gd name="T92" fmla="*/ 2 w 743"/>
                    <a:gd name="T93" fmla="*/ 0 h 672"/>
                    <a:gd name="T94" fmla="*/ 2 w 743"/>
                    <a:gd name="T95" fmla="*/ 1 h 672"/>
                    <a:gd name="T96" fmla="*/ 1 w 743"/>
                    <a:gd name="T97" fmla="*/ 1 h 672"/>
                    <a:gd name="T98" fmla="*/ 1 w 743"/>
                    <a:gd name="T99" fmla="*/ 2 h 672"/>
                    <a:gd name="T100" fmla="*/ 1 w 743"/>
                    <a:gd name="T101" fmla="*/ 2 h 672"/>
                    <a:gd name="T102" fmla="*/ 1 w 743"/>
                    <a:gd name="T103" fmla="*/ 2 h 672"/>
                    <a:gd name="T104" fmla="*/ 1 w 743"/>
                    <a:gd name="T105" fmla="*/ 2 h 672"/>
                    <a:gd name="T106" fmla="*/ 1 w 743"/>
                    <a:gd name="T107" fmla="*/ 2 h 672"/>
                    <a:gd name="T108" fmla="*/ 1 w 743"/>
                    <a:gd name="T109" fmla="*/ 1 h 672"/>
                    <a:gd name="T110" fmla="*/ 1 w 743"/>
                    <a:gd name="T111" fmla="*/ 1 h 672"/>
                    <a:gd name="T112" fmla="*/ 1 w 743"/>
                    <a:gd name="T113" fmla="*/ 0 h 672"/>
                    <a:gd name="T114" fmla="*/ 1 w 743"/>
                    <a:gd name="T115" fmla="*/ 0 h 672"/>
                    <a:gd name="T116" fmla="*/ 0 w 743"/>
                    <a:gd name="T117" fmla="*/ 1 h 672"/>
                    <a:gd name="T118" fmla="*/ 0 w 743"/>
                    <a:gd name="T119" fmla="*/ 1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68" name="Freeform 169"/>
              <p:cNvSpPr>
                <a:spLocks/>
              </p:cNvSpPr>
              <p:nvPr>
                <p:custDataLst>
                  <p:tags r:id="rId96"/>
                </p:custDataLst>
              </p:nvPr>
            </p:nvSpPr>
            <p:spPr bwMode="auto">
              <a:xfrm>
                <a:off x="7496175" y="4714875"/>
                <a:ext cx="31750" cy="11113"/>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FFFFFF"/>
              </a:solidFill>
              <a:ln w="9525" cmpd="sng">
                <a:solidFill>
                  <a:schemeClr val="tx1"/>
                </a:solidFill>
                <a:prstDash val="solid"/>
                <a:round/>
                <a:headEnd/>
                <a:tailEnd/>
              </a:ln>
            </p:spPr>
            <p:txBody>
              <a:bodyPr/>
              <a:lstStyle/>
              <a:p>
                <a:endParaRPr lang="en-US"/>
              </a:p>
            </p:txBody>
          </p:sp>
          <p:sp>
            <p:nvSpPr>
              <p:cNvPr id="169" name="Freeform 170"/>
              <p:cNvSpPr>
                <a:spLocks/>
              </p:cNvSpPr>
              <p:nvPr>
                <p:custDataLst>
                  <p:tags r:id="rId97"/>
                </p:custDataLst>
              </p:nvPr>
            </p:nvSpPr>
            <p:spPr bwMode="auto">
              <a:xfrm>
                <a:off x="7612063" y="4848225"/>
                <a:ext cx="1587" cy="4763"/>
              </a:xfrm>
              <a:custGeom>
                <a:avLst/>
                <a:gdLst>
                  <a:gd name="T0" fmla="*/ 0 w 1588"/>
                  <a:gd name="T1" fmla="*/ 0 h 6"/>
                  <a:gd name="T2" fmla="*/ 0 w 1588"/>
                  <a:gd name="T3" fmla="*/ 2147483647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170" name="Line 171"/>
              <p:cNvSpPr>
                <a:spLocks noChangeShapeType="1"/>
              </p:cNvSpPr>
              <p:nvPr>
                <p:custDataLst>
                  <p:tags r:id="rId98"/>
                </p:custDataLst>
              </p:nvPr>
            </p:nvSpPr>
            <p:spPr bwMode="auto">
              <a:xfrm flipV="1">
                <a:off x="7702550" y="4846638"/>
                <a:ext cx="1588" cy="127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1" name="Freeform 172"/>
              <p:cNvSpPr>
                <a:spLocks/>
              </p:cNvSpPr>
              <p:nvPr>
                <p:custDataLst>
                  <p:tags r:id="rId99"/>
                </p:custDataLst>
              </p:nvPr>
            </p:nvSpPr>
            <p:spPr bwMode="auto">
              <a:xfrm>
                <a:off x="7702550" y="4846638"/>
                <a:ext cx="3175" cy="1587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FFFFFF"/>
              </a:solidFill>
              <a:ln w="9525" cmpd="sng">
                <a:solidFill>
                  <a:schemeClr val="tx1"/>
                </a:solidFill>
                <a:prstDash val="solid"/>
                <a:round/>
                <a:headEnd/>
                <a:tailEnd/>
              </a:ln>
            </p:spPr>
            <p:txBody>
              <a:bodyPr/>
              <a:lstStyle/>
              <a:p>
                <a:endParaRPr lang="en-US"/>
              </a:p>
            </p:txBody>
          </p:sp>
          <p:sp>
            <p:nvSpPr>
              <p:cNvPr id="172" name="Freeform 173"/>
              <p:cNvSpPr>
                <a:spLocks/>
              </p:cNvSpPr>
              <p:nvPr>
                <p:custDataLst>
                  <p:tags r:id="rId100"/>
                </p:custDataLst>
              </p:nvPr>
            </p:nvSpPr>
            <p:spPr bwMode="auto">
              <a:xfrm>
                <a:off x="8001000" y="4316413"/>
                <a:ext cx="22225" cy="28575"/>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FFFFFF"/>
              </a:solidFill>
              <a:ln w="9525" cmpd="sng">
                <a:solidFill>
                  <a:schemeClr val="tx1"/>
                </a:solidFill>
                <a:prstDash val="solid"/>
                <a:round/>
                <a:headEnd/>
                <a:tailEnd/>
              </a:ln>
            </p:spPr>
            <p:txBody>
              <a:bodyPr/>
              <a:lstStyle/>
              <a:p>
                <a:endParaRPr lang="en-US"/>
              </a:p>
            </p:txBody>
          </p:sp>
          <p:sp>
            <p:nvSpPr>
              <p:cNvPr id="173" name="Freeform 174"/>
              <p:cNvSpPr>
                <a:spLocks/>
              </p:cNvSpPr>
              <p:nvPr>
                <p:custDataLst>
                  <p:tags r:id="rId101"/>
                </p:custDataLst>
              </p:nvPr>
            </p:nvSpPr>
            <p:spPr bwMode="auto">
              <a:xfrm>
                <a:off x="8007350" y="4243388"/>
                <a:ext cx="26988" cy="39687"/>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FFFFFF"/>
              </a:solidFill>
              <a:ln w="9525" cmpd="sng">
                <a:solidFill>
                  <a:schemeClr val="tx1"/>
                </a:solidFill>
                <a:prstDash val="solid"/>
                <a:round/>
                <a:headEnd/>
                <a:tailEnd/>
              </a:ln>
            </p:spPr>
            <p:txBody>
              <a:bodyPr/>
              <a:lstStyle/>
              <a:p>
                <a:endParaRPr lang="en-US"/>
              </a:p>
            </p:txBody>
          </p:sp>
          <p:sp>
            <p:nvSpPr>
              <p:cNvPr id="174" name="Freeform 175"/>
              <p:cNvSpPr>
                <a:spLocks/>
              </p:cNvSpPr>
              <p:nvPr>
                <p:custDataLst>
                  <p:tags r:id="rId102"/>
                </p:custDataLst>
              </p:nvPr>
            </p:nvSpPr>
            <p:spPr bwMode="auto">
              <a:xfrm>
                <a:off x="7983538" y="4219575"/>
                <a:ext cx="17462" cy="30163"/>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FFFFFF"/>
              </a:solidFill>
              <a:ln w="9525" cmpd="sng">
                <a:solidFill>
                  <a:schemeClr val="tx1"/>
                </a:solidFill>
                <a:prstDash val="solid"/>
                <a:round/>
                <a:headEnd/>
                <a:tailEnd/>
              </a:ln>
            </p:spPr>
            <p:txBody>
              <a:bodyPr/>
              <a:lstStyle/>
              <a:p>
                <a:endParaRPr lang="en-US"/>
              </a:p>
            </p:txBody>
          </p:sp>
          <p:sp>
            <p:nvSpPr>
              <p:cNvPr id="175" name="Freeform 176"/>
              <p:cNvSpPr>
                <a:spLocks/>
              </p:cNvSpPr>
              <p:nvPr>
                <p:custDataLst>
                  <p:tags r:id="rId103"/>
                </p:custDataLst>
              </p:nvPr>
            </p:nvSpPr>
            <p:spPr bwMode="auto">
              <a:xfrm>
                <a:off x="7902575" y="4097338"/>
                <a:ext cx="68263" cy="138112"/>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176" name="Line 177"/>
              <p:cNvSpPr>
                <a:spLocks noChangeShapeType="1"/>
              </p:cNvSpPr>
              <p:nvPr>
                <p:custDataLst>
                  <p:tags r:id="rId104"/>
                </p:custDataLst>
              </p:nvPr>
            </p:nvSpPr>
            <p:spPr bwMode="auto">
              <a:xfrm flipH="1" flipV="1">
                <a:off x="7896225" y="4064000"/>
                <a:ext cx="6350" cy="3333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7" name="Freeform 178"/>
              <p:cNvSpPr>
                <a:spLocks/>
              </p:cNvSpPr>
              <p:nvPr>
                <p:custDataLst>
                  <p:tags r:id="rId105"/>
                </p:custDataLst>
              </p:nvPr>
            </p:nvSpPr>
            <p:spPr bwMode="auto">
              <a:xfrm>
                <a:off x="7896225" y="4048125"/>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FFFFFF"/>
              </a:solidFill>
              <a:ln w="9525" cmpd="sng">
                <a:solidFill>
                  <a:schemeClr val="tx1"/>
                </a:solidFill>
                <a:prstDash val="solid"/>
                <a:round/>
                <a:headEnd/>
                <a:tailEnd/>
              </a:ln>
            </p:spPr>
            <p:txBody>
              <a:bodyPr/>
              <a:lstStyle/>
              <a:p>
                <a:endParaRPr lang="en-US"/>
              </a:p>
            </p:txBody>
          </p:sp>
          <p:sp>
            <p:nvSpPr>
              <p:cNvPr id="178" name="Line 179"/>
              <p:cNvSpPr>
                <a:spLocks noChangeShapeType="1"/>
              </p:cNvSpPr>
              <p:nvPr>
                <p:custDataLst>
                  <p:tags r:id="rId106"/>
                </p:custDataLst>
              </p:nvPr>
            </p:nvSpPr>
            <p:spPr bwMode="auto">
              <a:xfrm flipV="1">
                <a:off x="7902575" y="4035425"/>
                <a:ext cx="0" cy="127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9" name="Freeform 180"/>
              <p:cNvSpPr>
                <a:spLocks/>
              </p:cNvSpPr>
              <p:nvPr>
                <p:custDataLst>
                  <p:tags r:id="rId107"/>
                </p:custDataLst>
              </p:nvPr>
            </p:nvSpPr>
            <p:spPr bwMode="auto">
              <a:xfrm>
                <a:off x="7856538" y="3968750"/>
                <a:ext cx="46037" cy="6667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FFFFFF"/>
              </a:solidFill>
              <a:ln w="9525" cmpd="sng">
                <a:solidFill>
                  <a:schemeClr val="tx1"/>
                </a:solidFill>
                <a:prstDash val="solid"/>
                <a:round/>
                <a:headEnd/>
                <a:tailEnd/>
              </a:ln>
            </p:spPr>
            <p:txBody>
              <a:bodyPr/>
              <a:lstStyle/>
              <a:p>
                <a:endParaRPr lang="en-US"/>
              </a:p>
            </p:txBody>
          </p:sp>
          <p:sp>
            <p:nvSpPr>
              <p:cNvPr id="180" name="Freeform 181"/>
              <p:cNvSpPr>
                <a:spLocks/>
              </p:cNvSpPr>
              <p:nvPr>
                <p:custDataLst>
                  <p:tags r:id="rId108"/>
                </p:custDataLst>
              </p:nvPr>
            </p:nvSpPr>
            <p:spPr bwMode="auto">
              <a:xfrm>
                <a:off x="7870825" y="3911600"/>
                <a:ext cx="1588" cy="50800"/>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FFFFFF"/>
              </a:solidFill>
              <a:ln w="9525" cmpd="sng">
                <a:solidFill>
                  <a:schemeClr val="tx1"/>
                </a:solidFill>
                <a:prstDash val="solid"/>
                <a:round/>
                <a:headEnd/>
                <a:tailEnd/>
              </a:ln>
            </p:spPr>
            <p:txBody>
              <a:bodyPr/>
              <a:lstStyle/>
              <a:p>
                <a:endParaRPr lang="en-US"/>
              </a:p>
            </p:txBody>
          </p:sp>
          <p:sp>
            <p:nvSpPr>
              <p:cNvPr id="181" name="Freeform 182"/>
              <p:cNvSpPr>
                <a:spLocks/>
              </p:cNvSpPr>
              <p:nvPr>
                <p:custDataLst>
                  <p:tags r:id="rId109"/>
                </p:custDataLst>
              </p:nvPr>
            </p:nvSpPr>
            <p:spPr bwMode="auto">
              <a:xfrm>
                <a:off x="7877175" y="3905250"/>
                <a:ext cx="7938" cy="36513"/>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FFFFFF"/>
              </a:solidFill>
              <a:ln w="9525" cmpd="sng">
                <a:solidFill>
                  <a:schemeClr val="tx1"/>
                </a:solidFill>
                <a:prstDash val="solid"/>
                <a:round/>
                <a:headEnd/>
                <a:tailEnd/>
              </a:ln>
            </p:spPr>
            <p:txBody>
              <a:bodyPr/>
              <a:lstStyle/>
              <a:p>
                <a:endParaRPr lang="en-US"/>
              </a:p>
            </p:txBody>
          </p:sp>
          <p:sp>
            <p:nvSpPr>
              <p:cNvPr id="182" name="Freeform 183"/>
              <p:cNvSpPr>
                <a:spLocks/>
              </p:cNvSpPr>
              <p:nvPr>
                <p:custDataLst>
                  <p:tags r:id="rId110"/>
                </p:custDataLst>
              </p:nvPr>
            </p:nvSpPr>
            <p:spPr bwMode="auto">
              <a:xfrm>
                <a:off x="7893050" y="3886200"/>
                <a:ext cx="1588" cy="22225"/>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FFFFFF"/>
              </a:solidFill>
              <a:ln w="9525" cmpd="sng">
                <a:solidFill>
                  <a:schemeClr val="tx1"/>
                </a:solidFill>
                <a:prstDash val="solid"/>
                <a:round/>
                <a:headEnd/>
                <a:tailEnd/>
              </a:ln>
            </p:spPr>
            <p:txBody>
              <a:bodyPr/>
              <a:lstStyle/>
              <a:p>
                <a:endParaRPr lang="en-US"/>
              </a:p>
            </p:txBody>
          </p:sp>
          <p:sp>
            <p:nvSpPr>
              <p:cNvPr id="183" name="Line 184"/>
              <p:cNvSpPr>
                <a:spLocks noChangeShapeType="1"/>
              </p:cNvSpPr>
              <p:nvPr>
                <p:custDataLst>
                  <p:tags r:id="rId111"/>
                </p:custDataLst>
              </p:nvPr>
            </p:nvSpPr>
            <p:spPr bwMode="auto">
              <a:xfrm flipV="1">
                <a:off x="7893050" y="3905250"/>
                <a:ext cx="1588" cy="317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4" name="Freeform 185"/>
              <p:cNvSpPr>
                <a:spLocks/>
              </p:cNvSpPr>
              <p:nvPr>
                <p:custDataLst>
                  <p:tags r:id="rId112"/>
                </p:custDataLst>
              </p:nvPr>
            </p:nvSpPr>
            <p:spPr bwMode="auto">
              <a:xfrm>
                <a:off x="7877175" y="3889375"/>
                <a:ext cx="1588" cy="15875"/>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185" name="Freeform 186"/>
              <p:cNvSpPr>
                <a:spLocks/>
              </p:cNvSpPr>
              <p:nvPr>
                <p:custDataLst>
                  <p:tags r:id="rId113"/>
                </p:custDataLst>
              </p:nvPr>
            </p:nvSpPr>
            <p:spPr bwMode="auto">
              <a:xfrm>
                <a:off x="7597775" y="4878388"/>
                <a:ext cx="96838" cy="87312"/>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FFFFFF"/>
              </a:solidFill>
              <a:ln w="9525" cmpd="sng">
                <a:solidFill>
                  <a:schemeClr val="tx1"/>
                </a:solidFill>
                <a:prstDash val="solid"/>
                <a:round/>
                <a:headEnd/>
                <a:tailEnd/>
              </a:ln>
            </p:spPr>
            <p:txBody>
              <a:bodyPr/>
              <a:lstStyle/>
              <a:p>
                <a:endParaRPr lang="en-US"/>
              </a:p>
            </p:txBody>
          </p:sp>
          <p:sp>
            <p:nvSpPr>
              <p:cNvPr id="186" name="Freeform 187"/>
              <p:cNvSpPr>
                <a:spLocks/>
              </p:cNvSpPr>
              <p:nvPr>
                <p:custDataLst>
                  <p:tags r:id="rId114"/>
                </p:custDataLst>
              </p:nvPr>
            </p:nvSpPr>
            <p:spPr bwMode="auto">
              <a:xfrm>
                <a:off x="7735888" y="4097338"/>
                <a:ext cx="3175" cy="17462"/>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FFFFFF"/>
              </a:solidFill>
              <a:ln w="9525" cmpd="sng">
                <a:solidFill>
                  <a:schemeClr val="tx1"/>
                </a:solidFill>
                <a:prstDash val="solid"/>
                <a:round/>
                <a:headEnd/>
                <a:tailEnd/>
              </a:ln>
            </p:spPr>
            <p:txBody>
              <a:bodyPr/>
              <a:lstStyle/>
              <a:p>
                <a:endParaRPr lang="en-US"/>
              </a:p>
            </p:txBody>
          </p:sp>
          <p:sp>
            <p:nvSpPr>
              <p:cNvPr id="187" name="Freeform 188"/>
              <p:cNvSpPr>
                <a:spLocks/>
              </p:cNvSpPr>
              <p:nvPr>
                <p:custDataLst>
                  <p:tags r:id="rId115"/>
                </p:custDataLst>
              </p:nvPr>
            </p:nvSpPr>
            <p:spPr bwMode="auto">
              <a:xfrm>
                <a:off x="7669213" y="4019550"/>
                <a:ext cx="15875"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FFFFFF"/>
              </a:solidFill>
              <a:ln w="9525" cmpd="sng">
                <a:solidFill>
                  <a:schemeClr val="tx1"/>
                </a:solidFill>
                <a:prstDash val="solid"/>
                <a:round/>
                <a:headEnd/>
                <a:tailEnd/>
              </a:ln>
            </p:spPr>
            <p:txBody>
              <a:bodyPr/>
              <a:lstStyle/>
              <a:p>
                <a:endParaRPr lang="en-US"/>
              </a:p>
            </p:txBody>
          </p:sp>
          <p:sp>
            <p:nvSpPr>
              <p:cNvPr id="188" name="Freeform 189"/>
              <p:cNvSpPr>
                <a:spLocks/>
              </p:cNvSpPr>
              <p:nvPr>
                <p:custDataLst>
                  <p:tags r:id="rId116"/>
                </p:custDataLst>
              </p:nvPr>
            </p:nvSpPr>
            <p:spPr bwMode="auto">
              <a:xfrm>
                <a:off x="7685088" y="3932238"/>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FFFFFF"/>
              </a:solidFill>
              <a:ln w="9525" cmpd="sng">
                <a:solidFill>
                  <a:schemeClr val="tx1"/>
                </a:solidFill>
                <a:prstDash val="solid"/>
                <a:round/>
                <a:headEnd/>
                <a:tailEnd/>
              </a:ln>
            </p:spPr>
            <p:txBody>
              <a:bodyPr/>
              <a:lstStyle/>
              <a:p>
                <a:endParaRPr lang="en-US"/>
              </a:p>
            </p:txBody>
          </p:sp>
          <p:sp>
            <p:nvSpPr>
              <p:cNvPr id="189" name="Freeform 190"/>
              <p:cNvSpPr>
                <a:spLocks/>
              </p:cNvSpPr>
              <p:nvPr>
                <p:custDataLst>
                  <p:tags r:id="rId117"/>
                </p:custDataLst>
              </p:nvPr>
            </p:nvSpPr>
            <p:spPr bwMode="auto">
              <a:xfrm>
                <a:off x="7524750" y="3935413"/>
                <a:ext cx="36513" cy="2222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FFFFFF"/>
              </a:solidFill>
              <a:ln w="9525" cmpd="sng">
                <a:solidFill>
                  <a:schemeClr val="tx1"/>
                </a:solidFill>
                <a:prstDash val="solid"/>
                <a:round/>
                <a:headEnd/>
                <a:tailEnd/>
              </a:ln>
            </p:spPr>
            <p:txBody>
              <a:bodyPr/>
              <a:lstStyle/>
              <a:p>
                <a:endParaRPr lang="en-US"/>
              </a:p>
            </p:txBody>
          </p:sp>
          <p:sp>
            <p:nvSpPr>
              <p:cNvPr id="190" name="Freeform 191"/>
              <p:cNvSpPr>
                <a:spLocks/>
              </p:cNvSpPr>
              <p:nvPr>
                <p:custDataLst>
                  <p:tags r:id="rId118"/>
                </p:custDataLst>
              </p:nvPr>
            </p:nvSpPr>
            <p:spPr bwMode="auto">
              <a:xfrm>
                <a:off x="7769225" y="4398963"/>
                <a:ext cx="1588" cy="14287"/>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191" name="Freeform 192"/>
              <p:cNvSpPr>
                <a:spLocks/>
              </p:cNvSpPr>
              <p:nvPr>
                <p:custDataLst>
                  <p:tags r:id="rId119"/>
                </p:custDataLst>
              </p:nvPr>
            </p:nvSpPr>
            <p:spPr bwMode="auto">
              <a:xfrm>
                <a:off x="7005638" y="3905250"/>
                <a:ext cx="1019175" cy="908050"/>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FFFFFF"/>
              </a:solidFill>
              <a:ln w="9525" cmpd="sng">
                <a:solidFill>
                  <a:schemeClr val="tx1"/>
                </a:solidFill>
                <a:prstDash val="solid"/>
                <a:round/>
                <a:headEnd/>
                <a:tailEnd/>
              </a:ln>
            </p:spPr>
            <p:txBody>
              <a:bodyPr/>
              <a:lstStyle/>
              <a:p>
                <a:endParaRPr lang="en-US"/>
              </a:p>
            </p:txBody>
          </p:sp>
          <p:sp>
            <p:nvSpPr>
              <p:cNvPr id="192" name="Freeform 193"/>
              <p:cNvSpPr>
                <a:spLocks/>
              </p:cNvSpPr>
              <p:nvPr>
                <p:custDataLst>
                  <p:tags r:id="rId120"/>
                </p:custDataLst>
              </p:nvPr>
            </p:nvSpPr>
            <p:spPr bwMode="auto">
              <a:xfrm>
                <a:off x="1492250" y="2571750"/>
                <a:ext cx="668338" cy="5810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193" name="Freeform 194"/>
              <p:cNvSpPr>
                <a:spLocks/>
              </p:cNvSpPr>
              <p:nvPr>
                <p:custDataLst>
                  <p:tags r:id="rId121"/>
                </p:custDataLst>
              </p:nvPr>
            </p:nvSpPr>
            <p:spPr bwMode="auto">
              <a:xfrm>
                <a:off x="2767013" y="4211638"/>
                <a:ext cx="211137" cy="265112"/>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194" name="Freeform 195"/>
              <p:cNvSpPr>
                <a:spLocks/>
              </p:cNvSpPr>
              <p:nvPr>
                <p:custDataLst>
                  <p:tags r:id="rId122"/>
                </p:custDataLst>
              </p:nvPr>
            </p:nvSpPr>
            <p:spPr bwMode="auto">
              <a:xfrm>
                <a:off x="2936875" y="3416300"/>
                <a:ext cx="73025" cy="109538"/>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195" name="Freeform 196"/>
              <p:cNvSpPr>
                <a:spLocks/>
              </p:cNvSpPr>
              <p:nvPr>
                <p:custDataLst>
                  <p:tags r:id="rId123"/>
                </p:custDataLst>
              </p:nvPr>
            </p:nvSpPr>
            <p:spPr bwMode="auto">
              <a:xfrm>
                <a:off x="2451100" y="2974975"/>
                <a:ext cx="69850" cy="58738"/>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FFFFFF"/>
              </a:solidFill>
              <a:ln w="9525" cmpd="sng">
                <a:solidFill>
                  <a:schemeClr val="tx1"/>
                </a:solidFill>
                <a:prstDash val="solid"/>
                <a:round/>
                <a:headEnd/>
                <a:tailEnd/>
              </a:ln>
            </p:spPr>
            <p:txBody>
              <a:bodyPr/>
              <a:lstStyle/>
              <a:p>
                <a:endParaRPr lang="en-US"/>
              </a:p>
            </p:txBody>
          </p:sp>
          <p:sp>
            <p:nvSpPr>
              <p:cNvPr id="196" name="Freeform 197"/>
              <p:cNvSpPr>
                <a:spLocks/>
              </p:cNvSpPr>
              <p:nvPr>
                <p:custDataLst>
                  <p:tags r:id="rId124"/>
                </p:custDataLst>
              </p:nvPr>
            </p:nvSpPr>
            <p:spPr bwMode="auto">
              <a:xfrm>
                <a:off x="2817813" y="5329238"/>
                <a:ext cx="23812"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FFFFFF"/>
              </a:solidFill>
              <a:ln w="9525" cmpd="sng">
                <a:solidFill>
                  <a:schemeClr val="tx1"/>
                </a:solidFill>
                <a:prstDash val="solid"/>
                <a:round/>
                <a:headEnd/>
                <a:tailEnd/>
              </a:ln>
            </p:spPr>
            <p:txBody>
              <a:bodyPr/>
              <a:lstStyle/>
              <a:p>
                <a:endParaRPr lang="en-US"/>
              </a:p>
            </p:txBody>
          </p:sp>
          <p:sp>
            <p:nvSpPr>
              <p:cNvPr id="197" name="Freeform 198"/>
              <p:cNvSpPr>
                <a:spLocks/>
              </p:cNvSpPr>
              <p:nvPr>
                <p:custDataLst>
                  <p:tags r:id="rId125"/>
                </p:custDataLst>
              </p:nvPr>
            </p:nvSpPr>
            <p:spPr bwMode="auto">
              <a:xfrm>
                <a:off x="2782888" y="5308600"/>
                <a:ext cx="34925" cy="58738"/>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198" name="Freeform 199"/>
              <p:cNvSpPr>
                <a:spLocks/>
              </p:cNvSpPr>
              <p:nvPr>
                <p:custDataLst>
                  <p:tags r:id="rId126"/>
                </p:custDataLst>
              </p:nvPr>
            </p:nvSpPr>
            <p:spPr bwMode="auto">
              <a:xfrm>
                <a:off x="2782888" y="5287963"/>
                <a:ext cx="22225" cy="6032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FFFFFF"/>
              </a:solidFill>
              <a:ln w="9525" cmpd="sng">
                <a:solidFill>
                  <a:schemeClr val="tx1"/>
                </a:solidFill>
                <a:prstDash val="solid"/>
                <a:round/>
                <a:headEnd/>
                <a:tailEnd/>
              </a:ln>
            </p:spPr>
            <p:txBody>
              <a:bodyPr/>
              <a:lstStyle/>
              <a:p>
                <a:endParaRPr lang="en-US"/>
              </a:p>
            </p:txBody>
          </p:sp>
          <p:sp>
            <p:nvSpPr>
              <p:cNvPr id="199" name="Freeform 200"/>
              <p:cNvSpPr>
                <a:spLocks/>
              </p:cNvSpPr>
              <p:nvPr>
                <p:custDataLst>
                  <p:tags r:id="rId127"/>
                </p:custDataLst>
              </p:nvPr>
            </p:nvSpPr>
            <p:spPr bwMode="auto">
              <a:xfrm>
                <a:off x="2752725" y="5281613"/>
                <a:ext cx="25400" cy="60325"/>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FFFFFF"/>
              </a:solidFill>
              <a:ln w="9525" cmpd="sng">
                <a:solidFill>
                  <a:schemeClr val="tx1"/>
                </a:solidFill>
                <a:prstDash val="solid"/>
                <a:round/>
                <a:headEnd/>
                <a:tailEnd/>
              </a:ln>
            </p:spPr>
            <p:txBody>
              <a:bodyPr/>
              <a:lstStyle/>
              <a:p>
                <a:endParaRPr lang="en-US"/>
              </a:p>
            </p:txBody>
          </p:sp>
          <p:sp>
            <p:nvSpPr>
              <p:cNvPr id="200" name="Freeform 201"/>
              <p:cNvSpPr>
                <a:spLocks/>
              </p:cNvSpPr>
              <p:nvPr>
                <p:custDataLst>
                  <p:tags r:id="rId128"/>
                </p:custDataLst>
              </p:nvPr>
            </p:nvSpPr>
            <p:spPr bwMode="auto">
              <a:xfrm>
                <a:off x="2727325" y="5272088"/>
                <a:ext cx="28575" cy="58737"/>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FFFFFF"/>
              </a:solidFill>
              <a:ln w="9525" cmpd="sng">
                <a:solidFill>
                  <a:schemeClr val="tx1"/>
                </a:solidFill>
                <a:prstDash val="solid"/>
                <a:round/>
                <a:headEnd/>
                <a:tailEnd/>
              </a:ln>
            </p:spPr>
            <p:txBody>
              <a:bodyPr/>
              <a:lstStyle/>
              <a:p>
                <a:endParaRPr lang="en-US"/>
              </a:p>
            </p:txBody>
          </p:sp>
          <p:sp>
            <p:nvSpPr>
              <p:cNvPr id="201" name="Freeform 202"/>
              <p:cNvSpPr>
                <a:spLocks/>
              </p:cNvSpPr>
              <p:nvPr>
                <p:custDataLst>
                  <p:tags r:id="rId129"/>
                </p:custDataLst>
              </p:nvPr>
            </p:nvSpPr>
            <p:spPr bwMode="auto">
              <a:xfrm>
                <a:off x="2703513" y="5259388"/>
                <a:ext cx="33337" cy="57150"/>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FFFFFF"/>
              </a:solidFill>
              <a:ln w="9525" cmpd="sng">
                <a:solidFill>
                  <a:schemeClr val="tx1"/>
                </a:solidFill>
                <a:prstDash val="solid"/>
                <a:round/>
                <a:headEnd/>
                <a:tailEnd/>
              </a:ln>
            </p:spPr>
            <p:txBody>
              <a:bodyPr/>
              <a:lstStyle/>
              <a:p>
                <a:endParaRPr lang="en-US"/>
              </a:p>
            </p:txBody>
          </p:sp>
          <p:sp>
            <p:nvSpPr>
              <p:cNvPr id="202" name="Freeform 203"/>
              <p:cNvSpPr>
                <a:spLocks/>
              </p:cNvSpPr>
              <p:nvPr>
                <p:custDataLst>
                  <p:tags r:id="rId130"/>
                </p:custDataLst>
              </p:nvPr>
            </p:nvSpPr>
            <p:spPr bwMode="auto">
              <a:xfrm>
                <a:off x="2697163" y="5240338"/>
                <a:ext cx="30162" cy="57150"/>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FFFFFF"/>
              </a:solidFill>
              <a:ln w="9525" cmpd="sng">
                <a:solidFill>
                  <a:schemeClr val="tx1"/>
                </a:solidFill>
                <a:prstDash val="solid"/>
                <a:round/>
                <a:headEnd/>
                <a:tailEnd/>
              </a:ln>
            </p:spPr>
            <p:txBody>
              <a:bodyPr/>
              <a:lstStyle/>
              <a:p>
                <a:endParaRPr lang="en-US"/>
              </a:p>
            </p:txBody>
          </p:sp>
          <p:sp>
            <p:nvSpPr>
              <p:cNvPr id="203" name="Freeform 204"/>
              <p:cNvSpPr>
                <a:spLocks/>
              </p:cNvSpPr>
              <p:nvPr>
                <p:custDataLst>
                  <p:tags r:id="rId131"/>
                </p:custDataLst>
              </p:nvPr>
            </p:nvSpPr>
            <p:spPr bwMode="auto">
              <a:xfrm>
                <a:off x="2597150" y="4930775"/>
                <a:ext cx="25400" cy="6032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FFFFFF"/>
              </a:solidFill>
              <a:ln w="9525" cmpd="sng">
                <a:solidFill>
                  <a:schemeClr val="tx1"/>
                </a:solidFill>
                <a:prstDash val="solid"/>
                <a:round/>
                <a:headEnd/>
                <a:tailEnd/>
              </a:ln>
            </p:spPr>
            <p:txBody>
              <a:bodyPr/>
              <a:lstStyle/>
              <a:p>
                <a:endParaRPr lang="en-US"/>
              </a:p>
            </p:txBody>
          </p:sp>
          <p:sp>
            <p:nvSpPr>
              <p:cNvPr id="204" name="Freeform 205"/>
              <p:cNvSpPr>
                <a:spLocks/>
              </p:cNvSpPr>
              <p:nvPr>
                <p:custDataLst>
                  <p:tags r:id="rId132"/>
                </p:custDataLst>
              </p:nvPr>
            </p:nvSpPr>
            <p:spPr bwMode="auto">
              <a:xfrm>
                <a:off x="2627313" y="5026025"/>
                <a:ext cx="17462" cy="53975"/>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FFFFFF"/>
              </a:solidFill>
              <a:ln w="9525" cmpd="sng">
                <a:solidFill>
                  <a:schemeClr val="tx1"/>
                </a:solidFill>
                <a:prstDash val="solid"/>
                <a:round/>
                <a:headEnd/>
                <a:tailEnd/>
              </a:ln>
            </p:spPr>
            <p:txBody>
              <a:bodyPr/>
              <a:lstStyle/>
              <a:p>
                <a:endParaRPr lang="en-US"/>
              </a:p>
            </p:txBody>
          </p:sp>
          <p:sp>
            <p:nvSpPr>
              <p:cNvPr id="205" name="Freeform 206"/>
              <p:cNvSpPr>
                <a:spLocks/>
              </p:cNvSpPr>
              <p:nvPr>
                <p:custDataLst>
                  <p:tags r:id="rId133"/>
                </p:custDataLst>
              </p:nvPr>
            </p:nvSpPr>
            <p:spPr bwMode="auto">
              <a:xfrm>
                <a:off x="2632075" y="5048250"/>
                <a:ext cx="7938" cy="58738"/>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FFFFFF"/>
              </a:solidFill>
              <a:ln w="9525" cmpd="sng">
                <a:solidFill>
                  <a:schemeClr val="tx1"/>
                </a:solidFill>
                <a:prstDash val="solid"/>
                <a:round/>
                <a:headEnd/>
                <a:tailEnd/>
              </a:ln>
            </p:spPr>
            <p:txBody>
              <a:bodyPr/>
              <a:lstStyle/>
              <a:p>
                <a:endParaRPr lang="en-US"/>
              </a:p>
            </p:txBody>
          </p:sp>
          <p:sp>
            <p:nvSpPr>
              <p:cNvPr id="206" name="Freeform 207"/>
              <p:cNvSpPr>
                <a:spLocks/>
              </p:cNvSpPr>
              <p:nvPr>
                <p:custDataLst>
                  <p:tags r:id="rId134"/>
                </p:custDataLst>
              </p:nvPr>
            </p:nvSpPr>
            <p:spPr bwMode="auto">
              <a:xfrm>
                <a:off x="2646363" y="5110163"/>
                <a:ext cx="17462" cy="60325"/>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FFFFFF"/>
              </a:solidFill>
              <a:ln w="9525" cmpd="sng">
                <a:solidFill>
                  <a:schemeClr val="tx1"/>
                </a:solidFill>
                <a:prstDash val="solid"/>
                <a:round/>
                <a:headEnd/>
                <a:tailEnd/>
              </a:ln>
            </p:spPr>
            <p:txBody>
              <a:bodyPr/>
              <a:lstStyle/>
              <a:p>
                <a:endParaRPr lang="en-US"/>
              </a:p>
            </p:txBody>
          </p:sp>
          <p:sp>
            <p:nvSpPr>
              <p:cNvPr id="207" name="Freeform 208"/>
              <p:cNvSpPr>
                <a:spLocks/>
              </p:cNvSpPr>
              <p:nvPr>
                <p:custDataLst>
                  <p:tags r:id="rId135"/>
                </p:custDataLst>
              </p:nvPr>
            </p:nvSpPr>
            <p:spPr bwMode="auto">
              <a:xfrm>
                <a:off x="2633663" y="5122863"/>
                <a:ext cx="26987" cy="58737"/>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FFFFFF"/>
              </a:solidFill>
              <a:ln w="9525" cmpd="sng">
                <a:solidFill>
                  <a:schemeClr val="tx1"/>
                </a:solidFill>
                <a:prstDash val="solid"/>
                <a:round/>
                <a:headEnd/>
                <a:tailEnd/>
              </a:ln>
            </p:spPr>
            <p:txBody>
              <a:bodyPr/>
              <a:lstStyle/>
              <a:p>
                <a:endParaRPr lang="en-US"/>
              </a:p>
            </p:txBody>
          </p:sp>
          <p:sp>
            <p:nvSpPr>
              <p:cNvPr id="208" name="Freeform 209"/>
              <p:cNvSpPr>
                <a:spLocks/>
              </p:cNvSpPr>
              <p:nvPr>
                <p:custDataLst>
                  <p:tags r:id="rId136"/>
                </p:custDataLst>
              </p:nvPr>
            </p:nvSpPr>
            <p:spPr bwMode="auto">
              <a:xfrm>
                <a:off x="2663825" y="5156200"/>
                <a:ext cx="11113" cy="58738"/>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FFFFFF"/>
              </a:solidFill>
              <a:ln w="9525" cmpd="sng">
                <a:solidFill>
                  <a:schemeClr val="tx1"/>
                </a:solidFill>
                <a:prstDash val="solid"/>
                <a:round/>
                <a:headEnd/>
                <a:tailEnd/>
              </a:ln>
            </p:spPr>
            <p:txBody>
              <a:bodyPr/>
              <a:lstStyle/>
              <a:p>
                <a:endParaRPr lang="en-US"/>
              </a:p>
            </p:txBody>
          </p:sp>
          <p:sp>
            <p:nvSpPr>
              <p:cNvPr id="209" name="Freeform 210"/>
              <p:cNvSpPr>
                <a:spLocks/>
              </p:cNvSpPr>
              <p:nvPr>
                <p:custDataLst>
                  <p:tags r:id="rId137"/>
                </p:custDataLst>
              </p:nvPr>
            </p:nvSpPr>
            <p:spPr bwMode="auto">
              <a:xfrm>
                <a:off x="2660650" y="5189538"/>
                <a:ext cx="20638" cy="55562"/>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FFFFFF"/>
              </a:solidFill>
              <a:ln w="9525" cmpd="sng">
                <a:solidFill>
                  <a:schemeClr val="tx1"/>
                </a:solidFill>
                <a:prstDash val="solid"/>
                <a:round/>
                <a:headEnd/>
                <a:tailEnd/>
              </a:ln>
            </p:spPr>
            <p:txBody>
              <a:bodyPr/>
              <a:lstStyle/>
              <a:p>
                <a:endParaRPr lang="en-US"/>
              </a:p>
            </p:txBody>
          </p:sp>
          <p:sp>
            <p:nvSpPr>
              <p:cNvPr id="210" name="Freeform 211"/>
              <p:cNvSpPr>
                <a:spLocks/>
              </p:cNvSpPr>
              <p:nvPr>
                <p:custDataLst>
                  <p:tags r:id="rId138"/>
                </p:custDataLst>
              </p:nvPr>
            </p:nvSpPr>
            <p:spPr bwMode="auto">
              <a:xfrm>
                <a:off x="2684463" y="5203825"/>
                <a:ext cx="17462" cy="57150"/>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FFFFFF"/>
              </a:solidFill>
              <a:ln w="9525" cmpd="sng">
                <a:solidFill>
                  <a:schemeClr val="tx1"/>
                </a:solidFill>
                <a:prstDash val="solid"/>
                <a:round/>
                <a:headEnd/>
                <a:tailEnd/>
              </a:ln>
            </p:spPr>
            <p:txBody>
              <a:bodyPr/>
              <a:lstStyle/>
              <a:p>
                <a:endParaRPr lang="en-US"/>
              </a:p>
            </p:txBody>
          </p:sp>
          <p:sp>
            <p:nvSpPr>
              <p:cNvPr id="211" name="Freeform 212"/>
              <p:cNvSpPr>
                <a:spLocks/>
              </p:cNvSpPr>
              <p:nvPr>
                <p:custDataLst>
                  <p:tags r:id="rId139"/>
                </p:custDataLst>
              </p:nvPr>
            </p:nvSpPr>
            <p:spPr bwMode="auto">
              <a:xfrm>
                <a:off x="2686050" y="5232400"/>
                <a:ext cx="6350" cy="57150"/>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FFFFFF"/>
              </a:solidFill>
              <a:ln w="9525" cmpd="sng">
                <a:solidFill>
                  <a:schemeClr val="tx1"/>
                </a:solidFill>
                <a:prstDash val="solid"/>
                <a:round/>
                <a:headEnd/>
                <a:tailEnd/>
              </a:ln>
            </p:spPr>
            <p:txBody>
              <a:bodyPr/>
              <a:lstStyle/>
              <a:p>
                <a:endParaRPr lang="en-US"/>
              </a:p>
            </p:txBody>
          </p:sp>
          <p:sp>
            <p:nvSpPr>
              <p:cNvPr id="212" name="Freeform 213"/>
              <p:cNvSpPr>
                <a:spLocks/>
              </p:cNvSpPr>
              <p:nvPr>
                <p:custDataLst>
                  <p:tags r:id="rId140"/>
                </p:custDataLst>
              </p:nvPr>
            </p:nvSpPr>
            <p:spPr bwMode="auto">
              <a:xfrm>
                <a:off x="2760663" y="5302250"/>
                <a:ext cx="34925" cy="57150"/>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FFFFFF"/>
              </a:solidFill>
              <a:ln w="9525" cmpd="sng">
                <a:solidFill>
                  <a:schemeClr val="tx1"/>
                </a:solidFill>
                <a:prstDash val="solid"/>
                <a:round/>
                <a:headEnd/>
                <a:tailEnd/>
              </a:ln>
            </p:spPr>
            <p:txBody>
              <a:bodyPr/>
              <a:lstStyle/>
              <a:p>
                <a:endParaRPr lang="en-US"/>
              </a:p>
            </p:txBody>
          </p:sp>
          <p:sp>
            <p:nvSpPr>
              <p:cNvPr id="213" name="Freeform 214"/>
              <p:cNvSpPr>
                <a:spLocks/>
              </p:cNvSpPr>
              <p:nvPr>
                <p:custDataLst>
                  <p:tags r:id="rId141"/>
                </p:custDataLst>
              </p:nvPr>
            </p:nvSpPr>
            <p:spPr bwMode="auto">
              <a:xfrm>
                <a:off x="2798763" y="5243513"/>
                <a:ext cx="123825" cy="100012"/>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FFFFFF"/>
              </a:solidFill>
              <a:ln w="9525" cmpd="sng">
                <a:solidFill>
                  <a:schemeClr val="tx1"/>
                </a:solidFill>
                <a:prstDash val="solid"/>
                <a:round/>
                <a:headEnd/>
                <a:tailEnd/>
              </a:ln>
            </p:spPr>
            <p:txBody>
              <a:bodyPr/>
              <a:lstStyle/>
              <a:p>
                <a:endParaRPr lang="en-US"/>
              </a:p>
            </p:txBody>
          </p:sp>
          <p:sp>
            <p:nvSpPr>
              <p:cNvPr id="214" name="Freeform 215"/>
              <p:cNvSpPr>
                <a:spLocks/>
              </p:cNvSpPr>
              <p:nvPr>
                <p:custDataLst>
                  <p:tags r:id="rId142"/>
                </p:custDataLst>
              </p:nvPr>
            </p:nvSpPr>
            <p:spPr bwMode="auto">
              <a:xfrm>
                <a:off x="2351088" y="3009900"/>
                <a:ext cx="52387" cy="58738"/>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FFFFFF"/>
              </a:solidFill>
              <a:ln w="9525" cmpd="sng">
                <a:solidFill>
                  <a:schemeClr val="tx1"/>
                </a:solidFill>
                <a:prstDash val="solid"/>
                <a:round/>
                <a:headEnd/>
                <a:tailEnd/>
              </a:ln>
            </p:spPr>
            <p:txBody>
              <a:bodyPr/>
              <a:lstStyle/>
              <a:p>
                <a:endParaRPr lang="en-US"/>
              </a:p>
            </p:txBody>
          </p:sp>
          <p:sp>
            <p:nvSpPr>
              <p:cNvPr id="215" name="Freeform 216"/>
              <p:cNvSpPr>
                <a:spLocks/>
              </p:cNvSpPr>
              <p:nvPr>
                <p:custDataLst>
                  <p:tags r:id="rId143"/>
                </p:custDataLst>
              </p:nvPr>
            </p:nvSpPr>
            <p:spPr bwMode="auto">
              <a:xfrm>
                <a:off x="2208213" y="2871788"/>
                <a:ext cx="250825" cy="109537"/>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FFFFFF"/>
              </a:solidFill>
              <a:ln w="9525" cmpd="sng">
                <a:solidFill>
                  <a:schemeClr val="tx1"/>
                </a:solidFill>
                <a:prstDash val="solid"/>
                <a:round/>
                <a:headEnd/>
                <a:tailEnd/>
              </a:ln>
            </p:spPr>
            <p:txBody>
              <a:bodyPr/>
              <a:lstStyle/>
              <a:p>
                <a:endParaRPr lang="en-US"/>
              </a:p>
            </p:txBody>
          </p:sp>
          <p:sp>
            <p:nvSpPr>
              <p:cNvPr id="216" name="Freeform 217"/>
              <p:cNvSpPr>
                <a:spLocks/>
              </p:cNvSpPr>
              <p:nvPr>
                <p:custDataLst>
                  <p:tags r:id="rId144"/>
                </p:custDataLst>
              </p:nvPr>
            </p:nvSpPr>
            <p:spPr bwMode="auto">
              <a:xfrm>
                <a:off x="2513013" y="2974975"/>
                <a:ext cx="88900" cy="6985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FFFFFF"/>
              </a:solidFill>
              <a:ln w="9525" cmpd="sng">
                <a:solidFill>
                  <a:schemeClr val="tx1"/>
                </a:solidFill>
                <a:prstDash val="solid"/>
                <a:round/>
                <a:headEnd/>
                <a:tailEnd/>
              </a:ln>
            </p:spPr>
            <p:txBody>
              <a:bodyPr/>
              <a:lstStyle/>
              <a:p>
                <a:endParaRPr lang="en-US"/>
              </a:p>
            </p:txBody>
          </p:sp>
          <p:sp>
            <p:nvSpPr>
              <p:cNvPr id="217" name="Freeform 218"/>
              <p:cNvSpPr>
                <a:spLocks/>
              </p:cNvSpPr>
              <p:nvPr>
                <p:custDataLst>
                  <p:tags r:id="rId145"/>
                </p:custDataLst>
              </p:nvPr>
            </p:nvSpPr>
            <p:spPr bwMode="auto">
              <a:xfrm>
                <a:off x="2081213" y="3035300"/>
                <a:ext cx="33337" cy="84138"/>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18" name="Freeform 219"/>
              <p:cNvSpPr>
                <a:spLocks/>
              </p:cNvSpPr>
              <p:nvPr>
                <p:custDataLst>
                  <p:tags r:id="rId146"/>
                </p:custDataLst>
              </p:nvPr>
            </p:nvSpPr>
            <p:spPr bwMode="auto">
              <a:xfrm>
                <a:off x="2001838" y="3035300"/>
                <a:ext cx="93662" cy="1460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19" name="Freeform 220"/>
              <p:cNvSpPr>
                <a:spLocks/>
              </p:cNvSpPr>
              <p:nvPr>
                <p:custDataLst>
                  <p:tags r:id="rId147"/>
                </p:custDataLst>
              </p:nvPr>
            </p:nvSpPr>
            <p:spPr bwMode="auto">
              <a:xfrm>
                <a:off x="2049463" y="3146425"/>
                <a:ext cx="71437" cy="57150"/>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20" name="Freeform 221"/>
              <p:cNvSpPr>
                <a:spLocks/>
              </p:cNvSpPr>
              <p:nvPr>
                <p:custDataLst>
                  <p:tags r:id="rId148"/>
                </p:custDataLst>
              </p:nvPr>
            </p:nvSpPr>
            <p:spPr bwMode="auto">
              <a:xfrm>
                <a:off x="2081213" y="3108325"/>
                <a:ext cx="142875" cy="87313"/>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21" name="Freeform 222"/>
              <p:cNvSpPr>
                <a:spLocks/>
              </p:cNvSpPr>
              <p:nvPr>
                <p:custDataLst>
                  <p:tags r:id="rId149"/>
                </p:custDataLst>
              </p:nvPr>
            </p:nvSpPr>
            <p:spPr bwMode="auto">
              <a:xfrm>
                <a:off x="2098675" y="3138488"/>
                <a:ext cx="125413" cy="122237"/>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22" name="Freeform 223"/>
              <p:cNvSpPr>
                <a:spLocks/>
              </p:cNvSpPr>
              <p:nvPr>
                <p:custDataLst>
                  <p:tags r:id="rId150"/>
                </p:custDataLst>
              </p:nvPr>
            </p:nvSpPr>
            <p:spPr bwMode="auto">
              <a:xfrm>
                <a:off x="2149475" y="3251200"/>
                <a:ext cx="84138" cy="100013"/>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23" name="Freeform 224"/>
              <p:cNvSpPr>
                <a:spLocks/>
              </p:cNvSpPr>
              <p:nvPr>
                <p:custDataLst>
                  <p:tags r:id="rId151"/>
                </p:custDataLst>
              </p:nvPr>
            </p:nvSpPr>
            <p:spPr bwMode="auto">
              <a:xfrm>
                <a:off x="2230438" y="3305175"/>
                <a:ext cx="142875" cy="79375"/>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24" name="Freeform 225"/>
              <p:cNvSpPr>
                <a:spLocks/>
              </p:cNvSpPr>
              <p:nvPr>
                <p:custDataLst>
                  <p:tags r:id="rId152"/>
                </p:custDataLst>
              </p:nvPr>
            </p:nvSpPr>
            <p:spPr bwMode="auto">
              <a:xfrm>
                <a:off x="2911475" y="4559300"/>
                <a:ext cx="133350" cy="155575"/>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25" name="Freeform 226"/>
              <p:cNvSpPr>
                <a:spLocks/>
              </p:cNvSpPr>
              <p:nvPr>
                <p:custDataLst>
                  <p:tags r:id="rId153"/>
                </p:custDataLst>
              </p:nvPr>
            </p:nvSpPr>
            <p:spPr bwMode="auto">
              <a:xfrm>
                <a:off x="4457700" y="1176338"/>
                <a:ext cx="236538"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26" name="Freeform 227"/>
              <p:cNvSpPr>
                <a:spLocks/>
              </p:cNvSpPr>
              <p:nvPr>
                <p:custDataLst>
                  <p:tags r:id="rId154"/>
                </p:custDataLst>
              </p:nvPr>
            </p:nvSpPr>
            <p:spPr bwMode="auto">
              <a:xfrm>
                <a:off x="4384675" y="1406525"/>
                <a:ext cx="449263" cy="36195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27" name="Freeform 228"/>
              <p:cNvSpPr>
                <a:spLocks/>
              </p:cNvSpPr>
              <p:nvPr>
                <p:custDataLst>
                  <p:tags r:id="rId155"/>
                </p:custDataLst>
              </p:nvPr>
            </p:nvSpPr>
            <p:spPr bwMode="auto">
              <a:xfrm>
                <a:off x="4724400" y="2247900"/>
                <a:ext cx="49213" cy="90488"/>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FFFFFF"/>
              </a:solidFill>
              <a:ln w="9525" cmpd="sng">
                <a:solidFill>
                  <a:schemeClr val="tx1"/>
                </a:solidFill>
                <a:prstDash val="solid"/>
                <a:round/>
                <a:headEnd/>
                <a:tailEnd/>
              </a:ln>
            </p:spPr>
            <p:txBody>
              <a:bodyPr/>
              <a:lstStyle/>
              <a:p>
                <a:endParaRPr lang="en-US"/>
              </a:p>
            </p:txBody>
          </p:sp>
          <p:sp>
            <p:nvSpPr>
              <p:cNvPr id="228" name="Freeform 229"/>
              <p:cNvSpPr>
                <a:spLocks/>
              </p:cNvSpPr>
              <p:nvPr>
                <p:custDataLst>
                  <p:tags r:id="rId156"/>
                </p:custDataLst>
              </p:nvPr>
            </p:nvSpPr>
            <p:spPr bwMode="auto">
              <a:xfrm>
                <a:off x="4432300" y="2087563"/>
                <a:ext cx="84138" cy="58737"/>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29" name="Freeform 230"/>
              <p:cNvSpPr>
                <a:spLocks/>
              </p:cNvSpPr>
              <p:nvPr>
                <p:custDataLst>
                  <p:tags r:id="rId157"/>
                </p:custDataLst>
              </p:nvPr>
            </p:nvSpPr>
            <p:spPr bwMode="auto">
              <a:xfrm>
                <a:off x="4370388" y="1906588"/>
                <a:ext cx="84137" cy="7302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30" name="Freeform 231"/>
              <p:cNvSpPr>
                <a:spLocks/>
              </p:cNvSpPr>
              <p:nvPr>
                <p:custDataLst>
                  <p:tags r:id="rId158"/>
                </p:custDataLst>
              </p:nvPr>
            </p:nvSpPr>
            <p:spPr bwMode="auto">
              <a:xfrm>
                <a:off x="4351338" y="1970088"/>
                <a:ext cx="84137" cy="5715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31" name="Freeform 232"/>
              <p:cNvSpPr>
                <a:spLocks/>
              </p:cNvSpPr>
              <p:nvPr>
                <p:custDataLst>
                  <p:tags r:id="rId159"/>
                </p:custDataLst>
              </p:nvPr>
            </p:nvSpPr>
            <p:spPr bwMode="auto">
              <a:xfrm>
                <a:off x="5111750" y="2524125"/>
                <a:ext cx="33338" cy="131763"/>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FFFFFF"/>
              </a:solidFill>
              <a:ln w="9525" cmpd="sng">
                <a:solidFill>
                  <a:schemeClr val="tx1"/>
                </a:solidFill>
                <a:prstDash val="solid"/>
                <a:round/>
                <a:headEnd/>
                <a:tailEnd/>
              </a:ln>
            </p:spPr>
            <p:txBody>
              <a:bodyPr/>
              <a:lstStyle/>
              <a:p>
                <a:endParaRPr lang="en-US"/>
              </a:p>
            </p:txBody>
          </p:sp>
          <p:sp>
            <p:nvSpPr>
              <p:cNvPr id="232" name="Freeform 233"/>
              <p:cNvSpPr>
                <a:spLocks/>
              </p:cNvSpPr>
              <p:nvPr>
                <p:custDataLst>
                  <p:tags r:id="rId160"/>
                </p:custDataLst>
              </p:nvPr>
            </p:nvSpPr>
            <p:spPr bwMode="auto">
              <a:xfrm>
                <a:off x="5060950" y="2576513"/>
                <a:ext cx="69850" cy="130175"/>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FFFFFF"/>
              </a:solidFill>
              <a:ln w="9525" cmpd="sng">
                <a:solidFill>
                  <a:schemeClr val="tx1"/>
                </a:solidFill>
                <a:prstDash val="solid"/>
                <a:round/>
                <a:headEnd/>
                <a:tailEnd/>
              </a:ln>
            </p:spPr>
            <p:txBody>
              <a:bodyPr/>
              <a:lstStyle/>
              <a:p>
                <a:endParaRPr lang="en-US"/>
              </a:p>
            </p:txBody>
          </p:sp>
          <p:sp>
            <p:nvSpPr>
              <p:cNvPr id="233" name="Freeform 234"/>
              <p:cNvSpPr>
                <a:spLocks/>
              </p:cNvSpPr>
              <p:nvPr>
                <p:custDataLst>
                  <p:tags r:id="rId161"/>
                </p:custDataLst>
              </p:nvPr>
            </p:nvSpPr>
            <p:spPr bwMode="auto">
              <a:xfrm>
                <a:off x="4062413" y="1830388"/>
                <a:ext cx="96837" cy="144462"/>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34" name="Freeform 235"/>
              <p:cNvSpPr>
                <a:spLocks/>
              </p:cNvSpPr>
              <p:nvPr>
                <p:custDataLst>
                  <p:tags r:id="rId162"/>
                </p:custDataLst>
              </p:nvPr>
            </p:nvSpPr>
            <p:spPr bwMode="auto">
              <a:xfrm>
                <a:off x="3875088" y="2741613"/>
                <a:ext cx="306387" cy="3905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FFFFFF"/>
              </a:solidFill>
              <a:ln w="9525" cmpd="sng">
                <a:solidFill>
                  <a:schemeClr val="tx1"/>
                </a:solidFill>
                <a:prstDash val="solid"/>
                <a:round/>
                <a:headEnd/>
                <a:tailEnd/>
              </a:ln>
            </p:spPr>
            <p:txBody>
              <a:bodyPr/>
              <a:lstStyle/>
              <a:p>
                <a:endParaRPr lang="en-US"/>
              </a:p>
            </p:txBody>
          </p:sp>
          <p:sp>
            <p:nvSpPr>
              <p:cNvPr id="235" name="Freeform 236"/>
              <p:cNvSpPr>
                <a:spLocks/>
              </p:cNvSpPr>
              <p:nvPr>
                <p:custDataLst>
                  <p:tags r:id="rId163"/>
                </p:custDataLst>
              </p:nvPr>
            </p:nvSpPr>
            <p:spPr bwMode="auto">
              <a:xfrm>
                <a:off x="3990975" y="2801938"/>
                <a:ext cx="414338" cy="468312"/>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FFFFFF"/>
              </a:solidFill>
              <a:ln w="9525" cmpd="sng">
                <a:solidFill>
                  <a:schemeClr val="tx1"/>
                </a:solidFill>
                <a:prstDash val="solid"/>
                <a:round/>
                <a:headEnd/>
                <a:tailEnd/>
              </a:ln>
            </p:spPr>
            <p:txBody>
              <a:bodyPr/>
              <a:lstStyle/>
              <a:p>
                <a:endParaRPr lang="en-US"/>
              </a:p>
            </p:txBody>
          </p:sp>
          <p:sp>
            <p:nvSpPr>
              <p:cNvPr id="236" name="Freeform 237"/>
              <p:cNvSpPr>
                <a:spLocks/>
              </p:cNvSpPr>
              <p:nvPr>
                <p:custDataLst>
                  <p:tags r:id="rId164"/>
                </p:custDataLst>
              </p:nvPr>
            </p:nvSpPr>
            <p:spPr bwMode="auto">
              <a:xfrm>
                <a:off x="4089400" y="2408238"/>
                <a:ext cx="493713" cy="579437"/>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FFFFFF"/>
              </a:solidFill>
              <a:ln w="9525" cmpd="sng">
                <a:solidFill>
                  <a:schemeClr val="tx1"/>
                </a:solidFill>
                <a:prstDash val="solid"/>
                <a:round/>
                <a:headEnd/>
                <a:tailEnd/>
              </a:ln>
            </p:spPr>
            <p:txBody>
              <a:bodyPr/>
              <a:lstStyle/>
              <a:p>
                <a:endParaRPr lang="en-US"/>
              </a:p>
            </p:txBody>
          </p:sp>
          <p:sp>
            <p:nvSpPr>
              <p:cNvPr id="237" name="Freeform 238"/>
              <p:cNvSpPr>
                <a:spLocks/>
              </p:cNvSpPr>
              <p:nvPr>
                <p:custDataLst>
                  <p:tags r:id="rId165"/>
                </p:custDataLst>
              </p:nvPr>
            </p:nvSpPr>
            <p:spPr bwMode="auto">
              <a:xfrm>
                <a:off x="4525963" y="2543175"/>
                <a:ext cx="384175" cy="436563"/>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FFFFFF"/>
              </a:solidFill>
              <a:ln w="9525" cmpd="sng">
                <a:solidFill>
                  <a:schemeClr val="tx1"/>
                </a:solidFill>
                <a:prstDash val="solid"/>
                <a:round/>
                <a:headEnd/>
                <a:tailEnd/>
              </a:ln>
            </p:spPr>
            <p:txBody>
              <a:bodyPr/>
              <a:lstStyle/>
              <a:p>
                <a:endParaRPr lang="en-US"/>
              </a:p>
            </p:txBody>
          </p:sp>
          <p:sp>
            <p:nvSpPr>
              <p:cNvPr id="238" name="Freeform 239"/>
              <p:cNvSpPr>
                <a:spLocks/>
              </p:cNvSpPr>
              <p:nvPr>
                <p:custDataLst>
                  <p:tags r:id="rId166"/>
                </p:custDataLst>
              </p:nvPr>
            </p:nvSpPr>
            <p:spPr bwMode="auto">
              <a:xfrm>
                <a:off x="4478338" y="2408238"/>
                <a:ext cx="93662" cy="236537"/>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FFFFFF"/>
              </a:solidFill>
              <a:ln w="9525" cmpd="sng">
                <a:solidFill>
                  <a:schemeClr val="tx1"/>
                </a:solidFill>
                <a:prstDash val="solid"/>
                <a:round/>
                <a:headEnd/>
                <a:tailEnd/>
              </a:ln>
            </p:spPr>
            <p:txBody>
              <a:bodyPr/>
              <a:lstStyle/>
              <a:p>
                <a:endParaRPr lang="en-US"/>
              </a:p>
            </p:txBody>
          </p:sp>
          <p:sp>
            <p:nvSpPr>
              <p:cNvPr id="239" name="Freeform 240"/>
              <p:cNvSpPr>
                <a:spLocks/>
              </p:cNvSpPr>
              <p:nvPr>
                <p:custDataLst>
                  <p:tags r:id="rId167"/>
                </p:custDataLst>
              </p:nvPr>
            </p:nvSpPr>
            <p:spPr bwMode="auto">
              <a:xfrm>
                <a:off x="3860800" y="2719388"/>
                <a:ext cx="231775" cy="215900"/>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FFFFFF"/>
              </a:solidFill>
              <a:ln w="9525" cmpd="sng">
                <a:solidFill>
                  <a:schemeClr val="tx1"/>
                </a:solidFill>
                <a:prstDash val="solid"/>
                <a:round/>
                <a:headEnd/>
                <a:tailEnd/>
              </a:ln>
            </p:spPr>
            <p:txBody>
              <a:bodyPr/>
              <a:lstStyle/>
              <a:p>
                <a:endParaRPr lang="en-US"/>
              </a:p>
            </p:txBody>
          </p:sp>
          <p:sp>
            <p:nvSpPr>
              <p:cNvPr id="240" name="Freeform 241"/>
              <p:cNvSpPr>
                <a:spLocks/>
              </p:cNvSpPr>
              <p:nvPr>
                <p:custDataLst>
                  <p:tags r:id="rId168"/>
                </p:custDataLst>
              </p:nvPr>
            </p:nvSpPr>
            <p:spPr bwMode="auto">
              <a:xfrm>
                <a:off x="3829050" y="1527175"/>
                <a:ext cx="190500" cy="93663"/>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FFFFFF"/>
              </a:solidFill>
              <a:ln w="9525" cmpd="sng">
                <a:solidFill>
                  <a:schemeClr val="tx1"/>
                </a:solidFill>
                <a:prstDash val="solid"/>
                <a:round/>
                <a:headEnd/>
                <a:tailEnd/>
              </a:ln>
            </p:spPr>
            <p:txBody>
              <a:bodyPr/>
              <a:lstStyle/>
              <a:p>
                <a:endParaRPr lang="en-US"/>
              </a:p>
            </p:txBody>
          </p:sp>
          <p:sp>
            <p:nvSpPr>
              <p:cNvPr id="241" name="Freeform 242"/>
              <p:cNvSpPr>
                <a:spLocks/>
              </p:cNvSpPr>
              <p:nvPr>
                <p:custDataLst>
                  <p:tags r:id="rId169"/>
                </p:custDataLst>
              </p:nvPr>
            </p:nvSpPr>
            <p:spPr bwMode="auto">
              <a:xfrm>
                <a:off x="4621213" y="1790700"/>
                <a:ext cx="14287" cy="57150"/>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42" name="Freeform 243"/>
              <p:cNvSpPr>
                <a:spLocks/>
              </p:cNvSpPr>
              <p:nvPr>
                <p:custDataLst>
                  <p:tags r:id="rId170"/>
                </p:custDataLst>
              </p:nvPr>
            </p:nvSpPr>
            <p:spPr bwMode="auto">
              <a:xfrm>
                <a:off x="4508500" y="1454150"/>
                <a:ext cx="234950" cy="395288"/>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43" name="Freeform 244"/>
              <p:cNvSpPr>
                <a:spLocks/>
              </p:cNvSpPr>
              <p:nvPr>
                <p:custDataLst>
                  <p:tags r:id="rId171"/>
                </p:custDataLst>
              </p:nvPr>
            </p:nvSpPr>
            <p:spPr bwMode="auto">
              <a:xfrm>
                <a:off x="4646613" y="1768475"/>
                <a:ext cx="26987" cy="5715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44" name="Freeform 245"/>
              <p:cNvSpPr>
                <a:spLocks/>
              </p:cNvSpPr>
              <p:nvPr>
                <p:custDataLst>
                  <p:tags r:id="rId172"/>
                </p:custDataLst>
              </p:nvPr>
            </p:nvSpPr>
            <p:spPr bwMode="auto">
              <a:xfrm>
                <a:off x="4090988" y="1930400"/>
                <a:ext cx="28575" cy="57150"/>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45" name="Freeform 246"/>
              <p:cNvSpPr>
                <a:spLocks/>
              </p:cNvSpPr>
              <p:nvPr>
                <p:custDataLst>
                  <p:tags r:id="rId173"/>
                </p:custDataLst>
              </p:nvPr>
            </p:nvSpPr>
            <p:spPr bwMode="auto">
              <a:xfrm>
                <a:off x="5043488" y="2459038"/>
                <a:ext cx="50800" cy="57150"/>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FFFFFF"/>
              </a:solidFill>
              <a:ln w="9525" cmpd="sng">
                <a:solidFill>
                  <a:schemeClr val="tx1"/>
                </a:solidFill>
                <a:prstDash val="solid"/>
                <a:round/>
                <a:headEnd/>
                <a:tailEnd/>
              </a:ln>
            </p:spPr>
            <p:txBody>
              <a:bodyPr/>
              <a:lstStyle/>
              <a:p>
                <a:endParaRPr lang="en-US"/>
              </a:p>
            </p:txBody>
          </p:sp>
          <p:sp>
            <p:nvSpPr>
              <p:cNvPr id="246" name="Freeform 247"/>
              <p:cNvSpPr>
                <a:spLocks/>
              </p:cNvSpPr>
              <p:nvPr>
                <p:custDataLst>
                  <p:tags r:id="rId174"/>
                </p:custDataLst>
              </p:nvPr>
            </p:nvSpPr>
            <p:spPr bwMode="auto">
              <a:xfrm>
                <a:off x="4651375" y="3251200"/>
                <a:ext cx="325438" cy="244475"/>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FFFFFF"/>
              </a:solidFill>
              <a:ln w="9525" cmpd="sng">
                <a:solidFill>
                  <a:schemeClr val="tx1"/>
                </a:solidFill>
                <a:prstDash val="solid"/>
                <a:round/>
                <a:headEnd/>
                <a:tailEnd/>
              </a:ln>
            </p:spPr>
            <p:txBody>
              <a:bodyPr/>
              <a:lstStyle/>
              <a:p>
                <a:endParaRPr lang="en-US"/>
              </a:p>
            </p:txBody>
          </p:sp>
          <p:sp>
            <p:nvSpPr>
              <p:cNvPr id="247" name="Freeform 248"/>
              <p:cNvSpPr>
                <a:spLocks/>
              </p:cNvSpPr>
              <p:nvPr>
                <p:custDataLst>
                  <p:tags r:id="rId175"/>
                </p:custDataLst>
              </p:nvPr>
            </p:nvSpPr>
            <p:spPr bwMode="auto">
              <a:xfrm>
                <a:off x="4587875" y="3419475"/>
                <a:ext cx="500063" cy="552450"/>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504D"/>
              </a:solidFill>
              <a:ln w="9525" cmpd="sng">
                <a:solidFill>
                  <a:schemeClr val="tx1"/>
                </a:solidFill>
                <a:prstDash val="solid"/>
                <a:round/>
                <a:headEnd/>
                <a:tailEnd/>
              </a:ln>
            </p:spPr>
            <p:txBody>
              <a:bodyPr/>
              <a:lstStyle/>
              <a:p>
                <a:endParaRPr lang="en-US"/>
              </a:p>
            </p:txBody>
          </p:sp>
          <p:sp>
            <p:nvSpPr>
              <p:cNvPr id="248" name="Freeform 249"/>
              <p:cNvSpPr>
                <a:spLocks/>
              </p:cNvSpPr>
              <p:nvPr>
                <p:custDataLst>
                  <p:tags r:id="rId176"/>
                </p:custDataLst>
              </p:nvPr>
            </p:nvSpPr>
            <p:spPr bwMode="auto">
              <a:xfrm>
                <a:off x="4524375" y="3519488"/>
                <a:ext cx="55563" cy="55562"/>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FFFFFF"/>
              </a:solidFill>
              <a:ln w="9525" cmpd="sng">
                <a:solidFill>
                  <a:schemeClr val="tx1"/>
                </a:solidFill>
                <a:prstDash val="solid"/>
                <a:round/>
                <a:headEnd/>
                <a:tailEnd/>
              </a:ln>
            </p:spPr>
            <p:txBody>
              <a:bodyPr/>
              <a:lstStyle/>
              <a:p>
                <a:endParaRPr lang="en-US"/>
              </a:p>
            </p:txBody>
          </p:sp>
          <p:sp>
            <p:nvSpPr>
              <p:cNvPr id="249" name="Freeform 250"/>
              <p:cNvSpPr>
                <a:spLocks/>
              </p:cNvSpPr>
              <p:nvPr>
                <p:custDataLst>
                  <p:tags r:id="rId177"/>
                </p:custDataLst>
              </p:nvPr>
            </p:nvSpPr>
            <p:spPr bwMode="auto">
              <a:xfrm>
                <a:off x="4506913" y="3519488"/>
                <a:ext cx="152400" cy="201612"/>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FFFFFF"/>
              </a:solidFill>
              <a:ln w="9525" cmpd="sng">
                <a:solidFill>
                  <a:schemeClr val="tx1"/>
                </a:solidFill>
                <a:prstDash val="solid"/>
                <a:round/>
                <a:headEnd/>
                <a:tailEnd/>
              </a:ln>
            </p:spPr>
            <p:txBody>
              <a:bodyPr/>
              <a:lstStyle/>
              <a:p>
                <a:endParaRPr lang="en-US"/>
              </a:p>
            </p:txBody>
          </p:sp>
          <p:sp>
            <p:nvSpPr>
              <p:cNvPr id="250" name="Freeform 251"/>
              <p:cNvSpPr>
                <a:spLocks/>
              </p:cNvSpPr>
              <p:nvPr>
                <p:custDataLst>
                  <p:tags r:id="rId178"/>
                </p:custDataLst>
              </p:nvPr>
            </p:nvSpPr>
            <p:spPr bwMode="auto">
              <a:xfrm>
                <a:off x="5040313" y="3924300"/>
                <a:ext cx="260350" cy="520700"/>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9BBB59"/>
              </a:solidFill>
              <a:ln w="9525" cmpd="sng">
                <a:solidFill>
                  <a:schemeClr val="tx1"/>
                </a:solidFill>
                <a:prstDash val="solid"/>
                <a:round/>
                <a:headEnd/>
                <a:tailEnd/>
              </a:ln>
            </p:spPr>
            <p:txBody>
              <a:bodyPr/>
              <a:lstStyle/>
              <a:p>
                <a:endParaRPr lang="en-US"/>
              </a:p>
            </p:txBody>
          </p:sp>
          <p:sp>
            <p:nvSpPr>
              <p:cNvPr id="251" name="Freeform 252"/>
              <p:cNvSpPr>
                <a:spLocks/>
              </p:cNvSpPr>
              <p:nvPr>
                <p:custDataLst>
                  <p:tags r:id="rId179"/>
                </p:custDataLst>
              </p:nvPr>
            </p:nvSpPr>
            <p:spPr bwMode="auto">
              <a:xfrm>
                <a:off x="4775200" y="4164013"/>
                <a:ext cx="238125" cy="287337"/>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FFFF00"/>
              </a:solidFill>
              <a:ln w="9525" cmpd="sng">
                <a:solidFill>
                  <a:schemeClr val="tx1"/>
                </a:solidFill>
                <a:prstDash val="solid"/>
                <a:round/>
                <a:headEnd/>
                <a:tailEnd/>
              </a:ln>
            </p:spPr>
            <p:txBody>
              <a:bodyPr/>
              <a:lstStyle/>
              <a:p>
                <a:endParaRPr lang="en-US"/>
              </a:p>
            </p:txBody>
          </p:sp>
          <p:sp>
            <p:nvSpPr>
              <p:cNvPr id="252" name="Freeform 253"/>
              <p:cNvSpPr>
                <a:spLocks/>
              </p:cNvSpPr>
              <p:nvPr>
                <p:custDataLst>
                  <p:tags r:id="rId180"/>
                </p:custDataLst>
              </p:nvPr>
            </p:nvSpPr>
            <p:spPr bwMode="auto">
              <a:xfrm>
                <a:off x="5348288" y="3965575"/>
                <a:ext cx="196850" cy="43497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FFFFFF"/>
              </a:solidFill>
              <a:ln w="9525" cmpd="sng">
                <a:solidFill>
                  <a:schemeClr val="tx1"/>
                </a:solidFill>
                <a:prstDash val="solid"/>
                <a:round/>
                <a:headEnd/>
                <a:tailEnd/>
              </a:ln>
            </p:spPr>
            <p:txBody>
              <a:bodyPr/>
              <a:lstStyle/>
              <a:p>
                <a:endParaRPr lang="en-US"/>
              </a:p>
            </p:txBody>
          </p:sp>
          <p:sp>
            <p:nvSpPr>
              <p:cNvPr id="253" name="Freeform 254"/>
              <p:cNvSpPr>
                <a:spLocks/>
              </p:cNvSpPr>
              <p:nvPr>
                <p:custDataLst>
                  <p:tags r:id="rId181"/>
                </p:custDataLst>
              </p:nvPr>
            </p:nvSpPr>
            <p:spPr bwMode="auto">
              <a:xfrm>
                <a:off x="5024438" y="3663950"/>
                <a:ext cx="36512" cy="6667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FFFFFF"/>
              </a:solidFill>
              <a:ln w="9525" cmpd="sng">
                <a:solidFill>
                  <a:schemeClr val="tx1"/>
                </a:solidFill>
                <a:prstDash val="solid"/>
                <a:round/>
                <a:headEnd/>
                <a:tailEnd/>
              </a:ln>
            </p:spPr>
            <p:txBody>
              <a:bodyPr/>
              <a:lstStyle/>
              <a:p>
                <a:endParaRPr lang="en-US"/>
              </a:p>
            </p:txBody>
          </p:sp>
          <p:sp>
            <p:nvSpPr>
              <p:cNvPr id="254" name="Freeform 255"/>
              <p:cNvSpPr>
                <a:spLocks/>
              </p:cNvSpPr>
              <p:nvPr>
                <p:custDataLst>
                  <p:tags r:id="rId182"/>
                </p:custDataLst>
              </p:nvPr>
            </p:nvSpPr>
            <p:spPr bwMode="auto">
              <a:xfrm>
                <a:off x="5013325" y="3624263"/>
                <a:ext cx="55563" cy="60325"/>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FFFFFF"/>
              </a:solidFill>
              <a:ln w="9525" cmpd="sng">
                <a:solidFill>
                  <a:schemeClr val="tx1"/>
                </a:solidFill>
                <a:prstDash val="solid"/>
                <a:round/>
                <a:headEnd/>
                <a:tailEnd/>
              </a:ln>
            </p:spPr>
            <p:txBody>
              <a:bodyPr/>
              <a:lstStyle/>
              <a:p>
                <a:endParaRPr lang="en-US"/>
              </a:p>
            </p:txBody>
          </p:sp>
          <p:sp>
            <p:nvSpPr>
              <p:cNvPr id="255" name="Freeform 256"/>
              <p:cNvSpPr>
                <a:spLocks/>
              </p:cNvSpPr>
              <p:nvPr>
                <p:custDataLst>
                  <p:tags r:id="rId183"/>
                </p:custDataLst>
              </p:nvPr>
            </p:nvSpPr>
            <p:spPr bwMode="auto">
              <a:xfrm>
                <a:off x="5322888" y="2324100"/>
                <a:ext cx="503237" cy="473075"/>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FFFFFF"/>
              </a:solidFill>
              <a:ln w="9525" cmpd="sng">
                <a:solidFill>
                  <a:schemeClr val="tx1"/>
                </a:solidFill>
                <a:prstDash val="solid"/>
                <a:round/>
                <a:headEnd/>
                <a:tailEnd/>
              </a:ln>
            </p:spPr>
            <p:txBody>
              <a:bodyPr/>
              <a:lstStyle/>
              <a:p>
                <a:endParaRPr lang="en-US"/>
              </a:p>
            </p:txBody>
          </p:sp>
          <p:sp>
            <p:nvSpPr>
              <p:cNvPr id="256" name="Freeform 257"/>
              <p:cNvSpPr>
                <a:spLocks/>
              </p:cNvSpPr>
              <p:nvPr>
                <p:custDataLst>
                  <p:tags r:id="rId184"/>
                </p:custDataLst>
              </p:nvPr>
            </p:nvSpPr>
            <p:spPr bwMode="auto">
              <a:xfrm>
                <a:off x="5346700" y="2981325"/>
                <a:ext cx="247650" cy="228600"/>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FFFFFF"/>
              </a:solidFill>
              <a:ln w="9525" cmpd="sng">
                <a:solidFill>
                  <a:schemeClr val="tx1"/>
                </a:solidFill>
                <a:prstDash val="solid"/>
                <a:round/>
                <a:headEnd/>
                <a:tailEnd/>
              </a:ln>
            </p:spPr>
            <p:txBody>
              <a:bodyPr/>
              <a:lstStyle/>
              <a:p>
                <a:endParaRPr lang="en-US"/>
              </a:p>
            </p:txBody>
          </p:sp>
          <p:sp>
            <p:nvSpPr>
              <p:cNvPr id="257" name="Freeform 258"/>
              <p:cNvSpPr>
                <a:spLocks/>
              </p:cNvSpPr>
              <p:nvPr>
                <p:custDataLst>
                  <p:tags r:id="rId185"/>
                </p:custDataLst>
              </p:nvPr>
            </p:nvSpPr>
            <p:spPr bwMode="auto">
              <a:xfrm>
                <a:off x="5541963" y="2755900"/>
                <a:ext cx="120650" cy="120650"/>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258" name="Freeform 259"/>
              <p:cNvSpPr>
                <a:spLocks/>
              </p:cNvSpPr>
              <p:nvPr>
                <p:custDataLst>
                  <p:tags r:id="rId186"/>
                </p:custDataLst>
              </p:nvPr>
            </p:nvSpPr>
            <p:spPr bwMode="auto">
              <a:xfrm>
                <a:off x="5229225" y="2408238"/>
                <a:ext cx="222250"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FFFFFF"/>
              </a:solidFill>
              <a:ln w="9525" cmpd="sng">
                <a:solidFill>
                  <a:schemeClr val="tx1"/>
                </a:solidFill>
                <a:prstDash val="solid"/>
                <a:round/>
                <a:headEnd/>
                <a:tailEnd/>
              </a:ln>
            </p:spPr>
            <p:txBody>
              <a:bodyPr/>
              <a:lstStyle/>
              <a:p>
                <a:endParaRPr lang="en-US"/>
              </a:p>
            </p:txBody>
          </p:sp>
          <p:sp>
            <p:nvSpPr>
              <p:cNvPr id="259" name="Freeform 260"/>
              <p:cNvSpPr>
                <a:spLocks/>
              </p:cNvSpPr>
              <p:nvPr>
                <p:custDataLst>
                  <p:tags r:id="rId187"/>
                </p:custDataLst>
              </p:nvPr>
            </p:nvSpPr>
            <p:spPr bwMode="auto">
              <a:xfrm>
                <a:off x="5729288" y="2368550"/>
                <a:ext cx="331787" cy="290513"/>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FFFFFF"/>
              </a:solidFill>
              <a:ln w="9525" cmpd="sng">
                <a:solidFill>
                  <a:schemeClr val="tx1"/>
                </a:solidFill>
                <a:prstDash val="solid"/>
                <a:round/>
                <a:headEnd/>
                <a:tailEnd/>
              </a:ln>
            </p:spPr>
            <p:txBody>
              <a:bodyPr/>
              <a:lstStyle/>
              <a:p>
                <a:endParaRPr lang="en-US"/>
              </a:p>
            </p:txBody>
          </p:sp>
          <p:sp>
            <p:nvSpPr>
              <p:cNvPr id="260" name="Freeform 261"/>
              <p:cNvSpPr>
                <a:spLocks/>
              </p:cNvSpPr>
              <p:nvPr>
                <p:custDataLst>
                  <p:tags r:id="rId188"/>
                </p:custDataLst>
              </p:nvPr>
            </p:nvSpPr>
            <p:spPr bwMode="auto">
              <a:xfrm>
                <a:off x="5761038" y="2417763"/>
                <a:ext cx="365125" cy="423862"/>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FFFFFF"/>
              </a:solidFill>
              <a:ln w="9525" cmpd="sng">
                <a:solidFill>
                  <a:schemeClr val="tx1"/>
                </a:solidFill>
                <a:prstDash val="solid"/>
                <a:round/>
                <a:headEnd/>
                <a:tailEnd/>
              </a:ln>
            </p:spPr>
            <p:txBody>
              <a:bodyPr/>
              <a:lstStyle/>
              <a:p>
                <a:endParaRPr lang="en-US"/>
              </a:p>
            </p:txBody>
          </p:sp>
          <p:sp>
            <p:nvSpPr>
              <p:cNvPr id="261" name="Freeform 262"/>
              <p:cNvSpPr>
                <a:spLocks/>
              </p:cNvSpPr>
              <p:nvPr>
                <p:custDataLst>
                  <p:tags r:id="rId189"/>
                </p:custDataLst>
              </p:nvPr>
            </p:nvSpPr>
            <p:spPr bwMode="auto">
              <a:xfrm>
                <a:off x="6551613" y="2686050"/>
                <a:ext cx="220662" cy="585788"/>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262" name="Freeform 263"/>
              <p:cNvSpPr>
                <a:spLocks/>
              </p:cNvSpPr>
              <p:nvPr>
                <p:custDataLst>
                  <p:tags r:id="rId190"/>
                </p:custDataLst>
              </p:nvPr>
            </p:nvSpPr>
            <p:spPr bwMode="auto">
              <a:xfrm>
                <a:off x="3875088" y="3195638"/>
                <a:ext cx="80962" cy="58737"/>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FFFFFF"/>
              </a:solidFill>
              <a:ln w="9525" cmpd="sng">
                <a:solidFill>
                  <a:schemeClr val="tx1"/>
                </a:solidFill>
                <a:prstDash val="solid"/>
                <a:round/>
                <a:headEnd/>
                <a:tailEnd/>
              </a:ln>
            </p:spPr>
            <p:txBody>
              <a:bodyPr/>
              <a:lstStyle/>
              <a:p>
                <a:endParaRPr lang="en-US"/>
              </a:p>
            </p:txBody>
          </p:sp>
          <p:sp>
            <p:nvSpPr>
              <p:cNvPr id="263" name="Freeform 264"/>
              <p:cNvSpPr>
                <a:spLocks/>
              </p:cNvSpPr>
              <p:nvPr>
                <p:custDataLst>
                  <p:tags r:id="rId191"/>
                </p:custDataLst>
              </p:nvPr>
            </p:nvSpPr>
            <p:spPr bwMode="auto">
              <a:xfrm>
                <a:off x="3959225" y="3278188"/>
                <a:ext cx="74613" cy="100012"/>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FFFFFF"/>
              </a:solidFill>
              <a:ln w="9525" cmpd="sng">
                <a:solidFill>
                  <a:schemeClr val="tx1"/>
                </a:solidFill>
                <a:prstDash val="solid"/>
                <a:round/>
                <a:headEnd/>
                <a:tailEnd/>
              </a:ln>
            </p:spPr>
            <p:txBody>
              <a:bodyPr/>
              <a:lstStyle/>
              <a:p>
                <a:endParaRPr lang="en-US"/>
              </a:p>
            </p:txBody>
          </p:sp>
          <p:sp>
            <p:nvSpPr>
              <p:cNvPr id="264" name="Freeform 265"/>
              <p:cNvSpPr>
                <a:spLocks/>
              </p:cNvSpPr>
              <p:nvPr>
                <p:custDataLst>
                  <p:tags r:id="rId192"/>
                </p:custDataLst>
              </p:nvPr>
            </p:nvSpPr>
            <p:spPr bwMode="auto">
              <a:xfrm>
                <a:off x="4002088" y="3328988"/>
                <a:ext cx="104775" cy="131762"/>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FFFFFF"/>
              </a:solidFill>
              <a:ln w="9525" cmpd="sng">
                <a:solidFill>
                  <a:schemeClr val="tx1"/>
                </a:solidFill>
                <a:prstDash val="solid"/>
                <a:round/>
                <a:headEnd/>
                <a:tailEnd/>
              </a:ln>
            </p:spPr>
            <p:txBody>
              <a:bodyPr/>
              <a:lstStyle/>
              <a:p>
                <a:endParaRPr lang="en-US"/>
              </a:p>
            </p:txBody>
          </p:sp>
          <p:sp>
            <p:nvSpPr>
              <p:cNvPr id="265" name="Freeform 266"/>
              <p:cNvSpPr>
                <a:spLocks/>
              </p:cNvSpPr>
              <p:nvPr>
                <p:custDataLst>
                  <p:tags r:id="rId193"/>
                </p:custDataLst>
              </p:nvPr>
            </p:nvSpPr>
            <p:spPr bwMode="auto">
              <a:xfrm>
                <a:off x="4216400" y="3248025"/>
                <a:ext cx="104775" cy="201613"/>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FFFFFF"/>
              </a:solidFill>
              <a:ln w="9525" cmpd="sng">
                <a:solidFill>
                  <a:schemeClr val="tx1"/>
                </a:solidFill>
                <a:prstDash val="solid"/>
                <a:round/>
                <a:headEnd/>
                <a:tailEnd/>
              </a:ln>
            </p:spPr>
            <p:txBody>
              <a:bodyPr/>
              <a:lstStyle/>
              <a:p>
                <a:endParaRPr lang="en-US"/>
              </a:p>
            </p:txBody>
          </p:sp>
          <p:sp>
            <p:nvSpPr>
              <p:cNvPr id="266" name="Freeform 267"/>
              <p:cNvSpPr>
                <a:spLocks/>
              </p:cNvSpPr>
              <p:nvPr>
                <p:custDataLst>
                  <p:tags r:id="rId194"/>
                </p:custDataLst>
              </p:nvPr>
            </p:nvSpPr>
            <p:spPr bwMode="auto">
              <a:xfrm>
                <a:off x="3868738" y="3163888"/>
                <a:ext cx="87312" cy="58737"/>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FFFFFF"/>
              </a:solidFill>
              <a:ln w="9525" cmpd="sng">
                <a:solidFill>
                  <a:schemeClr val="tx1"/>
                </a:solidFill>
                <a:prstDash val="solid"/>
                <a:round/>
                <a:headEnd/>
                <a:tailEnd/>
              </a:ln>
            </p:spPr>
            <p:txBody>
              <a:bodyPr/>
              <a:lstStyle/>
              <a:p>
                <a:endParaRPr lang="en-US"/>
              </a:p>
            </p:txBody>
          </p:sp>
          <p:sp>
            <p:nvSpPr>
              <p:cNvPr id="267" name="Freeform 268"/>
              <p:cNvSpPr>
                <a:spLocks/>
              </p:cNvSpPr>
              <p:nvPr>
                <p:custDataLst>
                  <p:tags r:id="rId195"/>
                </p:custDataLst>
              </p:nvPr>
            </p:nvSpPr>
            <p:spPr bwMode="auto">
              <a:xfrm>
                <a:off x="4294188" y="3241675"/>
                <a:ext cx="42862" cy="155575"/>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FFFFFF"/>
              </a:solidFill>
              <a:ln w="9525" cmpd="sng">
                <a:solidFill>
                  <a:schemeClr val="tx1"/>
                </a:solidFill>
                <a:prstDash val="solid"/>
                <a:round/>
                <a:headEnd/>
                <a:tailEnd/>
              </a:ln>
            </p:spPr>
            <p:txBody>
              <a:bodyPr/>
              <a:lstStyle/>
              <a:p>
                <a:endParaRPr lang="en-US"/>
              </a:p>
            </p:txBody>
          </p:sp>
          <p:sp>
            <p:nvSpPr>
              <p:cNvPr id="268" name="Freeform 269"/>
              <p:cNvSpPr>
                <a:spLocks/>
              </p:cNvSpPr>
              <p:nvPr>
                <p:custDataLst>
                  <p:tags r:id="rId196"/>
                </p:custDataLst>
              </p:nvPr>
            </p:nvSpPr>
            <p:spPr bwMode="auto">
              <a:xfrm>
                <a:off x="4319588" y="3203575"/>
                <a:ext cx="76200" cy="188913"/>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FFFFFF"/>
              </a:solidFill>
              <a:ln w="9525" cmpd="sng">
                <a:solidFill>
                  <a:schemeClr val="tx1"/>
                </a:solidFill>
                <a:prstDash val="solid"/>
                <a:round/>
                <a:headEnd/>
                <a:tailEnd/>
              </a:ln>
            </p:spPr>
            <p:txBody>
              <a:bodyPr/>
              <a:lstStyle/>
              <a:p>
                <a:endParaRPr lang="en-US"/>
              </a:p>
            </p:txBody>
          </p:sp>
          <p:sp>
            <p:nvSpPr>
              <p:cNvPr id="269" name="Freeform 270"/>
              <p:cNvSpPr>
                <a:spLocks/>
              </p:cNvSpPr>
              <p:nvPr>
                <p:custDataLst>
                  <p:tags r:id="rId197"/>
                </p:custDataLst>
              </p:nvPr>
            </p:nvSpPr>
            <p:spPr bwMode="auto">
              <a:xfrm>
                <a:off x="5048250" y="4408488"/>
                <a:ext cx="25400" cy="6032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504D"/>
              </a:solidFill>
              <a:ln w="9525" cmpd="sng">
                <a:solidFill>
                  <a:schemeClr val="tx1"/>
                </a:solidFill>
                <a:prstDash val="solid"/>
                <a:round/>
                <a:headEnd/>
                <a:tailEnd/>
              </a:ln>
            </p:spPr>
            <p:txBody>
              <a:bodyPr/>
              <a:lstStyle/>
              <a:p>
                <a:endParaRPr lang="en-US"/>
              </a:p>
            </p:txBody>
          </p:sp>
          <p:sp>
            <p:nvSpPr>
              <p:cNvPr id="270" name="Freeform 271"/>
              <p:cNvSpPr>
                <a:spLocks/>
              </p:cNvSpPr>
              <p:nvPr>
                <p:custDataLst>
                  <p:tags r:id="rId198"/>
                </p:custDataLst>
              </p:nvPr>
            </p:nvSpPr>
            <p:spPr bwMode="auto">
              <a:xfrm>
                <a:off x="4943475" y="4505325"/>
                <a:ext cx="61913"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FFFFFF"/>
              </a:solidFill>
              <a:ln w="9525" cmpd="sng">
                <a:solidFill>
                  <a:schemeClr val="tx1"/>
                </a:solidFill>
                <a:prstDash val="solid"/>
                <a:round/>
                <a:headEnd/>
                <a:tailEnd/>
              </a:ln>
            </p:spPr>
            <p:txBody>
              <a:bodyPr/>
              <a:lstStyle/>
              <a:p>
                <a:endParaRPr lang="en-US"/>
              </a:p>
            </p:txBody>
          </p:sp>
          <p:sp>
            <p:nvSpPr>
              <p:cNvPr id="271" name="Freeform 272"/>
              <p:cNvSpPr>
                <a:spLocks/>
              </p:cNvSpPr>
              <p:nvPr>
                <p:custDataLst>
                  <p:tags r:id="rId199"/>
                </p:custDataLst>
              </p:nvPr>
            </p:nvSpPr>
            <p:spPr bwMode="auto">
              <a:xfrm>
                <a:off x="7161213" y="2219325"/>
                <a:ext cx="120650" cy="171450"/>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FFFFFF"/>
              </a:solidFill>
              <a:ln w="9525" cmpd="sng">
                <a:solidFill>
                  <a:schemeClr val="tx1"/>
                </a:solidFill>
                <a:prstDash val="solid"/>
                <a:round/>
                <a:headEnd/>
                <a:tailEnd/>
              </a:ln>
            </p:spPr>
            <p:txBody>
              <a:bodyPr/>
              <a:lstStyle/>
              <a:p>
                <a:endParaRPr lang="en-US"/>
              </a:p>
            </p:txBody>
          </p:sp>
          <p:sp>
            <p:nvSpPr>
              <p:cNvPr id="272" name="Freeform 273"/>
              <p:cNvSpPr>
                <a:spLocks/>
              </p:cNvSpPr>
              <p:nvPr>
                <p:custDataLst>
                  <p:tags r:id="rId200"/>
                </p:custDataLst>
              </p:nvPr>
            </p:nvSpPr>
            <p:spPr bwMode="auto">
              <a:xfrm>
                <a:off x="6232525" y="2633663"/>
                <a:ext cx="206375" cy="1238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FFFFFF"/>
              </a:solidFill>
              <a:ln w="9525" cmpd="sng">
                <a:solidFill>
                  <a:schemeClr val="tx1"/>
                </a:solidFill>
                <a:prstDash val="solid"/>
                <a:round/>
                <a:headEnd/>
                <a:tailEnd/>
              </a:ln>
            </p:spPr>
            <p:txBody>
              <a:bodyPr/>
              <a:lstStyle/>
              <a:p>
                <a:endParaRPr lang="en-US"/>
              </a:p>
            </p:txBody>
          </p:sp>
          <p:sp>
            <p:nvSpPr>
              <p:cNvPr id="273" name="Freeform 274"/>
              <p:cNvSpPr>
                <a:spLocks/>
              </p:cNvSpPr>
              <p:nvPr>
                <p:custDataLst>
                  <p:tags r:id="rId201"/>
                </p:custDataLst>
              </p:nvPr>
            </p:nvSpPr>
            <p:spPr bwMode="auto">
              <a:xfrm>
                <a:off x="6448425" y="2689225"/>
                <a:ext cx="73025" cy="65088"/>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FFFFFF"/>
              </a:solidFill>
              <a:ln w="9525" cmpd="sng">
                <a:solidFill>
                  <a:schemeClr val="tx1"/>
                </a:solidFill>
                <a:prstDash val="solid"/>
                <a:round/>
                <a:headEnd/>
                <a:tailEnd/>
              </a:ln>
            </p:spPr>
            <p:txBody>
              <a:bodyPr/>
              <a:lstStyle/>
              <a:p>
                <a:endParaRPr lang="en-US"/>
              </a:p>
            </p:txBody>
          </p:sp>
          <p:sp>
            <p:nvSpPr>
              <p:cNvPr id="274" name="Freeform 275"/>
              <p:cNvSpPr>
                <a:spLocks/>
              </p:cNvSpPr>
              <p:nvPr>
                <p:custDataLst>
                  <p:tags r:id="rId202"/>
                </p:custDataLst>
              </p:nvPr>
            </p:nvSpPr>
            <p:spPr bwMode="auto">
              <a:xfrm>
                <a:off x="6438900" y="2760663"/>
                <a:ext cx="133350" cy="166687"/>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FFFFFF"/>
              </a:solidFill>
              <a:ln w="9525" cmpd="sng">
                <a:solidFill>
                  <a:schemeClr val="tx1"/>
                </a:solidFill>
                <a:prstDash val="solid"/>
                <a:round/>
                <a:headEnd/>
                <a:tailEnd/>
              </a:ln>
            </p:spPr>
            <p:txBody>
              <a:bodyPr/>
              <a:lstStyle/>
              <a:p>
                <a:endParaRPr lang="en-US"/>
              </a:p>
            </p:txBody>
          </p:sp>
          <p:sp>
            <p:nvSpPr>
              <p:cNvPr id="275" name="Freeform 276"/>
              <p:cNvSpPr>
                <a:spLocks/>
              </p:cNvSpPr>
              <p:nvPr>
                <p:custDataLst>
                  <p:tags r:id="rId203"/>
                </p:custDataLst>
              </p:nvPr>
            </p:nvSpPr>
            <p:spPr bwMode="auto">
              <a:xfrm>
                <a:off x="6756400" y="2876550"/>
                <a:ext cx="201613" cy="269875"/>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FFFFFF"/>
              </a:solidFill>
              <a:ln w="9525" cmpd="sng">
                <a:solidFill>
                  <a:schemeClr val="tx1"/>
                </a:solidFill>
                <a:prstDash val="solid"/>
                <a:round/>
                <a:headEnd/>
                <a:tailEnd/>
              </a:ln>
            </p:spPr>
            <p:txBody>
              <a:bodyPr/>
              <a:lstStyle/>
              <a:p>
                <a:endParaRPr lang="en-US"/>
              </a:p>
            </p:txBody>
          </p:sp>
          <p:sp>
            <p:nvSpPr>
              <p:cNvPr id="276" name="Freeform 277"/>
              <p:cNvSpPr>
                <a:spLocks/>
              </p:cNvSpPr>
              <p:nvPr>
                <p:custDataLst>
                  <p:tags r:id="rId204"/>
                </p:custDataLst>
              </p:nvPr>
            </p:nvSpPr>
            <p:spPr bwMode="auto">
              <a:xfrm>
                <a:off x="6838950" y="3127375"/>
                <a:ext cx="133350" cy="1301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FFFFFF"/>
              </a:solidFill>
              <a:ln w="9525" cmpd="sng">
                <a:solidFill>
                  <a:schemeClr val="tx1"/>
                </a:solidFill>
                <a:prstDash val="solid"/>
                <a:round/>
                <a:headEnd/>
                <a:tailEnd/>
              </a:ln>
            </p:spPr>
            <p:txBody>
              <a:bodyPr/>
              <a:lstStyle/>
              <a:p>
                <a:endParaRPr lang="en-US"/>
              </a:p>
            </p:txBody>
          </p:sp>
          <p:sp>
            <p:nvSpPr>
              <p:cNvPr id="277" name="Freeform 278"/>
              <p:cNvSpPr>
                <a:spLocks/>
              </p:cNvSpPr>
              <p:nvPr>
                <p:custDataLst>
                  <p:tags r:id="rId205"/>
                </p:custDataLst>
              </p:nvPr>
            </p:nvSpPr>
            <p:spPr bwMode="auto">
              <a:xfrm>
                <a:off x="7240588" y="2363788"/>
                <a:ext cx="85725" cy="130175"/>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FFFFFF"/>
              </a:solidFill>
              <a:ln w="9525" cmpd="sng">
                <a:solidFill>
                  <a:schemeClr val="tx1"/>
                </a:solidFill>
                <a:prstDash val="solid"/>
                <a:round/>
                <a:headEnd/>
                <a:tailEnd/>
              </a:ln>
            </p:spPr>
            <p:txBody>
              <a:bodyPr/>
              <a:lstStyle/>
              <a:p>
                <a:endParaRPr lang="en-US"/>
              </a:p>
            </p:txBody>
          </p:sp>
          <p:sp>
            <p:nvSpPr>
              <p:cNvPr id="278" name="Freeform 279"/>
              <p:cNvSpPr>
                <a:spLocks/>
              </p:cNvSpPr>
              <p:nvPr>
                <p:custDataLst>
                  <p:tags r:id="rId206"/>
                </p:custDataLst>
              </p:nvPr>
            </p:nvSpPr>
            <p:spPr bwMode="auto">
              <a:xfrm>
                <a:off x="7808913" y="3660775"/>
                <a:ext cx="231775" cy="254000"/>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FFFFFF"/>
              </a:solidFill>
              <a:ln w="9525" cmpd="sng">
                <a:solidFill>
                  <a:schemeClr val="tx1"/>
                </a:solidFill>
                <a:prstDash val="solid"/>
                <a:round/>
                <a:headEnd/>
                <a:tailEnd/>
              </a:ln>
            </p:spPr>
            <p:txBody>
              <a:bodyPr/>
              <a:lstStyle/>
              <a:p>
                <a:endParaRPr lang="en-US"/>
              </a:p>
            </p:txBody>
          </p:sp>
          <p:sp>
            <p:nvSpPr>
              <p:cNvPr id="279" name="Freeform 280"/>
              <p:cNvSpPr>
                <a:spLocks/>
              </p:cNvSpPr>
              <p:nvPr>
                <p:custDataLst>
                  <p:tags r:id="rId207"/>
                </p:custDataLst>
              </p:nvPr>
            </p:nvSpPr>
            <p:spPr bwMode="auto">
              <a:xfrm>
                <a:off x="8001000" y="3644900"/>
                <a:ext cx="106363" cy="128588"/>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FFFFFF"/>
              </a:solidFill>
              <a:ln w="9525" cmpd="sng">
                <a:solidFill>
                  <a:schemeClr val="tx1"/>
                </a:solidFill>
                <a:prstDash val="solid"/>
                <a:round/>
                <a:headEnd/>
                <a:tailEnd/>
              </a:ln>
            </p:spPr>
            <p:txBody>
              <a:bodyPr/>
              <a:lstStyle/>
              <a:p>
                <a:endParaRPr lang="en-US"/>
              </a:p>
            </p:txBody>
          </p:sp>
          <p:sp>
            <p:nvSpPr>
              <p:cNvPr id="280" name="Freeform 281"/>
              <p:cNvSpPr>
                <a:spLocks/>
              </p:cNvSpPr>
              <p:nvPr>
                <p:custDataLst>
                  <p:tags r:id="rId208"/>
                </p:custDataLst>
              </p:nvPr>
            </p:nvSpPr>
            <p:spPr bwMode="auto">
              <a:xfrm>
                <a:off x="6276975" y="3278188"/>
                <a:ext cx="63500" cy="119062"/>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FFFFFF"/>
              </a:solidFill>
              <a:ln w="9525" cmpd="sng">
                <a:solidFill>
                  <a:schemeClr val="tx1"/>
                </a:solidFill>
                <a:prstDash val="solid"/>
                <a:round/>
                <a:headEnd/>
                <a:tailEnd/>
              </a:ln>
            </p:spPr>
            <p:txBody>
              <a:bodyPr/>
              <a:lstStyle/>
              <a:p>
                <a:endParaRPr lang="en-US"/>
              </a:p>
            </p:txBody>
          </p:sp>
          <p:grpSp>
            <p:nvGrpSpPr>
              <p:cNvPr id="281" name="Group 282"/>
              <p:cNvGrpSpPr>
                <a:grpSpLocks/>
              </p:cNvGrpSpPr>
              <p:nvPr>
                <p:custDataLst>
                  <p:tags r:id="rId209"/>
                </p:custDataLst>
              </p:nvPr>
            </p:nvGrpSpPr>
            <p:grpSpPr bwMode="auto">
              <a:xfrm>
                <a:off x="7216775" y="2989263"/>
                <a:ext cx="233363" cy="439737"/>
                <a:chOff x="5062" y="2295"/>
                <a:chExt cx="177" cy="279"/>
              </a:xfrm>
              <a:solidFill>
                <a:srgbClr val="FFFFFF"/>
              </a:solidFill>
            </p:grpSpPr>
            <p:sp>
              <p:nvSpPr>
                <p:cNvPr id="282" name="Freeform 283"/>
                <p:cNvSpPr>
                  <a:spLocks/>
                </p:cNvSpPr>
                <p:nvPr/>
              </p:nvSpPr>
              <p:spPr bwMode="auto">
                <a:xfrm>
                  <a:off x="5154" y="2449"/>
                  <a:ext cx="19" cy="37"/>
                </a:xfrm>
                <a:custGeom>
                  <a:avLst/>
                  <a:gdLst>
                    <a:gd name="T0" fmla="*/ 0 w 60"/>
                    <a:gd name="T1" fmla="*/ 1 h 110"/>
                    <a:gd name="T2" fmla="*/ 0 w 60"/>
                    <a:gd name="T3" fmla="*/ 1 h 110"/>
                    <a:gd name="T4" fmla="*/ 1 w 60"/>
                    <a:gd name="T5" fmla="*/ 1 h 110"/>
                    <a:gd name="T6" fmla="*/ 1 w 60"/>
                    <a:gd name="T7" fmla="*/ 1 h 110"/>
                    <a:gd name="T8" fmla="*/ 1 w 60"/>
                    <a:gd name="T9" fmla="*/ 1 h 110"/>
                    <a:gd name="T10" fmla="*/ 1 w 60"/>
                    <a:gd name="T11" fmla="*/ 1 h 110"/>
                    <a:gd name="T12" fmla="*/ 1 w 60"/>
                    <a:gd name="T13" fmla="*/ 1 h 110"/>
                    <a:gd name="T14" fmla="*/ 1 w 60"/>
                    <a:gd name="T15" fmla="*/ 1 h 110"/>
                    <a:gd name="T16" fmla="*/ 1 w 60"/>
                    <a:gd name="T17" fmla="*/ 1 h 110"/>
                    <a:gd name="T18" fmla="*/ 1 w 60"/>
                    <a:gd name="T19" fmla="*/ 1 h 110"/>
                    <a:gd name="T20" fmla="*/ 1 w 60"/>
                    <a:gd name="T21" fmla="*/ 1 h 110"/>
                    <a:gd name="T22" fmla="*/ 1 w 60"/>
                    <a:gd name="T23" fmla="*/ 0 h 110"/>
                    <a:gd name="T24" fmla="*/ 1 w 60"/>
                    <a:gd name="T25" fmla="*/ 0 h 110"/>
                    <a:gd name="T26" fmla="*/ 1 w 60"/>
                    <a:gd name="T27" fmla="*/ 0 h 110"/>
                    <a:gd name="T28" fmla="*/ 1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1 h 110"/>
                    <a:gd name="T48" fmla="*/ 0 w 60"/>
                    <a:gd name="T49" fmla="*/ 1 h 110"/>
                    <a:gd name="T50" fmla="*/ 0 w 60"/>
                    <a:gd name="T51" fmla="*/ 1 h 110"/>
                    <a:gd name="T52" fmla="*/ 0 w 60"/>
                    <a:gd name="T53" fmla="*/ 1 h 110"/>
                    <a:gd name="T54" fmla="*/ 0 w 60"/>
                    <a:gd name="T55" fmla="*/ 1 h 110"/>
                    <a:gd name="T56" fmla="*/ 0 w 60"/>
                    <a:gd name="T57" fmla="*/ 1 h 110"/>
                    <a:gd name="T58" fmla="*/ 0 w 60"/>
                    <a:gd name="T59" fmla="*/ 1 h 110"/>
                    <a:gd name="T60" fmla="*/ 0 w 60"/>
                    <a:gd name="T61" fmla="*/ 1 h 110"/>
                    <a:gd name="T62" fmla="*/ 0 w 60"/>
                    <a:gd name="T63" fmla="*/ 1 h 110"/>
                    <a:gd name="T64" fmla="*/ 0 w 60"/>
                    <a:gd name="T65" fmla="*/ 1 h 110"/>
                    <a:gd name="T66" fmla="*/ 0 w 60"/>
                    <a:gd name="T67" fmla="*/ 1 h 110"/>
                    <a:gd name="T68" fmla="*/ 0 w 60"/>
                    <a:gd name="T69" fmla="*/ 1 h 110"/>
                    <a:gd name="T70" fmla="*/ 0 w 60"/>
                    <a:gd name="T71" fmla="*/ 1 h 110"/>
                    <a:gd name="T72" fmla="*/ 0 w 60"/>
                    <a:gd name="T73" fmla="*/ 1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chemeClr val="tx1"/>
                  </a:solidFill>
                  <a:prstDash val="solid"/>
                  <a:round/>
                  <a:headEnd/>
                  <a:tailEnd/>
                </a:ln>
              </p:spPr>
              <p:txBody>
                <a:bodyPr/>
                <a:lstStyle/>
                <a:p>
                  <a:endParaRPr lang="en-US"/>
                </a:p>
              </p:txBody>
            </p:sp>
            <p:sp>
              <p:nvSpPr>
                <p:cNvPr id="283" name="Freeform 284"/>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1 h 75"/>
                    <a:gd name="T12" fmla="*/ 1 w 72"/>
                    <a:gd name="T13" fmla="*/ 1 h 75"/>
                    <a:gd name="T14" fmla="*/ 1 w 72"/>
                    <a:gd name="T15" fmla="*/ 1 h 75"/>
                    <a:gd name="T16" fmla="*/ 1 w 72"/>
                    <a:gd name="T17" fmla="*/ 1 h 75"/>
                    <a:gd name="T18" fmla="*/ 1 w 72"/>
                    <a:gd name="T19" fmla="*/ 1 h 75"/>
                    <a:gd name="T20" fmla="*/ 1 w 72"/>
                    <a:gd name="T21" fmla="*/ 1 h 75"/>
                    <a:gd name="T22" fmla="*/ 1 w 72"/>
                    <a:gd name="T23" fmla="*/ 0 h 75"/>
                    <a:gd name="T24" fmla="*/ 1 w 72"/>
                    <a:gd name="T25" fmla="*/ 0 h 75"/>
                    <a:gd name="T26" fmla="*/ 1 w 72"/>
                    <a:gd name="T27" fmla="*/ 0 h 75"/>
                    <a:gd name="T28" fmla="*/ 1 w 72"/>
                    <a:gd name="T29" fmla="*/ 0 h 75"/>
                    <a:gd name="T30" fmla="*/ 1 w 72"/>
                    <a:gd name="T31" fmla="*/ 0 h 75"/>
                    <a:gd name="T32" fmla="*/ 1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chemeClr val="tx1"/>
                  </a:solidFill>
                  <a:prstDash val="solid"/>
                  <a:round/>
                  <a:headEnd/>
                  <a:tailEnd/>
                </a:ln>
              </p:spPr>
              <p:txBody>
                <a:bodyPr/>
                <a:lstStyle/>
                <a:p>
                  <a:endParaRPr lang="en-US"/>
                </a:p>
              </p:txBody>
            </p:sp>
            <p:sp>
              <p:nvSpPr>
                <p:cNvPr id="284" name="Freeform 285"/>
                <p:cNvSpPr>
                  <a:spLocks/>
                </p:cNvSpPr>
                <p:nvPr/>
              </p:nvSpPr>
              <p:spPr bwMode="auto">
                <a:xfrm>
                  <a:off x="5160" y="2389"/>
                  <a:ext cx="5" cy="16"/>
                </a:xfrm>
                <a:custGeom>
                  <a:avLst/>
                  <a:gdLst>
                    <a:gd name="T0" fmla="*/ 0 w 15"/>
                    <a:gd name="T1" fmla="*/ 1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1 h 49"/>
                    <a:gd name="T26" fmla="*/ 0 w 15"/>
                    <a:gd name="T27" fmla="*/ 1 h 49"/>
                    <a:gd name="T28" fmla="*/ 0 w 15"/>
                    <a:gd name="T29" fmla="*/ 1 h 49"/>
                    <a:gd name="T30" fmla="*/ 0 w 15"/>
                    <a:gd name="T31" fmla="*/ 1 h 49"/>
                    <a:gd name="T32" fmla="*/ 0 w 15"/>
                    <a:gd name="T33" fmla="*/ 1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chemeClr val="tx1"/>
                  </a:solidFill>
                  <a:prstDash val="solid"/>
                  <a:round/>
                  <a:headEnd/>
                  <a:tailEnd/>
                </a:ln>
              </p:spPr>
              <p:txBody>
                <a:bodyPr/>
                <a:lstStyle/>
                <a:p>
                  <a:endParaRPr lang="en-US"/>
                </a:p>
              </p:txBody>
            </p:sp>
            <p:sp>
              <p:nvSpPr>
                <p:cNvPr id="285" name="Freeform 286"/>
                <p:cNvSpPr>
                  <a:spLocks/>
                </p:cNvSpPr>
                <p:nvPr/>
              </p:nvSpPr>
              <p:spPr bwMode="auto">
                <a:xfrm>
                  <a:off x="5139" y="2387"/>
                  <a:ext cx="15"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1 w 47"/>
                    <a:gd name="T19" fmla="*/ 0 h 40"/>
                    <a:gd name="T20" fmla="*/ 1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chemeClr val="tx1"/>
                  </a:solidFill>
                  <a:prstDash val="solid"/>
                  <a:round/>
                  <a:headEnd/>
                  <a:tailEnd/>
                </a:ln>
              </p:spPr>
              <p:txBody>
                <a:bodyPr/>
                <a:lstStyle/>
                <a:p>
                  <a:endParaRPr lang="en-US"/>
                </a:p>
              </p:txBody>
            </p:sp>
            <p:sp>
              <p:nvSpPr>
                <p:cNvPr id="286" name="Freeform 287"/>
                <p:cNvSpPr>
                  <a:spLocks/>
                </p:cNvSpPr>
                <p:nvPr/>
              </p:nvSpPr>
              <p:spPr bwMode="auto">
                <a:xfrm>
                  <a:off x="5184" y="2465"/>
                  <a:ext cx="13"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chemeClr val="tx1"/>
                  </a:solidFill>
                  <a:prstDash val="solid"/>
                  <a:round/>
                  <a:headEnd/>
                  <a:tailEnd/>
                </a:ln>
              </p:spPr>
              <p:txBody>
                <a:bodyPr/>
                <a:lstStyle/>
                <a:p>
                  <a:endParaRPr lang="en-US"/>
                </a:p>
              </p:txBody>
            </p:sp>
            <p:sp>
              <p:nvSpPr>
                <p:cNvPr id="287" name="Freeform 288"/>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chemeClr val="tx1"/>
                  </a:solidFill>
                  <a:prstDash val="solid"/>
                  <a:round/>
                  <a:headEnd/>
                  <a:tailEnd/>
                </a:ln>
              </p:spPr>
              <p:txBody>
                <a:bodyPr/>
                <a:lstStyle/>
                <a:p>
                  <a:endParaRPr lang="en-US"/>
                </a:p>
              </p:txBody>
            </p:sp>
            <p:sp>
              <p:nvSpPr>
                <p:cNvPr id="288" name="Freeform 289"/>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chemeClr val="tx1"/>
                  </a:solidFill>
                  <a:prstDash val="solid"/>
                  <a:round/>
                  <a:headEnd/>
                  <a:tailEnd/>
                </a:ln>
              </p:spPr>
              <p:txBody>
                <a:bodyPr/>
                <a:lstStyle/>
                <a:p>
                  <a:endParaRPr lang="en-US"/>
                </a:p>
              </p:txBody>
            </p:sp>
            <p:sp>
              <p:nvSpPr>
                <p:cNvPr id="289" name="Freeform 290"/>
                <p:cNvSpPr>
                  <a:spLocks/>
                </p:cNvSpPr>
                <p:nvPr/>
              </p:nvSpPr>
              <p:spPr bwMode="auto">
                <a:xfrm>
                  <a:off x="5062" y="2447"/>
                  <a:ext cx="42" cy="55"/>
                </a:xfrm>
                <a:custGeom>
                  <a:avLst/>
                  <a:gdLst>
                    <a:gd name="T0" fmla="*/ 1 w 126"/>
                    <a:gd name="T1" fmla="*/ 0 h 166"/>
                    <a:gd name="T2" fmla="*/ 1 w 126"/>
                    <a:gd name="T3" fmla="*/ 0 h 166"/>
                    <a:gd name="T4" fmla="*/ 1 w 126"/>
                    <a:gd name="T5" fmla="*/ 0 h 166"/>
                    <a:gd name="T6" fmla="*/ 2 w 126"/>
                    <a:gd name="T7" fmla="*/ 0 h 166"/>
                    <a:gd name="T8" fmla="*/ 2 w 126"/>
                    <a:gd name="T9" fmla="*/ 0 h 166"/>
                    <a:gd name="T10" fmla="*/ 2 w 126"/>
                    <a:gd name="T11" fmla="*/ 0 h 166"/>
                    <a:gd name="T12" fmla="*/ 2 w 126"/>
                    <a:gd name="T13" fmla="*/ 0 h 166"/>
                    <a:gd name="T14" fmla="*/ 2 w 126"/>
                    <a:gd name="T15" fmla="*/ 0 h 166"/>
                    <a:gd name="T16" fmla="*/ 1 w 126"/>
                    <a:gd name="T17" fmla="*/ 1 h 166"/>
                    <a:gd name="T18" fmla="*/ 1 w 126"/>
                    <a:gd name="T19" fmla="*/ 1 h 166"/>
                    <a:gd name="T20" fmla="*/ 1 w 126"/>
                    <a:gd name="T21" fmla="*/ 1 h 166"/>
                    <a:gd name="T22" fmla="*/ 1 w 126"/>
                    <a:gd name="T23" fmla="*/ 1 h 166"/>
                    <a:gd name="T24" fmla="*/ 1 w 126"/>
                    <a:gd name="T25" fmla="*/ 1 h 166"/>
                    <a:gd name="T26" fmla="*/ 1 w 126"/>
                    <a:gd name="T27" fmla="*/ 2 h 166"/>
                    <a:gd name="T28" fmla="*/ 0 w 126"/>
                    <a:gd name="T29" fmla="*/ 2 h 166"/>
                    <a:gd name="T30" fmla="*/ 0 w 126"/>
                    <a:gd name="T31" fmla="*/ 2 h 166"/>
                    <a:gd name="T32" fmla="*/ 0 w 126"/>
                    <a:gd name="T33" fmla="*/ 2 h 166"/>
                    <a:gd name="T34" fmla="*/ 0 w 126"/>
                    <a:gd name="T35" fmla="*/ 2 h 166"/>
                    <a:gd name="T36" fmla="*/ 0 w 126"/>
                    <a:gd name="T37" fmla="*/ 2 h 166"/>
                    <a:gd name="T38" fmla="*/ 0 w 126"/>
                    <a:gd name="T39" fmla="*/ 2 h 166"/>
                    <a:gd name="T40" fmla="*/ 0 w 126"/>
                    <a:gd name="T41" fmla="*/ 2 h 166"/>
                    <a:gd name="T42" fmla="*/ 0 w 126"/>
                    <a:gd name="T43" fmla="*/ 2 h 166"/>
                    <a:gd name="T44" fmla="*/ 0 w 126"/>
                    <a:gd name="T45" fmla="*/ 2 h 166"/>
                    <a:gd name="T46" fmla="*/ 0 w 126"/>
                    <a:gd name="T47" fmla="*/ 2 h 166"/>
                    <a:gd name="T48" fmla="*/ 0 w 126"/>
                    <a:gd name="T49" fmla="*/ 2 h 166"/>
                    <a:gd name="T50" fmla="*/ 0 w 126"/>
                    <a:gd name="T51" fmla="*/ 2 h 166"/>
                    <a:gd name="T52" fmla="*/ 0 w 126"/>
                    <a:gd name="T53" fmla="*/ 1 h 166"/>
                    <a:gd name="T54" fmla="*/ 0 w 126"/>
                    <a:gd name="T55" fmla="*/ 1 h 166"/>
                    <a:gd name="T56" fmla="*/ 0 w 126"/>
                    <a:gd name="T57" fmla="*/ 1 h 166"/>
                    <a:gd name="T58" fmla="*/ 0 w 126"/>
                    <a:gd name="T59" fmla="*/ 1 h 166"/>
                    <a:gd name="T60" fmla="*/ 1 w 126"/>
                    <a:gd name="T61" fmla="*/ 1 h 166"/>
                    <a:gd name="T62" fmla="*/ 1 w 126"/>
                    <a:gd name="T63" fmla="*/ 1 h 166"/>
                    <a:gd name="T64" fmla="*/ 1 w 126"/>
                    <a:gd name="T65" fmla="*/ 1 h 166"/>
                    <a:gd name="T66" fmla="*/ 1 w 126"/>
                    <a:gd name="T67" fmla="*/ 1 h 166"/>
                    <a:gd name="T68" fmla="*/ 1 w 126"/>
                    <a:gd name="T69" fmla="*/ 1 h 166"/>
                    <a:gd name="T70" fmla="*/ 1 w 126"/>
                    <a:gd name="T71" fmla="*/ 0 h 166"/>
                    <a:gd name="T72" fmla="*/ 1 w 126"/>
                    <a:gd name="T73" fmla="*/ 0 h 166"/>
                    <a:gd name="T74" fmla="*/ 1 w 126"/>
                    <a:gd name="T75" fmla="*/ 0 h 166"/>
                    <a:gd name="T76" fmla="*/ 1 w 126"/>
                    <a:gd name="T77" fmla="*/ 0 h 166"/>
                    <a:gd name="T78" fmla="*/ 1 w 126"/>
                    <a:gd name="T79" fmla="*/ 0 h 166"/>
                    <a:gd name="T80" fmla="*/ 1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chemeClr val="tx1"/>
                  </a:solidFill>
                  <a:prstDash val="solid"/>
                  <a:round/>
                  <a:headEnd/>
                  <a:tailEnd/>
                </a:ln>
              </p:spPr>
              <p:txBody>
                <a:bodyPr/>
                <a:lstStyle/>
                <a:p>
                  <a:endParaRPr lang="en-US"/>
                </a:p>
              </p:txBody>
            </p:sp>
            <p:sp>
              <p:nvSpPr>
                <p:cNvPr id="290" name="Freeform 291"/>
                <p:cNvSpPr>
                  <a:spLocks/>
                </p:cNvSpPr>
                <p:nvPr/>
              </p:nvSpPr>
              <p:spPr bwMode="auto">
                <a:xfrm>
                  <a:off x="5154" y="2465"/>
                  <a:ext cx="85" cy="86"/>
                </a:xfrm>
                <a:custGeom>
                  <a:avLst/>
                  <a:gdLst>
                    <a:gd name="T0" fmla="*/ 0 w 259"/>
                    <a:gd name="T1" fmla="*/ 2 h 259"/>
                    <a:gd name="T2" fmla="*/ 0 w 259"/>
                    <a:gd name="T3" fmla="*/ 2 h 259"/>
                    <a:gd name="T4" fmla="*/ 0 w 259"/>
                    <a:gd name="T5" fmla="*/ 2 h 259"/>
                    <a:gd name="T6" fmla="*/ 0 w 259"/>
                    <a:gd name="T7" fmla="*/ 2 h 259"/>
                    <a:gd name="T8" fmla="*/ 0 w 259"/>
                    <a:gd name="T9" fmla="*/ 2 h 259"/>
                    <a:gd name="T10" fmla="*/ 0 w 259"/>
                    <a:gd name="T11" fmla="*/ 1 h 259"/>
                    <a:gd name="T12" fmla="*/ 1 w 259"/>
                    <a:gd name="T13" fmla="*/ 1 h 259"/>
                    <a:gd name="T14" fmla="*/ 1 w 259"/>
                    <a:gd name="T15" fmla="*/ 1 h 259"/>
                    <a:gd name="T16" fmla="*/ 1 w 259"/>
                    <a:gd name="T17" fmla="*/ 1 h 259"/>
                    <a:gd name="T18" fmla="*/ 1 w 259"/>
                    <a:gd name="T19" fmla="*/ 1 h 259"/>
                    <a:gd name="T20" fmla="*/ 1 w 259"/>
                    <a:gd name="T21" fmla="*/ 1 h 259"/>
                    <a:gd name="T22" fmla="*/ 1 w 259"/>
                    <a:gd name="T23" fmla="*/ 1 h 259"/>
                    <a:gd name="T24" fmla="*/ 1 w 259"/>
                    <a:gd name="T25" fmla="*/ 1 h 259"/>
                    <a:gd name="T26" fmla="*/ 1 w 259"/>
                    <a:gd name="T27" fmla="*/ 1 h 259"/>
                    <a:gd name="T28" fmla="*/ 2 w 259"/>
                    <a:gd name="T29" fmla="*/ 1 h 259"/>
                    <a:gd name="T30" fmla="*/ 2 w 259"/>
                    <a:gd name="T31" fmla="*/ 1 h 259"/>
                    <a:gd name="T32" fmla="*/ 2 w 259"/>
                    <a:gd name="T33" fmla="*/ 1 h 259"/>
                    <a:gd name="T34" fmla="*/ 2 w 259"/>
                    <a:gd name="T35" fmla="*/ 1 h 259"/>
                    <a:gd name="T36" fmla="*/ 2 w 259"/>
                    <a:gd name="T37" fmla="*/ 0 h 259"/>
                    <a:gd name="T38" fmla="*/ 2 w 259"/>
                    <a:gd name="T39" fmla="*/ 0 h 259"/>
                    <a:gd name="T40" fmla="*/ 2 w 259"/>
                    <a:gd name="T41" fmla="*/ 0 h 259"/>
                    <a:gd name="T42" fmla="*/ 3 w 259"/>
                    <a:gd name="T43" fmla="*/ 0 h 259"/>
                    <a:gd name="T44" fmla="*/ 3 w 259"/>
                    <a:gd name="T45" fmla="*/ 0 h 259"/>
                    <a:gd name="T46" fmla="*/ 3 w 259"/>
                    <a:gd name="T47" fmla="*/ 1 h 259"/>
                    <a:gd name="T48" fmla="*/ 3 w 259"/>
                    <a:gd name="T49" fmla="*/ 1 h 259"/>
                    <a:gd name="T50" fmla="*/ 3 w 259"/>
                    <a:gd name="T51" fmla="*/ 1 h 259"/>
                    <a:gd name="T52" fmla="*/ 3 w 259"/>
                    <a:gd name="T53" fmla="*/ 1 h 259"/>
                    <a:gd name="T54" fmla="*/ 3 w 259"/>
                    <a:gd name="T55" fmla="*/ 1 h 259"/>
                    <a:gd name="T56" fmla="*/ 3 w 259"/>
                    <a:gd name="T57" fmla="*/ 1 h 259"/>
                    <a:gd name="T58" fmla="*/ 3 w 259"/>
                    <a:gd name="T59" fmla="*/ 1 h 259"/>
                    <a:gd name="T60" fmla="*/ 3 w 259"/>
                    <a:gd name="T61" fmla="*/ 2 h 259"/>
                    <a:gd name="T62" fmla="*/ 3 w 259"/>
                    <a:gd name="T63" fmla="*/ 2 h 259"/>
                    <a:gd name="T64" fmla="*/ 3 w 259"/>
                    <a:gd name="T65" fmla="*/ 3 h 259"/>
                    <a:gd name="T66" fmla="*/ 3 w 259"/>
                    <a:gd name="T67" fmla="*/ 3 h 259"/>
                    <a:gd name="T68" fmla="*/ 3 w 259"/>
                    <a:gd name="T69" fmla="*/ 3 h 259"/>
                    <a:gd name="T70" fmla="*/ 3 w 259"/>
                    <a:gd name="T71" fmla="*/ 2 h 259"/>
                    <a:gd name="T72" fmla="*/ 3 w 259"/>
                    <a:gd name="T73" fmla="*/ 2 h 259"/>
                    <a:gd name="T74" fmla="*/ 2 w 259"/>
                    <a:gd name="T75" fmla="*/ 2 h 259"/>
                    <a:gd name="T76" fmla="*/ 2 w 259"/>
                    <a:gd name="T77" fmla="*/ 2 h 259"/>
                    <a:gd name="T78" fmla="*/ 2 w 259"/>
                    <a:gd name="T79" fmla="*/ 3 h 259"/>
                    <a:gd name="T80" fmla="*/ 2 w 259"/>
                    <a:gd name="T81" fmla="*/ 3 h 259"/>
                    <a:gd name="T82" fmla="*/ 1 w 259"/>
                    <a:gd name="T83" fmla="*/ 3 h 259"/>
                    <a:gd name="T84" fmla="*/ 1 w 259"/>
                    <a:gd name="T85" fmla="*/ 3 h 259"/>
                    <a:gd name="T86" fmla="*/ 1 w 259"/>
                    <a:gd name="T87" fmla="*/ 3 h 259"/>
                    <a:gd name="T88" fmla="*/ 1 w 259"/>
                    <a:gd name="T89" fmla="*/ 2 h 259"/>
                    <a:gd name="T90" fmla="*/ 1 w 259"/>
                    <a:gd name="T91" fmla="*/ 2 h 259"/>
                    <a:gd name="T92" fmla="*/ 1 w 259"/>
                    <a:gd name="T93" fmla="*/ 2 h 259"/>
                    <a:gd name="T94" fmla="*/ 1 w 259"/>
                    <a:gd name="T95" fmla="*/ 2 h 259"/>
                    <a:gd name="T96" fmla="*/ 1 w 259"/>
                    <a:gd name="T97" fmla="*/ 2 h 259"/>
                    <a:gd name="T98" fmla="*/ 0 w 259"/>
                    <a:gd name="T99" fmla="*/ 2 h 259"/>
                    <a:gd name="T100" fmla="*/ 0 w 259"/>
                    <a:gd name="T101" fmla="*/ 2 h 259"/>
                    <a:gd name="T102" fmla="*/ 0 w 259"/>
                    <a:gd name="T103" fmla="*/ 2 h 259"/>
                    <a:gd name="T104" fmla="*/ 0 w 259"/>
                    <a:gd name="T105" fmla="*/ 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chemeClr val="tx1"/>
                  </a:solidFill>
                  <a:prstDash val="solid"/>
                  <a:round/>
                  <a:headEnd/>
                  <a:tailEnd/>
                </a:ln>
              </p:spPr>
              <p:txBody>
                <a:bodyPr/>
                <a:lstStyle/>
                <a:p>
                  <a:endParaRPr lang="en-US"/>
                </a:p>
              </p:txBody>
            </p:sp>
            <p:sp>
              <p:nvSpPr>
                <p:cNvPr id="291" name="Freeform 292"/>
                <p:cNvSpPr>
                  <a:spLocks/>
                </p:cNvSpPr>
                <p:nvPr/>
              </p:nvSpPr>
              <p:spPr bwMode="auto">
                <a:xfrm>
                  <a:off x="5104" y="2395"/>
                  <a:ext cx="23" cy="31"/>
                </a:xfrm>
                <a:custGeom>
                  <a:avLst/>
                  <a:gdLst>
                    <a:gd name="T0" fmla="*/ 1 w 72"/>
                    <a:gd name="T1" fmla="*/ 1 h 92"/>
                    <a:gd name="T2" fmla="*/ 1 w 72"/>
                    <a:gd name="T3" fmla="*/ 1 h 92"/>
                    <a:gd name="T4" fmla="*/ 1 w 72"/>
                    <a:gd name="T5" fmla="*/ 1 h 92"/>
                    <a:gd name="T6" fmla="*/ 1 w 72"/>
                    <a:gd name="T7" fmla="*/ 1 h 92"/>
                    <a:gd name="T8" fmla="*/ 1 w 72"/>
                    <a:gd name="T9" fmla="*/ 1 h 92"/>
                    <a:gd name="T10" fmla="*/ 1 w 72"/>
                    <a:gd name="T11" fmla="*/ 1 h 92"/>
                    <a:gd name="T12" fmla="*/ 0 w 72"/>
                    <a:gd name="T13" fmla="*/ 1 h 92"/>
                    <a:gd name="T14" fmla="*/ 0 w 72"/>
                    <a:gd name="T15" fmla="*/ 1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1 w 72"/>
                    <a:gd name="T29" fmla="*/ 0 h 92"/>
                    <a:gd name="T30" fmla="*/ 1 w 72"/>
                    <a:gd name="T31" fmla="*/ 0 h 92"/>
                    <a:gd name="T32" fmla="*/ 1 w 72"/>
                    <a:gd name="T33" fmla="*/ 0 h 92"/>
                    <a:gd name="T34" fmla="*/ 1 w 72"/>
                    <a:gd name="T35" fmla="*/ 1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chemeClr val="tx1"/>
                  </a:solidFill>
                  <a:prstDash val="solid"/>
                  <a:round/>
                  <a:headEnd/>
                  <a:tailEnd/>
                </a:ln>
              </p:spPr>
              <p:txBody>
                <a:bodyPr/>
                <a:lstStyle/>
                <a:p>
                  <a:endParaRPr lang="en-US"/>
                </a:p>
              </p:txBody>
            </p:sp>
            <p:sp>
              <p:nvSpPr>
                <p:cNvPr id="292" name="Freeform 293"/>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1 w 46"/>
                    <a:gd name="T7" fmla="*/ 0 h 62"/>
                    <a:gd name="T8" fmla="*/ 1 w 46"/>
                    <a:gd name="T9" fmla="*/ 0 h 62"/>
                    <a:gd name="T10" fmla="*/ 1 w 46"/>
                    <a:gd name="T11" fmla="*/ 0 h 62"/>
                    <a:gd name="T12" fmla="*/ 1 w 46"/>
                    <a:gd name="T13" fmla="*/ 0 h 62"/>
                    <a:gd name="T14" fmla="*/ 1 w 46"/>
                    <a:gd name="T15" fmla="*/ 0 h 62"/>
                    <a:gd name="T16" fmla="*/ 1 w 46"/>
                    <a:gd name="T17" fmla="*/ 0 h 62"/>
                    <a:gd name="T18" fmla="*/ 1 w 46"/>
                    <a:gd name="T19" fmla="*/ 1 h 62"/>
                    <a:gd name="T20" fmla="*/ 1 w 46"/>
                    <a:gd name="T21" fmla="*/ 1 h 62"/>
                    <a:gd name="T22" fmla="*/ 1 w 46"/>
                    <a:gd name="T23" fmla="*/ 1 h 62"/>
                    <a:gd name="T24" fmla="*/ 1 w 46"/>
                    <a:gd name="T25" fmla="*/ 1 h 62"/>
                    <a:gd name="T26" fmla="*/ 0 w 46"/>
                    <a:gd name="T27" fmla="*/ 1 h 62"/>
                    <a:gd name="T28" fmla="*/ 0 w 46"/>
                    <a:gd name="T29" fmla="*/ 1 h 62"/>
                    <a:gd name="T30" fmla="*/ 0 w 46"/>
                    <a:gd name="T31" fmla="*/ 1 h 62"/>
                    <a:gd name="T32" fmla="*/ 0 w 46"/>
                    <a:gd name="T33" fmla="*/ 1 h 62"/>
                    <a:gd name="T34" fmla="*/ 0 w 46"/>
                    <a:gd name="T35" fmla="*/ 1 h 62"/>
                    <a:gd name="T36" fmla="*/ 0 w 46"/>
                    <a:gd name="T37" fmla="*/ 1 h 62"/>
                    <a:gd name="T38" fmla="*/ 0 w 46"/>
                    <a:gd name="T39" fmla="*/ 1 h 62"/>
                    <a:gd name="T40" fmla="*/ 0 w 46"/>
                    <a:gd name="T41" fmla="*/ 1 h 62"/>
                    <a:gd name="T42" fmla="*/ 0 w 46"/>
                    <a:gd name="T43" fmla="*/ 1 h 62"/>
                    <a:gd name="T44" fmla="*/ 0 w 46"/>
                    <a:gd name="T45" fmla="*/ 1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chemeClr val="tx1"/>
                  </a:solidFill>
                  <a:prstDash val="solid"/>
                  <a:round/>
                  <a:headEnd/>
                  <a:tailEnd/>
                </a:ln>
              </p:spPr>
              <p:txBody>
                <a:bodyPr/>
                <a:lstStyle/>
                <a:p>
                  <a:endParaRPr lang="en-US"/>
                </a:p>
              </p:txBody>
            </p:sp>
            <p:sp>
              <p:nvSpPr>
                <p:cNvPr id="293" name="Freeform 294"/>
                <p:cNvSpPr>
                  <a:spLocks/>
                </p:cNvSpPr>
                <p:nvPr/>
              </p:nvSpPr>
              <p:spPr bwMode="auto">
                <a:xfrm>
                  <a:off x="5089" y="2295"/>
                  <a:ext cx="50" cy="98"/>
                </a:xfrm>
                <a:custGeom>
                  <a:avLst/>
                  <a:gdLst>
                    <a:gd name="T0" fmla="*/ 1 w 152"/>
                    <a:gd name="T1" fmla="*/ 0 h 296"/>
                    <a:gd name="T2" fmla="*/ 1 w 152"/>
                    <a:gd name="T3" fmla="*/ 0 h 296"/>
                    <a:gd name="T4" fmla="*/ 1 w 152"/>
                    <a:gd name="T5" fmla="*/ 0 h 296"/>
                    <a:gd name="T6" fmla="*/ 1 w 152"/>
                    <a:gd name="T7" fmla="*/ 0 h 296"/>
                    <a:gd name="T8" fmla="*/ 1 w 152"/>
                    <a:gd name="T9" fmla="*/ 0 h 296"/>
                    <a:gd name="T10" fmla="*/ 1 w 152"/>
                    <a:gd name="T11" fmla="*/ 0 h 296"/>
                    <a:gd name="T12" fmla="*/ 1 w 152"/>
                    <a:gd name="T13" fmla="*/ 0 h 296"/>
                    <a:gd name="T14" fmla="*/ 1 w 152"/>
                    <a:gd name="T15" fmla="*/ 0 h 296"/>
                    <a:gd name="T16" fmla="*/ 2 w 152"/>
                    <a:gd name="T17" fmla="*/ 1 h 296"/>
                    <a:gd name="T18" fmla="*/ 2 w 152"/>
                    <a:gd name="T19" fmla="*/ 1 h 296"/>
                    <a:gd name="T20" fmla="*/ 2 w 152"/>
                    <a:gd name="T21" fmla="*/ 1 h 296"/>
                    <a:gd name="T22" fmla="*/ 2 w 152"/>
                    <a:gd name="T23" fmla="*/ 1 h 296"/>
                    <a:gd name="T24" fmla="*/ 2 w 152"/>
                    <a:gd name="T25" fmla="*/ 1 h 296"/>
                    <a:gd name="T26" fmla="*/ 2 w 152"/>
                    <a:gd name="T27" fmla="*/ 2 h 296"/>
                    <a:gd name="T28" fmla="*/ 1 w 152"/>
                    <a:gd name="T29" fmla="*/ 2 h 296"/>
                    <a:gd name="T30" fmla="*/ 1 w 152"/>
                    <a:gd name="T31" fmla="*/ 2 h 296"/>
                    <a:gd name="T32" fmla="*/ 1 w 152"/>
                    <a:gd name="T33" fmla="*/ 2 h 296"/>
                    <a:gd name="T34" fmla="*/ 1 w 152"/>
                    <a:gd name="T35" fmla="*/ 3 h 296"/>
                    <a:gd name="T36" fmla="*/ 1 w 152"/>
                    <a:gd name="T37" fmla="*/ 3 h 296"/>
                    <a:gd name="T38" fmla="*/ 1 w 152"/>
                    <a:gd name="T39" fmla="*/ 3 h 296"/>
                    <a:gd name="T40" fmla="*/ 2 w 152"/>
                    <a:gd name="T41" fmla="*/ 3 h 296"/>
                    <a:gd name="T42" fmla="*/ 2 w 152"/>
                    <a:gd name="T43" fmla="*/ 3 h 296"/>
                    <a:gd name="T44" fmla="*/ 2 w 152"/>
                    <a:gd name="T45" fmla="*/ 3 h 296"/>
                    <a:gd name="T46" fmla="*/ 2 w 152"/>
                    <a:gd name="T47" fmla="*/ 3 h 296"/>
                    <a:gd name="T48" fmla="*/ 1 w 152"/>
                    <a:gd name="T49" fmla="*/ 4 h 296"/>
                    <a:gd name="T50" fmla="*/ 1 w 152"/>
                    <a:gd name="T51" fmla="*/ 4 h 296"/>
                    <a:gd name="T52" fmla="*/ 1 w 152"/>
                    <a:gd name="T53" fmla="*/ 4 h 296"/>
                    <a:gd name="T54" fmla="*/ 1 w 152"/>
                    <a:gd name="T55" fmla="*/ 3 h 296"/>
                    <a:gd name="T56" fmla="*/ 1 w 152"/>
                    <a:gd name="T57" fmla="*/ 3 h 296"/>
                    <a:gd name="T58" fmla="*/ 1 w 152"/>
                    <a:gd name="T59" fmla="*/ 3 h 296"/>
                    <a:gd name="T60" fmla="*/ 1 w 152"/>
                    <a:gd name="T61" fmla="*/ 3 h 296"/>
                    <a:gd name="T62" fmla="*/ 1 w 152"/>
                    <a:gd name="T63" fmla="*/ 3 h 296"/>
                    <a:gd name="T64" fmla="*/ 1 w 152"/>
                    <a:gd name="T65" fmla="*/ 3 h 296"/>
                    <a:gd name="T66" fmla="*/ 0 w 152"/>
                    <a:gd name="T67" fmla="*/ 3 h 296"/>
                    <a:gd name="T68" fmla="*/ 0 w 152"/>
                    <a:gd name="T69" fmla="*/ 3 h 296"/>
                    <a:gd name="T70" fmla="*/ 0 w 152"/>
                    <a:gd name="T71" fmla="*/ 3 h 296"/>
                    <a:gd name="T72" fmla="*/ 0 w 152"/>
                    <a:gd name="T73" fmla="*/ 2 h 296"/>
                    <a:gd name="T74" fmla="*/ 0 w 152"/>
                    <a:gd name="T75" fmla="*/ 2 h 296"/>
                    <a:gd name="T76" fmla="*/ 0 w 152"/>
                    <a:gd name="T77" fmla="*/ 2 h 296"/>
                    <a:gd name="T78" fmla="*/ 0 w 152"/>
                    <a:gd name="T79" fmla="*/ 2 h 296"/>
                    <a:gd name="T80" fmla="*/ 0 w 152"/>
                    <a:gd name="T81" fmla="*/ 1 h 296"/>
                    <a:gd name="T82" fmla="*/ 0 w 152"/>
                    <a:gd name="T83" fmla="*/ 1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chemeClr val="tx1"/>
                  </a:solidFill>
                  <a:prstDash val="solid"/>
                  <a:round/>
                  <a:headEnd/>
                  <a:tailEnd/>
                </a:ln>
              </p:spPr>
              <p:txBody>
                <a:bodyPr/>
                <a:lstStyle/>
                <a:p>
                  <a:endParaRPr lang="en-US"/>
                </a:p>
              </p:txBody>
            </p:sp>
            <p:sp>
              <p:nvSpPr>
                <p:cNvPr id="294" name="Freeform 295"/>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chemeClr val="tx1"/>
                  </a:solidFill>
                  <a:prstDash val="solid"/>
                  <a:round/>
                  <a:headEnd/>
                  <a:tailEnd/>
                </a:ln>
              </p:spPr>
              <p:txBody>
                <a:bodyPr/>
                <a:lstStyle/>
                <a:p>
                  <a:endParaRPr lang="en-US"/>
                </a:p>
              </p:txBody>
            </p:sp>
            <p:sp>
              <p:nvSpPr>
                <p:cNvPr id="295" name="Freeform 296"/>
                <p:cNvSpPr>
                  <a:spLocks/>
                </p:cNvSpPr>
                <p:nvPr/>
              </p:nvSpPr>
              <p:spPr bwMode="auto">
                <a:xfrm>
                  <a:off x="5165"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chemeClr val="tx1"/>
                  </a:solidFill>
                  <a:prstDash val="solid"/>
                  <a:round/>
                  <a:headEnd/>
                  <a:tailEnd/>
                </a:ln>
              </p:spPr>
              <p:txBody>
                <a:bodyPr/>
                <a:lstStyle/>
                <a:p>
                  <a:endParaRPr lang="en-US"/>
                </a:p>
              </p:txBody>
            </p:sp>
            <p:sp>
              <p:nvSpPr>
                <p:cNvPr id="296" name="Freeform 297"/>
                <p:cNvSpPr>
                  <a:spLocks/>
                </p:cNvSpPr>
                <p:nvPr/>
              </p:nvSpPr>
              <p:spPr bwMode="auto">
                <a:xfrm>
                  <a:off x="5139" y="2418"/>
                  <a:ext cx="6"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chemeClr val="tx1"/>
                  </a:solidFill>
                  <a:prstDash val="solid"/>
                  <a:round/>
                  <a:headEnd/>
                  <a:tailEnd/>
                </a:ln>
              </p:spPr>
              <p:txBody>
                <a:bodyPr/>
                <a:lstStyle/>
                <a:p>
                  <a:endParaRPr lang="en-US"/>
                </a:p>
              </p:txBody>
            </p:sp>
            <p:sp>
              <p:nvSpPr>
                <p:cNvPr id="297" name="Line 298"/>
                <p:cNvSpPr>
                  <a:spLocks noChangeShapeType="1"/>
                </p:cNvSpPr>
                <p:nvPr/>
              </p:nvSpPr>
              <p:spPr bwMode="auto">
                <a:xfrm>
                  <a:off x="5180" y="2449"/>
                  <a:ext cx="1" cy="10"/>
                </a:xfrm>
                <a:prstGeom prst="line">
                  <a:avLst/>
                </a:prstGeom>
                <a:grpFill/>
                <a:ln w="9525">
                  <a:solidFill>
                    <a:schemeClr val="tx1"/>
                  </a:solidFill>
                  <a:round/>
                  <a:headEnd/>
                  <a:tailEnd/>
                </a:ln>
                <a:extLst/>
              </p:spPr>
              <p:txBody>
                <a:bodyPr/>
                <a:lstStyle/>
                <a:p>
                  <a:endParaRPr lang="en-US"/>
                </a:p>
              </p:txBody>
            </p:sp>
            <p:sp>
              <p:nvSpPr>
                <p:cNvPr id="298" name="Freeform 299"/>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chemeClr val="tx1"/>
                  </a:solidFill>
                  <a:prstDash val="solid"/>
                  <a:round/>
                  <a:headEnd/>
                  <a:tailEnd/>
                </a:ln>
              </p:spPr>
              <p:txBody>
                <a:bodyPr/>
                <a:lstStyle/>
                <a:p>
                  <a:endParaRPr lang="en-US"/>
                </a:p>
              </p:txBody>
            </p:sp>
            <p:sp>
              <p:nvSpPr>
                <p:cNvPr id="299" name="Line 300"/>
                <p:cNvSpPr>
                  <a:spLocks noChangeShapeType="1"/>
                </p:cNvSpPr>
                <p:nvPr/>
              </p:nvSpPr>
              <p:spPr bwMode="auto">
                <a:xfrm flipH="1" flipV="1">
                  <a:off x="5178" y="2447"/>
                  <a:ext cx="6" cy="6"/>
                </a:xfrm>
                <a:prstGeom prst="line">
                  <a:avLst/>
                </a:prstGeom>
                <a:grpFill/>
                <a:ln w="9525">
                  <a:solidFill>
                    <a:schemeClr val="tx1"/>
                  </a:solidFill>
                  <a:round/>
                  <a:headEnd/>
                  <a:tailEnd/>
                </a:ln>
                <a:extLst/>
              </p:spPr>
              <p:txBody>
                <a:bodyPr/>
                <a:lstStyle/>
                <a:p>
                  <a:endParaRPr lang="en-US"/>
                </a:p>
              </p:txBody>
            </p:sp>
            <p:sp>
              <p:nvSpPr>
                <p:cNvPr id="300" name="Freeform 301"/>
                <p:cNvSpPr>
                  <a:spLocks/>
                </p:cNvSpPr>
                <p:nvPr/>
              </p:nvSpPr>
              <p:spPr bwMode="auto">
                <a:xfrm>
                  <a:off x="5116"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chemeClr val="tx1"/>
                  </a:solidFill>
                  <a:prstDash val="solid"/>
                  <a:round/>
                  <a:headEnd/>
                  <a:tailEnd/>
                </a:ln>
              </p:spPr>
              <p:txBody>
                <a:bodyPr/>
                <a:lstStyle/>
                <a:p>
                  <a:endParaRPr lang="en-US"/>
                </a:p>
              </p:txBody>
            </p:sp>
            <p:sp>
              <p:nvSpPr>
                <p:cNvPr id="301" name="Freeform 302"/>
                <p:cNvSpPr>
                  <a:spLocks/>
                </p:cNvSpPr>
                <p:nvPr/>
              </p:nvSpPr>
              <p:spPr bwMode="auto">
                <a:xfrm>
                  <a:off x="5119" y="2568"/>
                  <a:ext cx="6" cy="1"/>
                </a:xfrm>
                <a:custGeom>
                  <a:avLst/>
                  <a:gdLst>
                    <a:gd name="T0" fmla="*/ 0 w 20"/>
                    <a:gd name="T1" fmla="*/ 0 h 1"/>
                    <a:gd name="T2" fmla="*/ 0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chemeClr val="tx1"/>
                  </a:solidFill>
                  <a:prstDash val="solid"/>
                  <a:round/>
                  <a:headEnd/>
                  <a:tailEnd/>
                </a:ln>
              </p:spPr>
              <p:txBody>
                <a:bodyPr/>
                <a:lstStyle/>
                <a:p>
                  <a:endParaRPr lang="en-US"/>
                </a:p>
              </p:txBody>
            </p:sp>
            <p:sp>
              <p:nvSpPr>
                <p:cNvPr id="302" name="Freeform 303"/>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chemeClr val="tx1"/>
                  </a:solidFill>
                  <a:prstDash val="solid"/>
                  <a:round/>
                  <a:headEnd/>
                  <a:tailEnd/>
                </a:ln>
              </p:spPr>
              <p:txBody>
                <a:bodyPr/>
                <a:lstStyle/>
                <a:p>
                  <a:endParaRPr lang="en-US"/>
                </a:p>
              </p:txBody>
            </p:sp>
            <p:sp>
              <p:nvSpPr>
                <p:cNvPr id="303" name="Freeform 304"/>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chemeClr val="tx1"/>
                  </a:solidFill>
                  <a:prstDash val="solid"/>
                  <a:round/>
                  <a:headEnd/>
                  <a:tailEnd/>
                </a:ln>
              </p:spPr>
              <p:txBody>
                <a:bodyPr/>
                <a:lstStyle/>
                <a:p>
                  <a:endParaRPr lang="en-US"/>
                </a:p>
              </p:txBody>
            </p:sp>
            <p:sp>
              <p:nvSpPr>
                <p:cNvPr id="304" name="Freeform 305"/>
                <p:cNvSpPr>
                  <a:spLocks/>
                </p:cNvSpPr>
                <p:nvPr/>
              </p:nvSpPr>
              <p:spPr bwMode="auto">
                <a:xfrm>
                  <a:off x="5141" y="2535"/>
                  <a:ext cx="20" cy="8"/>
                </a:xfrm>
                <a:custGeom>
                  <a:avLst/>
                  <a:gdLst>
                    <a:gd name="T0" fmla="*/ 1 w 59"/>
                    <a:gd name="T1" fmla="*/ 0 h 25"/>
                    <a:gd name="T2" fmla="*/ 1 w 59"/>
                    <a:gd name="T3" fmla="*/ 0 h 25"/>
                    <a:gd name="T4" fmla="*/ 1 w 59"/>
                    <a:gd name="T5" fmla="*/ 0 h 25"/>
                    <a:gd name="T6" fmla="*/ 1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1 w 59"/>
                    <a:gd name="T27" fmla="*/ 0 h 25"/>
                    <a:gd name="T28" fmla="*/ 1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chemeClr val="tx1"/>
                  </a:solidFill>
                  <a:prstDash val="solid"/>
                  <a:round/>
                  <a:headEnd/>
                  <a:tailEnd/>
                </a:ln>
              </p:spPr>
              <p:txBody>
                <a:bodyPr/>
                <a:lstStyle/>
                <a:p>
                  <a:endParaRPr lang="en-US"/>
                </a:p>
              </p:txBody>
            </p:sp>
            <p:sp>
              <p:nvSpPr>
                <p:cNvPr id="305" name="Line 306"/>
                <p:cNvSpPr>
                  <a:spLocks noChangeShapeType="1"/>
                </p:cNvSpPr>
                <p:nvPr/>
              </p:nvSpPr>
              <p:spPr bwMode="auto">
                <a:xfrm flipV="1">
                  <a:off x="5191" y="2516"/>
                  <a:ext cx="6" cy="2"/>
                </a:xfrm>
                <a:prstGeom prst="line">
                  <a:avLst/>
                </a:prstGeom>
                <a:grpFill/>
                <a:ln w="9525">
                  <a:solidFill>
                    <a:schemeClr val="tx1"/>
                  </a:solidFill>
                  <a:round/>
                  <a:headEnd/>
                  <a:tailEnd/>
                </a:ln>
                <a:extLst/>
              </p:spPr>
              <p:txBody>
                <a:bodyPr/>
                <a:lstStyle/>
                <a:p>
                  <a:endParaRPr lang="en-US"/>
                </a:p>
              </p:txBody>
            </p:sp>
          </p:grpSp>
          <p:sp>
            <p:nvSpPr>
              <p:cNvPr id="306" name="Freeform 307"/>
              <p:cNvSpPr>
                <a:spLocks/>
              </p:cNvSpPr>
              <p:nvPr>
                <p:custDataLst>
                  <p:tags r:id="rId210"/>
                </p:custDataLst>
              </p:nvPr>
            </p:nvSpPr>
            <p:spPr bwMode="auto">
              <a:xfrm>
                <a:off x="7561263" y="3808413"/>
                <a:ext cx="14287" cy="55562"/>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07" name="Freeform 308"/>
              <p:cNvSpPr>
                <a:spLocks/>
              </p:cNvSpPr>
              <p:nvPr>
                <p:custDataLst>
                  <p:tags r:id="rId211"/>
                </p:custDataLst>
              </p:nvPr>
            </p:nvSpPr>
            <p:spPr bwMode="auto">
              <a:xfrm>
                <a:off x="7637463" y="3748088"/>
                <a:ext cx="22225" cy="58737"/>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08" name="Freeform 309"/>
              <p:cNvSpPr>
                <a:spLocks/>
              </p:cNvSpPr>
              <p:nvPr>
                <p:custDataLst>
                  <p:tags r:id="rId212"/>
                </p:custDataLst>
              </p:nvPr>
            </p:nvSpPr>
            <p:spPr bwMode="auto">
              <a:xfrm>
                <a:off x="7685088" y="3627438"/>
                <a:ext cx="23812" cy="57150"/>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309" name="Freeform 310"/>
              <p:cNvSpPr>
                <a:spLocks/>
              </p:cNvSpPr>
              <p:nvPr>
                <p:custDataLst>
                  <p:tags r:id="rId213"/>
                </p:custDataLst>
              </p:nvPr>
            </p:nvSpPr>
            <p:spPr bwMode="auto">
              <a:xfrm>
                <a:off x="7669213" y="3597275"/>
                <a:ext cx="25400" cy="57150"/>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10" name="Freeform 311"/>
              <p:cNvSpPr>
                <a:spLocks/>
              </p:cNvSpPr>
              <p:nvPr>
                <p:custDataLst>
                  <p:tags r:id="rId214"/>
                </p:custDataLst>
              </p:nvPr>
            </p:nvSpPr>
            <p:spPr bwMode="auto">
              <a:xfrm>
                <a:off x="7494588" y="3494088"/>
                <a:ext cx="7937" cy="5715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311" name="Freeform 312"/>
              <p:cNvSpPr>
                <a:spLocks/>
              </p:cNvSpPr>
              <p:nvPr>
                <p:custDataLst>
                  <p:tags r:id="rId215"/>
                </p:custDataLst>
              </p:nvPr>
            </p:nvSpPr>
            <p:spPr bwMode="auto">
              <a:xfrm>
                <a:off x="7421563" y="3629025"/>
                <a:ext cx="30162" cy="58738"/>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12" name="Freeform 313"/>
              <p:cNvSpPr>
                <a:spLocks/>
              </p:cNvSpPr>
              <p:nvPr>
                <p:custDataLst>
                  <p:tags r:id="rId216"/>
                </p:custDataLst>
              </p:nvPr>
            </p:nvSpPr>
            <p:spPr bwMode="auto">
              <a:xfrm>
                <a:off x="7429500" y="3814763"/>
                <a:ext cx="19050" cy="55562"/>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13" name="Freeform 314"/>
              <p:cNvSpPr>
                <a:spLocks/>
              </p:cNvSpPr>
              <p:nvPr>
                <p:custDataLst>
                  <p:tags r:id="rId217"/>
                </p:custDataLst>
              </p:nvPr>
            </p:nvSpPr>
            <p:spPr bwMode="auto">
              <a:xfrm>
                <a:off x="7542213" y="3633788"/>
                <a:ext cx="11112" cy="5715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314" name="Freeform 315"/>
              <p:cNvSpPr>
                <a:spLocks/>
              </p:cNvSpPr>
              <p:nvPr>
                <p:custDataLst>
                  <p:tags r:id="rId218"/>
                </p:custDataLst>
              </p:nvPr>
            </p:nvSpPr>
            <p:spPr bwMode="auto">
              <a:xfrm>
                <a:off x="7402513" y="3629025"/>
                <a:ext cx="19050" cy="58738"/>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15" name="Freeform 316"/>
              <p:cNvSpPr>
                <a:spLocks/>
              </p:cNvSpPr>
              <p:nvPr>
                <p:custDataLst>
                  <p:tags r:id="rId219"/>
                </p:custDataLst>
              </p:nvPr>
            </p:nvSpPr>
            <p:spPr bwMode="auto">
              <a:xfrm>
                <a:off x="7446963" y="3676650"/>
                <a:ext cx="30162" cy="5715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16" name="Freeform 317"/>
              <p:cNvSpPr>
                <a:spLocks/>
              </p:cNvSpPr>
              <p:nvPr>
                <p:custDataLst>
                  <p:tags r:id="rId220"/>
                </p:custDataLst>
              </p:nvPr>
            </p:nvSpPr>
            <p:spPr bwMode="auto">
              <a:xfrm>
                <a:off x="7248525" y="3879850"/>
                <a:ext cx="46038" cy="58738"/>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17" name="Freeform 318"/>
              <p:cNvSpPr>
                <a:spLocks/>
              </p:cNvSpPr>
              <p:nvPr>
                <p:custDataLst>
                  <p:tags r:id="rId221"/>
                </p:custDataLst>
              </p:nvPr>
            </p:nvSpPr>
            <p:spPr bwMode="auto">
              <a:xfrm>
                <a:off x="7346950" y="3917950"/>
                <a:ext cx="14288" cy="58738"/>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18" name="Freeform 319"/>
              <p:cNvSpPr>
                <a:spLocks/>
              </p:cNvSpPr>
              <p:nvPr>
                <p:custDataLst>
                  <p:tags r:id="rId222"/>
                </p:custDataLst>
              </p:nvPr>
            </p:nvSpPr>
            <p:spPr bwMode="auto">
              <a:xfrm>
                <a:off x="7180263" y="3849688"/>
                <a:ext cx="36512" cy="55562"/>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19" name="Freeform 320"/>
              <p:cNvSpPr>
                <a:spLocks/>
              </p:cNvSpPr>
              <p:nvPr>
                <p:custDataLst>
                  <p:tags r:id="rId223"/>
                </p:custDataLst>
              </p:nvPr>
            </p:nvSpPr>
            <p:spPr bwMode="auto">
              <a:xfrm>
                <a:off x="7224713" y="3835400"/>
                <a:ext cx="39687" cy="55563"/>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20" name="Freeform 321"/>
              <p:cNvSpPr>
                <a:spLocks/>
              </p:cNvSpPr>
              <p:nvPr>
                <p:custDataLst>
                  <p:tags r:id="rId224"/>
                </p:custDataLst>
              </p:nvPr>
            </p:nvSpPr>
            <p:spPr bwMode="auto">
              <a:xfrm>
                <a:off x="7277100" y="3844925"/>
                <a:ext cx="36513" cy="58738"/>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21" name="Freeform 322"/>
              <p:cNvSpPr>
                <a:spLocks/>
              </p:cNvSpPr>
              <p:nvPr>
                <p:custDataLst>
                  <p:tags r:id="rId225"/>
                </p:custDataLst>
              </p:nvPr>
            </p:nvSpPr>
            <p:spPr bwMode="auto">
              <a:xfrm>
                <a:off x="7329488" y="3849688"/>
                <a:ext cx="25400" cy="55562"/>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22" name="Freeform 323"/>
              <p:cNvSpPr>
                <a:spLocks/>
              </p:cNvSpPr>
              <p:nvPr>
                <p:custDataLst>
                  <p:tags r:id="rId226"/>
                </p:custDataLst>
              </p:nvPr>
            </p:nvSpPr>
            <p:spPr bwMode="auto">
              <a:xfrm>
                <a:off x="7402513" y="3841750"/>
                <a:ext cx="1587" cy="55563"/>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323" name="Freeform 324"/>
              <p:cNvSpPr>
                <a:spLocks/>
              </p:cNvSpPr>
              <p:nvPr>
                <p:custDataLst>
                  <p:tags r:id="rId227"/>
                </p:custDataLst>
              </p:nvPr>
            </p:nvSpPr>
            <p:spPr bwMode="auto">
              <a:xfrm>
                <a:off x="6977063" y="3656013"/>
                <a:ext cx="20637" cy="58737"/>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24" name="Freeform 325"/>
              <p:cNvSpPr>
                <a:spLocks/>
              </p:cNvSpPr>
              <p:nvPr>
                <p:custDataLst>
                  <p:tags r:id="rId228"/>
                </p:custDataLst>
              </p:nvPr>
            </p:nvSpPr>
            <p:spPr bwMode="auto">
              <a:xfrm>
                <a:off x="6923088" y="3629025"/>
                <a:ext cx="30162" cy="58738"/>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25" name="Freeform 326"/>
              <p:cNvSpPr>
                <a:spLocks/>
              </p:cNvSpPr>
              <p:nvPr>
                <p:custDataLst>
                  <p:tags r:id="rId229"/>
                </p:custDataLst>
              </p:nvPr>
            </p:nvSpPr>
            <p:spPr bwMode="auto">
              <a:xfrm>
                <a:off x="6757988" y="3613150"/>
                <a:ext cx="7937" cy="5715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326" name="Line 327" descr="Horizontal dunkel"/>
              <p:cNvSpPr>
                <a:spLocks noChangeShapeType="1"/>
              </p:cNvSpPr>
              <p:nvPr>
                <p:custDataLst>
                  <p:tags r:id="rId230"/>
                </p:custDataLst>
              </p:nvPr>
            </p:nvSpPr>
            <p:spPr bwMode="auto">
              <a:xfrm>
                <a:off x="6783388" y="3649663"/>
                <a:ext cx="4762" cy="635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a:defRPr/>
                </a:pPr>
                <a:endParaRPr lang="en-US">
                  <a:cs typeface="+mn-cs"/>
                </a:endParaRPr>
              </a:p>
            </p:txBody>
          </p:sp>
          <p:sp>
            <p:nvSpPr>
              <p:cNvPr id="327" name="Freeform 328"/>
              <p:cNvSpPr>
                <a:spLocks/>
              </p:cNvSpPr>
              <p:nvPr>
                <p:custDataLst>
                  <p:tags r:id="rId231"/>
                </p:custDataLst>
              </p:nvPr>
            </p:nvSpPr>
            <p:spPr bwMode="auto">
              <a:xfrm>
                <a:off x="6780213" y="3649663"/>
                <a:ext cx="7937" cy="5715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328" name="Freeform 329"/>
              <p:cNvSpPr>
                <a:spLocks/>
              </p:cNvSpPr>
              <p:nvPr>
                <p:custDataLst>
                  <p:tags r:id="rId232"/>
                </p:custDataLst>
              </p:nvPr>
            </p:nvSpPr>
            <p:spPr bwMode="auto">
              <a:xfrm>
                <a:off x="6681788" y="3494088"/>
                <a:ext cx="22225" cy="5715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29" name="Freeform 330"/>
              <p:cNvSpPr>
                <a:spLocks/>
              </p:cNvSpPr>
              <p:nvPr>
                <p:custDataLst>
                  <p:tags r:id="rId233"/>
                </p:custDataLst>
              </p:nvPr>
            </p:nvSpPr>
            <p:spPr bwMode="auto">
              <a:xfrm>
                <a:off x="7210425" y="3857625"/>
                <a:ext cx="11113" cy="5715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30" name="Freeform 331"/>
              <p:cNvSpPr>
                <a:spLocks/>
              </p:cNvSpPr>
              <p:nvPr>
                <p:custDataLst>
                  <p:tags r:id="rId234"/>
                </p:custDataLst>
              </p:nvPr>
            </p:nvSpPr>
            <p:spPr bwMode="auto">
              <a:xfrm>
                <a:off x="7726363" y="3814763"/>
                <a:ext cx="28575" cy="55562"/>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31" name="Freeform 332"/>
              <p:cNvSpPr>
                <a:spLocks/>
              </p:cNvSpPr>
              <p:nvPr>
                <p:custDataLst>
                  <p:tags r:id="rId235"/>
                </p:custDataLst>
              </p:nvPr>
            </p:nvSpPr>
            <p:spPr bwMode="auto">
              <a:xfrm>
                <a:off x="6664325" y="3397250"/>
                <a:ext cx="274638" cy="368300"/>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32" name="Freeform 333"/>
              <p:cNvSpPr>
                <a:spLocks/>
              </p:cNvSpPr>
              <p:nvPr>
                <p:custDataLst>
                  <p:tags r:id="rId236"/>
                </p:custDataLst>
              </p:nvPr>
            </p:nvSpPr>
            <p:spPr bwMode="auto">
              <a:xfrm>
                <a:off x="7005638" y="3446463"/>
                <a:ext cx="254000" cy="257175"/>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33" name="Freeform 334"/>
              <p:cNvSpPr>
                <a:spLocks/>
              </p:cNvSpPr>
              <p:nvPr>
                <p:custDataLst>
                  <p:tags r:id="rId237"/>
                </p:custDataLst>
              </p:nvPr>
            </p:nvSpPr>
            <p:spPr bwMode="auto">
              <a:xfrm>
                <a:off x="7361238" y="3852863"/>
                <a:ext cx="92075" cy="57150"/>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334" name="Freeform 335"/>
              <p:cNvSpPr>
                <a:spLocks/>
              </p:cNvSpPr>
              <p:nvPr>
                <p:custDataLst>
                  <p:tags r:id="rId238"/>
                </p:custDataLst>
              </p:nvPr>
            </p:nvSpPr>
            <p:spPr bwMode="auto">
              <a:xfrm>
                <a:off x="7477125" y="3519488"/>
                <a:ext cx="42863" cy="88900"/>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35" name="Freeform 336"/>
              <p:cNvSpPr>
                <a:spLocks/>
              </p:cNvSpPr>
              <p:nvPr>
                <p:custDataLst>
                  <p:tags r:id="rId239"/>
                </p:custDataLst>
              </p:nvPr>
            </p:nvSpPr>
            <p:spPr bwMode="auto">
              <a:xfrm>
                <a:off x="7489825" y="3663950"/>
                <a:ext cx="71438" cy="55563"/>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36" name="Freeform 337"/>
              <p:cNvSpPr>
                <a:spLocks/>
              </p:cNvSpPr>
              <p:nvPr>
                <p:custDataLst>
                  <p:tags r:id="rId240"/>
                </p:custDataLst>
              </p:nvPr>
            </p:nvSpPr>
            <p:spPr bwMode="auto">
              <a:xfrm>
                <a:off x="7566025" y="3587750"/>
                <a:ext cx="85725" cy="6350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37" name="Freeform 338"/>
              <p:cNvSpPr>
                <a:spLocks/>
              </p:cNvSpPr>
              <p:nvPr>
                <p:custDataLst>
                  <p:tags r:id="rId241"/>
                </p:custDataLst>
              </p:nvPr>
            </p:nvSpPr>
            <p:spPr bwMode="auto">
              <a:xfrm>
                <a:off x="7254875" y="3525838"/>
                <a:ext cx="166688" cy="230187"/>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38" name="Freeform 339"/>
              <p:cNvSpPr>
                <a:spLocks/>
              </p:cNvSpPr>
              <p:nvPr>
                <p:custDataLst>
                  <p:tags r:id="rId242"/>
                </p:custDataLst>
              </p:nvPr>
            </p:nvSpPr>
            <p:spPr bwMode="auto">
              <a:xfrm>
                <a:off x="6919913" y="3767138"/>
                <a:ext cx="250825" cy="95250"/>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39" name="Freeform 340"/>
              <p:cNvSpPr>
                <a:spLocks/>
              </p:cNvSpPr>
              <p:nvPr>
                <p:custDataLst>
                  <p:tags r:id="rId243"/>
                </p:custDataLst>
              </p:nvPr>
            </p:nvSpPr>
            <p:spPr bwMode="auto">
              <a:xfrm>
                <a:off x="7600950" y="3624263"/>
                <a:ext cx="214313" cy="252412"/>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40" name="Freeform 341"/>
              <p:cNvSpPr>
                <a:spLocks/>
              </p:cNvSpPr>
              <p:nvPr>
                <p:custDataLst>
                  <p:tags r:id="rId244"/>
                </p:custDataLst>
              </p:nvPr>
            </p:nvSpPr>
            <p:spPr bwMode="auto">
              <a:xfrm>
                <a:off x="6132513" y="2455863"/>
                <a:ext cx="53975" cy="6032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FFFFFF"/>
              </a:solidFill>
              <a:ln w="9525" cmpd="sng">
                <a:solidFill>
                  <a:schemeClr val="tx1"/>
                </a:solidFill>
                <a:prstDash val="solid"/>
                <a:round/>
                <a:headEnd/>
                <a:tailEnd/>
              </a:ln>
            </p:spPr>
            <p:txBody>
              <a:bodyPr/>
              <a:lstStyle/>
              <a:p>
                <a:endParaRPr lang="en-US"/>
              </a:p>
            </p:txBody>
          </p:sp>
          <p:sp>
            <p:nvSpPr>
              <p:cNvPr id="341" name="Freeform 342"/>
              <p:cNvSpPr>
                <a:spLocks/>
              </p:cNvSpPr>
              <p:nvPr>
                <p:custDataLst>
                  <p:tags r:id="rId245"/>
                </p:custDataLst>
              </p:nvPr>
            </p:nvSpPr>
            <p:spPr bwMode="auto">
              <a:xfrm>
                <a:off x="4589463" y="1860550"/>
                <a:ext cx="220662" cy="17780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342" name="Freeform 343"/>
              <p:cNvSpPr>
                <a:spLocks/>
              </p:cNvSpPr>
              <p:nvPr>
                <p:custDataLst>
                  <p:tags r:id="rId246"/>
                </p:custDataLst>
              </p:nvPr>
            </p:nvSpPr>
            <p:spPr bwMode="auto">
              <a:xfrm>
                <a:off x="4652963" y="2065338"/>
                <a:ext cx="146050" cy="71437"/>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343" name="Freeform 344"/>
              <p:cNvSpPr>
                <a:spLocks/>
              </p:cNvSpPr>
              <p:nvPr>
                <p:custDataLst>
                  <p:tags r:id="rId247"/>
                </p:custDataLst>
              </p:nvPr>
            </p:nvSpPr>
            <p:spPr bwMode="auto">
              <a:xfrm>
                <a:off x="4752975" y="1720850"/>
                <a:ext cx="111125" cy="65088"/>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344" name="Freeform 345"/>
              <p:cNvSpPr>
                <a:spLocks/>
              </p:cNvSpPr>
              <p:nvPr>
                <p:custDataLst>
                  <p:tags r:id="rId248"/>
                </p:custDataLst>
              </p:nvPr>
            </p:nvSpPr>
            <p:spPr bwMode="auto">
              <a:xfrm>
                <a:off x="4765675" y="2068513"/>
                <a:ext cx="179388" cy="1428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345" name="Freeform 346"/>
              <p:cNvSpPr>
                <a:spLocks/>
              </p:cNvSpPr>
              <p:nvPr>
                <p:custDataLst>
                  <p:tags r:id="rId249"/>
                </p:custDataLst>
              </p:nvPr>
            </p:nvSpPr>
            <p:spPr bwMode="auto">
              <a:xfrm>
                <a:off x="2765425" y="3106738"/>
                <a:ext cx="14288" cy="55562"/>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FFFFFF"/>
              </a:solidFill>
              <a:ln w="9525" cmpd="sng">
                <a:solidFill>
                  <a:schemeClr val="tx1"/>
                </a:solidFill>
                <a:prstDash val="solid"/>
                <a:round/>
                <a:headEnd/>
                <a:tailEnd/>
              </a:ln>
            </p:spPr>
            <p:txBody>
              <a:bodyPr/>
              <a:lstStyle/>
              <a:p>
                <a:endParaRPr lang="en-US"/>
              </a:p>
            </p:txBody>
          </p:sp>
          <p:sp>
            <p:nvSpPr>
              <p:cNvPr id="346" name="Freeform 347"/>
              <p:cNvSpPr>
                <a:spLocks/>
              </p:cNvSpPr>
              <p:nvPr>
                <p:custDataLst>
                  <p:tags r:id="rId250"/>
                </p:custDataLst>
              </p:nvPr>
            </p:nvSpPr>
            <p:spPr bwMode="auto">
              <a:xfrm>
                <a:off x="4870450" y="2060575"/>
                <a:ext cx="85725" cy="7937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FFFFFF"/>
              </a:solidFill>
              <a:ln w="9525" cmpd="sng">
                <a:solidFill>
                  <a:schemeClr val="tx1"/>
                </a:solidFill>
                <a:prstDash val="solid"/>
                <a:round/>
                <a:headEnd/>
                <a:tailEnd/>
              </a:ln>
            </p:spPr>
            <p:txBody>
              <a:bodyPr/>
              <a:lstStyle/>
              <a:p>
                <a:endParaRPr lang="en-US"/>
              </a:p>
            </p:txBody>
          </p:sp>
          <p:sp>
            <p:nvSpPr>
              <p:cNvPr id="347" name="Freeform 348"/>
              <p:cNvSpPr>
                <a:spLocks/>
              </p:cNvSpPr>
              <p:nvPr>
                <p:custDataLst>
                  <p:tags r:id="rId251"/>
                </p:custDataLst>
              </p:nvPr>
            </p:nvSpPr>
            <p:spPr bwMode="auto">
              <a:xfrm>
                <a:off x="4787900" y="1943100"/>
                <a:ext cx="381000" cy="247650"/>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348" name="Freeform 349"/>
              <p:cNvSpPr>
                <a:spLocks/>
              </p:cNvSpPr>
              <p:nvPr>
                <p:custDataLst>
                  <p:tags r:id="rId252"/>
                </p:custDataLst>
              </p:nvPr>
            </p:nvSpPr>
            <p:spPr bwMode="auto">
              <a:xfrm>
                <a:off x="5299075" y="2286000"/>
                <a:ext cx="47625" cy="635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FFFFFF"/>
              </a:solidFill>
              <a:ln w="9525" cmpd="sng">
                <a:solidFill>
                  <a:schemeClr val="tx1"/>
                </a:solidFill>
                <a:prstDash val="solid"/>
                <a:round/>
                <a:headEnd/>
                <a:tailEnd/>
              </a:ln>
            </p:spPr>
            <p:txBody>
              <a:bodyPr/>
              <a:lstStyle/>
              <a:p>
                <a:endParaRPr lang="en-US"/>
              </a:p>
            </p:txBody>
          </p:sp>
          <p:sp>
            <p:nvSpPr>
              <p:cNvPr id="349" name="Freeform 350"/>
              <p:cNvSpPr>
                <a:spLocks/>
              </p:cNvSpPr>
              <p:nvPr>
                <p:custDataLst>
                  <p:tags r:id="rId253"/>
                </p:custDataLst>
              </p:nvPr>
            </p:nvSpPr>
            <p:spPr bwMode="auto">
              <a:xfrm>
                <a:off x="5842000" y="2300288"/>
                <a:ext cx="207963" cy="122237"/>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FFFFFF"/>
              </a:solidFill>
              <a:ln w="9525" cmpd="sng">
                <a:solidFill>
                  <a:schemeClr val="tx1"/>
                </a:solidFill>
                <a:prstDash val="solid"/>
                <a:round/>
                <a:headEnd/>
                <a:tailEnd/>
              </a:ln>
            </p:spPr>
            <p:txBody>
              <a:bodyPr/>
              <a:lstStyle/>
              <a:p>
                <a:endParaRPr lang="en-US"/>
              </a:p>
            </p:txBody>
          </p:sp>
          <p:sp>
            <p:nvSpPr>
              <p:cNvPr id="350" name="Freeform 351"/>
              <p:cNvSpPr>
                <a:spLocks/>
              </p:cNvSpPr>
              <p:nvPr>
                <p:custDataLst>
                  <p:tags r:id="rId254"/>
                </p:custDataLst>
              </p:nvPr>
            </p:nvSpPr>
            <p:spPr bwMode="auto">
              <a:xfrm>
                <a:off x="5891213" y="2228850"/>
                <a:ext cx="225425" cy="125413"/>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FFFFFF"/>
              </a:solidFill>
              <a:ln w="9525" cmpd="sng">
                <a:solidFill>
                  <a:schemeClr val="tx1"/>
                </a:solidFill>
                <a:prstDash val="solid"/>
                <a:round/>
                <a:headEnd/>
                <a:tailEnd/>
              </a:ln>
            </p:spPr>
            <p:txBody>
              <a:bodyPr/>
              <a:lstStyle/>
              <a:p>
                <a:endParaRPr lang="en-US"/>
              </a:p>
            </p:txBody>
          </p:sp>
          <p:sp>
            <p:nvSpPr>
              <p:cNvPr id="351" name="Freeform 352"/>
              <p:cNvSpPr>
                <a:spLocks/>
              </p:cNvSpPr>
              <p:nvPr>
                <p:custDataLst>
                  <p:tags r:id="rId255"/>
                </p:custDataLst>
              </p:nvPr>
            </p:nvSpPr>
            <p:spPr bwMode="auto">
              <a:xfrm>
                <a:off x="5497513" y="2244725"/>
                <a:ext cx="342900" cy="227013"/>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FFFFFF"/>
              </a:solidFill>
              <a:ln w="9525" cmpd="sng">
                <a:solidFill>
                  <a:schemeClr val="tx1"/>
                </a:solidFill>
                <a:prstDash val="solid"/>
                <a:round/>
                <a:headEnd/>
                <a:tailEnd/>
              </a:ln>
            </p:spPr>
            <p:txBody>
              <a:bodyPr/>
              <a:lstStyle/>
              <a:p>
                <a:endParaRPr lang="en-US"/>
              </a:p>
            </p:txBody>
          </p:sp>
          <p:sp>
            <p:nvSpPr>
              <p:cNvPr id="352" name="Freeform 353"/>
              <p:cNvSpPr>
                <a:spLocks/>
              </p:cNvSpPr>
              <p:nvPr>
                <p:custDataLst>
                  <p:tags r:id="rId256"/>
                </p:custDataLst>
              </p:nvPr>
            </p:nvSpPr>
            <p:spPr bwMode="auto">
              <a:xfrm>
                <a:off x="4706938" y="2132013"/>
                <a:ext cx="107950" cy="149225"/>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353" name="Freeform 354"/>
              <p:cNvSpPr>
                <a:spLocks/>
              </p:cNvSpPr>
              <p:nvPr>
                <p:custDataLst>
                  <p:tags r:id="rId257"/>
                </p:custDataLst>
              </p:nvPr>
            </p:nvSpPr>
            <p:spPr bwMode="auto">
              <a:xfrm>
                <a:off x="4754563" y="2239963"/>
                <a:ext cx="68262" cy="60325"/>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354" name="Freeform 355"/>
              <p:cNvSpPr>
                <a:spLocks/>
              </p:cNvSpPr>
              <p:nvPr>
                <p:custDataLst>
                  <p:tags r:id="rId258"/>
                </p:custDataLst>
              </p:nvPr>
            </p:nvSpPr>
            <p:spPr bwMode="auto">
              <a:xfrm>
                <a:off x="4838700" y="2863850"/>
                <a:ext cx="411163" cy="611188"/>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FFFFFF"/>
              </a:solidFill>
              <a:ln w="9525" cmpd="sng">
                <a:solidFill>
                  <a:schemeClr val="tx1"/>
                </a:solidFill>
                <a:prstDash val="solid"/>
                <a:round/>
                <a:headEnd/>
                <a:tailEnd/>
              </a:ln>
            </p:spPr>
            <p:txBody>
              <a:bodyPr/>
              <a:lstStyle/>
              <a:p>
                <a:endParaRPr lang="en-US"/>
              </a:p>
            </p:txBody>
          </p:sp>
          <p:sp>
            <p:nvSpPr>
              <p:cNvPr id="355" name="Freeform 356"/>
              <p:cNvSpPr>
                <a:spLocks/>
              </p:cNvSpPr>
              <p:nvPr>
                <p:custDataLst>
                  <p:tags r:id="rId259"/>
                </p:custDataLst>
              </p:nvPr>
            </p:nvSpPr>
            <p:spPr bwMode="auto">
              <a:xfrm>
                <a:off x="5322888" y="3203575"/>
                <a:ext cx="244475" cy="431800"/>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FFFFFF"/>
              </a:solidFill>
              <a:ln w="9525" cmpd="sng">
                <a:solidFill>
                  <a:schemeClr val="tx1"/>
                </a:solidFill>
                <a:prstDash val="solid"/>
                <a:round/>
                <a:headEnd/>
                <a:tailEnd/>
              </a:ln>
            </p:spPr>
            <p:txBody>
              <a:bodyPr/>
              <a:lstStyle/>
              <a:p>
                <a:endParaRPr lang="en-US"/>
              </a:p>
            </p:txBody>
          </p:sp>
          <p:sp>
            <p:nvSpPr>
              <p:cNvPr id="356" name="Freeform 357"/>
              <p:cNvSpPr>
                <a:spLocks/>
              </p:cNvSpPr>
              <p:nvPr>
                <p:custDataLst>
                  <p:tags r:id="rId260"/>
                </p:custDataLst>
              </p:nvPr>
            </p:nvSpPr>
            <p:spPr bwMode="auto">
              <a:xfrm>
                <a:off x="5330825" y="3190875"/>
                <a:ext cx="38100" cy="58738"/>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FFFFFF"/>
              </a:solidFill>
              <a:ln w="9525" cmpd="sng">
                <a:solidFill>
                  <a:schemeClr val="tx1"/>
                </a:solidFill>
                <a:prstDash val="solid"/>
                <a:round/>
                <a:headEnd/>
                <a:tailEnd/>
              </a:ln>
            </p:spPr>
            <p:txBody>
              <a:bodyPr/>
              <a:lstStyle/>
              <a:p>
                <a:endParaRPr lang="en-US"/>
              </a:p>
            </p:txBody>
          </p:sp>
          <p:sp>
            <p:nvSpPr>
              <p:cNvPr id="357" name="Freeform 358"/>
              <p:cNvSpPr>
                <a:spLocks/>
              </p:cNvSpPr>
              <p:nvPr>
                <p:custDataLst>
                  <p:tags r:id="rId261"/>
                </p:custDataLst>
              </p:nvPr>
            </p:nvSpPr>
            <p:spPr bwMode="auto">
              <a:xfrm>
                <a:off x="5129213" y="3101975"/>
                <a:ext cx="363537" cy="376238"/>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504D"/>
              </a:solidFill>
              <a:ln w="9525" cmpd="sng">
                <a:solidFill>
                  <a:schemeClr val="tx1"/>
                </a:solidFill>
                <a:prstDash val="solid"/>
                <a:round/>
                <a:headEnd/>
                <a:tailEnd/>
              </a:ln>
            </p:spPr>
            <p:txBody>
              <a:bodyPr/>
              <a:lstStyle/>
              <a:p>
                <a:endParaRPr lang="en-US"/>
              </a:p>
            </p:txBody>
          </p:sp>
          <p:sp>
            <p:nvSpPr>
              <p:cNvPr id="358" name="Line 359"/>
              <p:cNvSpPr>
                <a:spLocks noChangeShapeType="1"/>
              </p:cNvSpPr>
              <p:nvPr>
                <p:custDataLst>
                  <p:tags r:id="rId262"/>
                </p:custDataLst>
              </p:nvPr>
            </p:nvSpPr>
            <p:spPr bwMode="auto">
              <a:xfrm flipH="1">
                <a:off x="1989138" y="3621088"/>
                <a:ext cx="4762" cy="79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 name="Freeform 360"/>
              <p:cNvSpPr>
                <a:spLocks/>
              </p:cNvSpPr>
              <p:nvPr>
                <p:custDataLst>
                  <p:tags r:id="rId263"/>
                </p:custDataLst>
              </p:nvPr>
            </p:nvSpPr>
            <p:spPr bwMode="auto">
              <a:xfrm>
                <a:off x="1989138" y="3629025"/>
                <a:ext cx="12700" cy="58738"/>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FFFFFF"/>
              </a:solidFill>
              <a:ln w="9525" cmpd="sng">
                <a:solidFill>
                  <a:schemeClr val="tx1"/>
                </a:solidFill>
                <a:prstDash val="solid"/>
                <a:round/>
                <a:headEnd/>
                <a:tailEnd/>
              </a:ln>
            </p:spPr>
            <p:txBody>
              <a:bodyPr/>
              <a:lstStyle/>
              <a:p>
                <a:endParaRPr lang="en-US"/>
              </a:p>
            </p:txBody>
          </p:sp>
          <p:sp>
            <p:nvSpPr>
              <p:cNvPr id="360" name="Freeform 361"/>
              <p:cNvSpPr>
                <a:spLocks/>
              </p:cNvSpPr>
              <p:nvPr>
                <p:custDataLst>
                  <p:tags r:id="rId264"/>
                </p:custDataLst>
              </p:nvPr>
            </p:nvSpPr>
            <p:spPr bwMode="auto">
              <a:xfrm>
                <a:off x="1997075" y="3616325"/>
                <a:ext cx="4763" cy="57150"/>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FFFFFF"/>
              </a:solidFill>
              <a:ln w="9525" cmpd="sng">
                <a:solidFill>
                  <a:schemeClr val="tx1"/>
                </a:solidFill>
                <a:prstDash val="solid"/>
                <a:round/>
                <a:headEnd/>
                <a:tailEnd/>
              </a:ln>
            </p:spPr>
            <p:txBody>
              <a:bodyPr/>
              <a:lstStyle/>
              <a:p>
                <a:endParaRPr lang="en-US"/>
              </a:p>
            </p:txBody>
          </p:sp>
          <p:grpSp>
            <p:nvGrpSpPr>
              <p:cNvPr id="361" name="Group 362"/>
              <p:cNvGrpSpPr>
                <a:grpSpLocks/>
              </p:cNvGrpSpPr>
              <p:nvPr>
                <p:custDataLst>
                  <p:tags r:id="rId265"/>
                </p:custDataLst>
              </p:nvPr>
            </p:nvGrpSpPr>
            <p:grpSpPr bwMode="auto">
              <a:xfrm>
                <a:off x="1989138" y="3551238"/>
                <a:ext cx="417512" cy="201612"/>
                <a:chOff x="912" y="2626"/>
                <a:chExt cx="311" cy="127"/>
              </a:xfrm>
              <a:solidFill>
                <a:srgbClr val="FFFFFF"/>
              </a:solidFill>
            </p:grpSpPr>
            <p:sp>
              <p:nvSpPr>
                <p:cNvPr id="362" name="Freeform 363"/>
                <p:cNvSpPr>
                  <a:spLocks/>
                </p:cNvSpPr>
                <p:nvPr/>
              </p:nvSpPr>
              <p:spPr bwMode="auto">
                <a:xfrm>
                  <a:off x="1110" y="2626"/>
                  <a:ext cx="113" cy="127"/>
                </a:xfrm>
                <a:custGeom>
                  <a:avLst/>
                  <a:gdLst>
                    <a:gd name="T0" fmla="*/ 3 w 352"/>
                    <a:gd name="T1" fmla="*/ 1 h 387"/>
                    <a:gd name="T2" fmla="*/ 3 w 352"/>
                    <a:gd name="T3" fmla="*/ 1 h 387"/>
                    <a:gd name="T4" fmla="*/ 3 w 352"/>
                    <a:gd name="T5" fmla="*/ 1 h 387"/>
                    <a:gd name="T6" fmla="*/ 3 w 352"/>
                    <a:gd name="T7" fmla="*/ 1 h 387"/>
                    <a:gd name="T8" fmla="*/ 2 w 352"/>
                    <a:gd name="T9" fmla="*/ 1 h 387"/>
                    <a:gd name="T10" fmla="*/ 2 w 352"/>
                    <a:gd name="T11" fmla="*/ 0 h 387"/>
                    <a:gd name="T12" fmla="*/ 1 w 352"/>
                    <a:gd name="T13" fmla="*/ 0 h 387"/>
                    <a:gd name="T14" fmla="*/ 1 w 352"/>
                    <a:gd name="T15" fmla="*/ 0 h 387"/>
                    <a:gd name="T16" fmla="*/ 1 w 352"/>
                    <a:gd name="T17" fmla="*/ 0 h 387"/>
                    <a:gd name="T18" fmla="*/ 1 w 352"/>
                    <a:gd name="T19" fmla="*/ 0 h 387"/>
                    <a:gd name="T20" fmla="*/ 1 w 352"/>
                    <a:gd name="T21" fmla="*/ 1 h 387"/>
                    <a:gd name="T22" fmla="*/ 1 w 352"/>
                    <a:gd name="T23" fmla="*/ 1 h 387"/>
                    <a:gd name="T24" fmla="*/ 0 w 352"/>
                    <a:gd name="T25" fmla="*/ 2 h 387"/>
                    <a:gd name="T26" fmla="*/ 0 w 352"/>
                    <a:gd name="T27" fmla="*/ 2 h 387"/>
                    <a:gd name="T28" fmla="*/ 0 w 352"/>
                    <a:gd name="T29" fmla="*/ 2 h 387"/>
                    <a:gd name="T30" fmla="*/ 0 w 352"/>
                    <a:gd name="T31" fmla="*/ 2 h 387"/>
                    <a:gd name="T32" fmla="*/ 0 w 352"/>
                    <a:gd name="T33" fmla="*/ 3 h 387"/>
                    <a:gd name="T34" fmla="*/ 0 w 352"/>
                    <a:gd name="T35" fmla="*/ 3 h 387"/>
                    <a:gd name="T36" fmla="*/ 0 w 352"/>
                    <a:gd name="T37" fmla="*/ 3 h 387"/>
                    <a:gd name="T38" fmla="*/ 0 w 352"/>
                    <a:gd name="T39" fmla="*/ 3 h 387"/>
                    <a:gd name="T40" fmla="*/ 0 w 352"/>
                    <a:gd name="T41" fmla="*/ 3 h 387"/>
                    <a:gd name="T42" fmla="*/ 1 w 352"/>
                    <a:gd name="T43" fmla="*/ 3 h 387"/>
                    <a:gd name="T44" fmla="*/ 1 w 352"/>
                    <a:gd name="T45" fmla="*/ 3 h 387"/>
                    <a:gd name="T46" fmla="*/ 1 w 352"/>
                    <a:gd name="T47" fmla="*/ 3 h 387"/>
                    <a:gd name="T48" fmla="*/ 1 w 352"/>
                    <a:gd name="T49" fmla="*/ 3 h 387"/>
                    <a:gd name="T50" fmla="*/ 1 w 352"/>
                    <a:gd name="T51" fmla="*/ 3 h 387"/>
                    <a:gd name="T52" fmla="*/ 1 w 352"/>
                    <a:gd name="T53" fmla="*/ 3 h 387"/>
                    <a:gd name="T54" fmla="*/ 1 w 352"/>
                    <a:gd name="T55" fmla="*/ 3 h 387"/>
                    <a:gd name="T56" fmla="*/ 1 w 352"/>
                    <a:gd name="T57" fmla="*/ 3 h 387"/>
                    <a:gd name="T58" fmla="*/ 1 w 352"/>
                    <a:gd name="T59" fmla="*/ 4 h 387"/>
                    <a:gd name="T60" fmla="*/ 1 w 352"/>
                    <a:gd name="T61" fmla="*/ 4 h 387"/>
                    <a:gd name="T62" fmla="*/ 1 w 352"/>
                    <a:gd name="T63" fmla="*/ 4 h 387"/>
                    <a:gd name="T64" fmla="*/ 1 w 352"/>
                    <a:gd name="T65" fmla="*/ 4 h 387"/>
                    <a:gd name="T66" fmla="*/ 2 w 352"/>
                    <a:gd name="T67" fmla="*/ 4 h 387"/>
                    <a:gd name="T68" fmla="*/ 2 w 352"/>
                    <a:gd name="T69" fmla="*/ 5 h 387"/>
                    <a:gd name="T70" fmla="*/ 2 w 352"/>
                    <a:gd name="T71" fmla="*/ 4 h 387"/>
                    <a:gd name="T72" fmla="*/ 2 w 352"/>
                    <a:gd name="T73" fmla="*/ 4 h 387"/>
                    <a:gd name="T74" fmla="*/ 2 w 352"/>
                    <a:gd name="T75" fmla="*/ 4 h 387"/>
                    <a:gd name="T76" fmla="*/ 2 w 352"/>
                    <a:gd name="T77" fmla="*/ 4 h 387"/>
                    <a:gd name="T78" fmla="*/ 2 w 352"/>
                    <a:gd name="T79" fmla="*/ 4 h 387"/>
                    <a:gd name="T80" fmla="*/ 2 w 352"/>
                    <a:gd name="T81" fmla="*/ 4 h 387"/>
                    <a:gd name="T82" fmla="*/ 2 w 352"/>
                    <a:gd name="T83" fmla="*/ 3 h 387"/>
                    <a:gd name="T84" fmla="*/ 3 w 352"/>
                    <a:gd name="T85" fmla="*/ 3 h 387"/>
                    <a:gd name="T86" fmla="*/ 3 w 352"/>
                    <a:gd name="T87" fmla="*/ 3 h 387"/>
                    <a:gd name="T88" fmla="*/ 3 w 352"/>
                    <a:gd name="T89" fmla="*/ 3 h 387"/>
                    <a:gd name="T90" fmla="*/ 4 w 352"/>
                    <a:gd name="T91" fmla="*/ 3 h 387"/>
                    <a:gd name="T92" fmla="*/ 4 w 352"/>
                    <a:gd name="T93" fmla="*/ 2 h 387"/>
                    <a:gd name="T94" fmla="*/ 4 w 352"/>
                    <a:gd name="T95" fmla="*/ 2 h 387"/>
                    <a:gd name="T96" fmla="*/ 4 w 352"/>
                    <a:gd name="T97" fmla="*/ 2 h 387"/>
                    <a:gd name="T98" fmla="*/ 4 w 352"/>
                    <a:gd name="T99" fmla="*/ 2 h 387"/>
                    <a:gd name="T100" fmla="*/ 4 w 352"/>
                    <a:gd name="T101" fmla="*/ 1 h 387"/>
                    <a:gd name="T102" fmla="*/ 4 w 352"/>
                    <a:gd name="T103" fmla="*/ 1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3" name="Freeform 364"/>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1 w 52"/>
                    <a:gd name="T13" fmla="*/ 0 h 78"/>
                    <a:gd name="T14" fmla="*/ 1 w 52"/>
                    <a:gd name="T15" fmla="*/ 0 h 78"/>
                    <a:gd name="T16" fmla="*/ 1 w 52"/>
                    <a:gd name="T17" fmla="*/ 0 h 78"/>
                    <a:gd name="T18" fmla="*/ 1 w 52"/>
                    <a:gd name="T19" fmla="*/ 0 h 78"/>
                    <a:gd name="T20" fmla="*/ 1 w 52"/>
                    <a:gd name="T21" fmla="*/ 1 h 78"/>
                    <a:gd name="T22" fmla="*/ 1 w 52"/>
                    <a:gd name="T23" fmla="*/ 1 h 78"/>
                    <a:gd name="T24" fmla="*/ 1 w 52"/>
                    <a:gd name="T25" fmla="*/ 1 h 78"/>
                    <a:gd name="T26" fmla="*/ 1 w 52"/>
                    <a:gd name="T27" fmla="*/ 1 h 78"/>
                    <a:gd name="T28" fmla="*/ 1 w 52"/>
                    <a:gd name="T29" fmla="*/ 1 h 78"/>
                    <a:gd name="T30" fmla="*/ 0 w 52"/>
                    <a:gd name="T31" fmla="*/ 1 h 78"/>
                    <a:gd name="T32" fmla="*/ 0 w 52"/>
                    <a:gd name="T33" fmla="*/ 1 h 78"/>
                    <a:gd name="T34" fmla="*/ 0 w 52"/>
                    <a:gd name="T35" fmla="*/ 1 h 78"/>
                    <a:gd name="T36" fmla="*/ 0 w 52"/>
                    <a:gd name="T37" fmla="*/ 1 h 78"/>
                    <a:gd name="T38" fmla="*/ 0 w 52"/>
                    <a:gd name="T39" fmla="*/ 1 h 78"/>
                    <a:gd name="T40" fmla="*/ 0 w 52"/>
                    <a:gd name="T41" fmla="*/ 1 h 78"/>
                    <a:gd name="T42" fmla="*/ 0 w 52"/>
                    <a:gd name="T43" fmla="*/ 1 h 78"/>
                    <a:gd name="T44" fmla="*/ 0 w 52"/>
                    <a:gd name="T45" fmla="*/ 1 h 78"/>
                    <a:gd name="T46" fmla="*/ 0 w 52"/>
                    <a:gd name="T47" fmla="*/ 1 h 78"/>
                    <a:gd name="T48" fmla="*/ 0 w 52"/>
                    <a:gd name="T49" fmla="*/ 1 h 78"/>
                    <a:gd name="T50" fmla="*/ 0 w 52"/>
                    <a:gd name="T51" fmla="*/ 1 h 78"/>
                    <a:gd name="T52" fmla="*/ 0 w 52"/>
                    <a:gd name="T53" fmla="*/ 1 h 78"/>
                    <a:gd name="T54" fmla="*/ 0 w 52"/>
                    <a:gd name="T55" fmla="*/ 1 h 78"/>
                    <a:gd name="T56" fmla="*/ 0 w 52"/>
                    <a:gd name="T57" fmla="*/ 1 h 78"/>
                    <a:gd name="T58" fmla="*/ 0 w 52"/>
                    <a:gd name="T59" fmla="*/ 1 h 78"/>
                    <a:gd name="T60" fmla="*/ 0 w 52"/>
                    <a:gd name="T61" fmla="*/ 1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4" name="Freeform 365"/>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65" name="Freeform 366"/>
              <p:cNvSpPr>
                <a:spLocks/>
              </p:cNvSpPr>
              <p:nvPr>
                <p:custDataLst>
                  <p:tags r:id="rId266"/>
                </p:custDataLst>
              </p:nvPr>
            </p:nvSpPr>
            <p:spPr bwMode="auto">
              <a:xfrm>
                <a:off x="5637213" y="4268788"/>
                <a:ext cx="19050" cy="58737"/>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FFFFFF"/>
              </a:solidFill>
              <a:ln w="9525" cmpd="sng">
                <a:solidFill>
                  <a:schemeClr val="tx1"/>
                </a:solidFill>
                <a:prstDash val="solid"/>
                <a:round/>
                <a:headEnd/>
                <a:tailEnd/>
              </a:ln>
            </p:spPr>
            <p:txBody>
              <a:bodyPr/>
              <a:lstStyle/>
              <a:p>
                <a:endParaRPr lang="en-US"/>
              </a:p>
            </p:txBody>
          </p:sp>
          <p:sp>
            <p:nvSpPr>
              <p:cNvPr id="366" name="Freeform 367"/>
              <p:cNvSpPr>
                <a:spLocks/>
              </p:cNvSpPr>
              <p:nvPr>
                <p:custDataLst>
                  <p:tags r:id="rId267"/>
                </p:custDataLst>
              </p:nvPr>
            </p:nvSpPr>
            <p:spPr bwMode="auto">
              <a:xfrm>
                <a:off x="5608638" y="4295775"/>
                <a:ext cx="23812" cy="5715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FFFFFF"/>
              </a:solidFill>
              <a:ln w="9525" cmpd="sng">
                <a:solidFill>
                  <a:schemeClr val="tx1"/>
                </a:solidFill>
                <a:prstDash val="solid"/>
                <a:round/>
                <a:headEnd/>
                <a:tailEnd/>
              </a:ln>
            </p:spPr>
            <p:txBody>
              <a:bodyPr/>
              <a:lstStyle/>
              <a:p>
                <a:endParaRPr lang="en-US"/>
              </a:p>
            </p:txBody>
          </p:sp>
          <p:grpSp>
            <p:nvGrpSpPr>
              <p:cNvPr id="367" name="Group 368"/>
              <p:cNvGrpSpPr>
                <a:grpSpLocks/>
              </p:cNvGrpSpPr>
              <p:nvPr>
                <p:custDataLst>
                  <p:tags r:id="rId268"/>
                </p:custDataLst>
              </p:nvPr>
            </p:nvGrpSpPr>
            <p:grpSpPr bwMode="auto">
              <a:xfrm>
                <a:off x="5449888" y="3787775"/>
                <a:ext cx="168275" cy="103188"/>
                <a:chOff x="3481" y="2773"/>
                <a:chExt cx="125" cy="65"/>
              </a:xfrm>
              <a:solidFill>
                <a:srgbClr val="FFFFFF"/>
              </a:solidFill>
            </p:grpSpPr>
            <p:sp>
              <p:nvSpPr>
                <p:cNvPr id="368" name="Freeform 36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chemeClr val="tx1"/>
                  </a:solidFill>
                  <a:prstDash val="solid"/>
                  <a:round/>
                  <a:headEnd/>
                  <a:tailEnd/>
                </a:ln>
              </p:spPr>
              <p:txBody>
                <a:bodyPr/>
                <a:lstStyle/>
                <a:p>
                  <a:endParaRPr lang="en-US"/>
                </a:p>
              </p:txBody>
            </p:sp>
            <p:sp>
              <p:nvSpPr>
                <p:cNvPr id="369" name="Line 370"/>
                <p:cNvSpPr>
                  <a:spLocks noChangeShapeType="1"/>
                </p:cNvSpPr>
                <p:nvPr/>
              </p:nvSpPr>
              <p:spPr bwMode="auto">
                <a:xfrm>
                  <a:off x="3583" y="2800"/>
                  <a:ext cx="2" cy="1"/>
                </a:xfrm>
                <a:prstGeom prst="line">
                  <a:avLst/>
                </a:prstGeom>
                <a:grpFill/>
                <a:ln w="9525">
                  <a:solidFill>
                    <a:schemeClr val="tx1"/>
                  </a:solidFill>
                  <a:round/>
                  <a:headEnd/>
                  <a:tailEnd/>
                </a:ln>
                <a:extLst/>
              </p:spPr>
              <p:txBody>
                <a:bodyPr/>
                <a:lstStyle/>
                <a:p>
                  <a:endParaRPr lang="en-US"/>
                </a:p>
              </p:txBody>
            </p:sp>
            <p:sp>
              <p:nvSpPr>
                <p:cNvPr id="370" name="Freeform 371"/>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9525" cmpd="sng">
                  <a:solidFill>
                    <a:schemeClr val="tx1"/>
                  </a:solidFill>
                  <a:prstDash val="solid"/>
                  <a:round/>
                  <a:headEnd/>
                  <a:tailEnd/>
                </a:ln>
              </p:spPr>
              <p:txBody>
                <a:bodyPr/>
                <a:lstStyle/>
                <a:p>
                  <a:endParaRPr lang="en-US"/>
                </a:p>
              </p:txBody>
            </p:sp>
            <p:sp>
              <p:nvSpPr>
                <p:cNvPr id="371" name="Freeform 372"/>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9525" cmpd="sng">
                  <a:solidFill>
                    <a:schemeClr val="tx1"/>
                  </a:solidFill>
                  <a:prstDash val="solid"/>
                  <a:round/>
                  <a:headEnd/>
                  <a:tailEnd/>
                </a:ln>
              </p:spPr>
              <p:txBody>
                <a:bodyPr/>
                <a:lstStyle/>
                <a:p>
                  <a:endParaRPr lang="en-US"/>
                </a:p>
              </p:txBody>
            </p:sp>
            <p:sp>
              <p:nvSpPr>
                <p:cNvPr id="372" name="Freeform 373"/>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chemeClr val="tx1"/>
                  </a:solidFill>
                  <a:prstDash val="solid"/>
                  <a:round/>
                  <a:headEnd/>
                  <a:tailEnd/>
                </a:ln>
              </p:spPr>
              <p:txBody>
                <a:bodyPr/>
                <a:lstStyle/>
                <a:p>
                  <a:endParaRPr lang="en-US"/>
                </a:p>
              </p:txBody>
            </p:sp>
            <p:sp>
              <p:nvSpPr>
                <p:cNvPr id="373" name="Line 374"/>
                <p:cNvSpPr>
                  <a:spLocks noChangeShapeType="1"/>
                </p:cNvSpPr>
                <p:nvPr/>
              </p:nvSpPr>
              <p:spPr bwMode="auto">
                <a:xfrm>
                  <a:off x="3603" y="2773"/>
                  <a:ext cx="1" cy="2"/>
                </a:xfrm>
                <a:prstGeom prst="line">
                  <a:avLst/>
                </a:prstGeom>
                <a:grpFill/>
                <a:ln w="9525">
                  <a:solidFill>
                    <a:schemeClr val="tx1"/>
                  </a:solidFill>
                  <a:round/>
                  <a:headEnd/>
                  <a:tailEnd/>
                </a:ln>
                <a:extLst/>
              </p:spPr>
              <p:txBody>
                <a:bodyPr/>
                <a:lstStyle/>
                <a:p>
                  <a:endParaRPr lang="en-US"/>
                </a:p>
              </p:txBody>
            </p:sp>
            <p:sp>
              <p:nvSpPr>
                <p:cNvPr id="374" name="Freeform 375"/>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9525" cmpd="sng">
                  <a:solidFill>
                    <a:schemeClr val="tx1"/>
                  </a:solidFill>
                  <a:prstDash val="solid"/>
                  <a:round/>
                  <a:headEnd/>
                  <a:tailEnd/>
                </a:ln>
              </p:spPr>
              <p:txBody>
                <a:bodyPr/>
                <a:lstStyle/>
                <a:p>
                  <a:endParaRPr lang="en-US"/>
                </a:p>
              </p:txBody>
            </p:sp>
            <p:sp>
              <p:nvSpPr>
                <p:cNvPr id="375" name="Freeform 376"/>
                <p:cNvSpPr>
                  <a:spLocks/>
                </p:cNvSpPr>
                <p:nvPr/>
              </p:nvSpPr>
              <p:spPr bwMode="auto">
                <a:xfrm>
                  <a:off x="3485" y="2830"/>
                  <a:ext cx="3" cy="4"/>
                </a:xfrm>
                <a:custGeom>
                  <a:avLst/>
                  <a:gdLst>
                    <a:gd name="T0" fmla="*/ 0 w 7"/>
                    <a:gd name="T1" fmla="*/ 0 h 12"/>
                    <a:gd name="T2" fmla="*/ 0 w 7"/>
                    <a:gd name="T3" fmla="*/ 0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9525" cmpd="sng">
                  <a:solidFill>
                    <a:schemeClr val="tx1"/>
                  </a:solidFill>
                  <a:prstDash val="solid"/>
                  <a:round/>
                  <a:headEnd/>
                  <a:tailEnd/>
                </a:ln>
              </p:spPr>
              <p:txBody>
                <a:bodyPr/>
                <a:lstStyle/>
                <a:p>
                  <a:endParaRPr lang="en-US"/>
                </a:p>
              </p:txBody>
            </p:sp>
            <p:sp>
              <p:nvSpPr>
                <p:cNvPr id="376" name="Freeform 377"/>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9525" cmpd="sng">
                  <a:solidFill>
                    <a:schemeClr val="tx1"/>
                  </a:solidFill>
                  <a:prstDash val="solid"/>
                  <a:round/>
                  <a:headEnd/>
                  <a:tailEnd/>
                </a:ln>
              </p:spPr>
              <p:txBody>
                <a:bodyPr/>
                <a:lstStyle/>
                <a:p>
                  <a:endParaRPr lang="en-US"/>
                </a:p>
              </p:txBody>
            </p:sp>
            <p:sp>
              <p:nvSpPr>
                <p:cNvPr id="377" name="Freeform 37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9525" cmpd="sng">
                  <a:solidFill>
                    <a:schemeClr val="tx1"/>
                  </a:solidFill>
                  <a:prstDash val="solid"/>
                  <a:round/>
                  <a:headEnd/>
                  <a:tailEnd/>
                </a:ln>
              </p:spPr>
              <p:txBody>
                <a:bodyPr/>
                <a:lstStyle/>
                <a:p>
                  <a:endParaRPr lang="en-US"/>
                </a:p>
              </p:txBody>
            </p:sp>
            <p:sp>
              <p:nvSpPr>
                <p:cNvPr id="378" name="Freeform 37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chemeClr val="tx1"/>
                  </a:solidFill>
                  <a:prstDash val="solid"/>
                  <a:round/>
                  <a:headEnd/>
                  <a:tailEnd/>
                </a:ln>
              </p:spPr>
              <p:txBody>
                <a:bodyPr/>
                <a:lstStyle/>
                <a:p>
                  <a:endParaRPr lang="en-US"/>
                </a:p>
              </p:txBody>
            </p:sp>
          </p:grpSp>
          <p:sp>
            <p:nvSpPr>
              <p:cNvPr id="379" name="Freeform 380"/>
              <p:cNvSpPr>
                <a:spLocks/>
              </p:cNvSpPr>
              <p:nvPr>
                <p:custDataLst>
                  <p:tags r:id="rId269"/>
                </p:custDataLst>
              </p:nvPr>
            </p:nvSpPr>
            <p:spPr bwMode="auto">
              <a:xfrm>
                <a:off x="4578350" y="3779838"/>
                <a:ext cx="319088" cy="379412"/>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FFFFFF"/>
              </a:solidFill>
              <a:ln w="9525" cmpd="sng">
                <a:solidFill>
                  <a:schemeClr val="tx1"/>
                </a:solidFill>
                <a:prstDash val="solid"/>
                <a:round/>
                <a:headEnd/>
                <a:tailEnd/>
              </a:ln>
            </p:spPr>
            <p:txBody>
              <a:bodyPr/>
              <a:lstStyle/>
              <a:p>
                <a:endParaRPr lang="en-US"/>
              </a:p>
            </p:txBody>
          </p:sp>
          <p:sp>
            <p:nvSpPr>
              <p:cNvPr id="380" name="Freeform 381"/>
              <p:cNvSpPr>
                <a:spLocks/>
              </p:cNvSpPr>
              <p:nvPr>
                <p:custDataLst>
                  <p:tags r:id="rId270"/>
                </p:custDataLst>
              </p:nvPr>
            </p:nvSpPr>
            <p:spPr bwMode="auto">
              <a:xfrm>
                <a:off x="4589463" y="3752850"/>
                <a:ext cx="15875" cy="60325"/>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FFFFFF"/>
              </a:solidFill>
              <a:ln w="9525" cmpd="sng">
                <a:solidFill>
                  <a:schemeClr val="tx1"/>
                </a:solidFill>
                <a:prstDash val="solid"/>
                <a:round/>
                <a:headEnd/>
                <a:tailEnd/>
              </a:ln>
            </p:spPr>
            <p:txBody>
              <a:bodyPr/>
              <a:lstStyle/>
              <a:p>
                <a:endParaRPr lang="en-US"/>
              </a:p>
            </p:txBody>
          </p:sp>
          <p:sp>
            <p:nvSpPr>
              <p:cNvPr id="381" name="Freeform 382"/>
              <p:cNvSpPr>
                <a:spLocks/>
              </p:cNvSpPr>
              <p:nvPr>
                <p:custDataLst>
                  <p:tags r:id="rId271"/>
                </p:custDataLst>
              </p:nvPr>
            </p:nvSpPr>
            <p:spPr bwMode="auto">
              <a:xfrm>
                <a:off x="4691063" y="4295775"/>
                <a:ext cx="396875" cy="398463"/>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504D"/>
              </a:solidFill>
              <a:ln w="9525" cap="flat" cmpd="sng">
                <a:solidFill>
                  <a:schemeClr val="tx1"/>
                </a:solidFill>
                <a:prstDash val="solid"/>
                <a:round/>
                <a:headEnd type="none" w="med" len="med"/>
                <a:tailEnd type="none" w="med" len="med"/>
              </a:ln>
              <a:effectLst/>
            </p:spPr>
            <p:txBody>
              <a:bodyPr/>
              <a:lstStyle/>
              <a:p>
                <a:endParaRPr lang="en-US"/>
              </a:p>
            </p:txBody>
          </p:sp>
          <p:sp>
            <p:nvSpPr>
              <p:cNvPr id="382" name="Freeform 383"/>
              <p:cNvSpPr>
                <a:spLocks/>
              </p:cNvSpPr>
              <p:nvPr>
                <p:custDataLst>
                  <p:tags r:id="rId272"/>
                </p:custDataLst>
              </p:nvPr>
            </p:nvSpPr>
            <p:spPr bwMode="auto">
              <a:xfrm>
                <a:off x="4838700" y="2863850"/>
                <a:ext cx="411163" cy="611188"/>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FFFFFF"/>
              </a:solidFill>
              <a:ln w="9525" cmpd="sng">
                <a:solidFill>
                  <a:schemeClr val="tx1"/>
                </a:solidFill>
                <a:prstDash val="solid"/>
                <a:round/>
                <a:headEnd/>
                <a:tailEnd/>
              </a:ln>
            </p:spPr>
            <p:txBody>
              <a:bodyPr/>
              <a:lstStyle/>
              <a:p>
                <a:endParaRPr lang="en-US"/>
              </a:p>
            </p:txBody>
          </p:sp>
          <p:grpSp>
            <p:nvGrpSpPr>
              <p:cNvPr id="383" name="Group 384"/>
              <p:cNvGrpSpPr>
                <a:grpSpLocks/>
              </p:cNvGrpSpPr>
              <p:nvPr>
                <p:custDataLst>
                  <p:tags r:id="rId273"/>
                </p:custDataLst>
              </p:nvPr>
            </p:nvGrpSpPr>
            <p:grpSpPr bwMode="auto">
              <a:xfrm>
                <a:off x="3622675" y="3065463"/>
                <a:ext cx="80963" cy="82550"/>
                <a:chOff x="2352" y="2343"/>
                <a:chExt cx="65" cy="53"/>
              </a:xfrm>
              <a:solidFill>
                <a:srgbClr val="FFFFFF"/>
              </a:solidFill>
            </p:grpSpPr>
            <p:sp>
              <p:nvSpPr>
                <p:cNvPr id="384" name="Freeform 385"/>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1 w 51"/>
                    <a:gd name="T11" fmla="*/ 0 h 33"/>
                    <a:gd name="T12" fmla="*/ 1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chemeClr val="tx1"/>
                  </a:solidFill>
                  <a:prstDash val="solid"/>
                  <a:round/>
                  <a:headEnd/>
                  <a:tailEnd/>
                </a:ln>
              </p:spPr>
              <p:txBody>
                <a:bodyPr/>
                <a:lstStyle/>
                <a:p>
                  <a:endParaRPr lang="en-US"/>
                </a:p>
              </p:txBody>
            </p:sp>
            <p:sp>
              <p:nvSpPr>
                <p:cNvPr id="385" name="Freeform 386"/>
                <p:cNvSpPr>
                  <a:spLocks/>
                </p:cNvSpPr>
                <p:nvPr/>
              </p:nvSpPr>
              <p:spPr bwMode="auto">
                <a:xfrm>
                  <a:off x="2372" y="2354"/>
                  <a:ext cx="20" cy="7"/>
                </a:xfrm>
                <a:custGeom>
                  <a:avLst/>
                  <a:gdLst>
                    <a:gd name="T0" fmla="*/ 1 w 61"/>
                    <a:gd name="T1" fmla="*/ 0 h 20"/>
                    <a:gd name="T2" fmla="*/ 1 w 61"/>
                    <a:gd name="T3" fmla="*/ 0 h 20"/>
                    <a:gd name="T4" fmla="*/ 0 w 61"/>
                    <a:gd name="T5" fmla="*/ 0 h 20"/>
                    <a:gd name="T6" fmla="*/ 0 w 61"/>
                    <a:gd name="T7" fmla="*/ 0 h 20"/>
                    <a:gd name="T8" fmla="*/ 0 w 61"/>
                    <a:gd name="T9" fmla="*/ 0 h 20"/>
                    <a:gd name="T10" fmla="*/ 0 w 61"/>
                    <a:gd name="T11" fmla="*/ 0 h 20"/>
                    <a:gd name="T12" fmla="*/ 1 w 61"/>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chemeClr val="tx1"/>
                  </a:solidFill>
                  <a:prstDash val="solid"/>
                  <a:round/>
                  <a:headEnd/>
                  <a:tailEnd/>
                </a:ln>
              </p:spPr>
              <p:txBody>
                <a:bodyPr/>
                <a:lstStyle/>
                <a:p>
                  <a:endParaRPr lang="en-US"/>
                </a:p>
              </p:txBody>
            </p:sp>
            <p:sp>
              <p:nvSpPr>
                <p:cNvPr id="386" name="Freeform 387"/>
                <p:cNvSpPr>
                  <a:spLocks/>
                </p:cNvSpPr>
                <p:nvPr/>
              </p:nvSpPr>
              <p:spPr bwMode="auto">
                <a:xfrm>
                  <a:off x="2407" y="2346"/>
                  <a:ext cx="5"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9525" cmpd="sng">
                  <a:solidFill>
                    <a:schemeClr val="tx1"/>
                  </a:solidFill>
                  <a:prstDash val="solid"/>
                  <a:round/>
                  <a:headEnd/>
                  <a:tailEnd/>
                </a:ln>
              </p:spPr>
              <p:txBody>
                <a:bodyPr/>
                <a:lstStyle/>
                <a:p>
                  <a:endParaRPr lang="en-US"/>
                </a:p>
              </p:txBody>
            </p:sp>
            <p:sp>
              <p:nvSpPr>
                <p:cNvPr id="387" name="Freeform 388"/>
                <p:cNvSpPr>
                  <a:spLocks/>
                </p:cNvSpPr>
                <p:nvPr/>
              </p:nvSpPr>
              <p:spPr bwMode="auto">
                <a:xfrm>
                  <a:off x="2406" y="2361"/>
                  <a:ext cx="11" cy="11"/>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chemeClr val="tx1"/>
                  </a:solidFill>
                  <a:prstDash val="solid"/>
                  <a:round/>
                  <a:headEnd/>
                  <a:tailEnd/>
                </a:ln>
              </p:spPr>
              <p:txBody>
                <a:bodyPr/>
                <a:lstStyle/>
                <a:p>
                  <a:endParaRPr lang="en-US"/>
                </a:p>
              </p:txBody>
            </p:sp>
            <p:sp>
              <p:nvSpPr>
                <p:cNvPr id="388" name="Freeform 389"/>
                <p:cNvSpPr>
                  <a:spLocks/>
                </p:cNvSpPr>
                <p:nvPr/>
              </p:nvSpPr>
              <p:spPr bwMode="auto">
                <a:xfrm>
                  <a:off x="2388" y="2378"/>
                  <a:ext cx="16" cy="18"/>
                </a:xfrm>
                <a:custGeom>
                  <a:avLst/>
                  <a:gdLst>
                    <a:gd name="T0" fmla="*/ 0 w 49"/>
                    <a:gd name="T1" fmla="*/ 0 h 54"/>
                    <a:gd name="T2" fmla="*/ 0 w 49"/>
                    <a:gd name="T3" fmla="*/ 0 h 54"/>
                    <a:gd name="T4" fmla="*/ 0 w 49"/>
                    <a:gd name="T5" fmla="*/ 1 h 54"/>
                    <a:gd name="T6" fmla="*/ 0 w 49"/>
                    <a:gd name="T7" fmla="*/ 1 h 54"/>
                    <a:gd name="T8" fmla="*/ 1 w 49"/>
                    <a:gd name="T9" fmla="*/ 1 h 54"/>
                    <a:gd name="T10" fmla="*/ 1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chemeClr val="tx1"/>
                  </a:solidFill>
                  <a:prstDash val="solid"/>
                  <a:round/>
                  <a:headEnd/>
                  <a:tailEnd/>
                </a:ln>
              </p:spPr>
              <p:txBody>
                <a:bodyPr/>
                <a:lstStyle/>
                <a:p>
                  <a:endParaRPr lang="en-US"/>
                </a:p>
              </p:txBody>
            </p:sp>
            <p:sp>
              <p:nvSpPr>
                <p:cNvPr id="389" name="Freeform 390"/>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chemeClr val="tx1"/>
                  </a:solidFill>
                  <a:prstDash val="solid"/>
                  <a:round/>
                  <a:headEnd/>
                  <a:tailEnd/>
                </a:ln>
              </p:spPr>
              <p:txBody>
                <a:bodyPr/>
                <a:lstStyle/>
                <a:p>
                  <a:endParaRPr lang="en-US"/>
                </a:p>
              </p:txBody>
            </p:sp>
          </p:grpSp>
          <p:grpSp>
            <p:nvGrpSpPr>
              <p:cNvPr id="390" name="Group 391"/>
              <p:cNvGrpSpPr>
                <a:grpSpLocks/>
              </p:cNvGrpSpPr>
              <p:nvPr>
                <p:custDataLst>
                  <p:tags r:id="rId274"/>
                </p:custDataLst>
              </p:nvPr>
            </p:nvGrpSpPr>
            <p:grpSpPr bwMode="auto">
              <a:xfrm>
                <a:off x="1468438" y="1125538"/>
                <a:ext cx="1897062" cy="1133475"/>
                <a:chOff x="527" y="1110"/>
                <a:chExt cx="1410" cy="709"/>
              </a:xfrm>
              <a:solidFill>
                <a:srgbClr val="FFFFFF"/>
              </a:solidFill>
            </p:grpSpPr>
            <p:sp>
              <p:nvSpPr>
                <p:cNvPr id="391" name="Freeform 392"/>
                <p:cNvSpPr>
                  <a:spLocks/>
                </p:cNvSpPr>
                <p:nvPr/>
              </p:nvSpPr>
              <p:spPr bwMode="auto">
                <a:xfrm>
                  <a:off x="1401" y="1427"/>
                  <a:ext cx="31" cy="17"/>
                </a:xfrm>
                <a:custGeom>
                  <a:avLst/>
                  <a:gdLst>
                    <a:gd name="T0" fmla="*/ 0 w 98"/>
                    <a:gd name="T1" fmla="*/ 0 h 54"/>
                    <a:gd name="T2" fmla="*/ 0 w 98"/>
                    <a:gd name="T3" fmla="*/ 0 h 54"/>
                    <a:gd name="T4" fmla="*/ 0 w 98"/>
                    <a:gd name="T5" fmla="*/ 1 h 54"/>
                    <a:gd name="T6" fmla="*/ 0 w 98"/>
                    <a:gd name="T7" fmla="*/ 1 h 54"/>
                    <a:gd name="T8" fmla="*/ 0 w 98"/>
                    <a:gd name="T9" fmla="*/ 1 h 54"/>
                    <a:gd name="T10" fmla="*/ 0 w 98"/>
                    <a:gd name="T11" fmla="*/ 1 h 54"/>
                    <a:gd name="T12" fmla="*/ 0 w 98"/>
                    <a:gd name="T13" fmla="*/ 1 h 54"/>
                    <a:gd name="T14" fmla="*/ 1 w 98"/>
                    <a:gd name="T15" fmla="*/ 1 h 54"/>
                    <a:gd name="T16" fmla="*/ 1 w 98"/>
                    <a:gd name="T17" fmla="*/ 1 h 54"/>
                    <a:gd name="T18" fmla="*/ 1 w 98"/>
                    <a:gd name="T19" fmla="*/ 0 h 54"/>
                    <a:gd name="T20" fmla="*/ 1 w 98"/>
                    <a:gd name="T21" fmla="*/ 0 h 54"/>
                    <a:gd name="T22" fmla="*/ 1 w 98"/>
                    <a:gd name="T23" fmla="*/ 0 h 54"/>
                    <a:gd name="T24" fmla="*/ 1 w 98"/>
                    <a:gd name="T25" fmla="*/ 0 h 54"/>
                    <a:gd name="T26" fmla="*/ 1 w 98"/>
                    <a:gd name="T27" fmla="*/ 0 h 54"/>
                    <a:gd name="T28" fmla="*/ 1 w 98"/>
                    <a:gd name="T29" fmla="*/ 0 h 54"/>
                    <a:gd name="T30" fmla="*/ 1 w 98"/>
                    <a:gd name="T31" fmla="*/ 0 h 54"/>
                    <a:gd name="T32" fmla="*/ 1 w 98"/>
                    <a:gd name="T33" fmla="*/ 0 h 54"/>
                    <a:gd name="T34" fmla="*/ 1 w 98"/>
                    <a:gd name="T35" fmla="*/ 0 h 54"/>
                    <a:gd name="T36" fmla="*/ 1 w 98"/>
                    <a:gd name="T37" fmla="*/ 0 h 54"/>
                    <a:gd name="T38" fmla="*/ 1 w 98"/>
                    <a:gd name="T39" fmla="*/ 0 h 54"/>
                    <a:gd name="T40" fmla="*/ 1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2" name="Freeform 393"/>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1 w 67"/>
                    <a:gd name="T11" fmla="*/ 0 h 28"/>
                    <a:gd name="T12" fmla="*/ 1 w 67"/>
                    <a:gd name="T13" fmla="*/ 0 h 28"/>
                    <a:gd name="T14" fmla="*/ 1 w 67"/>
                    <a:gd name="T15" fmla="*/ 0 h 28"/>
                    <a:gd name="T16" fmla="*/ 1 w 67"/>
                    <a:gd name="T17" fmla="*/ 0 h 28"/>
                    <a:gd name="T18" fmla="*/ 1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3" name="Freeform 394"/>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4" name="Freeform 395"/>
                <p:cNvSpPr>
                  <a:spLocks/>
                </p:cNvSpPr>
                <p:nvPr/>
              </p:nvSpPr>
              <p:spPr bwMode="auto">
                <a:xfrm>
                  <a:off x="1279" y="1314"/>
                  <a:ext cx="46" cy="17"/>
                </a:xfrm>
                <a:custGeom>
                  <a:avLst/>
                  <a:gdLst>
                    <a:gd name="T0" fmla="*/ 0 w 146"/>
                    <a:gd name="T1" fmla="*/ 1 h 52"/>
                    <a:gd name="T2" fmla="*/ 0 w 146"/>
                    <a:gd name="T3" fmla="*/ 1 h 52"/>
                    <a:gd name="T4" fmla="*/ 0 w 146"/>
                    <a:gd name="T5" fmla="*/ 1 h 52"/>
                    <a:gd name="T6" fmla="*/ 0 w 146"/>
                    <a:gd name="T7" fmla="*/ 1 h 52"/>
                    <a:gd name="T8" fmla="*/ 0 w 146"/>
                    <a:gd name="T9" fmla="*/ 1 h 52"/>
                    <a:gd name="T10" fmla="*/ 1 w 146"/>
                    <a:gd name="T11" fmla="*/ 1 h 52"/>
                    <a:gd name="T12" fmla="*/ 1 w 146"/>
                    <a:gd name="T13" fmla="*/ 1 h 52"/>
                    <a:gd name="T14" fmla="*/ 1 w 146"/>
                    <a:gd name="T15" fmla="*/ 1 h 52"/>
                    <a:gd name="T16" fmla="*/ 1 w 146"/>
                    <a:gd name="T17" fmla="*/ 1 h 52"/>
                    <a:gd name="T18" fmla="*/ 1 w 146"/>
                    <a:gd name="T19" fmla="*/ 0 h 52"/>
                    <a:gd name="T20" fmla="*/ 1 w 146"/>
                    <a:gd name="T21" fmla="*/ 0 h 52"/>
                    <a:gd name="T22" fmla="*/ 1 w 146"/>
                    <a:gd name="T23" fmla="*/ 0 h 52"/>
                    <a:gd name="T24" fmla="*/ 1 w 146"/>
                    <a:gd name="T25" fmla="*/ 0 h 52"/>
                    <a:gd name="T26" fmla="*/ 1 w 146"/>
                    <a:gd name="T27" fmla="*/ 0 h 52"/>
                    <a:gd name="T28" fmla="*/ 1 w 146"/>
                    <a:gd name="T29" fmla="*/ 0 h 52"/>
                    <a:gd name="T30" fmla="*/ 1 w 146"/>
                    <a:gd name="T31" fmla="*/ 0 h 52"/>
                    <a:gd name="T32" fmla="*/ 1 w 146"/>
                    <a:gd name="T33" fmla="*/ 0 h 52"/>
                    <a:gd name="T34" fmla="*/ 1 w 146"/>
                    <a:gd name="T35" fmla="*/ 0 h 52"/>
                    <a:gd name="T36" fmla="*/ 1 w 146"/>
                    <a:gd name="T37" fmla="*/ 0 h 52"/>
                    <a:gd name="T38" fmla="*/ 1 w 146"/>
                    <a:gd name="T39" fmla="*/ 0 h 52"/>
                    <a:gd name="T40" fmla="*/ 1 w 146"/>
                    <a:gd name="T41" fmla="*/ 0 h 52"/>
                    <a:gd name="T42" fmla="*/ 1 w 146"/>
                    <a:gd name="T43" fmla="*/ 0 h 52"/>
                    <a:gd name="T44" fmla="*/ 1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1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5" name="Freeform 396"/>
                <p:cNvSpPr>
                  <a:spLocks/>
                </p:cNvSpPr>
                <p:nvPr/>
              </p:nvSpPr>
              <p:spPr bwMode="auto">
                <a:xfrm>
                  <a:off x="1261" y="1252"/>
                  <a:ext cx="20" cy="10"/>
                </a:xfrm>
                <a:custGeom>
                  <a:avLst/>
                  <a:gdLst>
                    <a:gd name="T0" fmla="*/ 1 w 60"/>
                    <a:gd name="T1" fmla="*/ 0 h 31"/>
                    <a:gd name="T2" fmla="*/ 1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1 w 60"/>
                    <a:gd name="T43" fmla="*/ 0 h 31"/>
                    <a:gd name="T44" fmla="*/ 1 w 60"/>
                    <a:gd name="T45" fmla="*/ 0 h 31"/>
                    <a:gd name="T46" fmla="*/ 1 w 60"/>
                    <a:gd name="T47" fmla="*/ 0 h 31"/>
                    <a:gd name="T48" fmla="*/ 1 w 60"/>
                    <a:gd name="T49" fmla="*/ 0 h 31"/>
                    <a:gd name="T50" fmla="*/ 1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6" name="Freeform 397"/>
                <p:cNvSpPr>
                  <a:spLocks/>
                </p:cNvSpPr>
                <p:nvPr/>
              </p:nvSpPr>
              <p:spPr bwMode="auto">
                <a:xfrm>
                  <a:off x="1730" y="1713"/>
                  <a:ext cx="26" cy="20"/>
                </a:xfrm>
                <a:custGeom>
                  <a:avLst/>
                  <a:gdLst>
                    <a:gd name="T0" fmla="*/ 0 w 80"/>
                    <a:gd name="T1" fmla="*/ 1 h 62"/>
                    <a:gd name="T2" fmla="*/ 0 w 80"/>
                    <a:gd name="T3" fmla="*/ 1 h 62"/>
                    <a:gd name="T4" fmla="*/ 0 w 80"/>
                    <a:gd name="T5" fmla="*/ 1 h 62"/>
                    <a:gd name="T6" fmla="*/ 0 w 80"/>
                    <a:gd name="T7" fmla="*/ 1 h 62"/>
                    <a:gd name="T8" fmla="*/ 0 w 80"/>
                    <a:gd name="T9" fmla="*/ 1 h 62"/>
                    <a:gd name="T10" fmla="*/ 0 w 80"/>
                    <a:gd name="T11" fmla="*/ 1 h 62"/>
                    <a:gd name="T12" fmla="*/ 0 w 80"/>
                    <a:gd name="T13" fmla="*/ 1 h 62"/>
                    <a:gd name="T14" fmla="*/ 0 w 80"/>
                    <a:gd name="T15" fmla="*/ 1 h 62"/>
                    <a:gd name="T16" fmla="*/ 0 w 80"/>
                    <a:gd name="T17" fmla="*/ 1 h 62"/>
                    <a:gd name="T18" fmla="*/ 1 w 80"/>
                    <a:gd name="T19" fmla="*/ 1 h 62"/>
                    <a:gd name="T20" fmla="*/ 1 w 80"/>
                    <a:gd name="T21" fmla="*/ 1 h 62"/>
                    <a:gd name="T22" fmla="*/ 1 w 80"/>
                    <a:gd name="T23" fmla="*/ 1 h 62"/>
                    <a:gd name="T24" fmla="*/ 1 w 80"/>
                    <a:gd name="T25" fmla="*/ 1 h 62"/>
                    <a:gd name="T26" fmla="*/ 1 w 80"/>
                    <a:gd name="T27" fmla="*/ 1 h 62"/>
                    <a:gd name="T28" fmla="*/ 1 w 80"/>
                    <a:gd name="T29" fmla="*/ 0 h 62"/>
                    <a:gd name="T30" fmla="*/ 1 w 80"/>
                    <a:gd name="T31" fmla="*/ 0 h 62"/>
                    <a:gd name="T32" fmla="*/ 1 w 80"/>
                    <a:gd name="T33" fmla="*/ 0 h 62"/>
                    <a:gd name="T34" fmla="*/ 1 w 80"/>
                    <a:gd name="T35" fmla="*/ 0 h 62"/>
                    <a:gd name="T36" fmla="*/ 1 w 80"/>
                    <a:gd name="T37" fmla="*/ 0 h 62"/>
                    <a:gd name="T38" fmla="*/ 1 w 80"/>
                    <a:gd name="T39" fmla="*/ 0 h 62"/>
                    <a:gd name="T40" fmla="*/ 1 w 80"/>
                    <a:gd name="T41" fmla="*/ 0 h 62"/>
                    <a:gd name="T42" fmla="*/ 1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1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7" name="Freeform 398"/>
                <p:cNvSpPr>
                  <a:spLocks/>
                </p:cNvSpPr>
                <p:nvPr/>
              </p:nvSpPr>
              <p:spPr bwMode="auto">
                <a:xfrm>
                  <a:off x="1583" y="1674"/>
                  <a:ext cx="33" cy="16"/>
                </a:xfrm>
                <a:custGeom>
                  <a:avLst/>
                  <a:gdLst>
                    <a:gd name="T0" fmla="*/ 1 w 106"/>
                    <a:gd name="T1" fmla="*/ 0 h 49"/>
                    <a:gd name="T2" fmla="*/ 1 w 106"/>
                    <a:gd name="T3" fmla="*/ 0 h 49"/>
                    <a:gd name="T4" fmla="*/ 1 w 106"/>
                    <a:gd name="T5" fmla="*/ 0 h 49"/>
                    <a:gd name="T6" fmla="*/ 1 w 106"/>
                    <a:gd name="T7" fmla="*/ 0 h 49"/>
                    <a:gd name="T8" fmla="*/ 1 w 106"/>
                    <a:gd name="T9" fmla="*/ 0 h 49"/>
                    <a:gd name="T10" fmla="*/ 1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1 h 49"/>
                    <a:gd name="T32" fmla="*/ 1 w 106"/>
                    <a:gd name="T33" fmla="*/ 1 h 49"/>
                    <a:gd name="T34" fmla="*/ 1 w 106"/>
                    <a:gd name="T35" fmla="*/ 1 h 49"/>
                    <a:gd name="T36" fmla="*/ 1 w 106"/>
                    <a:gd name="T37" fmla="*/ 1 h 49"/>
                    <a:gd name="T38" fmla="*/ 1 w 106"/>
                    <a:gd name="T39" fmla="*/ 1 h 49"/>
                    <a:gd name="T40" fmla="*/ 1 w 106"/>
                    <a:gd name="T41" fmla="*/ 1 h 49"/>
                    <a:gd name="T42" fmla="*/ 1 w 106"/>
                    <a:gd name="T43" fmla="*/ 0 h 49"/>
                    <a:gd name="T44" fmla="*/ 1 w 106"/>
                    <a:gd name="T45" fmla="*/ 0 h 49"/>
                    <a:gd name="T46" fmla="*/ 1 w 106"/>
                    <a:gd name="T47" fmla="*/ 0 h 49"/>
                    <a:gd name="T48" fmla="*/ 1 w 106"/>
                    <a:gd name="T49" fmla="*/ 0 h 49"/>
                    <a:gd name="T50" fmla="*/ 1 w 106"/>
                    <a:gd name="T51" fmla="*/ 0 h 49"/>
                    <a:gd name="T52" fmla="*/ 1 w 106"/>
                    <a:gd name="T53" fmla="*/ 0 h 49"/>
                    <a:gd name="T54" fmla="*/ 1 w 106"/>
                    <a:gd name="T55" fmla="*/ 0 h 49"/>
                    <a:gd name="T56" fmla="*/ 1 w 106"/>
                    <a:gd name="T57" fmla="*/ 0 h 49"/>
                    <a:gd name="T58" fmla="*/ 1 w 106"/>
                    <a:gd name="T59" fmla="*/ 0 h 49"/>
                    <a:gd name="T60" fmla="*/ 1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8" name="Freeform 399"/>
                <p:cNvSpPr>
                  <a:spLocks/>
                </p:cNvSpPr>
                <p:nvPr/>
              </p:nvSpPr>
              <p:spPr bwMode="auto">
                <a:xfrm>
                  <a:off x="1599" y="1713"/>
                  <a:ext cx="15"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1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9" name="Freeform 400"/>
                <p:cNvSpPr>
                  <a:spLocks/>
                </p:cNvSpPr>
                <p:nvPr/>
              </p:nvSpPr>
              <p:spPr bwMode="auto">
                <a:xfrm>
                  <a:off x="1608" y="1742"/>
                  <a:ext cx="17" cy="11"/>
                </a:xfrm>
                <a:custGeom>
                  <a:avLst/>
                  <a:gdLst>
                    <a:gd name="T0" fmla="*/ 1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1 w 53"/>
                    <a:gd name="T17" fmla="*/ 0 h 32"/>
                    <a:gd name="T18" fmla="*/ 1 w 53"/>
                    <a:gd name="T19" fmla="*/ 0 h 32"/>
                    <a:gd name="T20" fmla="*/ 1 w 53"/>
                    <a:gd name="T21" fmla="*/ 0 h 32"/>
                    <a:gd name="T22" fmla="*/ 1 w 53"/>
                    <a:gd name="T23" fmla="*/ 0 h 32"/>
                    <a:gd name="T24" fmla="*/ 1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0" name="Freeform 401"/>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1" name="Freeform 402"/>
                <p:cNvSpPr>
                  <a:spLocks/>
                </p:cNvSpPr>
                <p:nvPr/>
              </p:nvSpPr>
              <p:spPr bwMode="auto">
                <a:xfrm>
                  <a:off x="1305" y="1224"/>
                  <a:ext cx="16"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1 w 48"/>
                    <a:gd name="T15" fmla="*/ 0 h 25"/>
                    <a:gd name="T16" fmla="*/ 1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2" name="Freeform 403"/>
                <p:cNvSpPr>
                  <a:spLocks/>
                </p:cNvSpPr>
                <p:nvPr/>
              </p:nvSpPr>
              <p:spPr bwMode="auto">
                <a:xfrm>
                  <a:off x="1343" y="1188"/>
                  <a:ext cx="8"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3" name="Freeform 404"/>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1 h 46"/>
                    <a:gd name="T20" fmla="*/ 0 w 113"/>
                    <a:gd name="T21" fmla="*/ 1 h 46"/>
                    <a:gd name="T22" fmla="*/ 0 w 113"/>
                    <a:gd name="T23" fmla="*/ 1 h 46"/>
                    <a:gd name="T24" fmla="*/ 0 w 113"/>
                    <a:gd name="T25" fmla="*/ 1 h 46"/>
                    <a:gd name="T26" fmla="*/ 0 w 113"/>
                    <a:gd name="T27" fmla="*/ 1 h 46"/>
                    <a:gd name="T28" fmla="*/ 0 w 113"/>
                    <a:gd name="T29" fmla="*/ 1 h 46"/>
                    <a:gd name="T30" fmla="*/ 1 w 113"/>
                    <a:gd name="T31" fmla="*/ 1 h 46"/>
                    <a:gd name="T32" fmla="*/ 1 w 113"/>
                    <a:gd name="T33" fmla="*/ 1 h 46"/>
                    <a:gd name="T34" fmla="*/ 1 w 113"/>
                    <a:gd name="T35" fmla="*/ 1 h 46"/>
                    <a:gd name="T36" fmla="*/ 1 w 113"/>
                    <a:gd name="T37" fmla="*/ 1 h 46"/>
                    <a:gd name="T38" fmla="*/ 1 w 113"/>
                    <a:gd name="T39" fmla="*/ 1 h 46"/>
                    <a:gd name="T40" fmla="*/ 1 w 113"/>
                    <a:gd name="T41" fmla="*/ 0 h 46"/>
                    <a:gd name="T42" fmla="*/ 1 w 113"/>
                    <a:gd name="T43" fmla="*/ 0 h 46"/>
                    <a:gd name="T44" fmla="*/ 1 w 113"/>
                    <a:gd name="T45" fmla="*/ 0 h 46"/>
                    <a:gd name="T46" fmla="*/ 1 w 113"/>
                    <a:gd name="T47" fmla="*/ 0 h 46"/>
                    <a:gd name="T48" fmla="*/ 1 w 113"/>
                    <a:gd name="T49" fmla="*/ 0 h 46"/>
                    <a:gd name="T50" fmla="*/ 1 w 113"/>
                    <a:gd name="T51" fmla="*/ 0 h 46"/>
                    <a:gd name="T52" fmla="*/ 1 w 113"/>
                    <a:gd name="T53" fmla="*/ 0 h 46"/>
                    <a:gd name="T54" fmla="*/ 1 w 113"/>
                    <a:gd name="T55" fmla="*/ 0 h 46"/>
                    <a:gd name="T56" fmla="*/ 1 w 113"/>
                    <a:gd name="T57" fmla="*/ 0 h 46"/>
                    <a:gd name="T58" fmla="*/ 1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4" name="Freeform 405"/>
                <p:cNvSpPr>
                  <a:spLocks/>
                </p:cNvSpPr>
                <p:nvPr/>
              </p:nvSpPr>
              <p:spPr bwMode="auto">
                <a:xfrm>
                  <a:off x="1365" y="1201"/>
                  <a:ext cx="49" cy="28"/>
                </a:xfrm>
                <a:custGeom>
                  <a:avLst/>
                  <a:gdLst>
                    <a:gd name="T0" fmla="*/ 0 w 153"/>
                    <a:gd name="T1" fmla="*/ 1 h 82"/>
                    <a:gd name="T2" fmla="*/ 0 w 153"/>
                    <a:gd name="T3" fmla="*/ 1 h 82"/>
                    <a:gd name="T4" fmla="*/ 0 w 153"/>
                    <a:gd name="T5" fmla="*/ 1 h 82"/>
                    <a:gd name="T6" fmla="*/ 0 w 153"/>
                    <a:gd name="T7" fmla="*/ 1 h 82"/>
                    <a:gd name="T8" fmla="*/ 0 w 153"/>
                    <a:gd name="T9" fmla="*/ 1 h 82"/>
                    <a:gd name="T10" fmla="*/ 0 w 153"/>
                    <a:gd name="T11" fmla="*/ 1 h 82"/>
                    <a:gd name="T12" fmla="*/ 0 w 153"/>
                    <a:gd name="T13" fmla="*/ 1 h 82"/>
                    <a:gd name="T14" fmla="*/ 0 w 153"/>
                    <a:gd name="T15" fmla="*/ 1 h 82"/>
                    <a:gd name="T16" fmla="*/ 1 w 153"/>
                    <a:gd name="T17" fmla="*/ 1 h 82"/>
                    <a:gd name="T18" fmla="*/ 1 w 153"/>
                    <a:gd name="T19" fmla="*/ 1 h 82"/>
                    <a:gd name="T20" fmla="*/ 1 w 153"/>
                    <a:gd name="T21" fmla="*/ 1 h 82"/>
                    <a:gd name="T22" fmla="*/ 1 w 153"/>
                    <a:gd name="T23" fmla="*/ 1 h 82"/>
                    <a:gd name="T24" fmla="*/ 1 w 153"/>
                    <a:gd name="T25" fmla="*/ 1 h 82"/>
                    <a:gd name="T26" fmla="*/ 1 w 153"/>
                    <a:gd name="T27" fmla="*/ 1 h 82"/>
                    <a:gd name="T28" fmla="*/ 1 w 153"/>
                    <a:gd name="T29" fmla="*/ 1 h 82"/>
                    <a:gd name="T30" fmla="*/ 1 w 153"/>
                    <a:gd name="T31" fmla="*/ 1 h 82"/>
                    <a:gd name="T32" fmla="*/ 1 w 153"/>
                    <a:gd name="T33" fmla="*/ 0 h 82"/>
                    <a:gd name="T34" fmla="*/ 1 w 153"/>
                    <a:gd name="T35" fmla="*/ 0 h 82"/>
                    <a:gd name="T36" fmla="*/ 2 w 153"/>
                    <a:gd name="T37" fmla="*/ 0 h 82"/>
                    <a:gd name="T38" fmla="*/ 2 w 153"/>
                    <a:gd name="T39" fmla="*/ 0 h 82"/>
                    <a:gd name="T40" fmla="*/ 2 w 153"/>
                    <a:gd name="T41" fmla="*/ 0 h 82"/>
                    <a:gd name="T42" fmla="*/ 1 w 153"/>
                    <a:gd name="T43" fmla="*/ 0 h 82"/>
                    <a:gd name="T44" fmla="*/ 1 w 153"/>
                    <a:gd name="T45" fmla="*/ 0 h 82"/>
                    <a:gd name="T46" fmla="*/ 1 w 153"/>
                    <a:gd name="T47" fmla="*/ 0 h 82"/>
                    <a:gd name="T48" fmla="*/ 1 w 153"/>
                    <a:gd name="T49" fmla="*/ 0 h 82"/>
                    <a:gd name="T50" fmla="*/ 1 w 153"/>
                    <a:gd name="T51" fmla="*/ 0 h 82"/>
                    <a:gd name="T52" fmla="*/ 1 w 153"/>
                    <a:gd name="T53" fmla="*/ 0 h 82"/>
                    <a:gd name="T54" fmla="*/ 1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1 w 153"/>
                    <a:gd name="T77" fmla="*/ 0 h 82"/>
                    <a:gd name="T78" fmla="*/ 0 w 153"/>
                    <a:gd name="T79" fmla="*/ 1 h 82"/>
                    <a:gd name="T80" fmla="*/ 0 w 153"/>
                    <a:gd name="T81" fmla="*/ 1 h 82"/>
                    <a:gd name="T82" fmla="*/ 0 w 153"/>
                    <a:gd name="T83" fmla="*/ 1 h 82"/>
                    <a:gd name="T84" fmla="*/ 0 w 153"/>
                    <a:gd name="T85" fmla="*/ 1 h 82"/>
                    <a:gd name="T86" fmla="*/ 0 w 153"/>
                    <a:gd name="T87" fmla="*/ 1 h 82"/>
                    <a:gd name="T88" fmla="*/ 0 w 153"/>
                    <a:gd name="T89" fmla="*/ 1 h 82"/>
                    <a:gd name="T90" fmla="*/ 0 w 153"/>
                    <a:gd name="T91" fmla="*/ 1 h 82"/>
                    <a:gd name="T92" fmla="*/ 0 w 153"/>
                    <a:gd name="T93" fmla="*/ 1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5" name="Freeform 406"/>
                <p:cNvSpPr>
                  <a:spLocks/>
                </p:cNvSpPr>
                <p:nvPr/>
              </p:nvSpPr>
              <p:spPr bwMode="auto">
                <a:xfrm>
                  <a:off x="1414" y="1217"/>
                  <a:ext cx="29" cy="17"/>
                </a:xfrm>
                <a:custGeom>
                  <a:avLst/>
                  <a:gdLst>
                    <a:gd name="T0" fmla="*/ 0 w 86"/>
                    <a:gd name="T1" fmla="*/ 0 h 50"/>
                    <a:gd name="T2" fmla="*/ 0 w 86"/>
                    <a:gd name="T3" fmla="*/ 1 h 50"/>
                    <a:gd name="T4" fmla="*/ 0 w 86"/>
                    <a:gd name="T5" fmla="*/ 1 h 50"/>
                    <a:gd name="T6" fmla="*/ 0 w 86"/>
                    <a:gd name="T7" fmla="*/ 1 h 50"/>
                    <a:gd name="T8" fmla="*/ 0 w 86"/>
                    <a:gd name="T9" fmla="*/ 1 h 50"/>
                    <a:gd name="T10" fmla="*/ 0 w 86"/>
                    <a:gd name="T11" fmla="*/ 1 h 50"/>
                    <a:gd name="T12" fmla="*/ 1 w 86"/>
                    <a:gd name="T13" fmla="*/ 1 h 50"/>
                    <a:gd name="T14" fmla="*/ 1 w 86"/>
                    <a:gd name="T15" fmla="*/ 1 h 50"/>
                    <a:gd name="T16" fmla="*/ 1 w 86"/>
                    <a:gd name="T17" fmla="*/ 1 h 50"/>
                    <a:gd name="T18" fmla="*/ 1 w 86"/>
                    <a:gd name="T19" fmla="*/ 1 h 50"/>
                    <a:gd name="T20" fmla="*/ 1 w 86"/>
                    <a:gd name="T21" fmla="*/ 1 h 50"/>
                    <a:gd name="T22" fmla="*/ 1 w 86"/>
                    <a:gd name="T23" fmla="*/ 1 h 50"/>
                    <a:gd name="T24" fmla="*/ 1 w 86"/>
                    <a:gd name="T25" fmla="*/ 0 h 50"/>
                    <a:gd name="T26" fmla="*/ 1 w 86"/>
                    <a:gd name="T27" fmla="*/ 0 h 50"/>
                    <a:gd name="T28" fmla="*/ 1 w 86"/>
                    <a:gd name="T29" fmla="*/ 0 h 50"/>
                    <a:gd name="T30" fmla="*/ 1 w 86"/>
                    <a:gd name="T31" fmla="*/ 0 h 50"/>
                    <a:gd name="T32" fmla="*/ 1 w 86"/>
                    <a:gd name="T33" fmla="*/ 0 h 50"/>
                    <a:gd name="T34" fmla="*/ 1 w 86"/>
                    <a:gd name="T35" fmla="*/ 0 h 50"/>
                    <a:gd name="T36" fmla="*/ 1 w 86"/>
                    <a:gd name="T37" fmla="*/ 0 h 50"/>
                    <a:gd name="T38" fmla="*/ 1 w 86"/>
                    <a:gd name="T39" fmla="*/ 0 h 50"/>
                    <a:gd name="T40" fmla="*/ 1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6" name="Freeform 407"/>
                <p:cNvSpPr>
                  <a:spLocks/>
                </p:cNvSpPr>
                <p:nvPr/>
              </p:nvSpPr>
              <p:spPr bwMode="auto">
                <a:xfrm>
                  <a:off x="1379" y="1163"/>
                  <a:ext cx="55" cy="25"/>
                </a:xfrm>
                <a:custGeom>
                  <a:avLst/>
                  <a:gdLst>
                    <a:gd name="T0" fmla="*/ 1 w 172"/>
                    <a:gd name="T1" fmla="*/ 1 h 74"/>
                    <a:gd name="T2" fmla="*/ 1 w 172"/>
                    <a:gd name="T3" fmla="*/ 1 h 74"/>
                    <a:gd name="T4" fmla="*/ 1 w 172"/>
                    <a:gd name="T5" fmla="*/ 1 h 74"/>
                    <a:gd name="T6" fmla="*/ 1 w 172"/>
                    <a:gd name="T7" fmla="*/ 1 h 74"/>
                    <a:gd name="T8" fmla="*/ 1 w 172"/>
                    <a:gd name="T9" fmla="*/ 1 h 74"/>
                    <a:gd name="T10" fmla="*/ 1 w 172"/>
                    <a:gd name="T11" fmla="*/ 1 h 74"/>
                    <a:gd name="T12" fmla="*/ 0 w 172"/>
                    <a:gd name="T13" fmla="*/ 1 h 74"/>
                    <a:gd name="T14" fmla="*/ 0 w 172"/>
                    <a:gd name="T15" fmla="*/ 1 h 74"/>
                    <a:gd name="T16" fmla="*/ 0 w 172"/>
                    <a:gd name="T17" fmla="*/ 1 h 74"/>
                    <a:gd name="T18" fmla="*/ 0 w 172"/>
                    <a:gd name="T19" fmla="*/ 1 h 74"/>
                    <a:gd name="T20" fmla="*/ 0 w 172"/>
                    <a:gd name="T21" fmla="*/ 1 h 74"/>
                    <a:gd name="T22" fmla="*/ 0 w 172"/>
                    <a:gd name="T23" fmla="*/ 1 h 74"/>
                    <a:gd name="T24" fmla="*/ 0 w 172"/>
                    <a:gd name="T25" fmla="*/ 1 h 74"/>
                    <a:gd name="T26" fmla="*/ 0 w 172"/>
                    <a:gd name="T27" fmla="*/ 1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1 w 172"/>
                    <a:gd name="T53" fmla="*/ 0 h 74"/>
                    <a:gd name="T54" fmla="*/ 1 w 172"/>
                    <a:gd name="T55" fmla="*/ 0 h 74"/>
                    <a:gd name="T56" fmla="*/ 1 w 172"/>
                    <a:gd name="T57" fmla="*/ 0 h 74"/>
                    <a:gd name="T58" fmla="*/ 1 w 172"/>
                    <a:gd name="T59" fmla="*/ 0 h 74"/>
                    <a:gd name="T60" fmla="*/ 1 w 172"/>
                    <a:gd name="T61" fmla="*/ 0 h 74"/>
                    <a:gd name="T62" fmla="*/ 1 w 172"/>
                    <a:gd name="T63" fmla="*/ 0 h 74"/>
                    <a:gd name="T64" fmla="*/ 1 w 172"/>
                    <a:gd name="T65" fmla="*/ 0 h 74"/>
                    <a:gd name="T66" fmla="*/ 1 w 172"/>
                    <a:gd name="T67" fmla="*/ 0 h 74"/>
                    <a:gd name="T68" fmla="*/ 2 w 172"/>
                    <a:gd name="T69" fmla="*/ 0 h 74"/>
                    <a:gd name="T70" fmla="*/ 2 w 172"/>
                    <a:gd name="T71" fmla="*/ 0 h 74"/>
                    <a:gd name="T72" fmla="*/ 2 w 172"/>
                    <a:gd name="T73" fmla="*/ 0 h 74"/>
                    <a:gd name="T74" fmla="*/ 2 w 172"/>
                    <a:gd name="T75" fmla="*/ 1 h 74"/>
                    <a:gd name="T76" fmla="*/ 2 w 172"/>
                    <a:gd name="T77" fmla="*/ 1 h 74"/>
                    <a:gd name="T78" fmla="*/ 2 w 172"/>
                    <a:gd name="T79" fmla="*/ 1 h 74"/>
                    <a:gd name="T80" fmla="*/ 2 w 172"/>
                    <a:gd name="T81" fmla="*/ 1 h 74"/>
                    <a:gd name="T82" fmla="*/ 2 w 172"/>
                    <a:gd name="T83" fmla="*/ 1 h 74"/>
                    <a:gd name="T84" fmla="*/ 2 w 172"/>
                    <a:gd name="T85" fmla="*/ 1 h 74"/>
                    <a:gd name="T86" fmla="*/ 2 w 172"/>
                    <a:gd name="T87" fmla="*/ 1 h 74"/>
                    <a:gd name="T88" fmla="*/ 2 w 172"/>
                    <a:gd name="T89" fmla="*/ 1 h 74"/>
                    <a:gd name="T90" fmla="*/ 1 w 172"/>
                    <a:gd name="T91" fmla="*/ 1 h 74"/>
                    <a:gd name="T92" fmla="*/ 1 w 172"/>
                    <a:gd name="T93" fmla="*/ 1 h 74"/>
                    <a:gd name="T94" fmla="*/ 1 w 172"/>
                    <a:gd name="T95" fmla="*/ 1 h 74"/>
                    <a:gd name="T96" fmla="*/ 1 w 172"/>
                    <a:gd name="T97" fmla="*/ 1 h 74"/>
                    <a:gd name="T98" fmla="*/ 1 w 172"/>
                    <a:gd name="T99" fmla="*/ 1 h 74"/>
                    <a:gd name="T100" fmla="*/ 1 w 172"/>
                    <a:gd name="T101" fmla="*/ 1 h 74"/>
                    <a:gd name="T102" fmla="*/ 1 w 172"/>
                    <a:gd name="T103" fmla="*/ 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7" name="Freeform 408"/>
                <p:cNvSpPr>
                  <a:spLocks/>
                </p:cNvSpPr>
                <p:nvPr/>
              </p:nvSpPr>
              <p:spPr bwMode="auto">
                <a:xfrm>
                  <a:off x="1450" y="1171"/>
                  <a:ext cx="38" cy="17"/>
                </a:xfrm>
                <a:custGeom>
                  <a:avLst/>
                  <a:gdLst>
                    <a:gd name="T0" fmla="*/ 0 w 120"/>
                    <a:gd name="T1" fmla="*/ 1 h 49"/>
                    <a:gd name="T2" fmla="*/ 1 w 120"/>
                    <a:gd name="T3" fmla="*/ 1 h 49"/>
                    <a:gd name="T4" fmla="*/ 1 w 120"/>
                    <a:gd name="T5" fmla="*/ 1 h 49"/>
                    <a:gd name="T6" fmla="*/ 1 w 120"/>
                    <a:gd name="T7" fmla="*/ 1 h 49"/>
                    <a:gd name="T8" fmla="*/ 1 w 120"/>
                    <a:gd name="T9" fmla="*/ 1 h 49"/>
                    <a:gd name="T10" fmla="*/ 1 w 120"/>
                    <a:gd name="T11" fmla="*/ 1 h 49"/>
                    <a:gd name="T12" fmla="*/ 1 w 120"/>
                    <a:gd name="T13" fmla="*/ 1 h 49"/>
                    <a:gd name="T14" fmla="*/ 1 w 120"/>
                    <a:gd name="T15" fmla="*/ 0 h 49"/>
                    <a:gd name="T16" fmla="*/ 1 w 120"/>
                    <a:gd name="T17" fmla="*/ 0 h 49"/>
                    <a:gd name="T18" fmla="*/ 1 w 120"/>
                    <a:gd name="T19" fmla="*/ 0 h 49"/>
                    <a:gd name="T20" fmla="*/ 1 w 120"/>
                    <a:gd name="T21" fmla="*/ 0 h 49"/>
                    <a:gd name="T22" fmla="*/ 1 w 120"/>
                    <a:gd name="T23" fmla="*/ 0 h 49"/>
                    <a:gd name="T24" fmla="*/ 1 w 120"/>
                    <a:gd name="T25" fmla="*/ 0 h 49"/>
                    <a:gd name="T26" fmla="*/ 1 w 120"/>
                    <a:gd name="T27" fmla="*/ 0 h 49"/>
                    <a:gd name="T28" fmla="*/ 1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1 h 49"/>
                    <a:gd name="T44" fmla="*/ 0 w 120"/>
                    <a:gd name="T45" fmla="*/ 1 h 49"/>
                    <a:gd name="T46" fmla="*/ 0 w 120"/>
                    <a:gd name="T47" fmla="*/ 1 h 49"/>
                    <a:gd name="T48" fmla="*/ 0 w 120"/>
                    <a:gd name="T49" fmla="*/ 1 h 49"/>
                    <a:gd name="T50" fmla="*/ 0 w 120"/>
                    <a:gd name="T51" fmla="*/ 1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8" name="Freeform 409"/>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1 h 61"/>
                    <a:gd name="T24" fmla="*/ 0 w 85"/>
                    <a:gd name="T25" fmla="*/ 1 h 61"/>
                    <a:gd name="T26" fmla="*/ 0 w 85"/>
                    <a:gd name="T27" fmla="*/ 1 h 61"/>
                    <a:gd name="T28" fmla="*/ 0 w 85"/>
                    <a:gd name="T29" fmla="*/ 1 h 61"/>
                    <a:gd name="T30" fmla="*/ 0 w 85"/>
                    <a:gd name="T31" fmla="*/ 1 h 61"/>
                    <a:gd name="T32" fmla="*/ 1 w 85"/>
                    <a:gd name="T33" fmla="*/ 1 h 61"/>
                    <a:gd name="T34" fmla="*/ 1 w 85"/>
                    <a:gd name="T35" fmla="*/ 1 h 61"/>
                    <a:gd name="T36" fmla="*/ 1 w 85"/>
                    <a:gd name="T37" fmla="*/ 1 h 61"/>
                    <a:gd name="T38" fmla="*/ 1 w 85"/>
                    <a:gd name="T39" fmla="*/ 1 h 61"/>
                    <a:gd name="T40" fmla="*/ 1 w 85"/>
                    <a:gd name="T41" fmla="*/ 1 h 61"/>
                    <a:gd name="T42" fmla="*/ 1 w 85"/>
                    <a:gd name="T43" fmla="*/ 1 h 61"/>
                    <a:gd name="T44" fmla="*/ 1 w 85"/>
                    <a:gd name="T45" fmla="*/ 1 h 61"/>
                    <a:gd name="T46" fmla="*/ 1 w 85"/>
                    <a:gd name="T47" fmla="*/ 0 h 61"/>
                    <a:gd name="T48" fmla="*/ 1 w 85"/>
                    <a:gd name="T49" fmla="*/ 0 h 61"/>
                    <a:gd name="T50" fmla="*/ 1 w 85"/>
                    <a:gd name="T51" fmla="*/ 0 h 61"/>
                    <a:gd name="T52" fmla="*/ 1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9" name="Freeform 410"/>
                <p:cNvSpPr>
                  <a:spLocks/>
                </p:cNvSpPr>
                <p:nvPr/>
              </p:nvSpPr>
              <p:spPr bwMode="auto">
                <a:xfrm>
                  <a:off x="1254" y="1188"/>
                  <a:ext cx="31"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1 w 100"/>
                    <a:gd name="T11" fmla="*/ 0 h 19"/>
                    <a:gd name="T12" fmla="*/ 1 w 100"/>
                    <a:gd name="T13" fmla="*/ 0 h 19"/>
                    <a:gd name="T14" fmla="*/ 1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0" name="Freeform 411"/>
                <p:cNvSpPr>
                  <a:spLocks/>
                </p:cNvSpPr>
                <p:nvPr/>
              </p:nvSpPr>
              <p:spPr bwMode="auto">
                <a:xfrm>
                  <a:off x="1272" y="1168"/>
                  <a:ext cx="53" cy="15"/>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1 h 45"/>
                    <a:gd name="T14" fmla="*/ 1 w 166"/>
                    <a:gd name="T15" fmla="*/ 1 h 45"/>
                    <a:gd name="T16" fmla="*/ 1 w 166"/>
                    <a:gd name="T17" fmla="*/ 1 h 45"/>
                    <a:gd name="T18" fmla="*/ 2 w 166"/>
                    <a:gd name="T19" fmla="*/ 0 h 45"/>
                    <a:gd name="T20" fmla="*/ 2 w 166"/>
                    <a:gd name="T21" fmla="*/ 0 h 45"/>
                    <a:gd name="T22" fmla="*/ 1 w 166"/>
                    <a:gd name="T23" fmla="*/ 0 h 45"/>
                    <a:gd name="T24" fmla="*/ 1 w 166"/>
                    <a:gd name="T25" fmla="*/ 0 h 45"/>
                    <a:gd name="T26" fmla="*/ 1 w 166"/>
                    <a:gd name="T27" fmla="*/ 0 h 45"/>
                    <a:gd name="T28" fmla="*/ 1 w 166"/>
                    <a:gd name="T29" fmla="*/ 0 h 45"/>
                    <a:gd name="T30" fmla="*/ 1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1" name="Freeform 412"/>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2" name="Freeform 413"/>
                <p:cNvSpPr>
                  <a:spLocks/>
                </p:cNvSpPr>
                <p:nvPr/>
              </p:nvSpPr>
              <p:spPr bwMode="auto">
                <a:xfrm>
                  <a:off x="1605" y="1729"/>
                  <a:ext cx="16" cy="20"/>
                </a:xfrm>
                <a:custGeom>
                  <a:avLst/>
                  <a:gdLst>
                    <a:gd name="T0" fmla="*/ 0 w 48"/>
                    <a:gd name="T1" fmla="*/ 1 h 62"/>
                    <a:gd name="T2" fmla="*/ 0 w 48"/>
                    <a:gd name="T3" fmla="*/ 1 h 62"/>
                    <a:gd name="T4" fmla="*/ 0 w 48"/>
                    <a:gd name="T5" fmla="*/ 1 h 62"/>
                    <a:gd name="T6" fmla="*/ 0 w 48"/>
                    <a:gd name="T7" fmla="*/ 1 h 62"/>
                    <a:gd name="T8" fmla="*/ 0 w 48"/>
                    <a:gd name="T9" fmla="*/ 0 h 62"/>
                    <a:gd name="T10" fmla="*/ 1 w 48"/>
                    <a:gd name="T11" fmla="*/ 0 h 62"/>
                    <a:gd name="T12" fmla="*/ 1 w 48"/>
                    <a:gd name="T13" fmla="*/ 0 h 62"/>
                    <a:gd name="T14" fmla="*/ 1 w 48"/>
                    <a:gd name="T15" fmla="*/ 0 h 62"/>
                    <a:gd name="T16" fmla="*/ 1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1 h 62"/>
                    <a:gd name="T38" fmla="*/ 0 w 48"/>
                    <a:gd name="T39" fmla="*/ 1 h 62"/>
                    <a:gd name="T40" fmla="*/ 0 w 48"/>
                    <a:gd name="T41" fmla="*/ 1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3" name="Freeform 414"/>
                <p:cNvSpPr>
                  <a:spLocks/>
                </p:cNvSpPr>
                <p:nvPr/>
              </p:nvSpPr>
              <p:spPr bwMode="auto">
                <a:xfrm>
                  <a:off x="1554" y="1729"/>
                  <a:ext cx="36" cy="20"/>
                </a:xfrm>
                <a:custGeom>
                  <a:avLst/>
                  <a:gdLst>
                    <a:gd name="T0" fmla="*/ 1 w 113"/>
                    <a:gd name="T1" fmla="*/ 0 h 62"/>
                    <a:gd name="T2" fmla="*/ 0 w 113"/>
                    <a:gd name="T3" fmla="*/ 0 h 62"/>
                    <a:gd name="T4" fmla="*/ 0 w 113"/>
                    <a:gd name="T5" fmla="*/ 0 h 62"/>
                    <a:gd name="T6" fmla="*/ 0 w 113"/>
                    <a:gd name="T7" fmla="*/ 0 h 62"/>
                    <a:gd name="T8" fmla="*/ 0 w 113"/>
                    <a:gd name="T9" fmla="*/ 0 h 62"/>
                    <a:gd name="T10" fmla="*/ 0 w 113"/>
                    <a:gd name="T11" fmla="*/ 1 h 62"/>
                    <a:gd name="T12" fmla="*/ 0 w 113"/>
                    <a:gd name="T13" fmla="*/ 1 h 62"/>
                    <a:gd name="T14" fmla="*/ 1 w 113"/>
                    <a:gd name="T15" fmla="*/ 1 h 62"/>
                    <a:gd name="T16" fmla="*/ 1 w 113"/>
                    <a:gd name="T17" fmla="*/ 1 h 62"/>
                    <a:gd name="T18" fmla="*/ 1 w 113"/>
                    <a:gd name="T19" fmla="*/ 1 h 62"/>
                    <a:gd name="T20" fmla="*/ 1 w 113"/>
                    <a:gd name="T21" fmla="*/ 1 h 62"/>
                    <a:gd name="T22" fmla="*/ 1 w 113"/>
                    <a:gd name="T23" fmla="*/ 1 h 62"/>
                    <a:gd name="T24" fmla="*/ 1 w 113"/>
                    <a:gd name="T25" fmla="*/ 1 h 62"/>
                    <a:gd name="T26" fmla="*/ 1 w 113"/>
                    <a:gd name="T27" fmla="*/ 1 h 62"/>
                    <a:gd name="T28" fmla="*/ 1 w 113"/>
                    <a:gd name="T29" fmla="*/ 1 h 62"/>
                    <a:gd name="T30" fmla="*/ 1 w 113"/>
                    <a:gd name="T31" fmla="*/ 1 h 62"/>
                    <a:gd name="T32" fmla="*/ 1 w 113"/>
                    <a:gd name="T33" fmla="*/ 1 h 62"/>
                    <a:gd name="T34" fmla="*/ 1 w 113"/>
                    <a:gd name="T35" fmla="*/ 0 h 62"/>
                    <a:gd name="T36" fmla="*/ 1 w 113"/>
                    <a:gd name="T37" fmla="*/ 0 h 62"/>
                    <a:gd name="T38" fmla="*/ 1 w 113"/>
                    <a:gd name="T39" fmla="*/ 0 h 62"/>
                    <a:gd name="T40" fmla="*/ 1 w 113"/>
                    <a:gd name="T41" fmla="*/ 0 h 62"/>
                    <a:gd name="T42" fmla="*/ 1 w 113"/>
                    <a:gd name="T43" fmla="*/ 0 h 62"/>
                    <a:gd name="T44" fmla="*/ 1 w 113"/>
                    <a:gd name="T45" fmla="*/ 0 h 62"/>
                    <a:gd name="T46" fmla="*/ 1 w 113"/>
                    <a:gd name="T47" fmla="*/ 0 h 62"/>
                    <a:gd name="T48" fmla="*/ 1 w 113"/>
                    <a:gd name="T49" fmla="*/ 0 h 62"/>
                    <a:gd name="T50" fmla="*/ 1 w 113"/>
                    <a:gd name="T51" fmla="*/ 0 h 62"/>
                    <a:gd name="T52" fmla="*/ 1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4" name="Freeform 415"/>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1 w 93"/>
                    <a:gd name="T9" fmla="*/ 0 h 50"/>
                    <a:gd name="T10" fmla="*/ 1 w 93"/>
                    <a:gd name="T11" fmla="*/ 0 h 50"/>
                    <a:gd name="T12" fmla="*/ 1 w 93"/>
                    <a:gd name="T13" fmla="*/ 0 h 50"/>
                    <a:gd name="T14" fmla="*/ 1 w 93"/>
                    <a:gd name="T15" fmla="*/ 0 h 50"/>
                    <a:gd name="T16" fmla="*/ 1 w 93"/>
                    <a:gd name="T17" fmla="*/ 0 h 50"/>
                    <a:gd name="T18" fmla="*/ 1 w 93"/>
                    <a:gd name="T19" fmla="*/ 0 h 50"/>
                    <a:gd name="T20" fmla="*/ 1 w 93"/>
                    <a:gd name="T21" fmla="*/ 0 h 50"/>
                    <a:gd name="T22" fmla="*/ 1 w 93"/>
                    <a:gd name="T23" fmla="*/ 0 h 50"/>
                    <a:gd name="T24" fmla="*/ 1 w 93"/>
                    <a:gd name="T25" fmla="*/ 0 h 50"/>
                    <a:gd name="T26" fmla="*/ 1 w 93"/>
                    <a:gd name="T27" fmla="*/ 0 h 50"/>
                    <a:gd name="T28" fmla="*/ 1 w 93"/>
                    <a:gd name="T29" fmla="*/ 0 h 50"/>
                    <a:gd name="T30" fmla="*/ 1 w 93"/>
                    <a:gd name="T31" fmla="*/ 0 h 50"/>
                    <a:gd name="T32" fmla="*/ 1 w 93"/>
                    <a:gd name="T33" fmla="*/ 0 h 50"/>
                    <a:gd name="T34" fmla="*/ 0 w 93"/>
                    <a:gd name="T35" fmla="*/ 0 h 50"/>
                    <a:gd name="T36" fmla="*/ 0 w 93"/>
                    <a:gd name="T37" fmla="*/ 1 h 50"/>
                    <a:gd name="T38" fmla="*/ 0 w 93"/>
                    <a:gd name="T39" fmla="*/ 1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5" name="Freeform 416"/>
                <p:cNvSpPr>
                  <a:spLocks/>
                </p:cNvSpPr>
                <p:nvPr/>
              </p:nvSpPr>
              <p:spPr bwMode="auto">
                <a:xfrm>
                  <a:off x="1436" y="1246"/>
                  <a:ext cx="331" cy="198"/>
                </a:xfrm>
                <a:custGeom>
                  <a:avLst/>
                  <a:gdLst>
                    <a:gd name="T0" fmla="*/ 0 w 1029"/>
                    <a:gd name="T1" fmla="*/ 1 h 604"/>
                    <a:gd name="T2" fmla="*/ 1 w 1029"/>
                    <a:gd name="T3" fmla="*/ 1 h 604"/>
                    <a:gd name="T4" fmla="*/ 3 w 1029"/>
                    <a:gd name="T5" fmla="*/ 0 h 604"/>
                    <a:gd name="T6" fmla="*/ 2 w 1029"/>
                    <a:gd name="T7" fmla="*/ 1 h 604"/>
                    <a:gd name="T8" fmla="*/ 2 w 1029"/>
                    <a:gd name="T9" fmla="*/ 1 h 604"/>
                    <a:gd name="T10" fmla="*/ 3 w 1029"/>
                    <a:gd name="T11" fmla="*/ 1 h 604"/>
                    <a:gd name="T12" fmla="*/ 4 w 1029"/>
                    <a:gd name="T13" fmla="*/ 0 h 604"/>
                    <a:gd name="T14" fmla="*/ 5 w 1029"/>
                    <a:gd name="T15" fmla="*/ 0 h 604"/>
                    <a:gd name="T16" fmla="*/ 5 w 1029"/>
                    <a:gd name="T17" fmla="*/ 1 h 604"/>
                    <a:gd name="T18" fmla="*/ 6 w 1029"/>
                    <a:gd name="T19" fmla="*/ 1 h 604"/>
                    <a:gd name="T20" fmla="*/ 7 w 1029"/>
                    <a:gd name="T21" fmla="*/ 1 h 604"/>
                    <a:gd name="T22" fmla="*/ 8 w 1029"/>
                    <a:gd name="T23" fmla="*/ 1 h 604"/>
                    <a:gd name="T24" fmla="*/ 8 w 1029"/>
                    <a:gd name="T25" fmla="*/ 2 h 604"/>
                    <a:gd name="T26" fmla="*/ 8 w 1029"/>
                    <a:gd name="T27" fmla="*/ 2 h 604"/>
                    <a:gd name="T28" fmla="*/ 9 w 1029"/>
                    <a:gd name="T29" fmla="*/ 2 h 604"/>
                    <a:gd name="T30" fmla="*/ 9 w 1029"/>
                    <a:gd name="T31" fmla="*/ 2 h 604"/>
                    <a:gd name="T32" fmla="*/ 9 w 1029"/>
                    <a:gd name="T33" fmla="*/ 3 h 604"/>
                    <a:gd name="T34" fmla="*/ 8 w 1029"/>
                    <a:gd name="T35" fmla="*/ 3 h 604"/>
                    <a:gd name="T36" fmla="*/ 9 w 1029"/>
                    <a:gd name="T37" fmla="*/ 3 h 604"/>
                    <a:gd name="T38" fmla="*/ 10 w 1029"/>
                    <a:gd name="T39" fmla="*/ 4 h 604"/>
                    <a:gd name="T40" fmla="*/ 10 w 1029"/>
                    <a:gd name="T41" fmla="*/ 4 h 604"/>
                    <a:gd name="T42" fmla="*/ 11 w 1029"/>
                    <a:gd name="T43" fmla="*/ 4 h 604"/>
                    <a:gd name="T44" fmla="*/ 10 w 1029"/>
                    <a:gd name="T45" fmla="*/ 5 h 604"/>
                    <a:gd name="T46" fmla="*/ 10 w 1029"/>
                    <a:gd name="T47" fmla="*/ 5 h 604"/>
                    <a:gd name="T48" fmla="*/ 9 w 1029"/>
                    <a:gd name="T49" fmla="*/ 5 h 604"/>
                    <a:gd name="T50" fmla="*/ 9 w 1029"/>
                    <a:gd name="T51" fmla="*/ 5 h 604"/>
                    <a:gd name="T52" fmla="*/ 9 w 1029"/>
                    <a:gd name="T53" fmla="*/ 5 h 604"/>
                    <a:gd name="T54" fmla="*/ 8 w 1029"/>
                    <a:gd name="T55" fmla="*/ 4 h 604"/>
                    <a:gd name="T56" fmla="*/ 8 w 1029"/>
                    <a:gd name="T57" fmla="*/ 4 h 604"/>
                    <a:gd name="T58" fmla="*/ 8 w 1029"/>
                    <a:gd name="T59" fmla="*/ 5 h 604"/>
                    <a:gd name="T60" fmla="*/ 8 w 1029"/>
                    <a:gd name="T61" fmla="*/ 5 h 604"/>
                    <a:gd name="T62" fmla="*/ 8 w 1029"/>
                    <a:gd name="T63" fmla="*/ 6 h 604"/>
                    <a:gd name="T64" fmla="*/ 8 w 1029"/>
                    <a:gd name="T65" fmla="*/ 6 h 604"/>
                    <a:gd name="T66" fmla="*/ 7 w 1029"/>
                    <a:gd name="T67" fmla="*/ 7 h 604"/>
                    <a:gd name="T68" fmla="*/ 7 w 1029"/>
                    <a:gd name="T69" fmla="*/ 6 h 604"/>
                    <a:gd name="T70" fmla="*/ 7 w 1029"/>
                    <a:gd name="T71" fmla="*/ 7 h 604"/>
                    <a:gd name="T72" fmla="*/ 7 w 1029"/>
                    <a:gd name="T73" fmla="*/ 7 h 604"/>
                    <a:gd name="T74" fmla="*/ 5 w 1029"/>
                    <a:gd name="T75" fmla="*/ 7 h 604"/>
                    <a:gd name="T76" fmla="*/ 5 w 1029"/>
                    <a:gd name="T77" fmla="*/ 6 h 604"/>
                    <a:gd name="T78" fmla="*/ 5 w 1029"/>
                    <a:gd name="T79" fmla="*/ 6 h 604"/>
                    <a:gd name="T80" fmla="*/ 4 w 1029"/>
                    <a:gd name="T81" fmla="*/ 5 h 604"/>
                    <a:gd name="T82" fmla="*/ 4 w 1029"/>
                    <a:gd name="T83" fmla="*/ 5 h 604"/>
                    <a:gd name="T84" fmla="*/ 5 w 1029"/>
                    <a:gd name="T85" fmla="*/ 5 h 604"/>
                    <a:gd name="T86" fmla="*/ 5 w 1029"/>
                    <a:gd name="T87" fmla="*/ 4 h 604"/>
                    <a:gd name="T88" fmla="*/ 6 w 1029"/>
                    <a:gd name="T89" fmla="*/ 4 h 604"/>
                    <a:gd name="T90" fmla="*/ 7 w 1029"/>
                    <a:gd name="T91" fmla="*/ 5 h 604"/>
                    <a:gd name="T92" fmla="*/ 7 w 1029"/>
                    <a:gd name="T93" fmla="*/ 5 h 604"/>
                    <a:gd name="T94" fmla="*/ 6 w 1029"/>
                    <a:gd name="T95" fmla="*/ 4 h 604"/>
                    <a:gd name="T96" fmla="*/ 6 w 1029"/>
                    <a:gd name="T97" fmla="*/ 4 h 604"/>
                    <a:gd name="T98" fmla="*/ 6 w 1029"/>
                    <a:gd name="T99" fmla="*/ 4 h 604"/>
                    <a:gd name="T100" fmla="*/ 6 w 1029"/>
                    <a:gd name="T101" fmla="*/ 4 h 604"/>
                    <a:gd name="T102" fmla="*/ 6 w 1029"/>
                    <a:gd name="T103" fmla="*/ 3 h 604"/>
                    <a:gd name="T104" fmla="*/ 5 w 1029"/>
                    <a:gd name="T105" fmla="*/ 3 h 604"/>
                    <a:gd name="T106" fmla="*/ 5 w 1029"/>
                    <a:gd name="T107" fmla="*/ 2 h 604"/>
                    <a:gd name="T108" fmla="*/ 5 w 1029"/>
                    <a:gd name="T109" fmla="*/ 2 h 604"/>
                    <a:gd name="T110" fmla="*/ 5 w 1029"/>
                    <a:gd name="T111" fmla="*/ 2 h 604"/>
                    <a:gd name="T112" fmla="*/ 4 w 1029"/>
                    <a:gd name="T113" fmla="*/ 2 h 604"/>
                    <a:gd name="T114" fmla="*/ 2 w 1029"/>
                    <a:gd name="T115" fmla="*/ 2 h 604"/>
                    <a:gd name="T116" fmla="*/ 1 w 1029"/>
                    <a:gd name="T117" fmla="*/ 2 h 604"/>
                    <a:gd name="T118" fmla="*/ 1 w 1029"/>
                    <a:gd name="T119" fmla="*/ 2 h 604"/>
                    <a:gd name="T120" fmla="*/ 0 w 1029"/>
                    <a:gd name="T121" fmla="*/ 2 h 604"/>
                    <a:gd name="T122" fmla="*/ 0 w 1029"/>
                    <a:gd name="T123" fmla="*/ 2 h 604"/>
                    <a:gd name="T124" fmla="*/ 1 w 1029"/>
                    <a:gd name="T125" fmla="*/ 2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6" name="Freeform 417"/>
                <p:cNvSpPr>
                  <a:spLocks/>
                </p:cNvSpPr>
                <p:nvPr/>
              </p:nvSpPr>
              <p:spPr bwMode="auto">
                <a:xfrm>
                  <a:off x="1528" y="1110"/>
                  <a:ext cx="409" cy="105"/>
                </a:xfrm>
                <a:custGeom>
                  <a:avLst/>
                  <a:gdLst>
                    <a:gd name="T0" fmla="*/ 9 w 1268"/>
                    <a:gd name="T1" fmla="*/ 0 h 321"/>
                    <a:gd name="T2" fmla="*/ 9 w 1268"/>
                    <a:gd name="T3" fmla="*/ 0 h 321"/>
                    <a:gd name="T4" fmla="*/ 9 w 1268"/>
                    <a:gd name="T5" fmla="*/ 0 h 321"/>
                    <a:gd name="T6" fmla="*/ 9 w 1268"/>
                    <a:gd name="T7" fmla="*/ 0 h 321"/>
                    <a:gd name="T8" fmla="*/ 10 w 1268"/>
                    <a:gd name="T9" fmla="*/ 0 h 321"/>
                    <a:gd name="T10" fmla="*/ 11 w 1268"/>
                    <a:gd name="T11" fmla="*/ 0 h 321"/>
                    <a:gd name="T12" fmla="*/ 12 w 1268"/>
                    <a:gd name="T13" fmla="*/ 0 h 321"/>
                    <a:gd name="T14" fmla="*/ 12 w 1268"/>
                    <a:gd name="T15" fmla="*/ 0 h 321"/>
                    <a:gd name="T16" fmla="*/ 14 w 1268"/>
                    <a:gd name="T17" fmla="*/ 0 h 321"/>
                    <a:gd name="T18" fmla="*/ 14 w 1268"/>
                    <a:gd name="T19" fmla="*/ 1 h 321"/>
                    <a:gd name="T20" fmla="*/ 13 w 1268"/>
                    <a:gd name="T21" fmla="*/ 1 h 321"/>
                    <a:gd name="T22" fmla="*/ 11 w 1268"/>
                    <a:gd name="T23" fmla="*/ 1 h 321"/>
                    <a:gd name="T24" fmla="*/ 11 w 1268"/>
                    <a:gd name="T25" fmla="*/ 1 h 321"/>
                    <a:gd name="T26" fmla="*/ 11 w 1268"/>
                    <a:gd name="T27" fmla="*/ 1 h 321"/>
                    <a:gd name="T28" fmla="*/ 10 w 1268"/>
                    <a:gd name="T29" fmla="*/ 1 h 321"/>
                    <a:gd name="T30" fmla="*/ 10 w 1268"/>
                    <a:gd name="T31" fmla="*/ 1 h 321"/>
                    <a:gd name="T32" fmla="*/ 8 w 1268"/>
                    <a:gd name="T33" fmla="*/ 2 h 321"/>
                    <a:gd name="T34" fmla="*/ 7 w 1268"/>
                    <a:gd name="T35" fmla="*/ 2 h 321"/>
                    <a:gd name="T36" fmla="*/ 7 w 1268"/>
                    <a:gd name="T37" fmla="*/ 2 h 321"/>
                    <a:gd name="T38" fmla="*/ 6 w 1268"/>
                    <a:gd name="T39" fmla="*/ 2 h 321"/>
                    <a:gd name="T40" fmla="*/ 6 w 1268"/>
                    <a:gd name="T41" fmla="*/ 2 h 321"/>
                    <a:gd name="T42" fmla="*/ 6 w 1268"/>
                    <a:gd name="T43" fmla="*/ 2 h 321"/>
                    <a:gd name="T44" fmla="*/ 6 w 1268"/>
                    <a:gd name="T45" fmla="*/ 3 h 321"/>
                    <a:gd name="T46" fmla="*/ 5 w 1268"/>
                    <a:gd name="T47" fmla="*/ 3 h 321"/>
                    <a:gd name="T48" fmla="*/ 5 w 1268"/>
                    <a:gd name="T49" fmla="*/ 3 h 321"/>
                    <a:gd name="T50" fmla="*/ 5 w 1268"/>
                    <a:gd name="T51" fmla="*/ 3 h 321"/>
                    <a:gd name="T52" fmla="*/ 4 w 1268"/>
                    <a:gd name="T53" fmla="*/ 3 h 321"/>
                    <a:gd name="T54" fmla="*/ 4 w 1268"/>
                    <a:gd name="T55" fmla="*/ 4 h 321"/>
                    <a:gd name="T56" fmla="*/ 3 w 1268"/>
                    <a:gd name="T57" fmla="*/ 3 h 321"/>
                    <a:gd name="T58" fmla="*/ 3 w 1268"/>
                    <a:gd name="T59" fmla="*/ 3 h 321"/>
                    <a:gd name="T60" fmla="*/ 1 w 1268"/>
                    <a:gd name="T61" fmla="*/ 3 h 321"/>
                    <a:gd name="T62" fmla="*/ 0 w 1268"/>
                    <a:gd name="T63" fmla="*/ 3 h 321"/>
                    <a:gd name="T64" fmla="*/ 0 w 1268"/>
                    <a:gd name="T65" fmla="*/ 3 h 321"/>
                    <a:gd name="T66" fmla="*/ 1 w 1268"/>
                    <a:gd name="T67" fmla="*/ 3 h 321"/>
                    <a:gd name="T68" fmla="*/ 2 w 1268"/>
                    <a:gd name="T69" fmla="*/ 3 h 321"/>
                    <a:gd name="T70" fmla="*/ 2 w 1268"/>
                    <a:gd name="T71" fmla="*/ 3 h 321"/>
                    <a:gd name="T72" fmla="*/ 2 w 1268"/>
                    <a:gd name="T73" fmla="*/ 3 h 321"/>
                    <a:gd name="T74" fmla="*/ 2 w 1268"/>
                    <a:gd name="T75" fmla="*/ 3 h 321"/>
                    <a:gd name="T76" fmla="*/ 3 w 1268"/>
                    <a:gd name="T77" fmla="*/ 3 h 321"/>
                    <a:gd name="T78" fmla="*/ 2 w 1268"/>
                    <a:gd name="T79" fmla="*/ 2 h 321"/>
                    <a:gd name="T80" fmla="*/ 2 w 1268"/>
                    <a:gd name="T81" fmla="*/ 2 h 321"/>
                    <a:gd name="T82" fmla="*/ 2 w 1268"/>
                    <a:gd name="T83" fmla="*/ 2 h 321"/>
                    <a:gd name="T84" fmla="*/ 3 w 1268"/>
                    <a:gd name="T85" fmla="*/ 2 h 321"/>
                    <a:gd name="T86" fmla="*/ 4 w 1268"/>
                    <a:gd name="T87" fmla="*/ 2 h 321"/>
                    <a:gd name="T88" fmla="*/ 5 w 1268"/>
                    <a:gd name="T89" fmla="*/ 2 h 321"/>
                    <a:gd name="T90" fmla="*/ 4 w 1268"/>
                    <a:gd name="T91" fmla="*/ 2 h 321"/>
                    <a:gd name="T92" fmla="*/ 3 w 1268"/>
                    <a:gd name="T93" fmla="*/ 2 h 321"/>
                    <a:gd name="T94" fmla="*/ 4 w 1268"/>
                    <a:gd name="T95" fmla="*/ 2 h 321"/>
                    <a:gd name="T96" fmla="*/ 5 w 1268"/>
                    <a:gd name="T97" fmla="*/ 2 h 321"/>
                    <a:gd name="T98" fmla="*/ 5 w 1268"/>
                    <a:gd name="T99" fmla="*/ 1 h 321"/>
                    <a:gd name="T100" fmla="*/ 7 w 1268"/>
                    <a:gd name="T101" fmla="*/ 1 h 321"/>
                    <a:gd name="T102" fmla="*/ 6 w 1268"/>
                    <a:gd name="T103" fmla="*/ 1 h 321"/>
                    <a:gd name="T104" fmla="*/ 5 w 1268"/>
                    <a:gd name="T105" fmla="*/ 1 h 321"/>
                    <a:gd name="T106" fmla="*/ 4 w 1268"/>
                    <a:gd name="T107" fmla="*/ 1 h 321"/>
                    <a:gd name="T108" fmla="*/ 3 w 1268"/>
                    <a:gd name="T109" fmla="*/ 1 h 321"/>
                    <a:gd name="T110" fmla="*/ 2 w 1268"/>
                    <a:gd name="T111" fmla="*/ 1 h 321"/>
                    <a:gd name="T112" fmla="*/ 3 w 1268"/>
                    <a:gd name="T113" fmla="*/ 1 h 321"/>
                    <a:gd name="T114" fmla="*/ 5 w 1268"/>
                    <a:gd name="T115" fmla="*/ 1 h 321"/>
                    <a:gd name="T116" fmla="*/ 7 w 1268"/>
                    <a:gd name="T117" fmla="*/ 0 h 321"/>
                    <a:gd name="T118" fmla="*/ 7 w 1268"/>
                    <a:gd name="T119" fmla="*/ 0 h 321"/>
                    <a:gd name="T120" fmla="*/ 8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7" name="Freeform 418"/>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1 h 117"/>
                    <a:gd name="T12" fmla="*/ 0 w 160"/>
                    <a:gd name="T13" fmla="*/ 1 h 117"/>
                    <a:gd name="T14" fmla="*/ 0 w 160"/>
                    <a:gd name="T15" fmla="*/ 1 h 117"/>
                    <a:gd name="T16" fmla="*/ 1 w 160"/>
                    <a:gd name="T17" fmla="*/ 1 h 117"/>
                    <a:gd name="T18" fmla="*/ 1 w 160"/>
                    <a:gd name="T19" fmla="*/ 1 h 117"/>
                    <a:gd name="T20" fmla="*/ 1 w 160"/>
                    <a:gd name="T21" fmla="*/ 1 h 117"/>
                    <a:gd name="T22" fmla="*/ 1 w 160"/>
                    <a:gd name="T23" fmla="*/ 1 h 117"/>
                    <a:gd name="T24" fmla="*/ 1 w 160"/>
                    <a:gd name="T25" fmla="*/ 1 h 117"/>
                    <a:gd name="T26" fmla="*/ 1 w 160"/>
                    <a:gd name="T27" fmla="*/ 1 h 117"/>
                    <a:gd name="T28" fmla="*/ 1 w 160"/>
                    <a:gd name="T29" fmla="*/ 1 h 117"/>
                    <a:gd name="T30" fmla="*/ 1 w 160"/>
                    <a:gd name="T31" fmla="*/ 1 h 117"/>
                    <a:gd name="T32" fmla="*/ 1 w 160"/>
                    <a:gd name="T33" fmla="*/ 1 h 117"/>
                    <a:gd name="T34" fmla="*/ 1 w 160"/>
                    <a:gd name="T35" fmla="*/ 1 h 117"/>
                    <a:gd name="T36" fmla="*/ 2 w 160"/>
                    <a:gd name="T37" fmla="*/ 1 h 117"/>
                    <a:gd name="T38" fmla="*/ 2 w 160"/>
                    <a:gd name="T39" fmla="*/ 1 h 117"/>
                    <a:gd name="T40" fmla="*/ 2 w 160"/>
                    <a:gd name="T41" fmla="*/ 1 h 117"/>
                    <a:gd name="T42" fmla="*/ 2 w 160"/>
                    <a:gd name="T43" fmla="*/ 1 h 117"/>
                    <a:gd name="T44" fmla="*/ 1 w 160"/>
                    <a:gd name="T45" fmla="*/ 1 h 117"/>
                    <a:gd name="T46" fmla="*/ 1 w 160"/>
                    <a:gd name="T47" fmla="*/ 1 h 117"/>
                    <a:gd name="T48" fmla="*/ 1 w 160"/>
                    <a:gd name="T49" fmla="*/ 1 h 117"/>
                    <a:gd name="T50" fmla="*/ 1 w 160"/>
                    <a:gd name="T51" fmla="*/ 1 h 117"/>
                    <a:gd name="T52" fmla="*/ 1 w 160"/>
                    <a:gd name="T53" fmla="*/ 1 h 117"/>
                    <a:gd name="T54" fmla="*/ 1 w 160"/>
                    <a:gd name="T55" fmla="*/ 1 h 117"/>
                    <a:gd name="T56" fmla="*/ 1 w 160"/>
                    <a:gd name="T57" fmla="*/ 1 h 117"/>
                    <a:gd name="T58" fmla="*/ 1 w 160"/>
                    <a:gd name="T59" fmla="*/ 0 h 117"/>
                    <a:gd name="T60" fmla="*/ 1 w 160"/>
                    <a:gd name="T61" fmla="*/ 0 h 117"/>
                    <a:gd name="T62" fmla="*/ 1 w 160"/>
                    <a:gd name="T63" fmla="*/ 0 h 117"/>
                    <a:gd name="T64" fmla="*/ 1 w 160"/>
                    <a:gd name="T65" fmla="*/ 0 h 117"/>
                    <a:gd name="T66" fmla="*/ 1 w 160"/>
                    <a:gd name="T67" fmla="*/ 0 h 117"/>
                    <a:gd name="T68" fmla="*/ 1 w 160"/>
                    <a:gd name="T69" fmla="*/ 0 h 117"/>
                    <a:gd name="T70" fmla="*/ 1 w 160"/>
                    <a:gd name="T71" fmla="*/ 0 h 117"/>
                    <a:gd name="T72" fmla="*/ 1 w 160"/>
                    <a:gd name="T73" fmla="*/ 0 h 117"/>
                    <a:gd name="T74" fmla="*/ 1 w 160"/>
                    <a:gd name="T75" fmla="*/ 0 h 117"/>
                    <a:gd name="T76" fmla="*/ 1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8" name="Freeform 419"/>
                <p:cNvSpPr>
                  <a:spLocks/>
                </p:cNvSpPr>
                <p:nvPr/>
              </p:nvSpPr>
              <p:spPr bwMode="auto">
                <a:xfrm>
                  <a:off x="527" y="1592"/>
                  <a:ext cx="26" cy="46"/>
                </a:xfrm>
                <a:custGeom>
                  <a:avLst/>
                  <a:gdLst>
                    <a:gd name="T0" fmla="*/ 0 w 80"/>
                    <a:gd name="T1" fmla="*/ 1 h 141"/>
                    <a:gd name="T2" fmla="*/ 1 w 80"/>
                    <a:gd name="T3" fmla="*/ 0 h 141"/>
                    <a:gd name="T4" fmla="*/ 1 w 80"/>
                    <a:gd name="T5" fmla="*/ 0 h 141"/>
                    <a:gd name="T6" fmla="*/ 1 w 80"/>
                    <a:gd name="T7" fmla="*/ 0 h 141"/>
                    <a:gd name="T8" fmla="*/ 1 w 80"/>
                    <a:gd name="T9" fmla="*/ 0 h 141"/>
                    <a:gd name="T10" fmla="*/ 1 w 80"/>
                    <a:gd name="T11" fmla="*/ 0 h 141"/>
                    <a:gd name="T12" fmla="*/ 1 w 80"/>
                    <a:gd name="T13" fmla="*/ 0 h 141"/>
                    <a:gd name="T14" fmla="*/ 1 w 80"/>
                    <a:gd name="T15" fmla="*/ 0 h 141"/>
                    <a:gd name="T16" fmla="*/ 1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1 h 141"/>
                    <a:gd name="T30" fmla="*/ 0 w 80"/>
                    <a:gd name="T31" fmla="*/ 1 h 141"/>
                    <a:gd name="T32" fmla="*/ 0 w 80"/>
                    <a:gd name="T33" fmla="*/ 1 h 141"/>
                    <a:gd name="T34" fmla="*/ 0 w 80"/>
                    <a:gd name="T35" fmla="*/ 1 h 141"/>
                    <a:gd name="T36" fmla="*/ 0 w 80"/>
                    <a:gd name="T37" fmla="*/ 1 h 141"/>
                    <a:gd name="T38" fmla="*/ 0 w 80"/>
                    <a:gd name="T39" fmla="*/ 1 h 141"/>
                    <a:gd name="T40" fmla="*/ 0 w 80"/>
                    <a:gd name="T41" fmla="*/ 1 h 141"/>
                    <a:gd name="T42" fmla="*/ 0 w 80"/>
                    <a:gd name="T43" fmla="*/ 2 h 141"/>
                    <a:gd name="T44" fmla="*/ 0 w 80"/>
                    <a:gd name="T45" fmla="*/ 2 h 141"/>
                    <a:gd name="T46" fmla="*/ 0 w 80"/>
                    <a:gd name="T47" fmla="*/ 2 h 141"/>
                    <a:gd name="T48" fmla="*/ 0 w 80"/>
                    <a:gd name="T49" fmla="*/ 1 h 141"/>
                    <a:gd name="T50" fmla="*/ 0 w 80"/>
                    <a:gd name="T51" fmla="*/ 1 h 141"/>
                    <a:gd name="T52" fmla="*/ 0 w 80"/>
                    <a:gd name="T53" fmla="*/ 1 h 141"/>
                    <a:gd name="T54" fmla="*/ 0 w 80"/>
                    <a:gd name="T55" fmla="*/ 1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9" name="Freeform 420"/>
                <p:cNvSpPr>
                  <a:spLocks/>
                </p:cNvSpPr>
                <p:nvPr/>
              </p:nvSpPr>
              <p:spPr bwMode="auto">
                <a:xfrm>
                  <a:off x="1379" y="1383"/>
                  <a:ext cx="83" cy="41"/>
                </a:xfrm>
                <a:custGeom>
                  <a:avLst/>
                  <a:gdLst>
                    <a:gd name="T0" fmla="*/ 0 w 259"/>
                    <a:gd name="T1" fmla="*/ 1 h 124"/>
                    <a:gd name="T2" fmla="*/ 0 w 259"/>
                    <a:gd name="T3" fmla="*/ 1 h 124"/>
                    <a:gd name="T4" fmla="*/ 0 w 259"/>
                    <a:gd name="T5" fmla="*/ 1 h 124"/>
                    <a:gd name="T6" fmla="*/ 0 w 259"/>
                    <a:gd name="T7" fmla="*/ 1 h 124"/>
                    <a:gd name="T8" fmla="*/ 0 w 259"/>
                    <a:gd name="T9" fmla="*/ 1 h 124"/>
                    <a:gd name="T10" fmla="*/ 0 w 259"/>
                    <a:gd name="T11" fmla="*/ 1 h 124"/>
                    <a:gd name="T12" fmla="*/ 0 w 259"/>
                    <a:gd name="T13" fmla="*/ 1 h 124"/>
                    <a:gd name="T14" fmla="*/ 0 w 259"/>
                    <a:gd name="T15" fmla="*/ 1 h 124"/>
                    <a:gd name="T16" fmla="*/ 0 w 259"/>
                    <a:gd name="T17" fmla="*/ 1 h 124"/>
                    <a:gd name="T18" fmla="*/ 1 w 259"/>
                    <a:gd name="T19" fmla="*/ 2 h 124"/>
                    <a:gd name="T20" fmla="*/ 1 w 259"/>
                    <a:gd name="T21" fmla="*/ 2 h 124"/>
                    <a:gd name="T22" fmla="*/ 1 w 259"/>
                    <a:gd name="T23" fmla="*/ 2 h 124"/>
                    <a:gd name="T24" fmla="*/ 1 w 259"/>
                    <a:gd name="T25" fmla="*/ 2 h 124"/>
                    <a:gd name="T26" fmla="*/ 1 w 259"/>
                    <a:gd name="T27" fmla="*/ 1 h 124"/>
                    <a:gd name="T28" fmla="*/ 1 w 259"/>
                    <a:gd name="T29" fmla="*/ 1 h 124"/>
                    <a:gd name="T30" fmla="*/ 1 w 259"/>
                    <a:gd name="T31" fmla="*/ 1 h 124"/>
                    <a:gd name="T32" fmla="*/ 1 w 259"/>
                    <a:gd name="T33" fmla="*/ 1 h 124"/>
                    <a:gd name="T34" fmla="*/ 1 w 259"/>
                    <a:gd name="T35" fmla="*/ 1 h 124"/>
                    <a:gd name="T36" fmla="*/ 1 w 259"/>
                    <a:gd name="T37" fmla="*/ 1 h 124"/>
                    <a:gd name="T38" fmla="*/ 1 w 259"/>
                    <a:gd name="T39" fmla="*/ 1 h 124"/>
                    <a:gd name="T40" fmla="*/ 1 w 259"/>
                    <a:gd name="T41" fmla="*/ 1 h 124"/>
                    <a:gd name="T42" fmla="*/ 2 w 259"/>
                    <a:gd name="T43" fmla="*/ 1 h 124"/>
                    <a:gd name="T44" fmla="*/ 2 w 259"/>
                    <a:gd name="T45" fmla="*/ 1 h 124"/>
                    <a:gd name="T46" fmla="*/ 2 w 259"/>
                    <a:gd name="T47" fmla="*/ 1 h 124"/>
                    <a:gd name="T48" fmla="*/ 2 w 259"/>
                    <a:gd name="T49" fmla="*/ 1 h 124"/>
                    <a:gd name="T50" fmla="*/ 2 w 259"/>
                    <a:gd name="T51" fmla="*/ 1 h 124"/>
                    <a:gd name="T52" fmla="*/ 2 w 259"/>
                    <a:gd name="T53" fmla="*/ 1 h 124"/>
                    <a:gd name="T54" fmla="*/ 2 w 259"/>
                    <a:gd name="T55" fmla="*/ 1 h 124"/>
                    <a:gd name="T56" fmla="*/ 2 w 259"/>
                    <a:gd name="T57" fmla="*/ 1 h 124"/>
                    <a:gd name="T58" fmla="*/ 3 w 259"/>
                    <a:gd name="T59" fmla="*/ 1 h 124"/>
                    <a:gd name="T60" fmla="*/ 3 w 259"/>
                    <a:gd name="T61" fmla="*/ 1 h 124"/>
                    <a:gd name="T62" fmla="*/ 3 w 259"/>
                    <a:gd name="T63" fmla="*/ 1 h 124"/>
                    <a:gd name="T64" fmla="*/ 3 w 259"/>
                    <a:gd name="T65" fmla="*/ 1 h 124"/>
                    <a:gd name="T66" fmla="*/ 3 w 259"/>
                    <a:gd name="T67" fmla="*/ 1 h 124"/>
                    <a:gd name="T68" fmla="*/ 2 w 259"/>
                    <a:gd name="T69" fmla="*/ 1 h 124"/>
                    <a:gd name="T70" fmla="*/ 3 w 259"/>
                    <a:gd name="T71" fmla="*/ 1 h 124"/>
                    <a:gd name="T72" fmla="*/ 3 w 259"/>
                    <a:gd name="T73" fmla="*/ 1 h 124"/>
                    <a:gd name="T74" fmla="*/ 3 w 259"/>
                    <a:gd name="T75" fmla="*/ 1 h 124"/>
                    <a:gd name="T76" fmla="*/ 3 w 259"/>
                    <a:gd name="T77" fmla="*/ 1 h 124"/>
                    <a:gd name="T78" fmla="*/ 3 w 259"/>
                    <a:gd name="T79" fmla="*/ 1 h 124"/>
                    <a:gd name="T80" fmla="*/ 3 w 259"/>
                    <a:gd name="T81" fmla="*/ 1 h 124"/>
                    <a:gd name="T82" fmla="*/ 2 w 259"/>
                    <a:gd name="T83" fmla="*/ 1 h 124"/>
                    <a:gd name="T84" fmla="*/ 2 w 259"/>
                    <a:gd name="T85" fmla="*/ 1 h 124"/>
                    <a:gd name="T86" fmla="*/ 2 w 259"/>
                    <a:gd name="T87" fmla="*/ 0 h 124"/>
                    <a:gd name="T88" fmla="*/ 2 w 259"/>
                    <a:gd name="T89" fmla="*/ 0 h 124"/>
                    <a:gd name="T90" fmla="*/ 2 w 259"/>
                    <a:gd name="T91" fmla="*/ 0 h 124"/>
                    <a:gd name="T92" fmla="*/ 2 w 259"/>
                    <a:gd name="T93" fmla="*/ 0 h 124"/>
                    <a:gd name="T94" fmla="*/ 2 w 259"/>
                    <a:gd name="T95" fmla="*/ 0 h 124"/>
                    <a:gd name="T96" fmla="*/ 1 w 259"/>
                    <a:gd name="T97" fmla="*/ 0 h 124"/>
                    <a:gd name="T98" fmla="*/ 1 w 259"/>
                    <a:gd name="T99" fmla="*/ 0 h 124"/>
                    <a:gd name="T100" fmla="*/ 1 w 259"/>
                    <a:gd name="T101" fmla="*/ 0 h 124"/>
                    <a:gd name="T102" fmla="*/ 1 w 259"/>
                    <a:gd name="T103" fmla="*/ 0 h 124"/>
                    <a:gd name="T104" fmla="*/ 1 w 259"/>
                    <a:gd name="T105" fmla="*/ 0 h 124"/>
                    <a:gd name="T106" fmla="*/ 1 w 259"/>
                    <a:gd name="T107" fmla="*/ 0 h 124"/>
                    <a:gd name="T108" fmla="*/ 1 w 259"/>
                    <a:gd name="T109" fmla="*/ 0 h 124"/>
                    <a:gd name="T110" fmla="*/ 1 w 259"/>
                    <a:gd name="T111" fmla="*/ 0 h 124"/>
                    <a:gd name="T112" fmla="*/ 1 w 259"/>
                    <a:gd name="T113" fmla="*/ 1 h 124"/>
                    <a:gd name="T114" fmla="*/ 0 w 259"/>
                    <a:gd name="T115" fmla="*/ 1 h 124"/>
                    <a:gd name="T116" fmla="*/ 0 w 259"/>
                    <a:gd name="T117" fmla="*/ 1 h 124"/>
                    <a:gd name="T118" fmla="*/ 0 w 259"/>
                    <a:gd name="T119" fmla="*/ 1 h 124"/>
                    <a:gd name="T120" fmla="*/ 0 w 259"/>
                    <a:gd name="T121" fmla="*/ 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0" name="Freeform 421"/>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1 h 57"/>
                    <a:gd name="T8" fmla="*/ 0 w 119"/>
                    <a:gd name="T9" fmla="*/ 1 h 57"/>
                    <a:gd name="T10" fmla="*/ 0 w 119"/>
                    <a:gd name="T11" fmla="*/ 1 h 57"/>
                    <a:gd name="T12" fmla="*/ 0 w 119"/>
                    <a:gd name="T13" fmla="*/ 1 h 57"/>
                    <a:gd name="T14" fmla="*/ 0 w 119"/>
                    <a:gd name="T15" fmla="*/ 1 h 57"/>
                    <a:gd name="T16" fmla="*/ 1 w 119"/>
                    <a:gd name="T17" fmla="*/ 1 h 57"/>
                    <a:gd name="T18" fmla="*/ 1 w 119"/>
                    <a:gd name="T19" fmla="*/ 1 h 57"/>
                    <a:gd name="T20" fmla="*/ 1 w 119"/>
                    <a:gd name="T21" fmla="*/ 1 h 57"/>
                    <a:gd name="T22" fmla="*/ 1 w 119"/>
                    <a:gd name="T23" fmla="*/ 1 h 57"/>
                    <a:gd name="T24" fmla="*/ 1 w 119"/>
                    <a:gd name="T25" fmla="*/ 1 h 57"/>
                    <a:gd name="T26" fmla="*/ 1 w 119"/>
                    <a:gd name="T27" fmla="*/ 1 h 57"/>
                    <a:gd name="T28" fmla="*/ 1 w 119"/>
                    <a:gd name="T29" fmla="*/ 1 h 57"/>
                    <a:gd name="T30" fmla="*/ 1 w 119"/>
                    <a:gd name="T31" fmla="*/ 1 h 57"/>
                    <a:gd name="T32" fmla="*/ 1 w 119"/>
                    <a:gd name="T33" fmla="*/ 0 h 57"/>
                    <a:gd name="T34" fmla="*/ 1 w 119"/>
                    <a:gd name="T35" fmla="*/ 0 h 57"/>
                    <a:gd name="T36" fmla="*/ 1 w 119"/>
                    <a:gd name="T37" fmla="*/ 0 h 57"/>
                    <a:gd name="T38" fmla="*/ 1 w 119"/>
                    <a:gd name="T39" fmla="*/ 0 h 57"/>
                    <a:gd name="T40" fmla="*/ 1 w 119"/>
                    <a:gd name="T41" fmla="*/ 0 h 57"/>
                    <a:gd name="T42" fmla="*/ 1 w 119"/>
                    <a:gd name="T43" fmla="*/ 0 h 57"/>
                    <a:gd name="T44" fmla="*/ 1 w 119"/>
                    <a:gd name="T45" fmla="*/ 0 h 57"/>
                    <a:gd name="T46" fmla="*/ 1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1" name="Freeform 422"/>
                <p:cNvSpPr>
                  <a:spLocks/>
                </p:cNvSpPr>
                <p:nvPr/>
              </p:nvSpPr>
              <p:spPr bwMode="auto">
                <a:xfrm>
                  <a:off x="1554" y="1335"/>
                  <a:ext cx="34" cy="17"/>
                </a:xfrm>
                <a:custGeom>
                  <a:avLst/>
                  <a:gdLst>
                    <a:gd name="T0" fmla="*/ 0 w 107"/>
                    <a:gd name="T1" fmla="*/ 1 h 52"/>
                    <a:gd name="T2" fmla="*/ 0 w 107"/>
                    <a:gd name="T3" fmla="*/ 1 h 52"/>
                    <a:gd name="T4" fmla="*/ 0 w 107"/>
                    <a:gd name="T5" fmla="*/ 1 h 52"/>
                    <a:gd name="T6" fmla="*/ 0 w 107"/>
                    <a:gd name="T7" fmla="*/ 1 h 52"/>
                    <a:gd name="T8" fmla="*/ 0 w 107"/>
                    <a:gd name="T9" fmla="*/ 1 h 52"/>
                    <a:gd name="T10" fmla="*/ 0 w 107"/>
                    <a:gd name="T11" fmla="*/ 1 h 52"/>
                    <a:gd name="T12" fmla="*/ 0 w 107"/>
                    <a:gd name="T13" fmla="*/ 1 h 52"/>
                    <a:gd name="T14" fmla="*/ 0 w 107"/>
                    <a:gd name="T15" fmla="*/ 1 h 52"/>
                    <a:gd name="T16" fmla="*/ 1 w 107"/>
                    <a:gd name="T17" fmla="*/ 1 h 52"/>
                    <a:gd name="T18" fmla="*/ 1 w 107"/>
                    <a:gd name="T19" fmla="*/ 1 h 52"/>
                    <a:gd name="T20" fmla="*/ 1 w 107"/>
                    <a:gd name="T21" fmla="*/ 1 h 52"/>
                    <a:gd name="T22" fmla="*/ 1 w 107"/>
                    <a:gd name="T23" fmla="*/ 0 h 52"/>
                    <a:gd name="T24" fmla="*/ 1 w 107"/>
                    <a:gd name="T25" fmla="*/ 0 h 52"/>
                    <a:gd name="T26" fmla="*/ 1 w 107"/>
                    <a:gd name="T27" fmla="*/ 0 h 52"/>
                    <a:gd name="T28" fmla="*/ 1 w 107"/>
                    <a:gd name="T29" fmla="*/ 0 h 52"/>
                    <a:gd name="T30" fmla="*/ 1 w 107"/>
                    <a:gd name="T31" fmla="*/ 0 h 52"/>
                    <a:gd name="T32" fmla="*/ 1 w 107"/>
                    <a:gd name="T33" fmla="*/ 0 h 52"/>
                    <a:gd name="T34" fmla="*/ 1 w 107"/>
                    <a:gd name="T35" fmla="*/ 0 h 52"/>
                    <a:gd name="T36" fmla="*/ 1 w 107"/>
                    <a:gd name="T37" fmla="*/ 0 h 52"/>
                    <a:gd name="T38" fmla="*/ 1 w 107"/>
                    <a:gd name="T39" fmla="*/ 0 h 52"/>
                    <a:gd name="T40" fmla="*/ 0 w 107"/>
                    <a:gd name="T41" fmla="*/ 0 h 52"/>
                    <a:gd name="T42" fmla="*/ 0 w 107"/>
                    <a:gd name="T43" fmla="*/ 0 h 52"/>
                    <a:gd name="T44" fmla="*/ 0 w 107"/>
                    <a:gd name="T45" fmla="*/ 0 h 52"/>
                    <a:gd name="T46" fmla="*/ 0 w 107"/>
                    <a:gd name="T47" fmla="*/ 0 h 52"/>
                    <a:gd name="T48" fmla="*/ 0 w 107"/>
                    <a:gd name="T49" fmla="*/ 1 h 52"/>
                    <a:gd name="T50" fmla="*/ 0 w 107"/>
                    <a:gd name="T51" fmla="*/ 1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2" name="Freeform 423"/>
                <p:cNvSpPr>
                  <a:spLocks/>
                </p:cNvSpPr>
                <p:nvPr/>
              </p:nvSpPr>
              <p:spPr bwMode="auto">
                <a:xfrm>
                  <a:off x="1381" y="1244"/>
                  <a:ext cx="79" cy="32"/>
                </a:xfrm>
                <a:custGeom>
                  <a:avLst/>
                  <a:gdLst>
                    <a:gd name="T0" fmla="*/ 0 w 246"/>
                    <a:gd name="T1" fmla="*/ 1 h 99"/>
                    <a:gd name="T2" fmla="*/ 0 w 246"/>
                    <a:gd name="T3" fmla="*/ 1 h 99"/>
                    <a:gd name="T4" fmla="*/ 0 w 246"/>
                    <a:gd name="T5" fmla="*/ 1 h 99"/>
                    <a:gd name="T6" fmla="*/ 0 w 246"/>
                    <a:gd name="T7" fmla="*/ 1 h 99"/>
                    <a:gd name="T8" fmla="*/ 0 w 246"/>
                    <a:gd name="T9" fmla="*/ 1 h 99"/>
                    <a:gd name="T10" fmla="*/ 0 w 246"/>
                    <a:gd name="T11" fmla="*/ 1 h 99"/>
                    <a:gd name="T12" fmla="*/ 0 w 246"/>
                    <a:gd name="T13" fmla="*/ 1 h 99"/>
                    <a:gd name="T14" fmla="*/ 0 w 246"/>
                    <a:gd name="T15" fmla="*/ 1 h 99"/>
                    <a:gd name="T16" fmla="*/ 0 w 246"/>
                    <a:gd name="T17" fmla="*/ 1 h 99"/>
                    <a:gd name="T18" fmla="*/ 0 w 246"/>
                    <a:gd name="T19" fmla="*/ 1 h 99"/>
                    <a:gd name="T20" fmla="*/ 0 w 246"/>
                    <a:gd name="T21" fmla="*/ 1 h 99"/>
                    <a:gd name="T22" fmla="*/ 0 w 246"/>
                    <a:gd name="T23" fmla="*/ 1 h 99"/>
                    <a:gd name="T24" fmla="*/ 0 w 246"/>
                    <a:gd name="T25" fmla="*/ 1 h 99"/>
                    <a:gd name="T26" fmla="*/ 0 w 246"/>
                    <a:gd name="T27" fmla="*/ 1 h 99"/>
                    <a:gd name="T28" fmla="*/ 0 w 246"/>
                    <a:gd name="T29" fmla="*/ 0 h 99"/>
                    <a:gd name="T30" fmla="*/ 0 w 246"/>
                    <a:gd name="T31" fmla="*/ 0 h 99"/>
                    <a:gd name="T32" fmla="*/ 0 w 246"/>
                    <a:gd name="T33" fmla="*/ 0 h 99"/>
                    <a:gd name="T34" fmla="*/ 1 w 246"/>
                    <a:gd name="T35" fmla="*/ 0 h 99"/>
                    <a:gd name="T36" fmla="*/ 1 w 246"/>
                    <a:gd name="T37" fmla="*/ 0 h 99"/>
                    <a:gd name="T38" fmla="*/ 1 w 246"/>
                    <a:gd name="T39" fmla="*/ 0 h 99"/>
                    <a:gd name="T40" fmla="*/ 1 w 246"/>
                    <a:gd name="T41" fmla="*/ 0 h 99"/>
                    <a:gd name="T42" fmla="*/ 1 w 246"/>
                    <a:gd name="T43" fmla="*/ 0 h 99"/>
                    <a:gd name="T44" fmla="*/ 1 w 246"/>
                    <a:gd name="T45" fmla="*/ 0 h 99"/>
                    <a:gd name="T46" fmla="*/ 1 w 246"/>
                    <a:gd name="T47" fmla="*/ 0 h 99"/>
                    <a:gd name="T48" fmla="*/ 1 w 246"/>
                    <a:gd name="T49" fmla="*/ 0 h 99"/>
                    <a:gd name="T50" fmla="*/ 2 w 246"/>
                    <a:gd name="T51" fmla="*/ 0 h 99"/>
                    <a:gd name="T52" fmla="*/ 2 w 246"/>
                    <a:gd name="T53" fmla="*/ 0 h 99"/>
                    <a:gd name="T54" fmla="*/ 2 w 246"/>
                    <a:gd name="T55" fmla="*/ 0 h 99"/>
                    <a:gd name="T56" fmla="*/ 3 w 246"/>
                    <a:gd name="T57" fmla="*/ 0 h 99"/>
                    <a:gd name="T58" fmla="*/ 3 w 246"/>
                    <a:gd name="T59" fmla="*/ 0 h 99"/>
                    <a:gd name="T60" fmla="*/ 3 w 246"/>
                    <a:gd name="T61" fmla="*/ 0 h 99"/>
                    <a:gd name="T62" fmla="*/ 3 w 246"/>
                    <a:gd name="T63" fmla="*/ 0 h 99"/>
                    <a:gd name="T64" fmla="*/ 3 w 246"/>
                    <a:gd name="T65" fmla="*/ 0 h 99"/>
                    <a:gd name="T66" fmla="*/ 2 w 246"/>
                    <a:gd name="T67" fmla="*/ 0 h 99"/>
                    <a:gd name="T68" fmla="*/ 2 w 246"/>
                    <a:gd name="T69" fmla="*/ 1 h 99"/>
                    <a:gd name="T70" fmla="*/ 2 w 246"/>
                    <a:gd name="T71" fmla="*/ 1 h 99"/>
                    <a:gd name="T72" fmla="*/ 2 w 246"/>
                    <a:gd name="T73" fmla="*/ 1 h 99"/>
                    <a:gd name="T74" fmla="*/ 2 w 246"/>
                    <a:gd name="T75" fmla="*/ 1 h 99"/>
                    <a:gd name="T76" fmla="*/ 2 w 246"/>
                    <a:gd name="T77" fmla="*/ 1 h 99"/>
                    <a:gd name="T78" fmla="*/ 1 w 246"/>
                    <a:gd name="T79" fmla="*/ 1 h 99"/>
                    <a:gd name="T80" fmla="*/ 1 w 246"/>
                    <a:gd name="T81" fmla="*/ 1 h 99"/>
                    <a:gd name="T82" fmla="*/ 1 w 246"/>
                    <a:gd name="T83" fmla="*/ 1 h 99"/>
                    <a:gd name="T84" fmla="*/ 1 w 246"/>
                    <a:gd name="T85" fmla="*/ 1 h 99"/>
                    <a:gd name="T86" fmla="*/ 1 w 246"/>
                    <a:gd name="T87" fmla="*/ 1 h 99"/>
                    <a:gd name="T88" fmla="*/ 1 w 246"/>
                    <a:gd name="T89" fmla="*/ 1 h 99"/>
                    <a:gd name="T90" fmla="*/ 1 w 246"/>
                    <a:gd name="T91" fmla="*/ 1 h 99"/>
                    <a:gd name="T92" fmla="*/ 1 w 246"/>
                    <a:gd name="T93" fmla="*/ 1 h 99"/>
                    <a:gd name="T94" fmla="*/ 1 w 246"/>
                    <a:gd name="T95" fmla="*/ 1 h 99"/>
                    <a:gd name="T96" fmla="*/ 1 w 246"/>
                    <a:gd name="T97" fmla="*/ 1 h 99"/>
                    <a:gd name="T98" fmla="*/ 1 w 246"/>
                    <a:gd name="T99" fmla="*/ 1 h 99"/>
                    <a:gd name="T100" fmla="*/ 0 w 246"/>
                    <a:gd name="T101" fmla="*/ 1 h 99"/>
                    <a:gd name="T102" fmla="*/ 0 w 246"/>
                    <a:gd name="T103" fmla="*/ 1 h 99"/>
                    <a:gd name="T104" fmla="*/ 0 w 246"/>
                    <a:gd name="T105" fmla="*/ 1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3" name="Freeform 424"/>
                <p:cNvSpPr>
                  <a:spLocks/>
                </p:cNvSpPr>
                <p:nvPr/>
              </p:nvSpPr>
              <p:spPr bwMode="auto">
                <a:xfrm>
                  <a:off x="1294" y="1248"/>
                  <a:ext cx="76" cy="40"/>
                </a:xfrm>
                <a:custGeom>
                  <a:avLst/>
                  <a:gdLst>
                    <a:gd name="T0" fmla="*/ 0 w 233"/>
                    <a:gd name="T1" fmla="*/ 1 h 123"/>
                    <a:gd name="T2" fmla="*/ 0 w 233"/>
                    <a:gd name="T3" fmla="*/ 1 h 123"/>
                    <a:gd name="T4" fmla="*/ 0 w 233"/>
                    <a:gd name="T5" fmla="*/ 1 h 123"/>
                    <a:gd name="T6" fmla="*/ 0 w 233"/>
                    <a:gd name="T7" fmla="*/ 0 h 123"/>
                    <a:gd name="T8" fmla="*/ 0 w 233"/>
                    <a:gd name="T9" fmla="*/ 0 h 123"/>
                    <a:gd name="T10" fmla="*/ 1 w 233"/>
                    <a:gd name="T11" fmla="*/ 0 h 123"/>
                    <a:gd name="T12" fmla="*/ 1 w 233"/>
                    <a:gd name="T13" fmla="*/ 0 h 123"/>
                    <a:gd name="T14" fmla="*/ 1 w 233"/>
                    <a:gd name="T15" fmla="*/ 0 h 123"/>
                    <a:gd name="T16" fmla="*/ 1 w 233"/>
                    <a:gd name="T17" fmla="*/ 0 h 123"/>
                    <a:gd name="T18" fmla="*/ 1 w 233"/>
                    <a:gd name="T19" fmla="*/ 0 h 123"/>
                    <a:gd name="T20" fmla="*/ 2 w 233"/>
                    <a:gd name="T21" fmla="*/ 0 h 123"/>
                    <a:gd name="T22" fmla="*/ 2 w 233"/>
                    <a:gd name="T23" fmla="*/ 0 h 123"/>
                    <a:gd name="T24" fmla="*/ 2 w 233"/>
                    <a:gd name="T25" fmla="*/ 0 h 123"/>
                    <a:gd name="T26" fmla="*/ 2 w 233"/>
                    <a:gd name="T27" fmla="*/ 0 h 123"/>
                    <a:gd name="T28" fmla="*/ 2 w 233"/>
                    <a:gd name="T29" fmla="*/ 0 h 123"/>
                    <a:gd name="T30" fmla="*/ 3 w 233"/>
                    <a:gd name="T31" fmla="*/ 0 h 123"/>
                    <a:gd name="T32" fmla="*/ 3 w 233"/>
                    <a:gd name="T33" fmla="*/ 0 h 123"/>
                    <a:gd name="T34" fmla="*/ 3 w 233"/>
                    <a:gd name="T35" fmla="*/ 0 h 123"/>
                    <a:gd name="T36" fmla="*/ 3 w 233"/>
                    <a:gd name="T37" fmla="*/ 0 h 123"/>
                    <a:gd name="T38" fmla="*/ 2 w 233"/>
                    <a:gd name="T39" fmla="*/ 0 h 123"/>
                    <a:gd name="T40" fmla="*/ 2 w 233"/>
                    <a:gd name="T41" fmla="*/ 1 h 123"/>
                    <a:gd name="T42" fmla="*/ 2 w 233"/>
                    <a:gd name="T43" fmla="*/ 1 h 123"/>
                    <a:gd name="T44" fmla="*/ 2 w 233"/>
                    <a:gd name="T45" fmla="*/ 1 h 123"/>
                    <a:gd name="T46" fmla="*/ 2 w 233"/>
                    <a:gd name="T47" fmla="*/ 1 h 123"/>
                    <a:gd name="T48" fmla="*/ 2 w 233"/>
                    <a:gd name="T49" fmla="*/ 1 h 123"/>
                    <a:gd name="T50" fmla="*/ 1 w 233"/>
                    <a:gd name="T51" fmla="*/ 1 h 123"/>
                    <a:gd name="T52" fmla="*/ 1 w 233"/>
                    <a:gd name="T53" fmla="*/ 1 h 123"/>
                    <a:gd name="T54" fmla="*/ 1 w 233"/>
                    <a:gd name="T55" fmla="*/ 1 h 123"/>
                    <a:gd name="T56" fmla="*/ 1 w 233"/>
                    <a:gd name="T57" fmla="*/ 1 h 123"/>
                    <a:gd name="T58" fmla="*/ 1 w 233"/>
                    <a:gd name="T59" fmla="*/ 1 h 123"/>
                    <a:gd name="T60" fmla="*/ 1 w 233"/>
                    <a:gd name="T61" fmla="*/ 1 h 123"/>
                    <a:gd name="T62" fmla="*/ 1 w 233"/>
                    <a:gd name="T63" fmla="*/ 1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4" name="Freeform 425"/>
                <p:cNvSpPr>
                  <a:spLocks/>
                </p:cNvSpPr>
                <p:nvPr/>
              </p:nvSpPr>
              <p:spPr bwMode="auto">
                <a:xfrm>
                  <a:off x="983" y="1236"/>
                  <a:ext cx="157" cy="56"/>
                </a:xfrm>
                <a:custGeom>
                  <a:avLst/>
                  <a:gdLst>
                    <a:gd name="T0" fmla="*/ 0 w 484"/>
                    <a:gd name="T1" fmla="*/ 2 h 172"/>
                    <a:gd name="T2" fmla="*/ 0 w 484"/>
                    <a:gd name="T3" fmla="*/ 2 h 172"/>
                    <a:gd name="T4" fmla="*/ 0 w 484"/>
                    <a:gd name="T5" fmla="*/ 2 h 172"/>
                    <a:gd name="T6" fmla="*/ 0 w 484"/>
                    <a:gd name="T7" fmla="*/ 2 h 172"/>
                    <a:gd name="T8" fmla="*/ 0 w 484"/>
                    <a:gd name="T9" fmla="*/ 2 h 172"/>
                    <a:gd name="T10" fmla="*/ 1 w 484"/>
                    <a:gd name="T11" fmla="*/ 2 h 172"/>
                    <a:gd name="T12" fmla="*/ 1 w 484"/>
                    <a:gd name="T13" fmla="*/ 2 h 172"/>
                    <a:gd name="T14" fmla="*/ 1 w 484"/>
                    <a:gd name="T15" fmla="*/ 2 h 172"/>
                    <a:gd name="T16" fmla="*/ 2 w 484"/>
                    <a:gd name="T17" fmla="*/ 2 h 172"/>
                    <a:gd name="T18" fmla="*/ 2 w 484"/>
                    <a:gd name="T19" fmla="*/ 2 h 172"/>
                    <a:gd name="T20" fmla="*/ 3 w 484"/>
                    <a:gd name="T21" fmla="*/ 1 h 172"/>
                    <a:gd name="T22" fmla="*/ 3 w 484"/>
                    <a:gd name="T23" fmla="*/ 1 h 172"/>
                    <a:gd name="T24" fmla="*/ 4 w 484"/>
                    <a:gd name="T25" fmla="*/ 1 h 172"/>
                    <a:gd name="T26" fmla="*/ 5 w 484"/>
                    <a:gd name="T27" fmla="*/ 1 h 172"/>
                    <a:gd name="T28" fmla="*/ 5 w 484"/>
                    <a:gd name="T29" fmla="*/ 1 h 172"/>
                    <a:gd name="T30" fmla="*/ 5 w 484"/>
                    <a:gd name="T31" fmla="*/ 1 h 172"/>
                    <a:gd name="T32" fmla="*/ 5 w 484"/>
                    <a:gd name="T33" fmla="*/ 1 h 172"/>
                    <a:gd name="T34" fmla="*/ 6 w 484"/>
                    <a:gd name="T35" fmla="*/ 0 h 172"/>
                    <a:gd name="T36" fmla="*/ 5 w 484"/>
                    <a:gd name="T37" fmla="*/ 0 h 172"/>
                    <a:gd name="T38" fmla="*/ 4 w 484"/>
                    <a:gd name="T39" fmla="*/ 0 h 172"/>
                    <a:gd name="T40" fmla="*/ 4 w 484"/>
                    <a:gd name="T41" fmla="*/ 0 h 172"/>
                    <a:gd name="T42" fmla="*/ 3 w 484"/>
                    <a:gd name="T43" fmla="*/ 0 h 172"/>
                    <a:gd name="T44" fmla="*/ 3 w 484"/>
                    <a:gd name="T45" fmla="*/ 0 h 172"/>
                    <a:gd name="T46" fmla="*/ 2 w 484"/>
                    <a:gd name="T47" fmla="*/ 0 h 172"/>
                    <a:gd name="T48" fmla="*/ 2 w 484"/>
                    <a:gd name="T49" fmla="*/ 0 h 172"/>
                    <a:gd name="T50" fmla="*/ 2 w 484"/>
                    <a:gd name="T51" fmla="*/ 0 h 172"/>
                    <a:gd name="T52" fmla="*/ 2 w 484"/>
                    <a:gd name="T53" fmla="*/ 0 h 172"/>
                    <a:gd name="T54" fmla="*/ 2 w 484"/>
                    <a:gd name="T55" fmla="*/ 0 h 172"/>
                    <a:gd name="T56" fmla="*/ 2 w 484"/>
                    <a:gd name="T57" fmla="*/ 0 h 172"/>
                    <a:gd name="T58" fmla="*/ 2 w 484"/>
                    <a:gd name="T59" fmla="*/ 0 h 172"/>
                    <a:gd name="T60" fmla="*/ 2 w 484"/>
                    <a:gd name="T61" fmla="*/ 1 h 172"/>
                    <a:gd name="T62" fmla="*/ 1 w 484"/>
                    <a:gd name="T63" fmla="*/ 1 h 172"/>
                    <a:gd name="T64" fmla="*/ 1 w 484"/>
                    <a:gd name="T65" fmla="*/ 1 h 172"/>
                    <a:gd name="T66" fmla="*/ 1 w 484"/>
                    <a:gd name="T67" fmla="*/ 1 h 172"/>
                    <a:gd name="T68" fmla="*/ 0 w 484"/>
                    <a:gd name="T69" fmla="*/ 1 h 172"/>
                    <a:gd name="T70" fmla="*/ 0 w 484"/>
                    <a:gd name="T71" fmla="*/ 1 h 172"/>
                    <a:gd name="T72" fmla="*/ 0 w 484"/>
                    <a:gd name="T73" fmla="*/ 1 h 172"/>
                    <a:gd name="T74" fmla="*/ 0 w 484"/>
                    <a:gd name="T75" fmla="*/ 1 h 172"/>
                    <a:gd name="T76" fmla="*/ 0 w 484"/>
                    <a:gd name="T77" fmla="*/ 2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5" name="Freeform 426"/>
                <p:cNvSpPr>
                  <a:spLocks/>
                </p:cNvSpPr>
                <p:nvPr/>
              </p:nvSpPr>
              <p:spPr bwMode="auto">
                <a:xfrm>
                  <a:off x="1043" y="1255"/>
                  <a:ext cx="221" cy="79"/>
                </a:xfrm>
                <a:custGeom>
                  <a:avLst/>
                  <a:gdLst>
                    <a:gd name="T0" fmla="*/ 4 w 684"/>
                    <a:gd name="T1" fmla="*/ 0 h 240"/>
                    <a:gd name="T2" fmla="*/ 3 w 684"/>
                    <a:gd name="T3" fmla="*/ 0 h 240"/>
                    <a:gd name="T4" fmla="*/ 3 w 684"/>
                    <a:gd name="T5" fmla="*/ 0 h 240"/>
                    <a:gd name="T6" fmla="*/ 3 w 684"/>
                    <a:gd name="T7" fmla="*/ 1 h 240"/>
                    <a:gd name="T8" fmla="*/ 4 w 684"/>
                    <a:gd name="T9" fmla="*/ 0 h 240"/>
                    <a:gd name="T10" fmla="*/ 4 w 684"/>
                    <a:gd name="T11" fmla="*/ 0 h 240"/>
                    <a:gd name="T12" fmla="*/ 4 w 684"/>
                    <a:gd name="T13" fmla="*/ 0 h 240"/>
                    <a:gd name="T14" fmla="*/ 4 w 684"/>
                    <a:gd name="T15" fmla="*/ 1 h 240"/>
                    <a:gd name="T16" fmla="*/ 5 w 684"/>
                    <a:gd name="T17" fmla="*/ 1 h 240"/>
                    <a:gd name="T18" fmla="*/ 5 w 684"/>
                    <a:gd name="T19" fmla="*/ 1 h 240"/>
                    <a:gd name="T20" fmla="*/ 5 w 684"/>
                    <a:gd name="T21" fmla="*/ 1 h 240"/>
                    <a:gd name="T22" fmla="*/ 6 w 684"/>
                    <a:gd name="T23" fmla="*/ 1 h 240"/>
                    <a:gd name="T24" fmla="*/ 6 w 684"/>
                    <a:gd name="T25" fmla="*/ 1 h 240"/>
                    <a:gd name="T26" fmla="*/ 6 w 684"/>
                    <a:gd name="T27" fmla="*/ 0 h 240"/>
                    <a:gd name="T28" fmla="*/ 6 w 684"/>
                    <a:gd name="T29" fmla="*/ 0 h 240"/>
                    <a:gd name="T30" fmla="*/ 6 w 684"/>
                    <a:gd name="T31" fmla="*/ 0 h 240"/>
                    <a:gd name="T32" fmla="*/ 7 w 684"/>
                    <a:gd name="T33" fmla="*/ 0 h 240"/>
                    <a:gd name="T34" fmla="*/ 7 w 684"/>
                    <a:gd name="T35" fmla="*/ 0 h 240"/>
                    <a:gd name="T36" fmla="*/ 7 w 684"/>
                    <a:gd name="T37" fmla="*/ 0 h 240"/>
                    <a:gd name="T38" fmla="*/ 7 w 684"/>
                    <a:gd name="T39" fmla="*/ 1 h 240"/>
                    <a:gd name="T40" fmla="*/ 7 w 684"/>
                    <a:gd name="T41" fmla="*/ 1 h 240"/>
                    <a:gd name="T42" fmla="*/ 7 w 684"/>
                    <a:gd name="T43" fmla="*/ 1 h 240"/>
                    <a:gd name="T44" fmla="*/ 7 w 684"/>
                    <a:gd name="T45" fmla="*/ 2 h 240"/>
                    <a:gd name="T46" fmla="*/ 7 w 684"/>
                    <a:gd name="T47" fmla="*/ 2 h 240"/>
                    <a:gd name="T48" fmla="*/ 7 w 684"/>
                    <a:gd name="T49" fmla="*/ 2 h 240"/>
                    <a:gd name="T50" fmla="*/ 7 w 684"/>
                    <a:gd name="T51" fmla="*/ 2 h 240"/>
                    <a:gd name="T52" fmla="*/ 6 w 684"/>
                    <a:gd name="T53" fmla="*/ 2 h 240"/>
                    <a:gd name="T54" fmla="*/ 6 w 684"/>
                    <a:gd name="T55" fmla="*/ 2 h 240"/>
                    <a:gd name="T56" fmla="*/ 6 w 684"/>
                    <a:gd name="T57" fmla="*/ 2 h 240"/>
                    <a:gd name="T58" fmla="*/ 6 w 684"/>
                    <a:gd name="T59" fmla="*/ 2 h 240"/>
                    <a:gd name="T60" fmla="*/ 6 w 684"/>
                    <a:gd name="T61" fmla="*/ 3 h 240"/>
                    <a:gd name="T62" fmla="*/ 5 w 684"/>
                    <a:gd name="T63" fmla="*/ 3 h 240"/>
                    <a:gd name="T64" fmla="*/ 5 w 684"/>
                    <a:gd name="T65" fmla="*/ 2 h 240"/>
                    <a:gd name="T66" fmla="*/ 5 w 684"/>
                    <a:gd name="T67" fmla="*/ 2 h 240"/>
                    <a:gd name="T68" fmla="*/ 4 w 684"/>
                    <a:gd name="T69" fmla="*/ 3 h 240"/>
                    <a:gd name="T70" fmla="*/ 3 w 684"/>
                    <a:gd name="T71" fmla="*/ 3 h 240"/>
                    <a:gd name="T72" fmla="*/ 2 w 684"/>
                    <a:gd name="T73" fmla="*/ 3 h 240"/>
                    <a:gd name="T74" fmla="*/ 1 w 684"/>
                    <a:gd name="T75" fmla="*/ 3 h 240"/>
                    <a:gd name="T76" fmla="*/ 1 w 684"/>
                    <a:gd name="T77" fmla="*/ 3 h 240"/>
                    <a:gd name="T78" fmla="*/ 1 w 684"/>
                    <a:gd name="T79" fmla="*/ 2 h 240"/>
                    <a:gd name="T80" fmla="*/ 0 w 684"/>
                    <a:gd name="T81" fmla="*/ 2 h 240"/>
                    <a:gd name="T82" fmla="*/ 0 w 684"/>
                    <a:gd name="T83" fmla="*/ 2 h 240"/>
                    <a:gd name="T84" fmla="*/ 1 w 684"/>
                    <a:gd name="T85" fmla="*/ 2 h 240"/>
                    <a:gd name="T86" fmla="*/ 1 w 684"/>
                    <a:gd name="T87" fmla="*/ 2 h 240"/>
                    <a:gd name="T88" fmla="*/ 2 w 684"/>
                    <a:gd name="T89" fmla="*/ 2 h 240"/>
                    <a:gd name="T90" fmla="*/ 2 w 684"/>
                    <a:gd name="T91" fmla="*/ 2 h 240"/>
                    <a:gd name="T92" fmla="*/ 2 w 684"/>
                    <a:gd name="T93" fmla="*/ 2 h 240"/>
                    <a:gd name="T94" fmla="*/ 0 w 684"/>
                    <a:gd name="T95" fmla="*/ 2 h 240"/>
                    <a:gd name="T96" fmla="*/ 1 w 684"/>
                    <a:gd name="T97" fmla="*/ 2 h 240"/>
                    <a:gd name="T98" fmla="*/ 1 w 684"/>
                    <a:gd name="T99" fmla="*/ 1 h 240"/>
                    <a:gd name="T100" fmla="*/ 2 w 684"/>
                    <a:gd name="T101" fmla="*/ 1 h 240"/>
                    <a:gd name="T102" fmla="*/ 2 w 684"/>
                    <a:gd name="T103" fmla="*/ 1 h 240"/>
                    <a:gd name="T104" fmla="*/ 2 w 684"/>
                    <a:gd name="T105" fmla="*/ 1 h 240"/>
                    <a:gd name="T106" fmla="*/ 1 w 684"/>
                    <a:gd name="T107" fmla="*/ 1 h 240"/>
                    <a:gd name="T108" fmla="*/ 1 w 684"/>
                    <a:gd name="T109" fmla="*/ 1 h 240"/>
                    <a:gd name="T110" fmla="*/ 1 w 684"/>
                    <a:gd name="T111" fmla="*/ 1 h 240"/>
                    <a:gd name="T112" fmla="*/ 1 w 684"/>
                    <a:gd name="T113" fmla="*/ 1 h 240"/>
                    <a:gd name="T114" fmla="*/ 1 w 684"/>
                    <a:gd name="T115" fmla="*/ 1 h 240"/>
                    <a:gd name="T116" fmla="*/ 1 w 684"/>
                    <a:gd name="T117" fmla="*/ 1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6" name="Freeform 427"/>
                <p:cNvSpPr>
                  <a:spLocks/>
                </p:cNvSpPr>
                <p:nvPr/>
              </p:nvSpPr>
              <p:spPr bwMode="auto">
                <a:xfrm>
                  <a:off x="1645" y="1643"/>
                  <a:ext cx="108" cy="93"/>
                </a:xfrm>
                <a:custGeom>
                  <a:avLst/>
                  <a:gdLst>
                    <a:gd name="T0" fmla="*/ 2 w 332"/>
                    <a:gd name="T1" fmla="*/ 0 h 287"/>
                    <a:gd name="T2" fmla="*/ 2 w 332"/>
                    <a:gd name="T3" fmla="*/ 0 h 287"/>
                    <a:gd name="T4" fmla="*/ 3 w 332"/>
                    <a:gd name="T5" fmla="*/ 0 h 287"/>
                    <a:gd name="T6" fmla="*/ 3 w 332"/>
                    <a:gd name="T7" fmla="*/ 0 h 287"/>
                    <a:gd name="T8" fmla="*/ 3 w 332"/>
                    <a:gd name="T9" fmla="*/ 0 h 287"/>
                    <a:gd name="T10" fmla="*/ 3 w 332"/>
                    <a:gd name="T11" fmla="*/ 0 h 287"/>
                    <a:gd name="T12" fmla="*/ 3 w 332"/>
                    <a:gd name="T13" fmla="*/ 0 h 287"/>
                    <a:gd name="T14" fmla="*/ 2 w 332"/>
                    <a:gd name="T15" fmla="*/ 1 h 287"/>
                    <a:gd name="T16" fmla="*/ 2 w 332"/>
                    <a:gd name="T17" fmla="*/ 1 h 287"/>
                    <a:gd name="T18" fmla="*/ 2 w 332"/>
                    <a:gd name="T19" fmla="*/ 1 h 287"/>
                    <a:gd name="T20" fmla="*/ 2 w 332"/>
                    <a:gd name="T21" fmla="*/ 1 h 287"/>
                    <a:gd name="T22" fmla="*/ 2 w 332"/>
                    <a:gd name="T23" fmla="*/ 1 h 287"/>
                    <a:gd name="T24" fmla="*/ 2 w 332"/>
                    <a:gd name="T25" fmla="*/ 1 h 287"/>
                    <a:gd name="T26" fmla="*/ 3 w 332"/>
                    <a:gd name="T27" fmla="*/ 1 h 287"/>
                    <a:gd name="T28" fmla="*/ 2 w 332"/>
                    <a:gd name="T29" fmla="*/ 1 h 287"/>
                    <a:gd name="T30" fmla="*/ 2 w 332"/>
                    <a:gd name="T31" fmla="*/ 1 h 287"/>
                    <a:gd name="T32" fmla="*/ 2 w 332"/>
                    <a:gd name="T33" fmla="*/ 1 h 287"/>
                    <a:gd name="T34" fmla="*/ 3 w 332"/>
                    <a:gd name="T35" fmla="*/ 1 h 287"/>
                    <a:gd name="T36" fmla="*/ 4 w 332"/>
                    <a:gd name="T37" fmla="*/ 1 h 287"/>
                    <a:gd name="T38" fmla="*/ 4 w 332"/>
                    <a:gd name="T39" fmla="*/ 2 h 287"/>
                    <a:gd name="T40" fmla="*/ 4 w 332"/>
                    <a:gd name="T41" fmla="*/ 2 h 287"/>
                    <a:gd name="T42" fmla="*/ 3 w 332"/>
                    <a:gd name="T43" fmla="*/ 2 h 287"/>
                    <a:gd name="T44" fmla="*/ 3 w 332"/>
                    <a:gd name="T45" fmla="*/ 2 h 287"/>
                    <a:gd name="T46" fmla="*/ 3 w 332"/>
                    <a:gd name="T47" fmla="*/ 2 h 287"/>
                    <a:gd name="T48" fmla="*/ 4 w 332"/>
                    <a:gd name="T49" fmla="*/ 2 h 287"/>
                    <a:gd name="T50" fmla="*/ 4 w 332"/>
                    <a:gd name="T51" fmla="*/ 2 h 287"/>
                    <a:gd name="T52" fmla="*/ 4 w 332"/>
                    <a:gd name="T53" fmla="*/ 2 h 287"/>
                    <a:gd name="T54" fmla="*/ 3 w 332"/>
                    <a:gd name="T55" fmla="*/ 2 h 287"/>
                    <a:gd name="T56" fmla="*/ 3 w 332"/>
                    <a:gd name="T57" fmla="*/ 3 h 287"/>
                    <a:gd name="T58" fmla="*/ 2 w 332"/>
                    <a:gd name="T59" fmla="*/ 3 h 287"/>
                    <a:gd name="T60" fmla="*/ 2 w 332"/>
                    <a:gd name="T61" fmla="*/ 3 h 287"/>
                    <a:gd name="T62" fmla="*/ 2 w 332"/>
                    <a:gd name="T63" fmla="*/ 3 h 287"/>
                    <a:gd name="T64" fmla="*/ 2 w 332"/>
                    <a:gd name="T65" fmla="*/ 3 h 287"/>
                    <a:gd name="T66" fmla="*/ 2 w 332"/>
                    <a:gd name="T67" fmla="*/ 3 h 287"/>
                    <a:gd name="T68" fmla="*/ 2 w 332"/>
                    <a:gd name="T69" fmla="*/ 3 h 287"/>
                    <a:gd name="T70" fmla="*/ 1 w 332"/>
                    <a:gd name="T71" fmla="*/ 3 h 287"/>
                    <a:gd name="T72" fmla="*/ 1 w 332"/>
                    <a:gd name="T73" fmla="*/ 3 h 287"/>
                    <a:gd name="T74" fmla="*/ 0 w 332"/>
                    <a:gd name="T75" fmla="*/ 3 h 287"/>
                    <a:gd name="T76" fmla="*/ 0 w 332"/>
                    <a:gd name="T77" fmla="*/ 3 h 287"/>
                    <a:gd name="T78" fmla="*/ 0 w 332"/>
                    <a:gd name="T79" fmla="*/ 2 h 287"/>
                    <a:gd name="T80" fmla="*/ 0 w 332"/>
                    <a:gd name="T81" fmla="*/ 2 h 287"/>
                    <a:gd name="T82" fmla="*/ 0 w 332"/>
                    <a:gd name="T83" fmla="*/ 2 h 287"/>
                    <a:gd name="T84" fmla="*/ 0 w 332"/>
                    <a:gd name="T85" fmla="*/ 2 h 287"/>
                    <a:gd name="T86" fmla="*/ 0 w 332"/>
                    <a:gd name="T87" fmla="*/ 2 h 287"/>
                    <a:gd name="T88" fmla="*/ 1 w 332"/>
                    <a:gd name="T89" fmla="*/ 2 h 287"/>
                    <a:gd name="T90" fmla="*/ 1 w 332"/>
                    <a:gd name="T91" fmla="*/ 2 h 287"/>
                    <a:gd name="T92" fmla="*/ 1 w 332"/>
                    <a:gd name="T93" fmla="*/ 2 h 287"/>
                    <a:gd name="T94" fmla="*/ 1 w 332"/>
                    <a:gd name="T95" fmla="*/ 2 h 287"/>
                    <a:gd name="T96" fmla="*/ 1 w 332"/>
                    <a:gd name="T97" fmla="*/ 1 h 287"/>
                    <a:gd name="T98" fmla="*/ 2 w 332"/>
                    <a:gd name="T99" fmla="*/ 1 h 287"/>
                    <a:gd name="T100" fmla="*/ 2 w 332"/>
                    <a:gd name="T101" fmla="*/ 1 h 287"/>
                    <a:gd name="T102" fmla="*/ 2 w 332"/>
                    <a:gd name="T103" fmla="*/ 1 h 287"/>
                    <a:gd name="T104" fmla="*/ 2 w 332"/>
                    <a:gd name="T105" fmla="*/ 1 h 287"/>
                    <a:gd name="T106" fmla="*/ 2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7" name="Freeform 428"/>
                <p:cNvSpPr>
                  <a:spLocks/>
                </p:cNvSpPr>
                <p:nvPr/>
              </p:nvSpPr>
              <p:spPr bwMode="auto">
                <a:xfrm>
                  <a:off x="1102" y="1190"/>
                  <a:ext cx="111" cy="27"/>
                </a:xfrm>
                <a:custGeom>
                  <a:avLst/>
                  <a:gdLst>
                    <a:gd name="T0" fmla="*/ 1 w 345"/>
                    <a:gd name="T1" fmla="*/ 1 h 86"/>
                    <a:gd name="T2" fmla="*/ 1 w 345"/>
                    <a:gd name="T3" fmla="*/ 1 h 86"/>
                    <a:gd name="T4" fmla="*/ 2 w 345"/>
                    <a:gd name="T5" fmla="*/ 1 h 86"/>
                    <a:gd name="T6" fmla="*/ 2 w 345"/>
                    <a:gd name="T7" fmla="*/ 1 h 86"/>
                    <a:gd name="T8" fmla="*/ 2 w 345"/>
                    <a:gd name="T9" fmla="*/ 1 h 86"/>
                    <a:gd name="T10" fmla="*/ 2 w 345"/>
                    <a:gd name="T11" fmla="*/ 1 h 86"/>
                    <a:gd name="T12" fmla="*/ 3 w 345"/>
                    <a:gd name="T13" fmla="*/ 1 h 86"/>
                    <a:gd name="T14" fmla="*/ 3 w 345"/>
                    <a:gd name="T15" fmla="*/ 1 h 86"/>
                    <a:gd name="T16" fmla="*/ 3 w 345"/>
                    <a:gd name="T17" fmla="*/ 1 h 86"/>
                    <a:gd name="T18" fmla="*/ 3 w 345"/>
                    <a:gd name="T19" fmla="*/ 0 h 86"/>
                    <a:gd name="T20" fmla="*/ 3 w 345"/>
                    <a:gd name="T21" fmla="*/ 0 h 86"/>
                    <a:gd name="T22" fmla="*/ 3 w 345"/>
                    <a:gd name="T23" fmla="*/ 0 h 86"/>
                    <a:gd name="T24" fmla="*/ 4 w 345"/>
                    <a:gd name="T25" fmla="*/ 0 h 86"/>
                    <a:gd name="T26" fmla="*/ 4 w 345"/>
                    <a:gd name="T27" fmla="*/ 0 h 86"/>
                    <a:gd name="T28" fmla="*/ 4 w 345"/>
                    <a:gd name="T29" fmla="*/ 0 h 86"/>
                    <a:gd name="T30" fmla="*/ 4 w 345"/>
                    <a:gd name="T31" fmla="*/ 0 h 86"/>
                    <a:gd name="T32" fmla="*/ 4 w 345"/>
                    <a:gd name="T33" fmla="*/ 0 h 86"/>
                    <a:gd name="T34" fmla="*/ 4 w 345"/>
                    <a:gd name="T35" fmla="*/ 0 h 86"/>
                    <a:gd name="T36" fmla="*/ 3 w 345"/>
                    <a:gd name="T37" fmla="*/ 0 h 86"/>
                    <a:gd name="T38" fmla="*/ 3 w 345"/>
                    <a:gd name="T39" fmla="*/ 0 h 86"/>
                    <a:gd name="T40" fmla="*/ 3 w 345"/>
                    <a:gd name="T41" fmla="*/ 0 h 86"/>
                    <a:gd name="T42" fmla="*/ 3 w 345"/>
                    <a:gd name="T43" fmla="*/ 0 h 86"/>
                    <a:gd name="T44" fmla="*/ 3 w 345"/>
                    <a:gd name="T45" fmla="*/ 0 h 86"/>
                    <a:gd name="T46" fmla="*/ 3 w 345"/>
                    <a:gd name="T47" fmla="*/ 0 h 86"/>
                    <a:gd name="T48" fmla="*/ 3 w 345"/>
                    <a:gd name="T49" fmla="*/ 0 h 86"/>
                    <a:gd name="T50" fmla="*/ 2 w 345"/>
                    <a:gd name="T51" fmla="*/ 0 h 86"/>
                    <a:gd name="T52" fmla="*/ 2 w 345"/>
                    <a:gd name="T53" fmla="*/ 0 h 86"/>
                    <a:gd name="T54" fmla="*/ 2 w 345"/>
                    <a:gd name="T55" fmla="*/ 0 h 86"/>
                    <a:gd name="T56" fmla="*/ 1 w 345"/>
                    <a:gd name="T57" fmla="*/ 0 h 86"/>
                    <a:gd name="T58" fmla="*/ 1 w 345"/>
                    <a:gd name="T59" fmla="*/ 0 h 86"/>
                    <a:gd name="T60" fmla="*/ 1 w 345"/>
                    <a:gd name="T61" fmla="*/ 0 h 86"/>
                    <a:gd name="T62" fmla="*/ 1 w 345"/>
                    <a:gd name="T63" fmla="*/ 1 h 86"/>
                    <a:gd name="T64" fmla="*/ 1 w 345"/>
                    <a:gd name="T65" fmla="*/ 1 h 86"/>
                    <a:gd name="T66" fmla="*/ 0 w 345"/>
                    <a:gd name="T67" fmla="*/ 1 h 86"/>
                    <a:gd name="T68" fmla="*/ 0 w 345"/>
                    <a:gd name="T69" fmla="*/ 1 h 86"/>
                    <a:gd name="T70" fmla="*/ 0 w 345"/>
                    <a:gd name="T71" fmla="*/ 1 h 86"/>
                    <a:gd name="T72" fmla="*/ 0 w 345"/>
                    <a:gd name="T73" fmla="*/ 1 h 86"/>
                    <a:gd name="T74" fmla="*/ 1 w 345"/>
                    <a:gd name="T75" fmla="*/ 1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8" name="Freeform 429"/>
                <p:cNvSpPr>
                  <a:spLocks/>
                </p:cNvSpPr>
                <p:nvPr/>
              </p:nvSpPr>
              <p:spPr bwMode="auto">
                <a:xfrm>
                  <a:off x="1158" y="1199"/>
                  <a:ext cx="149" cy="43"/>
                </a:xfrm>
                <a:custGeom>
                  <a:avLst/>
                  <a:gdLst>
                    <a:gd name="T0" fmla="*/ 0 w 464"/>
                    <a:gd name="T1" fmla="*/ 1 h 130"/>
                    <a:gd name="T2" fmla="*/ 1 w 464"/>
                    <a:gd name="T3" fmla="*/ 1 h 130"/>
                    <a:gd name="T4" fmla="*/ 1 w 464"/>
                    <a:gd name="T5" fmla="*/ 1 h 130"/>
                    <a:gd name="T6" fmla="*/ 1 w 464"/>
                    <a:gd name="T7" fmla="*/ 1 h 130"/>
                    <a:gd name="T8" fmla="*/ 1 w 464"/>
                    <a:gd name="T9" fmla="*/ 1 h 130"/>
                    <a:gd name="T10" fmla="*/ 1 w 464"/>
                    <a:gd name="T11" fmla="*/ 1 h 130"/>
                    <a:gd name="T12" fmla="*/ 1 w 464"/>
                    <a:gd name="T13" fmla="*/ 1 h 130"/>
                    <a:gd name="T14" fmla="*/ 1 w 464"/>
                    <a:gd name="T15" fmla="*/ 2 h 130"/>
                    <a:gd name="T16" fmla="*/ 1 w 464"/>
                    <a:gd name="T17" fmla="*/ 2 h 130"/>
                    <a:gd name="T18" fmla="*/ 1 w 464"/>
                    <a:gd name="T19" fmla="*/ 2 h 130"/>
                    <a:gd name="T20" fmla="*/ 1 w 464"/>
                    <a:gd name="T21" fmla="*/ 2 h 130"/>
                    <a:gd name="T22" fmla="*/ 2 w 464"/>
                    <a:gd name="T23" fmla="*/ 1 h 130"/>
                    <a:gd name="T24" fmla="*/ 2 w 464"/>
                    <a:gd name="T25" fmla="*/ 1 h 130"/>
                    <a:gd name="T26" fmla="*/ 2 w 464"/>
                    <a:gd name="T27" fmla="*/ 1 h 130"/>
                    <a:gd name="T28" fmla="*/ 3 w 464"/>
                    <a:gd name="T29" fmla="*/ 1 h 130"/>
                    <a:gd name="T30" fmla="*/ 3 w 464"/>
                    <a:gd name="T31" fmla="*/ 1 h 130"/>
                    <a:gd name="T32" fmla="*/ 3 w 464"/>
                    <a:gd name="T33" fmla="*/ 1 h 130"/>
                    <a:gd name="T34" fmla="*/ 4 w 464"/>
                    <a:gd name="T35" fmla="*/ 1 h 130"/>
                    <a:gd name="T36" fmla="*/ 4 w 464"/>
                    <a:gd name="T37" fmla="*/ 1 h 130"/>
                    <a:gd name="T38" fmla="*/ 4 w 464"/>
                    <a:gd name="T39" fmla="*/ 1 h 130"/>
                    <a:gd name="T40" fmla="*/ 5 w 464"/>
                    <a:gd name="T41" fmla="*/ 1 h 130"/>
                    <a:gd name="T42" fmla="*/ 5 w 464"/>
                    <a:gd name="T43" fmla="*/ 1 h 130"/>
                    <a:gd name="T44" fmla="*/ 4 w 464"/>
                    <a:gd name="T45" fmla="*/ 1 h 130"/>
                    <a:gd name="T46" fmla="*/ 4 w 464"/>
                    <a:gd name="T47" fmla="*/ 1 h 130"/>
                    <a:gd name="T48" fmla="*/ 4 w 464"/>
                    <a:gd name="T49" fmla="*/ 1 h 130"/>
                    <a:gd name="T50" fmla="*/ 4 w 464"/>
                    <a:gd name="T51" fmla="*/ 0 h 130"/>
                    <a:gd name="T52" fmla="*/ 4 w 464"/>
                    <a:gd name="T53" fmla="*/ 0 h 130"/>
                    <a:gd name="T54" fmla="*/ 4 w 464"/>
                    <a:gd name="T55" fmla="*/ 0 h 130"/>
                    <a:gd name="T56" fmla="*/ 4 w 464"/>
                    <a:gd name="T57" fmla="*/ 0 h 130"/>
                    <a:gd name="T58" fmla="*/ 4 w 464"/>
                    <a:gd name="T59" fmla="*/ 0 h 130"/>
                    <a:gd name="T60" fmla="*/ 4 w 464"/>
                    <a:gd name="T61" fmla="*/ 1 h 130"/>
                    <a:gd name="T62" fmla="*/ 4 w 464"/>
                    <a:gd name="T63" fmla="*/ 1 h 130"/>
                    <a:gd name="T64" fmla="*/ 3 w 464"/>
                    <a:gd name="T65" fmla="*/ 1 h 130"/>
                    <a:gd name="T66" fmla="*/ 3 w 464"/>
                    <a:gd name="T67" fmla="*/ 1 h 130"/>
                    <a:gd name="T68" fmla="*/ 3 w 464"/>
                    <a:gd name="T69" fmla="*/ 1 h 130"/>
                    <a:gd name="T70" fmla="*/ 3 w 464"/>
                    <a:gd name="T71" fmla="*/ 1 h 130"/>
                    <a:gd name="T72" fmla="*/ 3 w 464"/>
                    <a:gd name="T73" fmla="*/ 1 h 130"/>
                    <a:gd name="T74" fmla="*/ 2 w 464"/>
                    <a:gd name="T75" fmla="*/ 0 h 130"/>
                    <a:gd name="T76" fmla="*/ 2 w 464"/>
                    <a:gd name="T77" fmla="*/ 0 h 130"/>
                    <a:gd name="T78" fmla="*/ 2 w 464"/>
                    <a:gd name="T79" fmla="*/ 0 h 130"/>
                    <a:gd name="T80" fmla="*/ 1 w 464"/>
                    <a:gd name="T81" fmla="*/ 0 h 130"/>
                    <a:gd name="T82" fmla="*/ 1 w 464"/>
                    <a:gd name="T83" fmla="*/ 1 h 130"/>
                    <a:gd name="T84" fmla="*/ 1 w 464"/>
                    <a:gd name="T85" fmla="*/ 1 h 130"/>
                    <a:gd name="T86" fmla="*/ 0 w 464"/>
                    <a:gd name="T87" fmla="*/ 1 h 130"/>
                    <a:gd name="T88" fmla="*/ 0 w 464"/>
                    <a:gd name="T89" fmla="*/ 1 h 130"/>
                    <a:gd name="T90" fmla="*/ 0 w 464"/>
                    <a:gd name="T91" fmla="*/ 1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9" name="Freeform 430"/>
                <p:cNvSpPr>
                  <a:spLocks/>
                </p:cNvSpPr>
                <p:nvPr/>
              </p:nvSpPr>
              <p:spPr bwMode="auto">
                <a:xfrm>
                  <a:off x="1472" y="1205"/>
                  <a:ext cx="153" cy="31"/>
                </a:xfrm>
                <a:custGeom>
                  <a:avLst/>
                  <a:gdLst>
                    <a:gd name="T0" fmla="*/ 1 w 472"/>
                    <a:gd name="T1" fmla="*/ 0 h 92"/>
                    <a:gd name="T2" fmla="*/ 1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1 h 92"/>
                    <a:gd name="T18" fmla="*/ 0 w 472"/>
                    <a:gd name="T19" fmla="*/ 1 h 92"/>
                    <a:gd name="T20" fmla="*/ 0 w 472"/>
                    <a:gd name="T21" fmla="*/ 1 h 92"/>
                    <a:gd name="T22" fmla="*/ 0 w 472"/>
                    <a:gd name="T23" fmla="*/ 1 h 92"/>
                    <a:gd name="T24" fmla="*/ 0 w 472"/>
                    <a:gd name="T25" fmla="*/ 1 h 92"/>
                    <a:gd name="T26" fmla="*/ 1 w 472"/>
                    <a:gd name="T27" fmla="*/ 1 h 92"/>
                    <a:gd name="T28" fmla="*/ 1 w 472"/>
                    <a:gd name="T29" fmla="*/ 1 h 92"/>
                    <a:gd name="T30" fmla="*/ 2 w 472"/>
                    <a:gd name="T31" fmla="*/ 1 h 92"/>
                    <a:gd name="T32" fmla="*/ 4 w 472"/>
                    <a:gd name="T33" fmla="*/ 1 h 92"/>
                    <a:gd name="T34" fmla="*/ 4 w 472"/>
                    <a:gd name="T35" fmla="*/ 1 h 92"/>
                    <a:gd name="T36" fmla="*/ 4 w 472"/>
                    <a:gd name="T37" fmla="*/ 1 h 92"/>
                    <a:gd name="T38" fmla="*/ 5 w 472"/>
                    <a:gd name="T39" fmla="*/ 1 h 92"/>
                    <a:gd name="T40" fmla="*/ 5 w 472"/>
                    <a:gd name="T41" fmla="*/ 1 h 92"/>
                    <a:gd name="T42" fmla="*/ 5 w 472"/>
                    <a:gd name="T43" fmla="*/ 1 h 92"/>
                    <a:gd name="T44" fmla="*/ 5 w 472"/>
                    <a:gd name="T45" fmla="*/ 1 h 92"/>
                    <a:gd name="T46" fmla="*/ 5 w 472"/>
                    <a:gd name="T47" fmla="*/ 1 h 92"/>
                    <a:gd name="T48" fmla="*/ 5 w 472"/>
                    <a:gd name="T49" fmla="*/ 0 h 92"/>
                    <a:gd name="T50" fmla="*/ 5 w 472"/>
                    <a:gd name="T51" fmla="*/ 0 h 92"/>
                    <a:gd name="T52" fmla="*/ 5 w 472"/>
                    <a:gd name="T53" fmla="*/ 0 h 92"/>
                    <a:gd name="T54" fmla="*/ 5 w 472"/>
                    <a:gd name="T55" fmla="*/ 0 h 92"/>
                    <a:gd name="T56" fmla="*/ 5 w 472"/>
                    <a:gd name="T57" fmla="*/ 0 h 92"/>
                    <a:gd name="T58" fmla="*/ 4 w 472"/>
                    <a:gd name="T59" fmla="*/ 0 h 92"/>
                    <a:gd name="T60" fmla="*/ 4 w 472"/>
                    <a:gd name="T61" fmla="*/ 0 h 92"/>
                    <a:gd name="T62" fmla="*/ 4 w 472"/>
                    <a:gd name="T63" fmla="*/ 0 h 92"/>
                    <a:gd name="T64" fmla="*/ 3 w 472"/>
                    <a:gd name="T65" fmla="*/ 0 h 92"/>
                    <a:gd name="T66" fmla="*/ 3 w 472"/>
                    <a:gd name="T67" fmla="*/ 1 h 92"/>
                    <a:gd name="T68" fmla="*/ 3 w 472"/>
                    <a:gd name="T69" fmla="*/ 1 h 92"/>
                    <a:gd name="T70" fmla="*/ 2 w 472"/>
                    <a:gd name="T71" fmla="*/ 1 h 92"/>
                    <a:gd name="T72" fmla="*/ 2 w 472"/>
                    <a:gd name="T73" fmla="*/ 1 h 92"/>
                    <a:gd name="T74" fmla="*/ 1 w 472"/>
                    <a:gd name="T75" fmla="*/ 1 h 92"/>
                    <a:gd name="T76" fmla="*/ 1 w 472"/>
                    <a:gd name="T77" fmla="*/ 1 h 92"/>
                    <a:gd name="T78" fmla="*/ 1 w 472"/>
                    <a:gd name="T79" fmla="*/ 0 h 92"/>
                    <a:gd name="T80" fmla="*/ 1 w 472"/>
                    <a:gd name="T81" fmla="*/ 0 h 92"/>
                    <a:gd name="T82" fmla="*/ 1 w 472"/>
                    <a:gd name="T83" fmla="*/ 0 h 92"/>
                    <a:gd name="T84" fmla="*/ 1 w 472"/>
                    <a:gd name="T85" fmla="*/ 0 h 92"/>
                    <a:gd name="T86" fmla="*/ 1 w 472"/>
                    <a:gd name="T87" fmla="*/ 0 h 92"/>
                    <a:gd name="T88" fmla="*/ 1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0" name="Freeform 431"/>
                <p:cNvSpPr>
                  <a:spLocks/>
                </p:cNvSpPr>
                <p:nvPr/>
              </p:nvSpPr>
              <p:spPr bwMode="auto">
                <a:xfrm>
                  <a:off x="1513" y="1136"/>
                  <a:ext cx="106" cy="45"/>
                </a:xfrm>
                <a:custGeom>
                  <a:avLst/>
                  <a:gdLst>
                    <a:gd name="T0" fmla="*/ 2 w 326"/>
                    <a:gd name="T1" fmla="*/ 1 h 135"/>
                    <a:gd name="T2" fmla="*/ 2 w 326"/>
                    <a:gd name="T3" fmla="*/ 1 h 135"/>
                    <a:gd name="T4" fmla="*/ 3 w 326"/>
                    <a:gd name="T5" fmla="*/ 1 h 135"/>
                    <a:gd name="T6" fmla="*/ 3 w 326"/>
                    <a:gd name="T7" fmla="*/ 1 h 135"/>
                    <a:gd name="T8" fmla="*/ 4 w 326"/>
                    <a:gd name="T9" fmla="*/ 1 h 135"/>
                    <a:gd name="T10" fmla="*/ 4 w 326"/>
                    <a:gd name="T11" fmla="*/ 1 h 135"/>
                    <a:gd name="T12" fmla="*/ 4 w 326"/>
                    <a:gd name="T13" fmla="*/ 1 h 135"/>
                    <a:gd name="T14" fmla="*/ 3 w 326"/>
                    <a:gd name="T15" fmla="*/ 1 h 135"/>
                    <a:gd name="T16" fmla="*/ 3 w 326"/>
                    <a:gd name="T17" fmla="*/ 0 h 135"/>
                    <a:gd name="T18" fmla="*/ 3 w 326"/>
                    <a:gd name="T19" fmla="*/ 0 h 135"/>
                    <a:gd name="T20" fmla="*/ 3 w 326"/>
                    <a:gd name="T21" fmla="*/ 0 h 135"/>
                    <a:gd name="T22" fmla="*/ 2 w 326"/>
                    <a:gd name="T23" fmla="*/ 0 h 135"/>
                    <a:gd name="T24" fmla="*/ 2 w 326"/>
                    <a:gd name="T25" fmla="*/ 0 h 135"/>
                    <a:gd name="T26" fmla="*/ 2 w 326"/>
                    <a:gd name="T27" fmla="*/ 0 h 135"/>
                    <a:gd name="T28" fmla="*/ 2 w 326"/>
                    <a:gd name="T29" fmla="*/ 0 h 135"/>
                    <a:gd name="T30" fmla="*/ 2 w 326"/>
                    <a:gd name="T31" fmla="*/ 0 h 135"/>
                    <a:gd name="T32" fmla="*/ 2 w 326"/>
                    <a:gd name="T33" fmla="*/ 0 h 135"/>
                    <a:gd name="T34" fmla="*/ 2 w 326"/>
                    <a:gd name="T35" fmla="*/ 0 h 135"/>
                    <a:gd name="T36" fmla="*/ 1 w 326"/>
                    <a:gd name="T37" fmla="*/ 0 h 135"/>
                    <a:gd name="T38" fmla="*/ 1 w 326"/>
                    <a:gd name="T39" fmla="*/ 0 h 135"/>
                    <a:gd name="T40" fmla="*/ 0 w 326"/>
                    <a:gd name="T41" fmla="*/ 0 h 135"/>
                    <a:gd name="T42" fmla="*/ 0 w 326"/>
                    <a:gd name="T43" fmla="*/ 0 h 135"/>
                    <a:gd name="T44" fmla="*/ 0 w 326"/>
                    <a:gd name="T45" fmla="*/ 1 h 135"/>
                    <a:gd name="T46" fmla="*/ 0 w 326"/>
                    <a:gd name="T47" fmla="*/ 1 h 135"/>
                    <a:gd name="T48" fmla="*/ 0 w 326"/>
                    <a:gd name="T49" fmla="*/ 1 h 135"/>
                    <a:gd name="T50" fmla="*/ 1 w 326"/>
                    <a:gd name="T51" fmla="*/ 1 h 135"/>
                    <a:gd name="T52" fmla="*/ 0 w 326"/>
                    <a:gd name="T53" fmla="*/ 1 h 135"/>
                    <a:gd name="T54" fmla="*/ 0 w 326"/>
                    <a:gd name="T55" fmla="*/ 1 h 135"/>
                    <a:gd name="T56" fmla="*/ 1 w 326"/>
                    <a:gd name="T57" fmla="*/ 1 h 135"/>
                    <a:gd name="T58" fmla="*/ 1 w 326"/>
                    <a:gd name="T59" fmla="*/ 2 h 135"/>
                    <a:gd name="T60" fmla="*/ 1 w 326"/>
                    <a:gd name="T61" fmla="*/ 2 h 135"/>
                    <a:gd name="T62" fmla="*/ 1 w 326"/>
                    <a:gd name="T63" fmla="*/ 2 h 135"/>
                    <a:gd name="T64" fmla="*/ 1 w 326"/>
                    <a:gd name="T65" fmla="*/ 2 h 135"/>
                    <a:gd name="T66" fmla="*/ 1 w 326"/>
                    <a:gd name="T67" fmla="*/ 2 h 135"/>
                    <a:gd name="T68" fmla="*/ 1 w 326"/>
                    <a:gd name="T69" fmla="*/ 2 h 135"/>
                    <a:gd name="T70" fmla="*/ 1 w 326"/>
                    <a:gd name="T71" fmla="*/ 1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1" name="Freeform 432"/>
                <p:cNvSpPr>
                  <a:spLocks/>
                </p:cNvSpPr>
                <p:nvPr/>
              </p:nvSpPr>
              <p:spPr bwMode="auto">
                <a:xfrm>
                  <a:off x="1584" y="1245"/>
                  <a:ext cx="51" cy="18"/>
                </a:xfrm>
                <a:custGeom>
                  <a:avLst/>
                  <a:gdLst>
                    <a:gd name="T0" fmla="*/ 1 w 159"/>
                    <a:gd name="T1" fmla="*/ 1 h 56"/>
                    <a:gd name="T2" fmla="*/ 0 w 159"/>
                    <a:gd name="T3" fmla="*/ 1 h 56"/>
                    <a:gd name="T4" fmla="*/ 0 w 159"/>
                    <a:gd name="T5" fmla="*/ 1 h 56"/>
                    <a:gd name="T6" fmla="*/ 0 w 159"/>
                    <a:gd name="T7" fmla="*/ 1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1 w 159"/>
                    <a:gd name="T27" fmla="*/ 0 h 56"/>
                    <a:gd name="T28" fmla="*/ 1 w 159"/>
                    <a:gd name="T29" fmla="*/ 0 h 56"/>
                    <a:gd name="T30" fmla="*/ 1 w 159"/>
                    <a:gd name="T31" fmla="*/ 0 h 56"/>
                    <a:gd name="T32" fmla="*/ 1 w 159"/>
                    <a:gd name="T33" fmla="*/ 0 h 56"/>
                    <a:gd name="T34" fmla="*/ 1 w 159"/>
                    <a:gd name="T35" fmla="*/ 0 h 56"/>
                    <a:gd name="T36" fmla="*/ 1 w 159"/>
                    <a:gd name="T37" fmla="*/ 0 h 56"/>
                    <a:gd name="T38" fmla="*/ 1 w 159"/>
                    <a:gd name="T39" fmla="*/ 0 h 56"/>
                    <a:gd name="T40" fmla="*/ 2 w 159"/>
                    <a:gd name="T41" fmla="*/ 0 h 56"/>
                    <a:gd name="T42" fmla="*/ 2 w 159"/>
                    <a:gd name="T43" fmla="*/ 0 h 56"/>
                    <a:gd name="T44" fmla="*/ 2 w 159"/>
                    <a:gd name="T45" fmla="*/ 0 h 56"/>
                    <a:gd name="T46" fmla="*/ 2 w 159"/>
                    <a:gd name="T47" fmla="*/ 0 h 56"/>
                    <a:gd name="T48" fmla="*/ 2 w 159"/>
                    <a:gd name="T49" fmla="*/ 0 h 56"/>
                    <a:gd name="T50" fmla="*/ 2 w 159"/>
                    <a:gd name="T51" fmla="*/ 0 h 56"/>
                    <a:gd name="T52" fmla="*/ 2 w 159"/>
                    <a:gd name="T53" fmla="*/ 0 h 56"/>
                    <a:gd name="T54" fmla="*/ 2 w 159"/>
                    <a:gd name="T55" fmla="*/ 1 h 56"/>
                    <a:gd name="T56" fmla="*/ 2 w 159"/>
                    <a:gd name="T57" fmla="*/ 1 h 56"/>
                    <a:gd name="T58" fmla="*/ 1 w 159"/>
                    <a:gd name="T59" fmla="*/ 1 h 56"/>
                    <a:gd name="T60" fmla="*/ 1 w 159"/>
                    <a:gd name="T61" fmla="*/ 1 h 56"/>
                    <a:gd name="T62" fmla="*/ 1 w 159"/>
                    <a:gd name="T63" fmla="*/ 1 h 56"/>
                    <a:gd name="T64" fmla="*/ 1 w 159"/>
                    <a:gd name="T65" fmla="*/ 1 h 56"/>
                    <a:gd name="T66" fmla="*/ 1 w 159"/>
                    <a:gd name="T67" fmla="*/ 1 h 56"/>
                    <a:gd name="T68" fmla="*/ 1 w 159"/>
                    <a:gd name="T69" fmla="*/ 1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2" name="Freeform 433"/>
                <p:cNvSpPr>
                  <a:spLocks/>
                </p:cNvSpPr>
                <p:nvPr/>
              </p:nvSpPr>
              <p:spPr bwMode="auto">
                <a:xfrm>
                  <a:off x="534" y="1280"/>
                  <a:ext cx="1205" cy="539"/>
                </a:xfrm>
                <a:custGeom>
                  <a:avLst/>
                  <a:gdLst>
                    <a:gd name="T0" fmla="*/ 32 w 3734"/>
                    <a:gd name="T1" fmla="*/ 16 h 1644"/>
                    <a:gd name="T2" fmla="*/ 28 w 3734"/>
                    <a:gd name="T3" fmla="*/ 18 h 1644"/>
                    <a:gd name="T4" fmla="*/ 25 w 3734"/>
                    <a:gd name="T5" fmla="*/ 18 h 1644"/>
                    <a:gd name="T6" fmla="*/ 25 w 3734"/>
                    <a:gd name="T7" fmla="*/ 19 h 1644"/>
                    <a:gd name="T8" fmla="*/ 24 w 3734"/>
                    <a:gd name="T9" fmla="*/ 19 h 1644"/>
                    <a:gd name="T10" fmla="*/ 25 w 3734"/>
                    <a:gd name="T11" fmla="*/ 17 h 1644"/>
                    <a:gd name="T12" fmla="*/ 24 w 3734"/>
                    <a:gd name="T13" fmla="*/ 16 h 1644"/>
                    <a:gd name="T14" fmla="*/ 23 w 3734"/>
                    <a:gd name="T15" fmla="*/ 15 h 1644"/>
                    <a:gd name="T16" fmla="*/ 21 w 3734"/>
                    <a:gd name="T17" fmla="*/ 15 h 1644"/>
                    <a:gd name="T18" fmla="*/ 19 w 3734"/>
                    <a:gd name="T19" fmla="*/ 15 h 1644"/>
                    <a:gd name="T20" fmla="*/ 3 w 3734"/>
                    <a:gd name="T21" fmla="*/ 14 h 1644"/>
                    <a:gd name="T22" fmla="*/ 1 w 3734"/>
                    <a:gd name="T23" fmla="*/ 13 h 1644"/>
                    <a:gd name="T24" fmla="*/ 2 w 3734"/>
                    <a:gd name="T25" fmla="*/ 12 h 1644"/>
                    <a:gd name="T26" fmla="*/ 2 w 3734"/>
                    <a:gd name="T27" fmla="*/ 11 h 1644"/>
                    <a:gd name="T28" fmla="*/ 3 w 3734"/>
                    <a:gd name="T29" fmla="*/ 10 h 1644"/>
                    <a:gd name="T30" fmla="*/ 3 w 3734"/>
                    <a:gd name="T31" fmla="*/ 9 h 1644"/>
                    <a:gd name="T32" fmla="*/ 1 w 3734"/>
                    <a:gd name="T33" fmla="*/ 8 h 1644"/>
                    <a:gd name="T34" fmla="*/ 6 w 3734"/>
                    <a:gd name="T35" fmla="*/ 1 h 1644"/>
                    <a:gd name="T36" fmla="*/ 12 w 3734"/>
                    <a:gd name="T37" fmla="*/ 1 h 1644"/>
                    <a:gd name="T38" fmla="*/ 14 w 3734"/>
                    <a:gd name="T39" fmla="*/ 1 h 1644"/>
                    <a:gd name="T40" fmla="*/ 18 w 3734"/>
                    <a:gd name="T41" fmla="*/ 2 h 1644"/>
                    <a:gd name="T42" fmla="*/ 19 w 3734"/>
                    <a:gd name="T43" fmla="*/ 2 h 1644"/>
                    <a:gd name="T44" fmla="*/ 23 w 3734"/>
                    <a:gd name="T45" fmla="*/ 2 h 1644"/>
                    <a:gd name="T46" fmla="*/ 25 w 3734"/>
                    <a:gd name="T47" fmla="*/ 3 h 1644"/>
                    <a:gd name="T48" fmla="*/ 25 w 3734"/>
                    <a:gd name="T49" fmla="*/ 3 h 1644"/>
                    <a:gd name="T50" fmla="*/ 27 w 3734"/>
                    <a:gd name="T51" fmla="*/ 1 h 1644"/>
                    <a:gd name="T52" fmla="*/ 28 w 3734"/>
                    <a:gd name="T53" fmla="*/ 0 h 1644"/>
                    <a:gd name="T54" fmla="*/ 29 w 3734"/>
                    <a:gd name="T55" fmla="*/ 1 h 1644"/>
                    <a:gd name="T56" fmla="*/ 29 w 3734"/>
                    <a:gd name="T57" fmla="*/ 2 h 1644"/>
                    <a:gd name="T58" fmla="*/ 29 w 3734"/>
                    <a:gd name="T59" fmla="*/ 2 h 1644"/>
                    <a:gd name="T60" fmla="*/ 31 w 3734"/>
                    <a:gd name="T61" fmla="*/ 1 h 1644"/>
                    <a:gd name="T62" fmla="*/ 33 w 3734"/>
                    <a:gd name="T63" fmla="*/ 2 h 1644"/>
                    <a:gd name="T64" fmla="*/ 31 w 3734"/>
                    <a:gd name="T65" fmla="*/ 3 h 1644"/>
                    <a:gd name="T66" fmla="*/ 30 w 3734"/>
                    <a:gd name="T67" fmla="*/ 3 h 1644"/>
                    <a:gd name="T68" fmla="*/ 28 w 3734"/>
                    <a:gd name="T69" fmla="*/ 4 h 1644"/>
                    <a:gd name="T70" fmla="*/ 27 w 3734"/>
                    <a:gd name="T71" fmla="*/ 5 h 1644"/>
                    <a:gd name="T72" fmla="*/ 25 w 3734"/>
                    <a:gd name="T73" fmla="*/ 5 h 1644"/>
                    <a:gd name="T74" fmla="*/ 23 w 3734"/>
                    <a:gd name="T75" fmla="*/ 7 h 1644"/>
                    <a:gd name="T76" fmla="*/ 23 w 3734"/>
                    <a:gd name="T77" fmla="*/ 9 h 1644"/>
                    <a:gd name="T78" fmla="*/ 25 w 3734"/>
                    <a:gd name="T79" fmla="*/ 10 h 1644"/>
                    <a:gd name="T80" fmla="*/ 26 w 3734"/>
                    <a:gd name="T81" fmla="*/ 12 h 1644"/>
                    <a:gd name="T82" fmla="*/ 28 w 3734"/>
                    <a:gd name="T83" fmla="*/ 11 h 1644"/>
                    <a:gd name="T84" fmla="*/ 31 w 3734"/>
                    <a:gd name="T85" fmla="*/ 9 h 1644"/>
                    <a:gd name="T86" fmla="*/ 31 w 3734"/>
                    <a:gd name="T87" fmla="*/ 7 h 1644"/>
                    <a:gd name="T88" fmla="*/ 34 w 3734"/>
                    <a:gd name="T89" fmla="*/ 6 h 1644"/>
                    <a:gd name="T90" fmla="*/ 35 w 3734"/>
                    <a:gd name="T91" fmla="*/ 7 h 1644"/>
                    <a:gd name="T92" fmla="*/ 35 w 3734"/>
                    <a:gd name="T93" fmla="*/ 9 h 1644"/>
                    <a:gd name="T94" fmla="*/ 38 w 3734"/>
                    <a:gd name="T95" fmla="*/ 7 h 1644"/>
                    <a:gd name="T96" fmla="*/ 38 w 3734"/>
                    <a:gd name="T97" fmla="*/ 9 h 1644"/>
                    <a:gd name="T98" fmla="*/ 40 w 3734"/>
                    <a:gd name="T99" fmla="*/ 10 h 1644"/>
                    <a:gd name="T100" fmla="*/ 39 w 3734"/>
                    <a:gd name="T101" fmla="*/ 11 h 1644"/>
                    <a:gd name="T102" fmla="*/ 40 w 3734"/>
                    <a:gd name="T103" fmla="*/ 12 h 1644"/>
                    <a:gd name="T104" fmla="*/ 38 w 3734"/>
                    <a:gd name="T105" fmla="*/ 13 h 1644"/>
                    <a:gd name="T106" fmla="*/ 34 w 3734"/>
                    <a:gd name="T107" fmla="*/ 13 h 1644"/>
                    <a:gd name="T108" fmla="*/ 31 w 3734"/>
                    <a:gd name="T109" fmla="*/ 15 h 1644"/>
                    <a:gd name="T110" fmla="*/ 31 w 3734"/>
                    <a:gd name="T111" fmla="*/ 15 h 1644"/>
                    <a:gd name="T112" fmla="*/ 35 w 3734"/>
                    <a:gd name="T113" fmla="*/ 14 h 1644"/>
                    <a:gd name="T114" fmla="*/ 33 w 3734"/>
                    <a:gd name="T115" fmla="*/ 15 h 1644"/>
                    <a:gd name="T116" fmla="*/ 34 w 3734"/>
                    <a:gd name="T117" fmla="*/ 16 h 1644"/>
                    <a:gd name="T118" fmla="*/ 35 w 3734"/>
                    <a:gd name="T119" fmla="*/ 17 h 1644"/>
                    <a:gd name="T120" fmla="*/ 33 w 3734"/>
                    <a:gd name="T121" fmla="*/ 18 h 1644"/>
                    <a:gd name="T122" fmla="*/ 35 w 3734"/>
                    <a:gd name="T123" fmla="*/ 17 h 1644"/>
                    <a:gd name="T124" fmla="*/ 33 w 3734"/>
                    <a:gd name="T125" fmla="*/ 1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433" name="Freeform 434"/>
              <p:cNvSpPr>
                <a:spLocks/>
              </p:cNvSpPr>
              <p:nvPr>
                <p:custDataLst>
                  <p:tags r:id="rId275"/>
                </p:custDataLst>
              </p:nvPr>
            </p:nvSpPr>
            <p:spPr bwMode="auto">
              <a:xfrm>
                <a:off x="5038725" y="3470275"/>
                <a:ext cx="127000" cy="158750"/>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504D"/>
              </a:solidFill>
              <a:ln w="9525" cmpd="sng">
                <a:solidFill>
                  <a:schemeClr val="tx1"/>
                </a:solidFill>
                <a:prstDash val="solid"/>
                <a:round/>
                <a:headEnd/>
                <a:tailEnd/>
              </a:ln>
            </p:spPr>
            <p:txBody>
              <a:bodyPr/>
              <a:lstStyle/>
              <a:p>
                <a:endParaRPr lang="en-US"/>
              </a:p>
            </p:txBody>
          </p:sp>
          <p:sp>
            <p:nvSpPr>
              <p:cNvPr id="434" name="Freeform 435"/>
              <p:cNvSpPr>
                <a:spLocks/>
              </p:cNvSpPr>
              <p:nvPr>
                <p:custDataLst>
                  <p:tags r:id="rId276"/>
                </p:custDataLst>
              </p:nvPr>
            </p:nvSpPr>
            <p:spPr bwMode="auto">
              <a:xfrm>
                <a:off x="5145088" y="3621088"/>
                <a:ext cx="6350" cy="57150"/>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FFFFFF"/>
              </a:solidFill>
              <a:ln w="9525" cmpd="sng">
                <a:solidFill>
                  <a:schemeClr val="tx1"/>
                </a:solidFill>
                <a:prstDash val="solid"/>
                <a:round/>
                <a:headEnd/>
                <a:tailEnd/>
              </a:ln>
            </p:spPr>
            <p:txBody>
              <a:bodyPr/>
              <a:lstStyle/>
              <a:p>
                <a:endParaRPr lang="en-US"/>
              </a:p>
            </p:txBody>
          </p:sp>
          <p:sp>
            <p:nvSpPr>
              <p:cNvPr id="435" name="Freeform 436"/>
              <p:cNvSpPr>
                <a:spLocks/>
              </p:cNvSpPr>
              <p:nvPr>
                <p:custDataLst>
                  <p:tags r:id="rId277"/>
                </p:custDataLst>
              </p:nvPr>
            </p:nvSpPr>
            <p:spPr bwMode="auto">
              <a:xfrm>
                <a:off x="4635500" y="2857500"/>
                <a:ext cx="249238" cy="500063"/>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FFFFFF"/>
              </a:solidFill>
              <a:ln w="9525" cmpd="sng">
                <a:solidFill>
                  <a:schemeClr val="tx1"/>
                </a:solidFill>
                <a:prstDash val="solid"/>
                <a:round/>
                <a:headEnd/>
                <a:tailEnd/>
              </a:ln>
            </p:spPr>
            <p:txBody>
              <a:bodyPr/>
              <a:lstStyle/>
              <a:p>
                <a:endParaRPr lang="en-US"/>
              </a:p>
            </p:txBody>
          </p:sp>
          <p:sp>
            <p:nvSpPr>
              <p:cNvPr id="436" name="Freeform 437"/>
              <p:cNvSpPr>
                <a:spLocks/>
              </p:cNvSpPr>
              <p:nvPr>
                <p:custDataLst>
                  <p:tags r:id="rId278"/>
                </p:custDataLst>
              </p:nvPr>
            </p:nvSpPr>
            <p:spPr bwMode="auto">
              <a:xfrm>
                <a:off x="4311650" y="2239963"/>
                <a:ext cx="15875" cy="57150"/>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grpSp>
            <p:nvGrpSpPr>
              <p:cNvPr id="437" name="Group 438"/>
              <p:cNvGrpSpPr>
                <a:grpSpLocks/>
              </p:cNvGrpSpPr>
              <p:nvPr>
                <p:custDataLst>
                  <p:tags r:id="rId279"/>
                </p:custDataLst>
              </p:nvPr>
            </p:nvGrpSpPr>
            <p:grpSpPr bwMode="auto">
              <a:xfrm>
                <a:off x="2611438" y="4300538"/>
                <a:ext cx="384175" cy="1031875"/>
                <a:chOff x="1589" y="3126"/>
                <a:chExt cx="290" cy="657"/>
              </a:xfrm>
              <a:solidFill>
                <a:srgbClr val="FFFFFF"/>
              </a:solidFill>
            </p:grpSpPr>
            <p:sp>
              <p:nvSpPr>
                <p:cNvPr id="438" name="Freeform 439"/>
                <p:cNvSpPr>
                  <a:spLocks/>
                </p:cNvSpPr>
                <p:nvPr/>
              </p:nvSpPr>
              <p:spPr bwMode="auto">
                <a:xfrm>
                  <a:off x="1748" y="3531"/>
                  <a:ext cx="15" cy="17"/>
                </a:xfrm>
                <a:custGeom>
                  <a:avLst/>
                  <a:gdLst>
                    <a:gd name="T0" fmla="*/ 1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1 h 51"/>
                    <a:gd name="T24" fmla="*/ 0 w 46"/>
                    <a:gd name="T25" fmla="*/ 1 h 51"/>
                    <a:gd name="T26" fmla="*/ 0 w 46"/>
                    <a:gd name="T27" fmla="*/ 1 h 51"/>
                    <a:gd name="T28" fmla="*/ 0 w 46"/>
                    <a:gd name="T29" fmla="*/ 1 h 51"/>
                    <a:gd name="T30" fmla="*/ 0 w 46"/>
                    <a:gd name="T31" fmla="*/ 1 h 51"/>
                    <a:gd name="T32" fmla="*/ 0 w 46"/>
                    <a:gd name="T33" fmla="*/ 1 h 51"/>
                    <a:gd name="T34" fmla="*/ 0 w 46"/>
                    <a:gd name="T35" fmla="*/ 1 h 51"/>
                    <a:gd name="T36" fmla="*/ 0 w 46"/>
                    <a:gd name="T37" fmla="*/ 1 h 51"/>
                    <a:gd name="T38" fmla="*/ 1 w 46"/>
                    <a:gd name="T39" fmla="*/ 1 h 51"/>
                    <a:gd name="T40" fmla="*/ 1 w 46"/>
                    <a:gd name="T41" fmla="*/ 0 h 51"/>
                    <a:gd name="T42" fmla="*/ 1 w 46"/>
                    <a:gd name="T43" fmla="*/ 0 h 51"/>
                    <a:gd name="T44" fmla="*/ 1 w 46"/>
                    <a:gd name="T45" fmla="*/ 0 h 51"/>
                    <a:gd name="T46" fmla="*/ 1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9" name="Freeform 440"/>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1 h 158"/>
                    <a:gd name="T10" fmla="*/ 0 w 192"/>
                    <a:gd name="T11" fmla="*/ 1 h 158"/>
                    <a:gd name="T12" fmla="*/ 0 w 192"/>
                    <a:gd name="T13" fmla="*/ 1 h 158"/>
                    <a:gd name="T14" fmla="*/ 0 w 192"/>
                    <a:gd name="T15" fmla="*/ 1 h 158"/>
                    <a:gd name="T16" fmla="*/ 0 w 192"/>
                    <a:gd name="T17" fmla="*/ 1 h 158"/>
                    <a:gd name="T18" fmla="*/ 1 w 192"/>
                    <a:gd name="T19" fmla="*/ 2 h 158"/>
                    <a:gd name="T20" fmla="*/ 1 w 192"/>
                    <a:gd name="T21" fmla="*/ 2 h 158"/>
                    <a:gd name="T22" fmla="*/ 1 w 192"/>
                    <a:gd name="T23" fmla="*/ 2 h 158"/>
                    <a:gd name="T24" fmla="*/ 1 w 192"/>
                    <a:gd name="T25" fmla="*/ 2 h 158"/>
                    <a:gd name="T26" fmla="*/ 1 w 192"/>
                    <a:gd name="T27" fmla="*/ 2 h 158"/>
                    <a:gd name="T28" fmla="*/ 1 w 192"/>
                    <a:gd name="T29" fmla="*/ 2 h 158"/>
                    <a:gd name="T30" fmla="*/ 1 w 192"/>
                    <a:gd name="T31" fmla="*/ 2 h 158"/>
                    <a:gd name="T32" fmla="*/ 1 w 192"/>
                    <a:gd name="T33" fmla="*/ 2 h 158"/>
                    <a:gd name="T34" fmla="*/ 2 w 192"/>
                    <a:gd name="T35" fmla="*/ 2 h 158"/>
                    <a:gd name="T36" fmla="*/ 2 w 192"/>
                    <a:gd name="T37" fmla="*/ 2 h 158"/>
                    <a:gd name="T38" fmla="*/ 2 w 192"/>
                    <a:gd name="T39" fmla="*/ 2 h 158"/>
                    <a:gd name="T40" fmla="*/ 2 w 192"/>
                    <a:gd name="T41" fmla="*/ 2 h 158"/>
                    <a:gd name="T42" fmla="*/ 2 w 192"/>
                    <a:gd name="T43" fmla="*/ 2 h 158"/>
                    <a:gd name="T44" fmla="*/ 2 w 192"/>
                    <a:gd name="T45" fmla="*/ 2 h 158"/>
                    <a:gd name="T46" fmla="*/ 2 w 192"/>
                    <a:gd name="T47" fmla="*/ 2 h 158"/>
                    <a:gd name="T48" fmla="*/ 2 w 192"/>
                    <a:gd name="T49" fmla="*/ 2 h 158"/>
                    <a:gd name="T50" fmla="*/ 1 w 192"/>
                    <a:gd name="T51" fmla="*/ 2 h 158"/>
                    <a:gd name="T52" fmla="*/ 1 w 192"/>
                    <a:gd name="T53" fmla="*/ 1 h 158"/>
                    <a:gd name="T54" fmla="*/ 1 w 192"/>
                    <a:gd name="T55" fmla="*/ 1 h 158"/>
                    <a:gd name="T56" fmla="*/ 1 w 192"/>
                    <a:gd name="T57" fmla="*/ 1 h 158"/>
                    <a:gd name="T58" fmla="*/ 1 w 192"/>
                    <a:gd name="T59" fmla="*/ 1 h 158"/>
                    <a:gd name="T60" fmla="*/ 1 w 192"/>
                    <a:gd name="T61" fmla="*/ 1 h 158"/>
                    <a:gd name="T62" fmla="*/ 1 w 192"/>
                    <a:gd name="T63" fmla="*/ 1 h 158"/>
                    <a:gd name="T64" fmla="*/ 0 w 192"/>
                    <a:gd name="T65" fmla="*/ 1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0" name="Freeform 441"/>
                <p:cNvSpPr>
                  <a:spLocks/>
                </p:cNvSpPr>
                <p:nvPr/>
              </p:nvSpPr>
              <p:spPr bwMode="auto">
                <a:xfrm>
                  <a:off x="1589" y="3126"/>
                  <a:ext cx="290" cy="606"/>
                </a:xfrm>
                <a:custGeom>
                  <a:avLst/>
                  <a:gdLst>
                    <a:gd name="T0" fmla="*/ 9 w 884"/>
                    <a:gd name="T1" fmla="*/ 5 h 1818"/>
                    <a:gd name="T2" fmla="*/ 10 w 884"/>
                    <a:gd name="T3" fmla="*/ 4 h 1818"/>
                    <a:gd name="T4" fmla="*/ 10 w 884"/>
                    <a:gd name="T5" fmla="*/ 3 h 1818"/>
                    <a:gd name="T6" fmla="*/ 10 w 884"/>
                    <a:gd name="T7" fmla="*/ 2 h 1818"/>
                    <a:gd name="T8" fmla="*/ 10 w 884"/>
                    <a:gd name="T9" fmla="*/ 3 h 1818"/>
                    <a:gd name="T10" fmla="*/ 9 w 884"/>
                    <a:gd name="T11" fmla="*/ 4 h 1818"/>
                    <a:gd name="T12" fmla="*/ 8 w 884"/>
                    <a:gd name="T13" fmla="*/ 4 h 1818"/>
                    <a:gd name="T14" fmla="*/ 7 w 884"/>
                    <a:gd name="T15" fmla="*/ 4 h 1818"/>
                    <a:gd name="T16" fmla="*/ 8 w 884"/>
                    <a:gd name="T17" fmla="*/ 3 h 1818"/>
                    <a:gd name="T18" fmla="*/ 6 w 884"/>
                    <a:gd name="T19" fmla="*/ 2 h 1818"/>
                    <a:gd name="T20" fmla="*/ 5 w 884"/>
                    <a:gd name="T21" fmla="*/ 1 h 1818"/>
                    <a:gd name="T22" fmla="*/ 4 w 884"/>
                    <a:gd name="T23" fmla="*/ 0 h 1818"/>
                    <a:gd name="T24" fmla="*/ 3 w 884"/>
                    <a:gd name="T25" fmla="*/ 0 h 1818"/>
                    <a:gd name="T26" fmla="*/ 3 w 884"/>
                    <a:gd name="T27" fmla="*/ 0 h 1818"/>
                    <a:gd name="T28" fmla="*/ 2 w 884"/>
                    <a:gd name="T29" fmla="*/ 0 h 1818"/>
                    <a:gd name="T30" fmla="*/ 1 w 884"/>
                    <a:gd name="T31" fmla="*/ 1 h 1818"/>
                    <a:gd name="T32" fmla="*/ 1 w 884"/>
                    <a:gd name="T33" fmla="*/ 1 h 1818"/>
                    <a:gd name="T34" fmla="*/ 0 w 884"/>
                    <a:gd name="T35" fmla="*/ 2 h 1818"/>
                    <a:gd name="T36" fmla="*/ 1 w 884"/>
                    <a:gd name="T37" fmla="*/ 3 h 1818"/>
                    <a:gd name="T38" fmla="*/ 1 w 884"/>
                    <a:gd name="T39" fmla="*/ 4 h 1818"/>
                    <a:gd name="T40" fmla="*/ 0 w 884"/>
                    <a:gd name="T41" fmla="*/ 5 h 1818"/>
                    <a:gd name="T42" fmla="*/ 0 w 884"/>
                    <a:gd name="T43" fmla="*/ 8 h 1818"/>
                    <a:gd name="T44" fmla="*/ 1 w 884"/>
                    <a:gd name="T45" fmla="*/ 9 h 1818"/>
                    <a:gd name="T46" fmla="*/ 1 w 884"/>
                    <a:gd name="T47" fmla="*/ 9 h 1818"/>
                    <a:gd name="T48" fmla="*/ 1 w 884"/>
                    <a:gd name="T49" fmla="*/ 10 h 1818"/>
                    <a:gd name="T50" fmla="*/ 1 w 884"/>
                    <a:gd name="T51" fmla="*/ 10 h 1818"/>
                    <a:gd name="T52" fmla="*/ 1 w 884"/>
                    <a:gd name="T53" fmla="*/ 11 h 1818"/>
                    <a:gd name="T54" fmla="*/ 1 w 884"/>
                    <a:gd name="T55" fmla="*/ 12 h 1818"/>
                    <a:gd name="T56" fmla="*/ 1 w 884"/>
                    <a:gd name="T57" fmla="*/ 13 h 1818"/>
                    <a:gd name="T58" fmla="*/ 1 w 884"/>
                    <a:gd name="T59" fmla="*/ 14 h 1818"/>
                    <a:gd name="T60" fmla="*/ 2 w 884"/>
                    <a:gd name="T61" fmla="*/ 16 h 1818"/>
                    <a:gd name="T62" fmla="*/ 2 w 884"/>
                    <a:gd name="T63" fmla="*/ 17 h 1818"/>
                    <a:gd name="T64" fmla="*/ 3 w 884"/>
                    <a:gd name="T65" fmla="*/ 18 h 1818"/>
                    <a:gd name="T66" fmla="*/ 3 w 884"/>
                    <a:gd name="T67" fmla="*/ 19 h 1818"/>
                    <a:gd name="T68" fmla="*/ 3 w 884"/>
                    <a:gd name="T69" fmla="*/ 20 h 1818"/>
                    <a:gd name="T70" fmla="*/ 2 w 884"/>
                    <a:gd name="T71" fmla="*/ 20 h 1818"/>
                    <a:gd name="T72" fmla="*/ 3 w 884"/>
                    <a:gd name="T73" fmla="*/ 21 h 1818"/>
                    <a:gd name="T74" fmla="*/ 4 w 884"/>
                    <a:gd name="T75" fmla="*/ 22 h 1818"/>
                    <a:gd name="T76" fmla="*/ 5 w 884"/>
                    <a:gd name="T77" fmla="*/ 22 h 1818"/>
                    <a:gd name="T78" fmla="*/ 5 w 884"/>
                    <a:gd name="T79" fmla="*/ 22 h 1818"/>
                    <a:gd name="T80" fmla="*/ 5 w 884"/>
                    <a:gd name="T81" fmla="*/ 21 h 1818"/>
                    <a:gd name="T82" fmla="*/ 6 w 884"/>
                    <a:gd name="T83" fmla="*/ 20 h 1818"/>
                    <a:gd name="T84" fmla="*/ 6 w 884"/>
                    <a:gd name="T85" fmla="*/ 19 h 1818"/>
                    <a:gd name="T86" fmla="*/ 5 w 884"/>
                    <a:gd name="T87" fmla="*/ 18 h 1818"/>
                    <a:gd name="T88" fmla="*/ 5 w 884"/>
                    <a:gd name="T89" fmla="*/ 18 h 1818"/>
                    <a:gd name="T90" fmla="*/ 5 w 884"/>
                    <a:gd name="T91" fmla="*/ 17 h 1818"/>
                    <a:gd name="T92" fmla="*/ 6 w 884"/>
                    <a:gd name="T93" fmla="*/ 16 h 1818"/>
                    <a:gd name="T94" fmla="*/ 5 w 884"/>
                    <a:gd name="T95" fmla="*/ 15 h 1818"/>
                    <a:gd name="T96" fmla="*/ 5 w 884"/>
                    <a:gd name="T97" fmla="*/ 14 h 1818"/>
                    <a:gd name="T98" fmla="*/ 6 w 884"/>
                    <a:gd name="T99" fmla="*/ 14 h 1818"/>
                    <a:gd name="T100" fmla="*/ 7 w 884"/>
                    <a:gd name="T101" fmla="*/ 14 h 1818"/>
                    <a:gd name="T102" fmla="*/ 7 w 884"/>
                    <a:gd name="T103" fmla="*/ 13 h 1818"/>
                    <a:gd name="T104" fmla="*/ 7 w 884"/>
                    <a:gd name="T105" fmla="*/ 13 h 1818"/>
                    <a:gd name="T106" fmla="*/ 8 w 884"/>
                    <a:gd name="T107" fmla="*/ 13 h 1818"/>
                    <a:gd name="T108" fmla="*/ 9 w 884"/>
                    <a:gd name="T109" fmla="*/ 12 h 1818"/>
                    <a:gd name="T110" fmla="*/ 10 w 884"/>
                    <a:gd name="T111" fmla="*/ 11 h 1818"/>
                    <a:gd name="T112" fmla="*/ 9 w 884"/>
                    <a:gd name="T113" fmla="*/ 11 h 1818"/>
                    <a:gd name="T114" fmla="*/ 9 w 884"/>
                    <a:gd name="T115" fmla="*/ 10 h 1818"/>
                    <a:gd name="T116" fmla="*/ 8 w 884"/>
                    <a:gd name="T117" fmla="*/ 9 h 1818"/>
                    <a:gd name="T118" fmla="*/ 8 w 884"/>
                    <a:gd name="T119" fmla="*/ 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441" name="Freeform 442"/>
              <p:cNvSpPr>
                <a:spLocks/>
              </p:cNvSpPr>
              <p:nvPr>
                <p:custDataLst>
                  <p:tags r:id="rId280"/>
                </p:custDataLst>
              </p:nvPr>
            </p:nvSpPr>
            <p:spPr bwMode="auto">
              <a:xfrm>
                <a:off x="5321300" y="2252663"/>
                <a:ext cx="123825" cy="109537"/>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FFFFFF"/>
              </a:solidFill>
              <a:ln w="9525" cmpd="sng">
                <a:solidFill>
                  <a:schemeClr val="tx1"/>
                </a:solidFill>
                <a:prstDash val="solid"/>
                <a:round/>
                <a:headEnd/>
                <a:tailEnd/>
              </a:ln>
            </p:spPr>
            <p:txBody>
              <a:bodyPr/>
              <a:lstStyle/>
              <a:p>
                <a:endParaRPr lang="en-US"/>
              </a:p>
            </p:txBody>
          </p:sp>
          <p:sp>
            <p:nvSpPr>
              <p:cNvPr id="442" name="Freeform 443"/>
              <p:cNvSpPr>
                <a:spLocks/>
              </p:cNvSpPr>
              <p:nvPr>
                <p:custDataLst>
                  <p:tags r:id="rId281"/>
                </p:custDataLst>
              </p:nvPr>
            </p:nvSpPr>
            <p:spPr bwMode="auto">
              <a:xfrm>
                <a:off x="4787900" y="1825625"/>
                <a:ext cx="209550" cy="150813"/>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FFFFFF"/>
              </a:solidFill>
              <a:ln w="9525" cmpd="sng">
                <a:solidFill>
                  <a:schemeClr val="tx1"/>
                </a:solidFill>
                <a:prstDash val="solid"/>
                <a:round/>
                <a:headEnd/>
                <a:tailEnd/>
              </a:ln>
            </p:spPr>
            <p:txBody>
              <a:bodyPr/>
              <a:lstStyle/>
              <a:p>
                <a:endParaRPr lang="en-US"/>
              </a:p>
            </p:txBody>
          </p:sp>
          <p:sp>
            <p:nvSpPr>
              <p:cNvPr id="443" name="Freeform 444"/>
              <p:cNvSpPr>
                <a:spLocks/>
              </p:cNvSpPr>
              <p:nvPr>
                <p:custDataLst>
                  <p:tags r:id="rId282"/>
                </p:custDataLst>
              </p:nvPr>
            </p:nvSpPr>
            <p:spPr bwMode="auto">
              <a:xfrm>
                <a:off x="4645025" y="2157413"/>
                <a:ext cx="82550" cy="87312"/>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44" name="Freeform 445"/>
              <p:cNvSpPr>
                <a:spLocks/>
              </p:cNvSpPr>
              <p:nvPr>
                <p:custDataLst>
                  <p:tags r:id="rId283"/>
                </p:custDataLst>
              </p:nvPr>
            </p:nvSpPr>
            <p:spPr bwMode="auto">
              <a:xfrm>
                <a:off x="3009900" y="3594100"/>
                <a:ext cx="82550" cy="57150"/>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45" name="Freeform 446"/>
              <p:cNvSpPr>
                <a:spLocks/>
              </p:cNvSpPr>
              <p:nvPr>
                <p:custDataLst>
                  <p:tags r:id="rId284"/>
                </p:custDataLst>
              </p:nvPr>
            </p:nvSpPr>
            <p:spPr bwMode="auto">
              <a:xfrm>
                <a:off x="4803775" y="2192338"/>
                <a:ext cx="133350" cy="96837"/>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46" name="Freeform 447"/>
              <p:cNvSpPr>
                <a:spLocks/>
              </p:cNvSpPr>
              <p:nvPr>
                <p:custDataLst>
                  <p:tags r:id="rId285"/>
                </p:custDataLst>
              </p:nvPr>
            </p:nvSpPr>
            <p:spPr bwMode="auto">
              <a:xfrm>
                <a:off x="4159250" y="3119438"/>
                <a:ext cx="177800" cy="165100"/>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FFFFFF"/>
              </a:solidFill>
              <a:ln w="9525" cmpd="sng">
                <a:solidFill>
                  <a:schemeClr val="tx1"/>
                </a:solidFill>
                <a:prstDash val="solid"/>
                <a:round/>
                <a:headEnd/>
                <a:tailEnd/>
              </a:ln>
            </p:spPr>
            <p:txBody>
              <a:bodyPr/>
              <a:lstStyle/>
              <a:p>
                <a:endParaRPr lang="en-US"/>
              </a:p>
            </p:txBody>
          </p:sp>
          <p:sp>
            <p:nvSpPr>
              <p:cNvPr id="447" name="Freeform 448"/>
              <p:cNvSpPr>
                <a:spLocks/>
              </p:cNvSpPr>
              <p:nvPr>
                <p:custDataLst>
                  <p:tags r:id="rId286"/>
                </p:custDataLst>
              </p:nvPr>
            </p:nvSpPr>
            <p:spPr bwMode="auto">
              <a:xfrm>
                <a:off x="4506913" y="3187700"/>
                <a:ext cx="193675" cy="349250"/>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accent2"/>
              </a:solidFill>
              <a:ln w="9525" cmpd="sng">
                <a:solidFill>
                  <a:schemeClr val="tx1"/>
                </a:solidFill>
                <a:prstDash val="solid"/>
                <a:round/>
                <a:headEnd/>
                <a:tailEnd/>
              </a:ln>
            </p:spPr>
            <p:txBody>
              <a:bodyPr/>
              <a:lstStyle/>
              <a:p>
                <a:endParaRPr lang="en-US"/>
              </a:p>
            </p:txBody>
          </p:sp>
          <p:sp>
            <p:nvSpPr>
              <p:cNvPr id="448" name="Freeform 449"/>
              <p:cNvSpPr>
                <a:spLocks/>
              </p:cNvSpPr>
              <p:nvPr>
                <p:custDataLst>
                  <p:tags r:id="rId287"/>
                </p:custDataLst>
              </p:nvPr>
            </p:nvSpPr>
            <p:spPr bwMode="auto">
              <a:xfrm>
                <a:off x="6958013" y="2946400"/>
                <a:ext cx="55562" cy="5715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FFFFFF"/>
              </a:solidFill>
              <a:ln w="9525" cmpd="sng">
                <a:solidFill>
                  <a:schemeClr val="tx1"/>
                </a:solidFill>
                <a:prstDash val="solid"/>
                <a:round/>
                <a:headEnd/>
                <a:tailEnd/>
              </a:ln>
            </p:spPr>
            <p:txBody>
              <a:bodyPr/>
              <a:lstStyle/>
              <a:p>
                <a:endParaRPr lang="en-US"/>
              </a:p>
            </p:txBody>
          </p:sp>
          <p:sp>
            <p:nvSpPr>
              <p:cNvPr id="449" name="Freeform 450"/>
              <p:cNvSpPr>
                <a:spLocks/>
              </p:cNvSpPr>
              <p:nvPr>
                <p:custDataLst>
                  <p:tags r:id="rId288"/>
                </p:custDataLst>
              </p:nvPr>
            </p:nvSpPr>
            <p:spPr bwMode="auto">
              <a:xfrm>
                <a:off x="2312988" y="3209925"/>
                <a:ext cx="298450" cy="523875"/>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50" name="Freeform 451"/>
              <p:cNvSpPr>
                <a:spLocks/>
              </p:cNvSpPr>
              <p:nvPr>
                <p:custDataLst>
                  <p:tags r:id="rId289"/>
                </p:custDataLst>
              </p:nvPr>
            </p:nvSpPr>
            <p:spPr bwMode="auto">
              <a:xfrm>
                <a:off x="4565650" y="3478213"/>
                <a:ext cx="187325" cy="274637"/>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FFFFFF"/>
              </a:solidFill>
              <a:ln w="9525" cmpd="sng">
                <a:solidFill>
                  <a:schemeClr val="tx1"/>
                </a:solidFill>
                <a:prstDash val="solid"/>
                <a:round/>
                <a:headEnd/>
                <a:tailEnd/>
              </a:ln>
            </p:spPr>
            <p:txBody>
              <a:bodyPr/>
              <a:lstStyle/>
              <a:p>
                <a:endParaRPr lang="en-US"/>
              </a:p>
            </p:txBody>
          </p:sp>
          <p:sp>
            <p:nvSpPr>
              <p:cNvPr id="451" name="Freeform 452"/>
              <p:cNvSpPr>
                <a:spLocks/>
              </p:cNvSpPr>
              <p:nvPr>
                <p:custDataLst>
                  <p:tags r:id="rId290"/>
                </p:custDataLst>
              </p:nvPr>
            </p:nvSpPr>
            <p:spPr bwMode="auto">
              <a:xfrm>
                <a:off x="4597400" y="2120900"/>
                <a:ext cx="127000" cy="11430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52" name="Freeform 453"/>
              <p:cNvSpPr>
                <a:spLocks/>
              </p:cNvSpPr>
              <p:nvPr>
                <p:custDataLst>
                  <p:tags r:id="rId291"/>
                </p:custDataLst>
              </p:nvPr>
            </p:nvSpPr>
            <p:spPr bwMode="auto">
              <a:xfrm>
                <a:off x="4548188" y="1979613"/>
                <a:ext cx="168275" cy="77787"/>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53" name="Freeform 454"/>
              <p:cNvSpPr>
                <a:spLocks/>
              </p:cNvSpPr>
              <p:nvPr>
                <p:custDataLst>
                  <p:tags r:id="rId292"/>
                </p:custDataLst>
              </p:nvPr>
            </p:nvSpPr>
            <p:spPr bwMode="auto">
              <a:xfrm>
                <a:off x="4511675" y="1835150"/>
                <a:ext cx="30163" cy="60325"/>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54" name="Freeform 455"/>
              <p:cNvSpPr>
                <a:spLocks/>
              </p:cNvSpPr>
              <p:nvPr>
                <p:custDataLst>
                  <p:tags r:id="rId293"/>
                </p:custDataLst>
              </p:nvPr>
            </p:nvSpPr>
            <p:spPr bwMode="auto">
              <a:xfrm>
                <a:off x="4483100" y="1839913"/>
                <a:ext cx="25400" cy="58737"/>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FFFFFF"/>
              </a:solidFill>
              <a:ln w="9525" cmpd="sng">
                <a:solidFill>
                  <a:schemeClr val="tx1"/>
                </a:solidFill>
                <a:prstDash val="solid"/>
                <a:round/>
                <a:headEnd/>
                <a:tailEnd/>
              </a:ln>
            </p:spPr>
            <p:txBody>
              <a:bodyPr/>
              <a:lstStyle/>
              <a:p>
                <a:endParaRPr lang="en-US"/>
              </a:p>
            </p:txBody>
          </p:sp>
          <p:sp>
            <p:nvSpPr>
              <p:cNvPr id="455" name="Freeform 456"/>
              <p:cNvSpPr>
                <a:spLocks/>
              </p:cNvSpPr>
              <p:nvPr>
                <p:custDataLst>
                  <p:tags r:id="rId294"/>
                </p:custDataLst>
              </p:nvPr>
            </p:nvSpPr>
            <p:spPr bwMode="auto">
              <a:xfrm>
                <a:off x="4452938" y="1785938"/>
                <a:ext cx="52387" cy="77787"/>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56" name="Freeform 457"/>
              <p:cNvSpPr>
                <a:spLocks/>
              </p:cNvSpPr>
              <p:nvPr>
                <p:custDataLst>
                  <p:tags r:id="rId295"/>
                </p:custDataLst>
              </p:nvPr>
            </p:nvSpPr>
            <p:spPr bwMode="auto">
              <a:xfrm>
                <a:off x="4884738" y="2590800"/>
                <a:ext cx="273050" cy="307975"/>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57" name="Freeform 458"/>
              <p:cNvSpPr>
                <a:spLocks/>
              </p:cNvSpPr>
              <p:nvPr>
                <p:custDataLst>
                  <p:tags r:id="rId296"/>
                </p:custDataLst>
              </p:nvPr>
            </p:nvSpPr>
            <p:spPr bwMode="auto">
              <a:xfrm>
                <a:off x="4479925" y="2225675"/>
                <a:ext cx="17463" cy="57150"/>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58" name="Freeform 459"/>
              <p:cNvSpPr>
                <a:spLocks/>
              </p:cNvSpPr>
              <p:nvPr>
                <p:custDataLst>
                  <p:tags r:id="rId297"/>
                </p:custDataLst>
              </p:nvPr>
            </p:nvSpPr>
            <p:spPr bwMode="auto">
              <a:xfrm>
                <a:off x="4119563" y="1976438"/>
                <a:ext cx="295275" cy="273050"/>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59" name="Freeform 460"/>
              <p:cNvSpPr>
                <a:spLocks/>
              </p:cNvSpPr>
              <p:nvPr>
                <p:custDataLst>
                  <p:tags r:id="rId298"/>
                </p:custDataLst>
              </p:nvPr>
            </p:nvSpPr>
            <p:spPr bwMode="auto">
              <a:xfrm>
                <a:off x="5200650" y="2211388"/>
                <a:ext cx="150813" cy="82550"/>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FFFFFF"/>
              </a:solidFill>
              <a:ln w="9525" cmpd="sng">
                <a:solidFill>
                  <a:schemeClr val="tx1"/>
                </a:solidFill>
                <a:prstDash val="solid"/>
                <a:round/>
                <a:headEnd/>
                <a:tailEnd/>
              </a:ln>
            </p:spPr>
            <p:txBody>
              <a:bodyPr/>
              <a:lstStyle/>
              <a:p>
                <a:endParaRPr lang="en-US"/>
              </a:p>
            </p:txBody>
          </p:sp>
          <p:sp>
            <p:nvSpPr>
              <p:cNvPr id="460" name="Freeform 461"/>
              <p:cNvSpPr>
                <a:spLocks/>
              </p:cNvSpPr>
              <p:nvPr>
                <p:custDataLst>
                  <p:tags r:id="rId299"/>
                </p:custDataLst>
              </p:nvPr>
            </p:nvSpPr>
            <p:spPr bwMode="auto">
              <a:xfrm>
                <a:off x="4749800" y="2271713"/>
                <a:ext cx="147638" cy="173037"/>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FFFFFF"/>
              </a:solidFill>
              <a:ln w="9525" cmpd="sng">
                <a:solidFill>
                  <a:schemeClr val="tx1"/>
                </a:solidFill>
                <a:prstDash val="solid"/>
                <a:round/>
                <a:headEnd/>
                <a:tailEnd/>
              </a:ln>
            </p:spPr>
            <p:txBody>
              <a:bodyPr/>
              <a:lstStyle/>
              <a:p>
                <a:endParaRPr lang="en-US"/>
              </a:p>
            </p:txBody>
          </p:sp>
          <p:sp>
            <p:nvSpPr>
              <p:cNvPr id="461" name="Freeform 462"/>
              <p:cNvSpPr>
                <a:spLocks/>
              </p:cNvSpPr>
              <p:nvPr>
                <p:custDataLst>
                  <p:tags r:id="rId300"/>
                </p:custDataLst>
              </p:nvPr>
            </p:nvSpPr>
            <p:spPr bwMode="auto">
              <a:xfrm>
                <a:off x="4833938" y="2463800"/>
                <a:ext cx="69850" cy="5715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62" name="Freeform 463"/>
              <p:cNvSpPr>
                <a:spLocks/>
              </p:cNvSpPr>
              <p:nvPr>
                <p:custDataLst>
                  <p:tags r:id="rId301"/>
                </p:custDataLst>
              </p:nvPr>
            </p:nvSpPr>
            <p:spPr bwMode="auto">
              <a:xfrm>
                <a:off x="3913188" y="3195638"/>
                <a:ext cx="187325" cy="158750"/>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FFFFFF"/>
              </a:solidFill>
              <a:ln w="9525" cmpd="sng">
                <a:solidFill>
                  <a:schemeClr val="tx1"/>
                </a:solidFill>
                <a:prstDash val="solid"/>
                <a:round/>
                <a:headEnd/>
                <a:tailEnd/>
              </a:ln>
            </p:spPr>
            <p:txBody>
              <a:bodyPr/>
              <a:lstStyle/>
              <a:p>
                <a:endParaRPr lang="en-US"/>
              </a:p>
            </p:txBody>
          </p:sp>
          <p:sp>
            <p:nvSpPr>
              <p:cNvPr id="463" name="Freeform 464"/>
              <p:cNvSpPr>
                <a:spLocks/>
              </p:cNvSpPr>
              <p:nvPr>
                <p:custDataLst>
                  <p:tags r:id="rId302"/>
                </p:custDataLst>
              </p:nvPr>
            </p:nvSpPr>
            <p:spPr bwMode="auto">
              <a:xfrm>
                <a:off x="5957888" y="2459038"/>
                <a:ext cx="692150" cy="874712"/>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504D"/>
              </a:solidFill>
              <a:ln w="9525" cmpd="sng">
                <a:solidFill>
                  <a:schemeClr val="tx1"/>
                </a:solidFill>
                <a:prstDash val="solid"/>
                <a:round/>
                <a:headEnd/>
                <a:tailEnd/>
              </a:ln>
            </p:spPr>
            <p:txBody>
              <a:bodyPr/>
              <a:lstStyle/>
              <a:p>
                <a:endParaRPr lang="en-US"/>
              </a:p>
            </p:txBody>
          </p:sp>
          <p:sp>
            <p:nvSpPr>
              <p:cNvPr id="464" name="Freeform 465"/>
              <p:cNvSpPr>
                <a:spLocks/>
              </p:cNvSpPr>
              <p:nvPr>
                <p:custDataLst>
                  <p:tags r:id="rId303"/>
                </p:custDataLst>
              </p:nvPr>
            </p:nvSpPr>
            <p:spPr bwMode="auto">
              <a:xfrm>
                <a:off x="4079875" y="3254375"/>
                <a:ext cx="158750" cy="20637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FFFF00"/>
              </a:solidFill>
              <a:ln w="9525" cmpd="sng">
                <a:solidFill>
                  <a:schemeClr val="tx1"/>
                </a:solidFill>
                <a:prstDash val="solid"/>
                <a:round/>
                <a:headEnd/>
                <a:tailEnd/>
              </a:ln>
            </p:spPr>
            <p:txBody>
              <a:bodyPr/>
              <a:lstStyle/>
              <a:p>
                <a:endParaRPr lang="en-US"/>
              </a:p>
            </p:txBody>
          </p:sp>
          <p:sp>
            <p:nvSpPr>
              <p:cNvPr id="465" name="Freeform 466"/>
              <p:cNvSpPr>
                <a:spLocks/>
              </p:cNvSpPr>
              <p:nvPr>
                <p:custDataLst>
                  <p:tags r:id="rId304"/>
                </p:custDataLst>
              </p:nvPr>
            </p:nvSpPr>
            <p:spPr bwMode="auto">
              <a:xfrm>
                <a:off x="5148263" y="3449638"/>
                <a:ext cx="192087" cy="271462"/>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504D"/>
              </a:solidFill>
              <a:ln w="9525" cmpd="sng">
                <a:solidFill>
                  <a:schemeClr val="tx1"/>
                </a:solidFill>
                <a:prstDash val="solid"/>
                <a:round/>
                <a:headEnd/>
                <a:tailEnd/>
              </a:ln>
            </p:spPr>
            <p:txBody>
              <a:bodyPr/>
              <a:lstStyle/>
              <a:p>
                <a:endParaRPr lang="en-US"/>
              </a:p>
            </p:txBody>
          </p:sp>
          <p:sp>
            <p:nvSpPr>
              <p:cNvPr id="466" name="Freeform 467"/>
              <p:cNvSpPr>
                <a:spLocks/>
              </p:cNvSpPr>
              <p:nvPr>
                <p:custDataLst>
                  <p:tags r:id="rId305"/>
                </p:custDataLst>
              </p:nvPr>
            </p:nvSpPr>
            <p:spPr bwMode="auto">
              <a:xfrm>
                <a:off x="5130800" y="2535238"/>
                <a:ext cx="101600" cy="130175"/>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FFFFFF"/>
              </a:solidFill>
              <a:ln w="9525" cmpd="sng">
                <a:solidFill>
                  <a:schemeClr val="tx1"/>
                </a:solidFill>
                <a:prstDash val="solid"/>
                <a:round/>
                <a:headEnd/>
                <a:tailEnd/>
              </a:ln>
            </p:spPr>
            <p:txBody>
              <a:bodyPr/>
              <a:lstStyle/>
              <a:p>
                <a:endParaRPr lang="en-US"/>
              </a:p>
            </p:txBody>
          </p:sp>
          <p:sp>
            <p:nvSpPr>
              <p:cNvPr id="467" name="Freeform 468"/>
              <p:cNvSpPr>
                <a:spLocks/>
              </p:cNvSpPr>
              <p:nvPr>
                <p:custDataLst>
                  <p:tags r:id="rId306"/>
                </p:custDataLst>
              </p:nvPr>
            </p:nvSpPr>
            <p:spPr bwMode="auto">
              <a:xfrm>
                <a:off x="5429250" y="2638425"/>
                <a:ext cx="22225" cy="55563"/>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FFFFFF"/>
              </a:solidFill>
              <a:ln w="9525" cmpd="sng">
                <a:solidFill>
                  <a:schemeClr val="tx1"/>
                </a:solidFill>
                <a:prstDash val="solid"/>
                <a:round/>
                <a:headEnd/>
                <a:tailEnd/>
              </a:ln>
            </p:spPr>
            <p:txBody>
              <a:bodyPr/>
              <a:lstStyle/>
              <a:p>
                <a:endParaRPr lang="en-US"/>
              </a:p>
            </p:txBody>
          </p:sp>
          <p:sp>
            <p:nvSpPr>
              <p:cNvPr id="468" name="Freeform 469"/>
              <p:cNvSpPr>
                <a:spLocks/>
              </p:cNvSpPr>
              <p:nvPr>
                <p:custDataLst>
                  <p:tags r:id="rId307"/>
                </p:custDataLst>
              </p:nvPr>
            </p:nvSpPr>
            <p:spPr bwMode="auto">
              <a:xfrm>
                <a:off x="4716463" y="1773238"/>
                <a:ext cx="161925" cy="6667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69" name="Freeform 470"/>
              <p:cNvSpPr>
                <a:spLocks/>
              </p:cNvSpPr>
              <p:nvPr>
                <p:custDataLst>
                  <p:tags r:id="rId308"/>
                </p:custDataLst>
              </p:nvPr>
            </p:nvSpPr>
            <p:spPr bwMode="auto">
              <a:xfrm>
                <a:off x="5127625" y="2493963"/>
                <a:ext cx="30163" cy="57150"/>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FFFFFF"/>
              </a:solidFill>
              <a:ln w="9525" cmpd="sng">
                <a:solidFill>
                  <a:schemeClr val="tx1"/>
                </a:solidFill>
                <a:prstDash val="solid"/>
                <a:round/>
                <a:headEnd/>
                <a:tailEnd/>
              </a:ln>
            </p:spPr>
            <p:txBody>
              <a:bodyPr/>
              <a:lstStyle/>
              <a:p>
                <a:endParaRPr lang="en-US"/>
              </a:p>
            </p:txBody>
          </p:sp>
          <p:sp>
            <p:nvSpPr>
              <p:cNvPr id="470" name="Freeform 471"/>
              <p:cNvSpPr>
                <a:spLocks/>
              </p:cNvSpPr>
              <p:nvPr>
                <p:custDataLst>
                  <p:tags r:id="rId309"/>
                </p:custDataLst>
              </p:nvPr>
            </p:nvSpPr>
            <p:spPr bwMode="auto">
              <a:xfrm>
                <a:off x="4943475" y="4505325"/>
                <a:ext cx="61913"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504D"/>
              </a:solidFill>
              <a:ln w="9525" cmpd="sng">
                <a:solidFill>
                  <a:schemeClr val="tx1"/>
                </a:solidFill>
                <a:prstDash val="solid"/>
                <a:round/>
                <a:headEnd/>
                <a:tailEnd/>
              </a:ln>
            </p:spPr>
            <p:txBody>
              <a:bodyPr/>
              <a:lstStyle/>
              <a:p>
                <a:endParaRPr lang="en-US"/>
              </a:p>
            </p:txBody>
          </p:sp>
          <p:sp>
            <p:nvSpPr>
              <p:cNvPr id="471" name="Freeform 472"/>
              <p:cNvSpPr>
                <a:spLocks/>
              </p:cNvSpPr>
              <p:nvPr>
                <p:custDataLst>
                  <p:tags r:id="rId310"/>
                </p:custDataLst>
              </p:nvPr>
            </p:nvSpPr>
            <p:spPr bwMode="auto">
              <a:xfrm>
                <a:off x="4714875" y="1820863"/>
                <a:ext cx="131763" cy="84137"/>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72" name="Freeform 473"/>
              <p:cNvSpPr>
                <a:spLocks/>
              </p:cNvSpPr>
              <p:nvPr>
                <p:custDataLst>
                  <p:tags r:id="rId311"/>
                </p:custDataLst>
              </p:nvPr>
            </p:nvSpPr>
            <p:spPr bwMode="auto">
              <a:xfrm>
                <a:off x="4421188" y="2006600"/>
                <a:ext cx="19050" cy="60325"/>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73" name="Freeform 474"/>
              <p:cNvSpPr>
                <a:spLocks/>
              </p:cNvSpPr>
              <p:nvPr>
                <p:custDataLst>
                  <p:tags r:id="rId312"/>
                </p:custDataLst>
              </p:nvPr>
            </p:nvSpPr>
            <p:spPr bwMode="auto">
              <a:xfrm>
                <a:off x="5118100" y="3890963"/>
                <a:ext cx="69850" cy="241300"/>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504D"/>
              </a:solidFill>
              <a:ln w="9525" cmpd="sng">
                <a:solidFill>
                  <a:schemeClr val="tx1"/>
                </a:solidFill>
                <a:prstDash val="solid"/>
                <a:round/>
                <a:headEnd/>
                <a:tailEnd/>
              </a:ln>
            </p:spPr>
            <p:txBody>
              <a:bodyPr/>
              <a:lstStyle/>
              <a:p>
                <a:endParaRPr lang="en-US"/>
              </a:p>
            </p:txBody>
          </p:sp>
          <p:sp>
            <p:nvSpPr>
              <p:cNvPr id="474" name="Freeform 475"/>
              <p:cNvSpPr>
                <a:spLocks/>
              </p:cNvSpPr>
              <p:nvPr>
                <p:custDataLst>
                  <p:tags r:id="rId313"/>
                </p:custDataLst>
              </p:nvPr>
            </p:nvSpPr>
            <p:spPr bwMode="auto">
              <a:xfrm>
                <a:off x="4610100" y="2462213"/>
                <a:ext cx="14288" cy="5715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FFFFFF"/>
              </a:solidFill>
              <a:ln w="9525" cmpd="sng">
                <a:solidFill>
                  <a:schemeClr val="tx1"/>
                </a:solidFill>
                <a:prstDash val="solid"/>
                <a:round/>
                <a:headEnd/>
                <a:tailEnd/>
              </a:ln>
            </p:spPr>
            <p:txBody>
              <a:bodyPr/>
              <a:lstStyle/>
              <a:p>
                <a:endParaRPr lang="en-US"/>
              </a:p>
            </p:txBody>
          </p:sp>
          <p:sp>
            <p:nvSpPr>
              <p:cNvPr id="475" name="Freeform 476"/>
              <p:cNvSpPr>
                <a:spLocks/>
              </p:cNvSpPr>
              <p:nvPr>
                <p:custDataLst>
                  <p:tags r:id="rId314"/>
                </p:custDataLst>
              </p:nvPr>
            </p:nvSpPr>
            <p:spPr bwMode="auto">
              <a:xfrm>
                <a:off x="4929188" y="4083050"/>
                <a:ext cx="188912" cy="217488"/>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504D"/>
              </a:solidFill>
              <a:ln w="9525" cmpd="sng">
                <a:solidFill>
                  <a:schemeClr val="tx1"/>
                </a:solidFill>
                <a:prstDash val="solid"/>
                <a:round/>
                <a:headEnd/>
                <a:tailEnd/>
              </a:ln>
            </p:spPr>
            <p:txBody>
              <a:bodyPr/>
              <a:lstStyle/>
              <a:p>
                <a:endParaRPr lang="en-US"/>
              </a:p>
            </p:txBody>
          </p:sp>
          <p:sp>
            <p:nvSpPr>
              <p:cNvPr id="476" name="Freeform 477"/>
              <p:cNvSpPr>
                <a:spLocks/>
              </p:cNvSpPr>
              <p:nvPr>
                <p:custDataLst>
                  <p:tags r:id="rId315"/>
                </p:custDataLst>
              </p:nvPr>
            </p:nvSpPr>
            <p:spPr bwMode="auto">
              <a:xfrm>
                <a:off x="4841875" y="3859213"/>
                <a:ext cx="293688" cy="300037"/>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504D"/>
              </a:solidFill>
              <a:ln w="9525" cmpd="sng">
                <a:solidFill>
                  <a:schemeClr val="tx1"/>
                </a:solidFill>
                <a:prstDash val="solid"/>
                <a:round/>
                <a:headEnd/>
                <a:tailEnd/>
              </a:ln>
            </p:spPr>
            <p:txBody>
              <a:bodyPr/>
              <a:lstStyle/>
              <a:p>
                <a:endParaRPr lang="en-US"/>
              </a:p>
            </p:txBody>
          </p:sp>
          <p:sp>
            <p:nvSpPr>
              <p:cNvPr id="477" name="Freeform 478"/>
              <p:cNvSpPr>
                <a:spLocks/>
              </p:cNvSpPr>
              <p:nvPr>
                <p:custDataLst>
                  <p:tags r:id="rId316"/>
                </p:custDataLst>
              </p:nvPr>
            </p:nvSpPr>
            <p:spPr bwMode="auto">
              <a:xfrm>
                <a:off x="4578350" y="4132263"/>
                <a:ext cx="350838" cy="3810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504D"/>
              </a:solidFill>
              <a:ln w="9525" cmpd="sng">
                <a:solidFill>
                  <a:schemeClr val="tx1"/>
                </a:solidFill>
                <a:prstDash val="solid"/>
                <a:round/>
                <a:headEnd/>
                <a:tailEnd/>
              </a:ln>
            </p:spPr>
            <p:txBody>
              <a:bodyPr/>
              <a:lstStyle/>
              <a:p>
                <a:endParaRPr lang="en-US"/>
              </a:p>
            </p:txBody>
          </p:sp>
          <p:sp>
            <p:nvSpPr>
              <p:cNvPr id="478" name="Freeform 479"/>
              <p:cNvSpPr>
                <a:spLocks/>
              </p:cNvSpPr>
              <p:nvPr>
                <p:custDataLst>
                  <p:tags r:id="rId317"/>
                </p:custDataLst>
              </p:nvPr>
            </p:nvSpPr>
            <p:spPr bwMode="auto">
              <a:xfrm>
                <a:off x="3857625" y="3062288"/>
                <a:ext cx="161925" cy="141287"/>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FFFFFF"/>
              </a:solidFill>
              <a:ln w="9525" cmpd="sng">
                <a:solidFill>
                  <a:schemeClr val="tx1"/>
                </a:solidFill>
                <a:prstDash val="solid"/>
                <a:round/>
                <a:headEnd/>
                <a:tailEnd/>
              </a:ln>
            </p:spPr>
            <p:txBody>
              <a:bodyPr/>
              <a:lstStyle/>
              <a:p>
                <a:endParaRPr lang="en-US"/>
              </a:p>
            </p:txBody>
          </p:sp>
          <p:sp>
            <p:nvSpPr>
              <p:cNvPr id="479" name="Freeform 480"/>
              <p:cNvSpPr>
                <a:spLocks/>
              </p:cNvSpPr>
              <p:nvPr>
                <p:custDataLst>
                  <p:tags r:id="rId318"/>
                </p:custDataLst>
              </p:nvPr>
            </p:nvSpPr>
            <p:spPr bwMode="auto">
              <a:xfrm>
                <a:off x="5030788" y="3624263"/>
                <a:ext cx="269875" cy="334962"/>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504D"/>
              </a:solidFill>
              <a:ln w="9525" cmpd="sng">
                <a:solidFill>
                  <a:schemeClr val="tx1"/>
                </a:solidFill>
                <a:prstDash val="solid"/>
                <a:round/>
                <a:headEnd/>
                <a:tailEnd/>
              </a:ln>
            </p:spPr>
            <p:txBody>
              <a:bodyPr/>
              <a:lstStyle/>
              <a:p>
                <a:endParaRPr lang="en-US"/>
              </a:p>
            </p:txBody>
          </p:sp>
          <p:sp>
            <p:nvSpPr>
              <p:cNvPr id="480" name="Freeform 481"/>
              <p:cNvSpPr>
                <a:spLocks/>
              </p:cNvSpPr>
              <p:nvPr>
                <p:custDataLst>
                  <p:tags r:id="rId319"/>
                </p:custDataLst>
              </p:nvPr>
            </p:nvSpPr>
            <p:spPr bwMode="auto">
              <a:xfrm>
                <a:off x="7594600" y="2138363"/>
                <a:ext cx="19050" cy="5715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81" name="Freeform 482"/>
              <p:cNvSpPr>
                <a:spLocks/>
              </p:cNvSpPr>
              <p:nvPr>
                <p:custDataLst>
                  <p:tags r:id="rId320"/>
                </p:custDataLst>
              </p:nvPr>
            </p:nvSpPr>
            <p:spPr bwMode="auto">
              <a:xfrm>
                <a:off x="7453313" y="2139950"/>
                <a:ext cx="141287" cy="125413"/>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82" name="Freeform 483"/>
              <p:cNvSpPr>
                <a:spLocks/>
              </p:cNvSpPr>
              <p:nvPr>
                <p:custDataLst>
                  <p:tags r:id="rId321"/>
                </p:custDataLst>
              </p:nvPr>
            </p:nvSpPr>
            <p:spPr bwMode="auto">
              <a:xfrm>
                <a:off x="7423150" y="2493963"/>
                <a:ext cx="52388" cy="5715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83" name="Freeform 484"/>
              <p:cNvSpPr>
                <a:spLocks/>
              </p:cNvSpPr>
              <p:nvPr>
                <p:custDataLst>
                  <p:tags r:id="rId322"/>
                </p:custDataLst>
              </p:nvPr>
            </p:nvSpPr>
            <p:spPr bwMode="auto">
              <a:xfrm>
                <a:off x="7369175" y="2508250"/>
                <a:ext cx="60325" cy="84138"/>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84" name="Freeform 485"/>
              <p:cNvSpPr>
                <a:spLocks/>
              </p:cNvSpPr>
              <p:nvPr>
                <p:custDataLst>
                  <p:tags r:id="rId323"/>
                </p:custDataLst>
              </p:nvPr>
            </p:nvSpPr>
            <p:spPr bwMode="auto">
              <a:xfrm>
                <a:off x="7385050" y="2270125"/>
                <a:ext cx="209550" cy="2444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85" name="Freeform 486"/>
              <p:cNvSpPr>
                <a:spLocks/>
              </p:cNvSpPr>
              <p:nvPr>
                <p:custDataLst>
                  <p:tags r:id="rId324"/>
                </p:custDataLst>
              </p:nvPr>
            </p:nvSpPr>
            <p:spPr bwMode="auto">
              <a:xfrm>
                <a:off x="4968875" y="1160463"/>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86" name="Freeform 487"/>
              <p:cNvSpPr>
                <a:spLocks/>
              </p:cNvSpPr>
              <p:nvPr>
                <p:custDataLst>
                  <p:tags r:id="rId325"/>
                </p:custDataLst>
              </p:nvPr>
            </p:nvSpPr>
            <p:spPr bwMode="auto">
              <a:xfrm>
                <a:off x="5111750" y="1143000"/>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87" name="Freeform 488"/>
              <p:cNvSpPr>
                <a:spLocks/>
              </p:cNvSpPr>
              <p:nvPr>
                <p:custDataLst>
                  <p:tags r:id="rId326"/>
                </p:custDataLst>
              </p:nvPr>
            </p:nvSpPr>
            <p:spPr bwMode="auto">
              <a:xfrm>
                <a:off x="5148263" y="1150938"/>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88" name="Freeform 489"/>
              <p:cNvSpPr>
                <a:spLocks/>
              </p:cNvSpPr>
              <p:nvPr>
                <p:custDataLst>
                  <p:tags r:id="rId327"/>
                </p:custDataLst>
              </p:nvPr>
            </p:nvSpPr>
            <p:spPr bwMode="auto">
              <a:xfrm>
                <a:off x="5681663" y="1336675"/>
                <a:ext cx="41275" cy="5715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89" name="Freeform 490"/>
              <p:cNvSpPr>
                <a:spLocks/>
              </p:cNvSpPr>
              <p:nvPr>
                <p:custDataLst>
                  <p:tags r:id="rId328"/>
                </p:custDataLst>
              </p:nvPr>
            </p:nvSpPr>
            <p:spPr bwMode="auto">
              <a:xfrm>
                <a:off x="5591175" y="1195388"/>
                <a:ext cx="15875" cy="58737"/>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90" name="Freeform 491"/>
              <p:cNvSpPr>
                <a:spLocks/>
              </p:cNvSpPr>
              <p:nvPr>
                <p:custDataLst>
                  <p:tags r:id="rId329"/>
                </p:custDataLst>
              </p:nvPr>
            </p:nvSpPr>
            <p:spPr bwMode="auto">
              <a:xfrm>
                <a:off x="5613400" y="1154113"/>
                <a:ext cx="14288" cy="6032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91" name="Freeform 492"/>
              <p:cNvSpPr>
                <a:spLocks/>
              </p:cNvSpPr>
              <p:nvPr>
                <p:custDataLst>
                  <p:tags r:id="rId330"/>
                </p:custDataLst>
              </p:nvPr>
            </p:nvSpPr>
            <p:spPr bwMode="auto">
              <a:xfrm>
                <a:off x="5757863" y="1270000"/>
                <a:ext cx="17462" cy="57150"/>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92" name="Freeform 493"/>
              <p:cNvSpPr>
                <a:spLocks/>
              </p:cNvSpPr>
              <p:nvPr>
                <p:custDataLst>
                  <p:tags r:id="rId331"/>
                </p:custDataLst>
              </p:nvPr>
            </p:nvSpPr>
            <p:spPr bwMode="auto">
              <a:xfrm>
                <a:off x="5811838" y="1154113"/>
                <a:ext cx="93662" cy="60325"/>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93" name="Freeform 494"/>
              <p:cNvSpPr>
                <a:spLocks/>
              </p:cNvSpPr>
              <p:nvPr>
                <p:custDataLst>
                  <p:tags r:id="rId332"/>
                </p:custDataLst>
              </p:nvPr>
            </p:nvSpPr>
            <p:spPr bwMode="auto">
              <a:xfrm>
                <a:off x="5872163" y="1179513"/>
                <a:ext cx="103187" cy="60325"/>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94" name="Freeform 495"/>
              <p:cNvSpPr>
                <a:spLocks/>
              </p:cNvSpPr>
              <p:nvPr>
                <p:custDataLst>
                  <p:tags r:id="rId333"/>
                </p:custDataLst>
              </p:nvPr>
            </p:nvSpPr>
            <p:spPr bwMode="auto">
              <a:xfrm>
                <a:off x="5989638" y="1193800"/>
                <a:ext cx="82550" cy="5715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95" name="Freeform 496"/>
              <p:cNvSpPr>
                <a:spLocks/>
              </p:cNvSpPr>
              <p:nvPr>
                <p:custDataLst>
                  <p:tags r:id="rId334"/>
                </p:custDataLst>
              </p:nvPr>
            </p:nvSpPr>
            <p:spPr bwMode="auto">
              <a:xfrm>
                <a:off x="6516688" y="1319213"/>
                <a:ext cx="79375" cy="58737"/>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96" name="Freeform 497"/>
              <p:cNvSpPr>
                <a:spLocks/>
              </p:cNvSpPr>
              <p:nvPr>
                <p:custDataLst>
                  <p:tags r:id="rId335"/>
                </p:custDataLst>
              </p:nvPr>
            </p:nvSpPr>
            <p:spPr bwMode="auto">
              <a:xfrm>
                <a:off x="6583363" y="1336675"/>
                <a:ext cx="33337" cy="5715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97" name="Freeform 498"/>
              <p:cNvSpPr>
                <a:spLocks/>
              </p:cNvSpPr>
              <p:nvPr>
                <p:custDataLst>
                  <p:tags r:id="rId336"/>
                </p:custDataLst>
              </p:nvPr>
            </p:nvSpPr>
            <p:spPr bwMode="auto">
              <a:xfrm>
                <a:off x="6613525" y="1347788"/>
                <a:ext cx="52388" cy="58737"/>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98" name="Freeform 499"/>
              <p:cNvSpPr>
                <a:spLocks/>
              </p:cNvSpPr>
              <p:nvPr>
                <p:custDataLst>
                  <p:tags r:id="rId337"/>
                </p:custDataLst>
              </p:nvPr>
            </p:nvSpPr>
            <p:spPr bwMode="auto">
              <a:xfrm>
                <a:off x="6384925" y="1320800"/>
                <a:ext cx="61913" cy="58738"/>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499" name="Freeform 500"/>
              <p:cNvSpPr>
                <a:spLocks/>
              </p:cNvSpPr>
              <p:nvPr>
                <p:custDataLst>
                  <p:tags r:id="rId338"/>
                </p:custDataLst>
              </p:nvPr>
            </p:nvSpPr>
            <p:spPr bwMode="auto">
              <a:xfrm>
                <a:off x="6684963" y="1262063"/>
                <a:ext cx="139700" cy="5715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00" name="Freeform 501"/>
              <p:cNvSpPr>
                <a:spLocks/>
              </p:cNvSpPr>
              <p:nvPr>
                <p:custDataLst>
                  <p:tags r:id="rId339"/>
                </p:custDataLst>
              </p:nvPr>
            </p:nvSpPr>
            <p:spPr bwMode="auto">
              <a:xfrm>
                <a:off x="6845300" y="1270000"/>
                <a:ext cx="95250" cy="57150"/>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01" name="Freeform 502"/>
              <p:cNvSpPr>
                <a:spLocks/>
              </p:cNvSpPr>
              <p:nvPr>
                <p:custDataLst>
                  <p:tags r:id="rId340"/>
                </p:custDataLst>
              </p:nvPr>
            </p:nvSpPr>
            <p:spPr bwMode="auto">
              <a:xfrm>
                <a:off x="6805613" y="1317625"/>
                <a:ext cx="63500" cy="58738"/>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02" name="Freeform 503"/>
              <p:cNvSpPr>
                <a:spLocks/>
              </p:cNvSpPr>
              <p:nvPr>
                <p:custDataLst>
                  <p:tags r:id="rId341"/>
                </p:custDataLst>
              </p:nvPr>
            </p:nvSpPr>
            <p:spPr bwMode="auto">
              <a:xfrm>
                <a:off x="6784975" y="1314450"/>
                <a:ext cx="20638" cy="58738"/>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03" name="Line 504"/>
              <p:cNvSpPr>
                <a:spLocks noChangeShapeType="1"/>
              </p:cNvSpPr>
              <p:nvPr>
                <p:custDataLst>
                  <p:tags r:id="rId342"/>
                </p:custDataLst>
              </p:nvPr>
            </p:nvSpPr>
            <p:spPr bwMode="auto">
              <a:xfrm flipV="1">
                <a:off x="6786563" y="1312863"/>
                <a:ext cx="0" cy="1587"/>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a:defRPr/>
                </a:pPr>
                <a:endParaRPr lang="en-US">
                  <a:cs typeface="+mn-cs"/>
                </a:endParaRPr>
              </a:p>
            </p:txBody>
          </p:sp>
          <p:sp>
            <p:nvSpPr>
              <p:cNvPr id="504" name="Freeform 505"/>
              <p:cNvSpPr>
                <a:spLocks/>
              </p:cNvSpPr>
              <p:nvPr>
                <p:custDataLst>
                  <p:tags r:id="rId343"/>
                </p:custDataLst>
              </p:nvPr>
            </p:nvSpPr>
            <p:spPr bwMode="auto">
              <a:xfrm>
                <a:off x="5956300" y="1241425"/>
                <a:ext cx="11113" cy="55563"/>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05" name="Freeform 506"/>
              <p:cNvSpPr>
                <a:spLocks/>
              </p:cNvSpPr>
              <p:nvPr>
                <p:custDataLst>
                  <p:tags r:id="rId344"/>
                </p:custDataLst>
              </p:nvPr>
            </p:nvSpPr>
            <p:spPr bwMode="auto">
              <a:xfrm>
                <a:off x="6705600" y="1312863"/>
                <a:ext cx="9525" cy="5715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06" name="Freeform 507"/>
              <p:cNvSpPr>
                <a:spLocks/>
              </p:cNvSpPr>
              <p:nvPr>
                <p:custDataLst>
                  <p:tags r:id="rId345"/>
                </p:custDataLst>
              </p:nvPr>
            </p:nvSpPr>
            <p:spPr bwMode="auto">
              <a:xfrm>
                <a:off x="6659563" y="1276350"/>
                <a:ext cx="9525" cy="57150"/>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07" name="Freeform 508"/>
              <p:cNvSpPr>
                <a:spLocks/>
              </p:cNvSpPr>
              <p:nvPr>
                <p:custDataLst>
                  <p:tags r:id="rId346"/>
                </p:custDataLst>
              </p:nvPr>
            </p:nvSpPr>
            <p:spPr bwMode="auto">
              <a:xfrm>
                <a:off x="7159625" y="1846263"/>
                <a:ext cx="12700" cy="58737"/>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08" name="Freeform 509"/>
              <p:cNvSpPr>
                <a:spLocks/>
              </p:cNvSpPr>
              <p:nvPr>
                <p:custDataLst>
                  <p:tags r:id="rId347"/>
                </p:custDataLst>
              </p:nvPr>
            </p:nvSpPr>
            <p:spPr bwMode="auto">
              <a:xfrm>
                <a:off x="7453313" y="1368425"/>
                <a:ext cx="55562" cy="58738"/>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09" name="Freeform 510"/>
              <p:cNvSpPr>
                <a:spLocks/>
              </p:cNvSpPr>
              <p:nvPr>
                <p:custDataLst>
                  <p:tags r:id="rId348"/>
                </p:custDataLst>
              </p:nvPr>
            </p:nvSpPr>
            <p:spPr bwMode="auto">
              <a:xfrm>
                <a:off x="7589838" y="1720850"/>
                <a:ext cx="14287" cy="57150"/>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10" name="Freeform 511"/>
              <p:cNvSpPr>
                <a:spLocks/>
              </p:cNvSpPr>
              <p:nvPr>
                <p:custDataLst>
                  <p:tags r:id="rId349"/>
                </p:custDataLst>
              </p:nvPr>
            </p:nvSpPr>
            <p:spPr bwMode="auto">
              <a:xfrm>
                <a:off x="7739063" y="1833563"/>
                <a:ext cx="42862" cy="6032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11" name="Freeform 512"/>
              <p:cNvSpPr>
                <a:spLocks/>
              </p:cNvSpPr>
              <p:nvPr>
                <p:custDataLst>
                  <p:tags r:id="rId350"/>
                </p:custDataLst>
              </p:nvPr>
            </p:nvSpPr>
            <p:spPr bwMode="auto">
              <a:xfrm>
                <a:off x="7789863" y="1849438"/>
                <a:ext cx="19050" cy="58737"/>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12" name="Freeform 513"/>
              <p:cNvSpPr>
                <a:spLocks/>
              </p:cNvSpPr>
              <p:nvPr>
                <p:custDataLst>
                  <p:tags r:id="rId351"/>
                </p:custDataLst>
              </p:nvPr>
            </p:nvSpPr>
            <p:spPr bwMode="auto">
              <a:xfrm>
                <a:off x="7654925" y="1976438"/>
                <a:ext cx="14288" cy="5715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13" name="Freeform 514"/>
              <p:cNvSpPr>
                <a:spLocks/>
              </p:cNvSpPr>
              <p:nvPr>
                <p:custDataLst>
                  <p:tags r:id="rId352"/>
                </p:custDataLst>
              </p:nvPr>
            </p:nvSpPr>
            <p:spPr bwMode="auto">
              <a:xfrm>
                <a:off x="7666038" y="2005013"/>
                <a:ext cx="3175" cy="60325"/>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14" name="Freeform 515"/>
              <p:cNvSpPr>
                <a:spLocks/>
              </p:cNvSpPr>
              <p:nvPr>
                <p:custDataLst>
                  <p:tags r:id="rId353"/>
                </p:custDataLst>
              </p:nvPr>
            </p:nvSpPr>
            <p:spPr bwMode="auto">
              <a:xfrm>
                <a:off x="7653338" y="2087563"/>
                <a:ext cx="9525" cy="55562"/>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15" name="Freeform 516"/>
              <p:cNvSpPr>
                <a:spLocks/>
              </p:cNvSpPr>
              <p:nvPr>
                <p:custDataLst>
                  <p:tags r:id="rId354"/>
                </p:custDataLst>
              </p:nvPr>
            </p:nvSpPr>
            <p:spPr bwMode="auto">
              <a:xfrm>
                <a:off x="7631113" y="2122488"/>
                <a:ext cx="0" cy="58737"/>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16" name="Freeform 517"/>
              <p:cNvSpPr>
                <a:spLocks/>
              </p:cNvSpPr>
              <p:nvPr>
                <p:custDataLst>
                  <p:tags r:id="rId355"/>
                </p:custDataLst>
              </p:nvPr>
            </p:nvSpPr>
            <p:spPr bwMode="auto">
              <a:xfrm>
                <a:off x="7631113" y="2122488"/>
                <a:ext cx="7937" cy="58737"/>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17" name="Freeform 518"/>
              <p:cNvSpPr>
                <a:spLocks/>
              </p:cNvSpPr>
              <p:nvPr>
                <p:custDataLst>
                  <p:tags r:id="rId356"/>
                </p:custDataLst>
              </p:nvPr>
            </p:nvSpPr>
            <p:spPr bwMode="auto">
              <a:xfrm>
                <a:off x="7385050" y="1709738"/>
                <a:ext cx="17463" cy="60325"/>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18" name="Freeform 519"/>
              <p:cNvSpPr>
                <a:spLocks/>
              </p:cNvSpPr>
              <p:nvPr>
                <p:custDataLst>
                  <p:tags r:id="rId357"/>
                </p:custDataLst>
              </p:nvPr>
            </p:nvSpPr>
            <p:spPr bwMode="auto">
              <a:xfrm>
                <a:off x="4700588" y="1849438"/>
                <a:ext cx="47625" cy="58737"/>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19" name="Freeform 520"/>
              <p:cNvSpPr>
                <a:spLocks/>
              </p:cNvSpPr>
              <p:nvPr>
                <p:custDataLst>
                  <p:tags r:id="rId358"/>
                </p:custDataLst>
              </p:nvPr>
            </p:nvSpPr>
            <p:spPr bwMode="auto">
              <a:xfrm>
                <a:off x="5149850" y="1441450"/>
                <a:ext cx="42863" cy="58738"/>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20" name="Freeform 521"/>
              <p:cNvSpPr>
                <a:spLocks/>
              </p:cNvSpPr>
              <p:nvPr>
                <p:custDataLst>
                  <p:tags r:id="rId359"/>
                </p:custDataLst>
              </p:nvPr>
            </p:nvSpPr>
            <p:spPr bwMode="auto">
              <a:xfrm>
                <a:off x="5184775" y="1254125"/>
                <a:ext cx="228600" cy="163513"/>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21" name="Freeform 522"/>
              <p:cNvSpPr>
                <a:spLocks/>
              </p:cNvSpPr>
              <p:nvPr>
                <p:custDataLst>
                  <p:tags r:id="rId360"/>
                </p:custDataLst>
              </p:nvPr>
            </p:nvSpPr>
            <p:spPr bwMode="auto">
              <a:xfrm>
                <a:off x="4976813" y="1565275"/>
                <a:ext cx="31750" cy="55563"/>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22" name="Freeform 523"/>
              <p:cNvSpPr>
                <a:spLocks/>
              </p:cNvSpPr>
              <p:nvPr>
                <p:custDataLst>
                  <p:tags r:id="rId361"/>
                </p:custDataLst>
              </p:nvPr>
            </p:nvSpPr>
            <p:spPr bwMode="auto">
              <a:xfrm>
                <a:off x="7281863" y="1862138"/>
                <a:ext cx="196850" cy="268287"/>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grpSp>
            <p:nvGrpSpPr>
              <p:cNvPr id="523" name="Group 524"/>
              <p:cNvGrpSpPr>
                <a:grpSpLocks/>
              </p:cNvGrpSpPr>
              <p:nvPr>
                <p:custDataLst>
                  <p:tags r:id="rId362"/>
                </p:custDataLst>
              </p:nvPr>
            </p:nvGrpSpPr>
            <p:grpSpPr bwMode="auto">
              <a:xfrm>
                <a:off x="6072188" y="1817688"/>
                <a:ext cx="671512" cy="384175"/>
                <a:chOff x="4115" y="1551"/>
                <a:chExt cx="504" cy="244"/>
              </a:xfrm>
              <a:solidFill>
                <a:srgbClr val="FFFFFF"/>
              </a:solidFill>
            </p:grpSpPr>
            <p:sp>
              <p:nvSpPr>
                <p:cNvPr id="524" name="Freeform 525"/>
                <p:cNvSpPr>
                  <a:spLocks/>
                </p:cNvSpPr>
                <p:nvPr/>
              </p:nvSpPr>
              <p:spPr bwMode="auto">
                <a:xfrm>
                  <a:off x="4540" y="1551"/>
                  <a:ext cx="79" cy="86"/>
                </a:xfrm>
                <a:custGeom>
                  <a:avLst/>
                  <a:gdLst>
                    <a:gd name="T0" fmla="*/ 0 w 240"/>
                    <a:gd name="T1" fmla="*/ 3 h 259"/>
                    <a:gd name="T2" fmla="*/ 1 w 240"/>
                    <a:gd name="T3" fmla="*/ 3 h 259"/>
                    <a:gd name="T4" fmla="*/ 1 w 240"/>
                    <a:gd name="T5" fmla="*/ 3 h 259"/>
                    <a:gd name="T6" fmla="*/ 2 w 240"/>
                    <a:gd name="T7" fmla="*/ 3 h 259"/>
                    <a:gd name="T8" fmla="*/ 2 w 240"/>
                    <a:gd name="T9" fmla="*/ 2 h 259"/>
                    <a:gd name="T10" fmla="*/ 3 w 240"/>
                    <a:gd name="T11" fmla="*/ 1 h 259"/>
                    <a:gd name="T12" fmla="*/ 3 w 240"/>
                    <a:gd name="T13" fmla="*/ 0 h 259"/>
                    <a:gd name="T14" fmla="*/ 3 w 240"/>
                    <a:gd name="T15" fmla="*/ 0 h 259"/>
                    <a:gd name="T16" fmla="*/ 2 w 240"/>
                    <a:gd name="T17" fmla="*/ 0 h 259"/>
                    <a:gd name="T18" fmla="*/ 2 w 240"/>
                    <a:gd name="T19" fmla="*/ 1 h 259"/>
                    <a:gd name="T20" fmla="*/ 2 w 240"/>
                    <a:gd name="T21" fmla="*/ 1 h 259"/>
                    <a:gd name="T22" fmla="*/ 2 w 240"/>
                    <a:gd name="T23" fmla="*/ 2 h 259"/>
                    <a:gd name="T24" fmla="*/ 1 w 240"/>
                    <a:gd name="T25" fmla="*/ 2 h 259"/>
                    <a:gd name="T26" fmla="*/ 1 w 240"/>
                    <a:gd name="T27" fmla="*/ 3 h 259"/>
                    <a:gd name="T28" fmla="*/ 0 w 240"/>
                    <a:gd name="T29" fmla="*/ 3 h 259"/>
                    <a:gd name="T30" fmla="*/ 0 w 240"/>
                    <a:gd name="T31" fmla="*/ 3 h 259"/>
                    <a:gd name="T32" fmla="*/ 0 w 240"/>
                    <a:gd name="T33" fmla="*/ 3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chemeClr val="tx1"/>
                  </a:solidFill>
                  <a:prstDash val="solid"/>
                  <a:round/>
                  <a:headEnd/>
                  <a:tailEnd/>
                </a:ln>
              </p:spPr>
              <p:txBody>
                <a:bodyPr/>
                <a:lstStyle/>
                <a:p>
                  <a:endParaRPr lang="en-US"/>
                </a:p>
              </p:txBody>
            </p:sp>
            <p:sp>
              <p:nvSpPr>
                <p:cNvPr id="525" name="Freeform 526"/>
                <p:cNvSpPr>
                  <a:spLocks/>
                </p:cNvSpPr>
                <p:nvPr/>
              </p:nvSpPr>
              <p:spPr bwMode="auto">
                <a:xfrm>
                  <a:off x="4115" y="1761"/>
                  <a:ext cx="84" cy="34"/>
                </a:xfrm>
                <a:custGeom>
                  <a:avLst/>
                  <a:gdLst>
                    <a:gd name="T0" fmla="*/ 0 w 259"/>
                    <a:gd name="T1" fmla="*/ 1 h 104"/>
                    <a:gd name="T2" fmla="*/ 0 w 259"/>
                    <a:gd name="T3" fmla="*/ 1 h 104"/>
                    <a:gd name="T4" fmla="*/ 1 w 259"/>
                    <a:gd name="T5" fmla="*/ 1 h 104"/>
                    <a:gd name="T6" fmla="*/ 1 w 259"/>
                    <a:gd name="T7" fmla="*/ 1 h 104"/>
                    <a:gd name="T8" fmla="*/ 1 w 259"/>
                    <a:gd name="T9" fmla="*/ 1 h 104"/>
                    <a:gd name="T10" fmla="*/ 2 w 259"/>
                    <a:gd name="T11" fmla="*/ 1 h 104"/>
                    <a:gd name="T12" fmla="*/ 3 w 259"/>
                    <a:gd name="T13" fmla="*/ 0 h 104"/>
                    <a:gd name="T14" fmla="*/ 3 w 259"/>
                    <a:gd name="T15" fmla="*/ 0 h 104"/>
                    <a:gd name="T16" fmla="*/ 3 w 259"/>
                    <a:gd name="T17" fmla="*/ 0 h 104"/>
                    <a:gd name="T18" fmla="*/ 2 w 259"/>
                    <a:gd name="T19" fmla="*/ 0 h 104"/>
                    <a:gd name="T20" fmla="*/ 2 w 259"/>
                    <a:gd name="T21" fmla="*/ 0 h 104"/>
                    <a:gd name="T22" fmla="*/ 1 w 259"/>
                    <a:gd name="T23" fmla="*/ 0 h 104"/>
                    <a:gd name="T24" fmla="*/ 1 w 259"/>
                    <a:gd name="T25" fmla="*/ 0 h 104"/>
                    <a:gd name="T26" fmla="*/ 0 w 259"/>
                    <a:gd name="T27" fmla="*/ 1 h 104"/>
                    <a:gd name="T28" fmla="*/ 0 w 259"/>
                    <a:gd name="T29" fmla="*/ 1 h 104"/>
                    <a:gd name="T30" fmla="*/ 0 w 259"/>
                    <a:gd name="T31" fmla="*/ 1 h 104"/>
                    <a:gd name="T32" fmla="*/ 0 w 259"/>
                    <a:gd name="T33" fmla="*/ 1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chemeClr val="tx1"/>
                  </a:solidFill>
                  <a:prstDash val="solid"/>
                  <a:round/>
                  <a:headEnd/>
                  <a:tailEnd/>
                </a:ln>
              </p:spPr>
              <p:txBody>
                <a:bodyPr/>
                <a:lstStyle/>
                <a:p>
                  <a:endParaRPr lang="en-US"/>
                </a:p>
              </p:txBody>
            </p:sp>
          </p:grpSp>
          <p:sp>
            <p:nvSpPr>
              <p:cNvPr id="526" name="Freeform 527"/>
              <p:cNvSpPr>
                <a:spLocks/>
              </p:cNvSpPr>
              <p:nvPr>
                <p:custDataLst>
                  <p:tags r:id="rId363"/>
                </p:custDataLst>
              </p:nvPr>
            </p:nvSpPr>
            <p:spPr bwMode="auto">
              <a:xfrm>
                <a:off x="5129213" y="2566988"/>
                <a:ext cx="530225"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27" name="Freeform 528"/>
              <p:cNvSpPr>
                <a:spLocks/>
              </p:cNvSpPr>
              <p:nvPr>
                <p:custDataLst>
                  <p:tags r:id="rId364"/>
                </p:custDataLst>
              </p:nvPr>
            </p:nvSpPr>
            <p:spPr bwMode="auto">
              <a:xfrm>
                <a:off x="4603750" y="2111375"/>
                <a:ext cx="57150" cy="5715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28" name="Freeform 529"/>
              <p:cNvSpPr>
                <a:spLocks/>
              </p:cNvSpPr>
              <p:nvPr>
                <p:custDataLst>
                  <p:tags r:id="rId365"/>
                </p:custDataLst>
              </p:nvPr>
            </p:nvSpPr>
            <p:spPr bwMode="auto">
              <a:xfrm>
                <a:off x="4343400" y="2324100"/>
                <a:ext cx="15875" cy="57150"/>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29" name="Freeform 530"/>
              <p:cNvSpPr>
                <a:spLocks/>
              </p:cNvSpPr>
              <p:nvPr>
                <p:custDataLst>
                  <p:tags r:id="rId366"/>
                </p:custDataLst>
              </p:nvPr>
            </p:nvSpPr>
            <p:spPr bwMode="auto">
              <a:xfrm>
                <a:off x="3935413" y="2670175"/>
                <a:ext cx="28575" cy="57150"/>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30" name="Freeform 531"/>
              <p:cNvSpPr>
                <a:spLocks/>
              </p:cNvSpPr>
              <p:nvPr>
                <p:custDataLst>
                  <p:tags r:id="rId367"/>
                </p:custDataLst>
              </p:nvPr>
            </p:nvSpPr>
            <p:spPr bwMode="auto">
              <a:xfrm>
                <a:off x="3876675" y="2686050"/>
                <a:ext cx="23813" cy="6032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31" name="Freeform 532"/>
              <p:cNvSpPr>
                <a:spLocks/>
              </p:cNvSpPr>
              <p:nvPr>
                <p:custDataLst>
                  <p:tags r:id="rId368"/>
                </p:custDataLst>
              </p:nvPr>
            </p:nvSpPr>
            <p:spPr bwMode="auto">
              <a:xfrm>
                <a:off x="3851275" y="2679700"/>
                <a:ext cx="6350" cy="57150"/>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32" name="Freeform 533"/>
              <p:cNvSpPr>
                <a:spLocks/>
              </p:cNvSpPr>
              <p:nvPr>
                <p:custDataLst>
                  <p:tags r:id="rId369"/>
                </p:custDataLst>
              </p:nvPr>
            </p:nvSpPr>
            <p:spPr bwMode="auto">
              <a:xfrm>
                <a:off x="5122863" y="2408238"/>
                <a:ext cx="174625" cy="15875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FFFFFF"/>
              </a:solidFill>
              <a:ln w="9525" cmpd="sng">
                <a:solidFill>
                  <a:schemeClr val="tx1"/>
                </a:solidFill>
                <a:prstDash val="solid"/>
                <a:round/>
                <a:headEnd/>
                <a:tailEnd/>
              </a:ln>
            </p:spPr>
            <p:txBody>
              <a:bodyPr/>
              <a:lstStyle/>
              <a:p>
                <a:endParaRPr lang="en-US"/>
              </a:p>
            </p:txBody>
          </p:sp>
          <p:sp>
            <p:nvSpPr>
              <p:cNvPr id="533" name="Freeform 534"/>
              <p:cNvSpPr>
                <a:spLocks/>
              </p:cNvSpPr>
              <p:nvPr>
                <p:custDataLst>
                  <p:tags r:id="rId370"/>
                </p:custDataLst>
              </p:nvPr>
            </p:nvSpPr>
            <p:spPr bwMode="auto">
              <a:xfrm>
                <a:off x="7216775" y="2789238"/>
                <a:ext cx="42863" cy="793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FFFFFF"/>
              </a:solidFill>
              <a:ln w="9525" cmpd="sng">
                <a:solidFill>
                  <a:schemeClr val="tx1"/>
                </a:solidFill>
                <a:prstDash val="solid"/>
                <a:round/>
                <a:headEnd/>
                <a:tailEnd/>
              </a:ln>
            </p:spPr>
            <p:txBody>
              <a:bodyPr/>
              <a:lstStyle/>
              <a:p>
                <a:endParaRPr lang="en-US"/>
              </a:p>
            </p:txBody>
          </p:sp>
          <p:grpSp>
            <p:nvGrpSpPr>
              <p:cNvPr id="534" name="Group 535"/>
              <p:cNvGrpSpPr>
                <a:grpSpLocks/>
              </p:cNvGrpSpPr>
              <p:nvPr>
                <p:custDataLst>
                  <p:tags r:id="rId371"/>
                </p:custDataLst>
              </p:nvPr>
            </p:nvGrpSpPr>
            <p:grpSpPr bwMode="auto">
              <a:xfrm>
                <a:off x="4864100" y="2257425"/>
                <a:ext cx="482600" cy="201613"/>
                <a:chOff x="3289" y="1830"/>
                <a:chExt cx="363" cy="128"/>
              </a:xfrm>
              <a:solidFill>
                <a:srgbClr val="FFFFFF"/>
              </a:solidFill>
            </p:grpSpPr>
            <p:sp>
              <p:nvSpPr>
                <p:cNvPr id="535" name="Freeform 536"/>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6" name="Freeform 537"/>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7" name="Freeform 538"/>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8" name="Freeform 539"/>
                <p:cNvSpPr>
                  <a:spLocks/>
                </p:cNvSpPr>
                <p:nvPr/>
              </p:nvSpPr>
              <p:spPr bwMode="auto">
                <a:xfrm>
                  <a:off x="3313" y="1834"/>
                  <a:ext cx="34" cy="23"/>
                </a:xfrm>
                <a:custGeom>
                  <a:avLst/>
                  <a:gdLst>
                    <a:gd name="T0" fmla="*/ 0 w 107"/>
                    <a:gd name="T1" fmla="*/ 0 h 69"/>
                    <a:gd name="T2" fmla="*/ 0 w 107"/>
                    <a:gd name="T3" fmla="*/ 0 h 69"/>
                    <a:gd name="T4" fmla="*/ 0 w 107"/>
                    <a:gd name="T5" fmla="*/ 1 h 69"/>
                    <a:gd name="T6" fmla="*/ 0 w 107"/>
                    <a:gd name="T7" fmla="*/ 1 h 69"/>
                    <a:gd name="T8" fmla="*/ 0 w 107"/>
                    <a:gd name="T9" fmla="*/ 1 h 69"/>
                    <a:gd name="T10" fmla="*/ 0 w 107"/>
                    <a:gd name="T11" fmla="*/ 1 h 69"/>
                    <a:gd name="T12" fmla="*/ 1 w 107"/>
                    <a:gd name="T13" fmla="*/ 1 h 69"/>
                    <a:gd name="T14" fmla="*/ 1 w 107"/>
                    <a:gd name="T15" fmla="*/ 1 h 69"/>
                    <a:gd name="T16" fmla="*/ 1 w 107"/>
                    <a:gd name="T17" fmla="*/ 1 h 69"/>
                    <a:gd name="T18" fmla="*/ 1 w 107"/>
                    <a:gd name="T19" fmla="*/ 0 h 69"/>
                    <a:gd name="T20" fmla="*/ 1 w 107"/>
                    <a:gd name="T21" fmla="*/ 0 h 69"/>
                    <a:gd name="T22" fmla="*/ 1 w 107"/>
                    <a:gd name="T23" fmla="*/ 0 h 69"/>
                    <a:gd name="T24" fmla="*/ 1 w 107"/>
                    <a:gd name="T25" fmla="*/ 0 h 69"/>
                    <a:gd name="T26" fmla="*/ 1 w 107"/>
                    <a:gd name="T27" fmla="*/ 0 h 69"/>
                    <a:gd name="T28" fmla="*/ 1 w 107"/>
                    <a:gd name="T29" fmla="*/ 0 h 69"/>
                    <a:gd name="T30" fmla="*/ 1 w 107"/>
                    <a:gd name="T31" fmla="*/ 0 h 69"/>
                    <a:gd name="T32" fmla="*/ 1 w 107"/>
                    <a:gd name="T33" fmla="*/ 0 h 69"/>
                    <a:gd name="T34" fmla="*/ 1 w 107"/>
                    <a:gd name="T35" fmla="*/ 0 h 69"/>
                    <a:gd name="T36" fmla="*/ 1 w 107"/>
                    <a:gd name="T37" fmla="*/ 0 h 69"/>
                    <a:gd name="T38" fmla="*/ 1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39" name="Freeform 540"/>
                <p:cNvSpPr>
                  <a:spLocks/>
                </p:cNvSpPr>
                <p:nvPr/>
              </p:nvSpPr>
              <p:spPr bwMode="auto">
                <a:xfrm>
                  <a:off x="3302" y="1830"/>
                  <a:ext cx="350" cy="128"/>
                </a:xfrm>
                <a:custGeom>
                  <a:avLst/>
                  <a:gdLst>
                    <a:gd name="T0" fmla="*/ 11 w 1070"/>
                    <a:gd name="T1" fmla="*/ 2 h 382"/>
                    <a:gd name="T2" fmla="*/ 11 w 1070"/>
                    <a:gd name="T3" fmla="*/ 1 h 382"/>
                    <a:gd name="T4" fmla="*/ 11 w 1070"/>
                    <a:gd name="T5" fmla="*/ 1 h 382"/>
                    <a:gd name="T6" fmla="*/ 11 w 1070"/>
                    <a:gd name="T7" fmla="*/ 0 h 382"/>
                    <a:gd name="T8" fmla="*/ 9 w 1070"/>
                    <a:gd name="T9" fmla="*/ 0 h 382"/>
                    <a:gd name="T10" fmla="*/ 9 w 1070"/>
                    <a:gd name="T11" fmla="*/ 1 h 382"/>
                    <a:gd name="T12" fmla="*/ 8 w 1070"/>
                    <a:gd name="T13" fmla="*/ 1 h 382"/>
                    <a:gd name="T14" fmla="*/ 7 w 1070"/>
                    <a:gd name="T15" fmla="*/ 1 h 382"/>
                    <a:gd name="T16" fmla="*/ 7 w 1070"/>
                    <a:gd name="T17" fmla="*/ 1 h 382"/>
                    <a:gd name="T18" fmla="*/ 7 w 1070"/>
                    <a:gd name="T19" fmla="*/ 0 h 382"/>
                    <a:gd name="T20" fmla="*/ 6 w 1070"/>
                    <a:gd name="T21" fmla="*/ 0 h 382"/>
                    <a:gd name="T22" fmla="*/ 6 w 1070"/>
                    <a:gd name="T23" fmla="*/ 0 h 382"/>
                    <a:gd name="T24" fmla="*/ 5 w 1070"/>
                    <a:gd name="T25" fmla="*/ 0 h 382"/>
                    <a:gd name="T26" fmla="*/ 5 w 1070"/>
                    <a:gd name="T27" fmla="*/ 0 h 382"/>
                    <a:gd name="T28" fmla="*/ 3 w 1070"/>
                    <a:gd name="T29" fmla="*/ 0 h 382"/>
                    <a:gd name="T30" fmla="*/ 3 w 1070"/>
                    <a:gd name="T31" fmla="*/ 1 h 382"/>
                    <a:gd name="T32" fmla="*/ 2 w 1070"/>
                    <a:gd name="T33" fmla="*/ 1 h 382"/>
                    <a:gd name="T34" fmla="*/ 2 w 1070"/>
                    <a:gd name="T35" fmla="*/ 1 h 382"/>
                    <a:gd name="T36" fmla="*/ 2 w 1070"/>
                    <a:gd name="T37" fmla="*/ 1 h 382"/>
                    <a:gd name="T38" fmla="*/ 1 w 1070"/>
                    <a:gd name="T39" fmla="*/ 1 h 382"/>
                    <a:gd name="T40" fmla="*/ 1 w 1070"/>
                    <a:gd name="T41" fmla="*/ 1 h 382"/>
                    <a:gd name="T42" fmla="*/ 0 w 1070"/>
                    <a:gd name="T43" fmla="*/ 1 h 382"/>
                    <a:gd name="T44" fmla="*/ 0 w 1070"/>
                    <a:gd name="T45" fmla="*/ 2 h 382"/>
                    <a:gd name="T46" fmla="*/ 0 w 1070"/>
                    <a:gd name="T47" fmla="*/ 2 h 382"/>
                    <a:gd name="T48" fmla="*/ 0 w 1070"/>
                    <a:gd name="T49" fmla="*/ 2 h 382"/>
                    <a:gd name="T50" fmla="*/ 0 w 1070"/>
                    <a:gd name="T51" fmla="*/ 3 h 382"/>
                    <a:gd name="T52" fmla="*/ 1 w 1070"/>
                    <a:gd name="T53" fmla="*/ 3 h 382"/>
                    <a:gd name="T54" fmla="*/ 1 w 1070"/>
                    <a:gd name="T55" fmla="*/ 3 h 382"/>
                    <a:gd name="T56" fmla="*/ 1 w 1070"/>
                    <a:gd name="T57" fmla="*/ 3 h 382"/>
                    <a:gd name="T58" fmla="*/ 1 w 1070"/>
                    <a:gd name="T59" fmla="*/ 4 h 382"/>
                    <a:gd name="T60" fmla="*/ 2 w 1070"/>
                    <a:gd name="T61" fmla="*/ 4 h 382"/>
                    <a:gd name="T62" fmla="*/ 3 w 1070"/>
                    <a:gd name="T63" fmla="*/ 5 h 382"/>
                    <a:gd name="T64" fmla="*/ 3 w 1070"/>
                    <a:gd name="T65" fmla="*/ 4 h 382"/>
                    <a:gd name="T66" fmla="*/ 3 w 1070"/>
                    <a:gd name="T67" fmla="*/ 4 h 382"/>
                    <a:gd name="T68" fmla="*/ 3 w 1070"/>
                    <a:gd name="T69" fmla="*/ 4 h 382"/>
                    <a:gd name="T70" fmla="*/ 4 w 1070"/>
                    <a:gd name="T71" fmla="*/ 4 h 382"/>
                    <a:gd name="T72" fmla="*/ 4 w 1070"/>
                    <a:gd name="T73" fmla="*/ 4 h 382"/>
                    <a:gd name="T74" fmla="*/ 5 w 1070"/>
                    <a:gd name="T75" fmla="*/ 5 h 382"/>
                    <a:gd name="T76" fmla="*/ 5 w 1070"/>
                    <a:gd name="T77" fmla="*/ 4 h 382"/>
                    <a:gd name="T78" fmla="*/ 6 w 1070"/>
                    <a:gd name="T79" fmla="*/ 4 h 382"/>
                    <a:gd name="T80" fmla="*/ 6 w 1070"/>
                    <a:gd name="T81" fmla="*/ 4 h 382"/>
                    <a:gd name="T82" fmla="*/ 7 w 1070"/>
                    <a:gd name="T83" fmla="*/ 4 h 382"/>
                    <a:gd name="T84" fmla="*/ 7 w 1070"/>
                    <a:gd name="T85" fmla="*/ 5 h 382"/>
                    <a:gd name="T86" fmla="*/ 7 w 1070"/>
                    <a:gd name="T87" fmla="*/ 5 h 382"/>
                    <a:gd name="T88" fmla="*/ 7 w 1070"/>
                    <a:gd name="T89" fmla="*/ 5 h 382"/>
                    <a:gd name="T90" fmla="*/ 8 w 1070"/>
                    <a:gd name="T91" fmla="*/ 4 h 382"/>
                    <a:gd name="T92" fmla="*/ 9 w 1070"/>
                    <a:gd name="T93" fmla="*/ 4 h 382"/>
                    <a:gd name="T94" fmla="*/ 9 w 1070"/>
                    <a:gd name="T95" fmla="*/ 4 h 382"/>
                    <a:gd name="T96" fmla="*/ 10 w 1070"/>
                    <a:gd name="T97" fmla="*/ 4 h 382"/>
                    <a:gd name="T98" fmla="*/ 11 w 1070"/>
                    <a:gd name="T99" fmla="*/ 4 h 382"/>
                    <a:gd name="T100" fmla="*/ 11 w 1070"/>
                    <a:gd name="T101" fmla="*/ 4 h 382"/>
                    <a:gd name="T102" fmla="*/ 12 w 1070"/>
                    <a:gd name="T103" fmla="*/ 4 h 382"/>
                    <a:gd name="T104" fmla="*/ 12 w 1070"/>
                    <a:gd name="T105" fmla="*/ 3 h 382"/>
                    <a:gd name="T106" fmla="*/ 12 w 1070"/>
                    <a:gd name="T107" fmla="*/ 3 h 382"/>
                    <a:gd name="T108" fmla="*/ 12 w 1070"/>
                    <a:gd name="T109" fmla="*/ 2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540" name="Freeform 541"/>
              <p:cNvSpPr>
                <a:spLocks/>
              </p:cNvSpPr>
              <p:nvPr>
                <p:custDataLst>
                  <p:tags r:id="rId372"/>
                </p:custDataLst>
              </p:nvPr>
            </p:nvSpPr>
            <p:spPr bwMode="auto">
              <a:xfrm>
                <a:off x="2852738" y="3409950"/>
                <a:ext cx="100012" cy="122238"/>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41" name="Freeform 542"/>
              <p:cNvSpPr>
                <a:spLocks/>
              </p:cNvSpPr>
              <p:nvPr>
                <p:custDataLst>
                  <p:tags r:id="rId373"/>
                </p:custDataLst>
              </p:nvPr>
            </p:nvSpPr>
            <p:spPr bwMode="auto">
              <a:xfrm>
                <a:off x="6797675" y="2846388"/>
                <a:ext cx="207963" cy="458787"/>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504D"/>
              </a:solidFill>
              <a:ln w="9525" cmpd="sng">
                <a:solidFill>
                  <a:schemeClr val="tx1"/>
                </a:solidFill>
                <a:prstDash val="solid"/>
                <a:round/>
                <a:headEnd/>
                <a:tailEnd/>
              </a:ln>
            </p:spPr>
            <p:txBody>
              <a:bodyPr/>
              <a:lstStyle/>
              <a:p>
                <a:endParaRPr lang="en-US"/>
              </a:p>
            </p:txBody>
          </p:sp>
          <p:sp>
            <p:nvSpPr>
              <p:cNvPr id="542" name="Freeform 543"/>
              <p:cNvSpPr>
                <a:spLocks/>
              </p:cNvSpPr>
              <p:nvPr>
                <p:custDataLst>
                  <p:tags r:id="rId374"/>
                </p:custDataLst>
              </p:nvPr>
            </p:nvSpPr>
            <p:spPr bwMode="auto">
              <a:xfrm>
                <a:off x="6884988" y="3532188"/>
                <a:ext cx="25400" cy="5715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FFFFFF"/>
              </a:solidFill>
              <a:ln w="9525" cmpd="sng">
                <a:solidFill>
                  <a:schemeClr val="tx1"/>
                </a:solidFill>
                <a:prstDash val="solid"/>
                <a:round/>
                <a:headEnd/>
                <a:tailEnd/>
              </a:ln>
            </p:spPr>
            <p:txBody>
              <a:bodyPr/>
              <a:lstStyle/>
              <a:p>
                <a:endParaRPr lang="en-US"/>
              </a:p>
            </p:txBody>
          </p:sp>
          <p:sp>
            <p:nvSpPr>
              <p:cNvPr id="543" name="Freeform 544"/>
              <p:cNvSpPr>
                <a:spLocks/>
              </p:cNvSpPr>
              <p:nvPr>
                <p:custDataLst>
                  <p:tags r:id="rId375"/>
                </p:custDataLst>
              </p:nvPr>
            </p:nvSpPr>
            <p:spPr bwMode="auto">
              <a:xfrm>
                <a:off x="5576888" y="2790825"/>
                <a:ext cx="174625" cy="271463"/>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44" name="Freeform 545"/>
              <p:cNvSpPr>
                <a:spLocks/>
              </p:cNvSpPr>
              <p:nvPr>
                <p:custDataLst>
                  <p:tags r:id="rId376"/>
                </p:custDataLst>
              </p:nvPr>
            </p:nvSpPr>
            <p:spPr bwMode="auto">
              <a:xfrm>
                <a:off x="4303713" y="2844800"/>
                <a:ext cx="376237" cy="385763"/>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FFFFFF"/>
              </a:solidFill>
              <a:ln w="9525" cmpd="sng">
                <a:solidFill>
                  <a:schemeClr val="tx1"/>
                </a:solidFill>
                <a:prstDash val="solid"/>
                <a:round/>
                <a:headEnd/>
                <a:tailEnd/>
              </a:ln>
            </p:spPr>
            <p:txBody>
              <a:bodyPr/>
              <a:lstStyle/>
              <a:p>
                <a:endParaRPr lang="en-US"/>
              </a:p>
            </p:txBody>
          </p:sp>
          <p:sp>
            <p:nvSpPr>
              <p:cNvPr id="545" name="Freeform 546"/>
              <p:cNvSpPr>
                <a:spLocks/>
              </p:cNvSpPr>
              <p:nvPr>
                <p:custDataLst>
                  <p:tags r:id="rId377"/>
                </p:custDataLst>
              </p:nvPr>
            </p:nvSpPr>
            <p:spPr bwMode="auto">
              <a:xfrm>
                <a:off x="3973513" y="2462213"/>
                <a:ext cx="300037" cy="260350"/>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46" name="Freeform 547"/>
              <p:cNvSpPr>
                <a:spLocks/>
              </p:cNvSpPr>
              <p:nvPr>
                <p:custDataLst>
                  <p:tags r:id="rId378"/>
                </p:custDataLst>
              </p:nvPr>
            </p:nvSpPr>
            <p:spPr bwMode="auto">
              <a:xfrm>
                <a:off x="4673600" y="1392238"/>
                <a:ext cx="236538"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47" name="Freeform 548"/>
              <p:cNvSpPr>
                <a:spLocks/>
              </p:cNvSpPr>
              <p:nvPr>
                <p:custDataLst>
                  <p:tags r:id="rId379"/>
                </p:custDataLst>
              </p:nvPr>
            </p:nvSpPr>
            <p:spPr bwMode="auto">
              <a:xfrm>
                <a:off x="5184775" y="1376363"/>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48" name="Freeform 549"/>
              <p:cNvSpPr>
                <a:spLocks/>
              </p:cNvSpPr>
              <p:nvPr>
                <p:custDataLst>
                  <p:tags r:id="rId380"/>
                </p:custDataLst>
              </p:nvPr>
            </p:nvSpPr>
            <p:spPr bwMode="auto">
              <a:xfrm>
                <a:off x="5327650" y="1358900"/>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sp>
            <p:nvSpPr>
              <p:cNvPr id="549" name="Freeform 550"/>
              <p:cNvSpPr>
                <a:spLocks/>
              </p:cNvSpPr>
              <p:nvPr>
                <p:custDataLst>
                  <p:tags r:id="rId381"/>
                </p:custDataLst>
              </p:nvPr>
            </p:nvSpPr>
            <p:spPr bwMode="auto">
              <a:xfrm>
                <a:off x="5364163" y="1366838"/>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FFFFFF"/>
              </a:solidFill>
              <a:ln w="9525" cap="flat" cmpd="sng">
                <a:solidFill>
                  <a:schemeClr val="tx1"/>
                </a:solidFill>
                <a:prstDash val="solid"/>
                <a:round/>
                <a:headEnd type="none" w="med" len="med"/>
                <a:tailEnd type="none" w="med" len="med"/>
              </a:ln>
              <a:effectLst/>
            </p:spPr>
            <p:txBody>
              <a:bodyPr/>
              <a:lstStyle/>
              <a:p>
                <a:endParaRPr lang="en-US"/>
              </a:p>
            </p:txBody>
          </p:sp>
        </p:grpSp>
        <p:sp>
          <p:nvSpPr>
            <p:cNvPr id="552" name="Rectangle 551"/>
            <p:cNvSpPr/>
            <p:nvPr/>
          </p:nvSpPr>
          <p:spPr>
            <a:xfrm>
              <a:off x="952273" y="5748982"/>
              <a:ext cx="372533" cy="270934"/>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3" name="Rectangle 552"/>
            <p:cNvSpPr/>
            <p:nvPr/>
          </p:nvSpPr>
          <p:spPr>
            <a:xfrm>
              <a:off x="952273" y="6060522"/>
              <a:ext cx="372533" cy="27093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4" name="TextBox 553"/>
            <p:cNvSpPr txBox="1"/>
            <p:nvPr/>
          </p:nvSpPr>
          <p:spPr>
            <a:xfrm>
              <a:off x="1324806" y="5724787"/>
              <a:ext cx="3098808" cy="276999"/>
            </a:xfrm>
            <a:prstGeom prst="rect">
              <a:avLst/>
            </a:prstGeom>
            <a:noFill/>
          </p:spPr>
          <p:txBody>
            <a:bodyPr wrap="square" rtlCol="0">
              <a:spAutoFit/>
            </a:bodyPr>
            <a:lstStyle/>
            <a:p>
              <a:r>
                <a:rPr lang="en-US" sz="1200" dirty="0" smtClean="0">
                  <a:latin typeface="Arial"/>
                  <a:cs typeface="Arial"/>
                </a:rPr>
                <a:t>Recommended and widely available</a:t>
              </a:r>
              <a:endParaRPr lang="en-US" sz="1200" dirty="0">
                <a:latin typeface="Arial"/>
                <a:cs typeface="Arial"/>
              </a:endParaRPr>
            </a:p>
          </p:txBody>
        </p:sp>
        <p:sp>
          <p:nvSpPr>
            <p:cNvPr id="555" name="Rectangle 554"/>
            <p:cNvSpPr/>
            <p:nvPr/>
          </p:nvSpPr>
          <p:spPr>
            <a:xfrm>
              <a:off x="1329039" y="6070722"/>
              <a:ext cx="3752863" cy="276999"/>
            </a:xfrm>
            <a:prstGeom prst="rect">
              <a:avLst/>
            </a:prstGeom>
          </p:spPr>
          <p:txBody>
            <a:bodyPr wrap="square">
              <a:spAutoFit/>
            </a:bodyPr>
            <a:lstStyle/>
            <a:p>
              <a:r>
                <a:rPr lang="en-US" sz="1200" dirty="0" smtClean="0">
                  <a:latin typeface="Arial"/>
                  <a:cs typeface="Arial"/>
                </a:rPr>
                <a:t>Recommended with limited availability</a:t>
              </a:r>
              <a:endParaRPr lang="en-US" sz="1200" dirty="0">
                <a:latin typeface="Arial"/>
                <a:cs typeface="Arial"/>
              </a:endParaRPr>
            </a:p>
          </p:txBody>
        </p:sp>
        <p:sp>
          <p:nvSpPr>
            <p:cNvPr id="556" name="Rectangle 555"/>
            <p:cNvSpPr/>
            <p:nvPr/>
          </p:nvSpPr>
          <p:spPr>
            <a:xfrm>
              <a:off x="4703018" y="5748982"/>
              <a:ext cx="372533" cy="27093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7" name="TextBox 556"/>
            <p:cNvSpPr txBox="1"/>
            <p:nvPr/>
          </p:nvSpPr>
          <p:spPr>
            <a:xfrm>
              <a:off x="5101235" y="5742917"/>
              <a:ext cx="3538772" cy="276999"/>
            </a:xfrm>
            <a:prstGeom prst="rect">
              <a:avLst/>
            </a:prstGeom>
            <a:noFill/>
          </p:spPr>
          <p:txBody>
            <a:bodyPr wrap="square" rtlCol="0">
              <a:spAutoFit/>
            </a:bodyPr>
            <a:lstStyle/>
            <a:p>
              <a:r>
                <a:rPr lang="en-US" sz="1200" dirty="0" smtClean="0">
                  <a:latin typeface="Arial"/>
                  <a:cs typeface="Arial"/>
                </a:rPr>
                <a:t>Recommended (availability unknown)</a:t>
              </a:r>
              <a:endParaRPr lang="en-US" sz="1200" dirty="0">
                <a:latin typeface="Arial"/>
                <a:cs typeface="Arial"/>
              </a:endParaRPr>
            </a:p>
          </p:txBody>
        </p:sp>
        <p:sp>
          <p:nvSpPr>
            <p:cNvPr id="558" name="Rectangle 557"/>
            <p:cNvSpPr/>
            <p:nvPr/>
          </p:nvSpPr>
          <p:spPr>
            <a:xfrm>
              <a:off x="4709355" y="6086568"/>
              <a:ext cx="372533" cy="270934"/>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9" name="Rectangle 558"/>
            <p:cNvSpPr/>
            <p:nvPr/>
          </p:nvSpPr>
          <p:spPr>
            <a:xfrm>
              <a:off x="5094603" y="6065289"/>
              <a:ext cx="2522783" cy="276999"/>
            </a:xfrm>
            <a:prstGeom prst="rect">
              <a:avLst/>
            </a:prstGeom>
          </p:spPr>
          <p:txBody>
            <a:bodyPr wrap="square">
              <a:spAutoFit/>
            </a:bodyPr>
            <a:lstStyle/>
            <a:p>
              <a:r>
                <a:rPr lang="en-US" sz="1200" dirty="0" smtClean="0">
                  <a:latin typeface="Arial"/>
                  <a:cs typeface="Arial"/>
                </a:rPr>
                <a:t>Not recommended</a:t>
              </a:r>
              <a:endParaRPr lang="en-US" sz="1200" dirty="0">
                <a:latin typeface="Arial"/>
                <a:cs typeface="Arial"/>
              </a:endParaRPr>
            </a:p>
          </p:txBody>
        </p:sp>
      </p:grpSp>
      <p:sp>
        <p:nvSpPr>
          <p:cNvPr id="551" name="Text Box 4"/>
          <p:cNvSpPr txBox="1">
            <a:spLocks noChangeArrowheads="1"/>
          </p:cNvSpPr>
          <p:nvPr/>
        </p:nvSpPr>
        <p:spPr bwMode="auto">
          <a:xfrm>
            <a:off x="19240" y="32154"/>
            <a:ext cx="9143999" cy="646331"/>
          </a:xfrm>
          <a:prstGeom prst="rect">
            <a:avLst/>
          </a:prstGeom>
          <a:noFill/>
          <a:ln w="9525">
            <a:noFill/>
            <a:miter lim="800000"/>
            <a:headEnd/>
            <a:tailEnd/>
          </a:ln>
        </p:spPr>
        <p:txBody>
          <a:bodyPr wrap="square">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spcBef>
                <a:spcPct val="50000"/>
              </a:spcBef>
            </a:pPr>
            <a:r>
              <a:rPr lang="en-US" sz="3600" dirty="0" smtClean="0">
                <a:solidFill>
                  <a:srgbClr val="FFFF00"/>
                </a:solidFill>
                <a:ea typeface="ヒラギノ角ゴ Pro W3"/>
                <a:cs typeface="ヒラギノ角ゴ Pro W3"/>
              </a:rPr>
              <a:t>Availability of IPT (24 countries) </a:t>
            </a:r>
            <a:endParaRPr lang="en-US" sz="3200" dirty="0" smtClean="0">
              <a:solidFill>
                <a:srgbClr val="FFFF00"/>
              </a:solidFill>
              <a:ea typeface="ヒラギノ角ゴ Pro W3"/>
              <a:cs typeface="ヒラギノ角ゴ Pro W3"/>
            </a:endParaRPr>
          </a:p>
        </p:txBody>
      </p:sp>
      <p:pic>
        <p:nvPicPr>
          <p:cNvPr id="2" name="Picture 1"/>
          <p:cNvPicPr>
            <a:picLocks noChangeAspect="1"/>
          </p:cNvPicPr>
          <p:nvPr/>
        </p:nvPicPr>
        <p:blipFill>
          <a:blip r:embed="rId383"/>
          <a:stretch>
            <a:fillRect/>
          </a:stretch>
        </p:blipFill>
        <p:spPr>
          <a:xfrm>
            <a:off x="7747000" y="6305356"/>
            <a:ext cx="1397000" cy="533400"/>
          </a:xfrm>
          <a:prstGeom prst="rect">
            <a:avLst/>
          </a:prstGeom>
        </p:spPr>
      </p:pic>
    </p:spTree>
    <p:extLst>
      <p:ext uri="{BB962C8B-B14F-4D97-AF65-F5344CB8AC3E}">
        <p14:creationId xmlns:p14="http://schemas.microsoft.com/office/powerpoint/2010/main" val="3547761287"/>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Text Box 4"/>
          <p:cNvSpPr txBox="1">
            <a:spLocks noChangeArrowheads="1"/>
          </p:cNvSpPr>
          <p:nvPr/>
        </p:nvSpPr>
        <p:spPr bwMode="auto">
          <a:xfrm>
            <a:off x="0" y="40603"/>
            <a:ext cx="9143999" cy="646331"/>
          </a:xfrm>
          <a:prstGeom prst="rect">
            <a:avLst/>
          </a:prstGeom>
          <a:noFill/>
          <a:ln w="9525">
            <a:noFill/>
            <a:miter lim="800000"/>
            <a:headEnd/>
            <a:tailEnd/>
          </a:ln>
        </p:spPr>
        <p:txBody>
          <a:bodyPr wrap="square">
            <a:spAutoFit/>
          </a:bodyPr>
          <a:ls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spcBef>
                <a:spcPct val="50000"/>
              </a:spcBef>
            </a:pPr>
            <a:r>
              <a:rPr lang="en-US" sz="3600" dirty="0" smtClean="0">
                <a:solidFill>
                  <a:srgbClr val="FFFF00"/>
                </a:solidFill>
                <a:ea typeface="ヒラギノ角ゴ Pro W3"/>
                <a:cs typeface="ヒラギノ角ゴ Pro W3"/>
              </a:rPr>
              <a:t>TB exclusion criteria for IPT (24 countries)</a:t>
            </a:r>
            <a:endParaRPr lang="en-US" sz="3200" dirty="0" smtClean="0">
              <a:solidFill>
                <a:srgbClr val="FFFF00"/>
              </a:solidFill>
              <a:ea typeface="ヒラギノ角ゴ Pro W3"/>
              <a:cs typeface="ヒラギノ角ゴ Pro W3"/>
            </a:endParaRPr>
          </a:p>
        </p:txBody>
      </p:sp>
      <p:sp>
        <p:nvSpPr>
          <p:cNvPr id="85" name="Rectangle 84"/>
          <p:cNvSpPr/>
          <p:nvPr/>
        </p:nvSpPr>
        <p:spPr>
          <a:xfrm>
            <a:off x="254002" y="6256868"/>
            <a:ext cx="7224994" cy="492443"/>
          </a:xfrm>
          <a:prstGeom prst="rect">
            <a:avLst/>
          </a:prstGeom>
        </p:spPr>
        <p:txBody>
          <a:bodyPr wrap="square">
            <a:spAutoFit/>
          </a:bodyPr>
          <a:lstStyle/>
          <a:p>
            <a:r>
              <a:rPr lang="en-US" sz="1300" dirty="0" smtClean="0">
                <a:solidFill>
                  <a:srgbClr val="FFFFFF"/>
                </a:solidFill>
              </a:rPr>
              <a:t>Recommendation not available for China</a:t>
            </a:r>
            <a:r>
              <a:rPr lang="en-US" sz="1300" dirty="0">
                <a:solidFill>
                  <a:srgbClr val="FFFFFF"/>
                </a:solidFill>
              </a:rPr>
              <a:t> </a:t>
            </a:r>
            <a:r>
              <a:rPr lang="en-US" sz="1300" dirty="0" smtClean="0">
                <a:solidFill>
                  <a:srgbClr val="FFFFFF"/>
                </a:solidFill>
              </a:rPr>
              <a:t>and DRC. IPT is not recommended by Cote d’Ivoire and Botswana</a:t>
            </a:r>
            <a:endParaRPr lang="en-US" sz="1300" dirty="0">
              <a:solidFill>
                <a:srgbClr val="FFFFFF"/>
              </a:solidFill>
            </a:endParaRPr>
          </a:p>
        </p:txBody>
      </p:sp>
      <p:pic>
        <p:nvPicPr>
          <p:cNvPr id="86" name="Picture 85"/>
          <p:cNvPicPr>
            <a:picLocks noChangeAspect="1"/>
          </p:cNvPicPr>
          <p:nvPr/>
        </p:nvPicPr>
        <p:blipFill>
          <a:blip r:embed="rId2"/>
          <a:stretch>
            <a:fillRect/>
          </a:stretch>
        </p:blipFill>
        <p:spPr>
          <a:xfrm>
            <a:off x="7747000" y="6324600"/>
            <a:ext cx="1397000" cy="533400"/>
          </a:xfrm>
          <a:prstGeom prst="rect">
            <a:avLst/>
          </a:prstGeom>
        </p:spPr>
      </p:pic>
      <p:grpSp>
        <p:nvGrpSpPr>
          <p:cNvPr id="111" name="Group 110"/>
          <p:cNvGrpSpPr/>
          <p:nvPr/>
        </p:nvGrpSpPr>
        <p:grpSpPr>
          <a:xfrm>
            <a:off x="438233" y="763910"/>
            <a:ext cx="8445760" cy="5278636"/>
            <a:chOff x="438233" y="763910"/>
            <a:chExt cx="8445760" cy="5278636"/>
          </a:xfrm>
        </p:grpSpPr>
        <p:sp>
          <p:nvSpPr>
            <p:cNvPr id="78" name="Rectangle 77"/>
            <p:cNvSpPr/>
            <p:nvPr/>
          </p:nvSpPr>
          <p:spPr>
            <a:xfrm>
              <a:off x="438233" y="763910"/>
              <a:ext cx="8445759" cy="52786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ext Box 75"/>
            <p:cNvSpPr txBox="1">
              <a:spLocks noChangeArrowheads="1"/>
            </p:cNvSpPr>
            <p:nvPr/>
          </p:nvSpPr>
          <p:spPr bwMode="auto">
            <a:xfrm>
              <a:off x="450267" y="1245494"/>
              <a:ext cx="1440070" cy="278163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defRPr sz="1400">
                  <a:solidFill>
                    <a:srgbClr val="F1838B"/>
                  </a:solidFill>
                  <a:latin typeface="Arial" charset="0"/>
                  <a:ea typeface="ヒラギノ角ゴ Pro W3" charset="0"/>
                  <a:cs typeface="ヒラギノ角ゴ Pro W3" charset="0"/>
                </a:defRPr>
              </a:lvl1pPr>
              <a:lvl2pPr marL="742950" indent="-285750">
                <a:defRPr sz="1400">
                  <a:solidFill>
                    <a:srgbClr val="F1838B"/>
                  </a:solidFill>
                  <a:latin typeface="Arial" charset="0"/>
                  <a:ea typeface="ヒラギノ角ゴ Pro W3" charset="0"/>
                </a:defRPr>
              </a:lvl2pPr>
              <a:lvl3pPr marL="1143000" indent="-228600">
                <a:defRPr sz="1400">
                  <a:solidFill>
                    <a:srgbClr val="F1838B"/>
                  </a:solidFill>
                  <a:latin typeface="Arial" charset="0"/>
                  <a:ea typeface="ヒラギノ角ゴ Pro W3" charset="0"/>
                </a:defRPr>
              </a:lvl3pPr>
              <a:lvl4pPr marL="1600200" indent="-228600">
                <a:defRPr sz="1400">
                  <a:solidFill>
                    <a:srgbClr val="F1838B"/>
                  </a:solidFill>
                  <a:latin typeface="Arial" charset="0"/>
                  <a:ea typeface="ヒラギノ角ゴ Pro W3" charset="0"/>
                </a:defRPr>
              </a:lvl4pPr>
              <a:lvl5pPr marL="2057400" indent="-228600">
                <a:defRPr sz="1400">
                  <a:solidFill>
                    <a:srgbClr val="F1838B"/>
                  </a:solidFill>
                  <a:latin typeface="Arial" charset="0"/>
                  <a:ea typeface="ヒラギノ角ゴ Pro W3" charset="0"/>
                </a:defRPr>
              </a:lvl5pPr>
              <a:lvl6pPr marL="25146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6pPr>
              <a:lvl7pPr marL="29718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7pPr>
              <a:lvl8pPr marL="34290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8pPr>
              <a:lvl9pPr marL="38862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9pPr>
            </a:lstStyle>
            <a:p>
              <a:pPr algn="ctr" eaLnBrk="1" hangingPunct="1">
                <a:lnSpc>
                  <a:spcPct val="100000"/>
                </a:lnSpc>
                <a:spcBef>
                  <a:spcPct val="0"/>
                </a:spcBef>
              </a:pPr>
              <a:r>
                <a:rPr lang="en-GB" altLang="zh-CN" sz="1200" b="1" dirty="0">
                  <a:solidFill>
                    <a:schemeClr val="tx1"/>
                  </a:solidFill>
                  <a:latin typeface="Arial"/>
                  <a:ea typeface="SimSun" charset="0"/>
                  <a:cs typeface="Arial"/>
                </a:rPr>
                <a:t>WHO recommendation</a:t>
              </a:r>
            </a:p>
            <a:p>
              <a:pPr algn="ctr" eaLnBrk="1" hangingPunct="1">
                <a:lnSpc>
                  <a:spcPct val="100000"/>
                </a:lnSpc>
                <a:spcBef>
                  <a:spcPct val="0"/>
                </a:spcBef>
              </a:pPr>
              <a:r>
                <a:rPr lang="en-GB" altLang="zh-CN" sz="1200" b="1" dirty="0">
                  <a:solidFill>
                    <a:schemeClr val="tx1"/>
                  </a:solidFill>
                  <a:latin typeface="Arial"/>
                  <a:ea typeface="SimSun" charset="0"/>
                  <a:cs typeface="Arial"/>
                </a:rPr>
                <a:t> </a:t>
              </a:r>
            </a:p>
            <a:p>
              <a:pPr algn="ctr">
                <a:spcBef>
                  <a:spcPct val="0"/>
                </a:spcBef>
              </a:pPr>
              <a:r>
                <a:rPr lang="en-GB" altLang="zh-CN" sz="1200" b="1" dirty="0" smtClean="0">
                  <a:solidFill>
                    <a:schemeClr val="tx1"/>
                  </a:solidFill>
                  <a:latin typeface="Arial"/>
                  <a:ea typeface="SimSun" charset="0"/>
                  <a:cs typeface="Arial"/>
                </a:rPr>
                <a:t>CAMEROON</a:t>
              </a:r>
            </a:p>
            <a:p>
              <a:pPr algn="ctr">
                <a:spcBef>
                  <a:spcPct val="0"/>
                </a:spcBef>
              </a:pPr>
              <a:r>
                <a:rPr lang="en-GB" altLang="zh-CN" sz="1200" b="1" dirty="0" smtClean="0">
                  <a:solidFill>
                    <a:schemeClr val="tx1"/>
                  </a:solidFill>
                  <a:latin typeface="Arial"/>
                  <a:ea typeface="SimSun" charset="0"/>
                  <a:cs typeface="Arial"/>
                </a:rPr>
                <a:t>ETHIOPIA</a:t>
              </a:r>
            </a:p>
            <a:p>
              <a:pPr algn="ctr">
                <a:spcBef>
                  <a:spcPct val="0"/>
                </a:spcBef>
              </a:pPr>
              <a:r>
                <a:rPr lang="en-GB" altLang="zh-CN" sz="1200" b="1" dirty="0" smtClean="0">
                  <a:solidFill>
                    <a:schemeClr val="tx1"/>
                  </a:solidFill>
                  <a:latin typeface="Arial"/>
                  <a:ea typeface="SimSun" charset="0"/>
                  <a:cs typeface="Arial"/>
                </a:rPr>
                <a:t>INDIA</a:t>
              </a:r>
            </a:p>
            <a:p>
              <a:pPr algn="ctr">
                <a:spcBef>
                  <a:spcPct val="0"/>
                </a:spcBef>
              </a:pPr>
              <a:r>
                <a:rPr lang="en-GB" altLang="zh-CN" sz="1200" b="1" dirty="0" smtClean="0">
                  <a:solidFill>
                    <a:schemeClr val="tx1"/>
                  </a:solidFill>
                  <a:latin typeface="Arial"/>
                  <a:ea typeface="SimSun" charset="0"/>
                  <a:cs typeface="Arial"/>
                </a:rPr>
                <a:t>KENYA</a:t>
              </a:r>
            </a:p>
            <a:p>
              <a:pPr algn="ctr">
                <a:spcBef>
                  <a:spcPct val="0"/>
                </a:spcBef>
              </a:pPr>
              <a:r>
                <a:rPr lang="en-GB" altLang="zh-CN" sz="1200" b="1" dirty="0" smtClean="0">
                  <a:solidFill>
                    <a:schemeClr val="tx1"/>
                  </a:solidFill>
                  <a:latin typeface="Arial"/>
                  <a:ea typeface="SimSun" charset="0"/>
                  <a:cs typeface="Arial"/>
                </a:rPr>
                <a:t>LESOTHO</a:t>
              </a:r>
            </a:p>
            <a:p>
              <a:pPr algn="ctr">
                <a:spcBef>
                  <a:spcPct val="0"/>
                </a:spcBef>
              </a:pPr>
              <a:r>
                <a:rPr lang="en-GB" altLang="zh-CN" sz="1200" b="1" dirty="0" smtClean="0">
                  <a:solidFill>
                    <a:schemeClr val="tx1"/>
                  </a:solidFill>
                  <a:latin typeface="Arial"/>
                  <a:ea typeface="SimSun" charset="0"/>
                  <a:cs typeface="Arial"/>
                </a:rPr>
                <a:t>MALAWI </a:t>
              </a:r>
            </a:p>
            <a:p>
              <a:pPr algn="ctr">
                <a:spcBef>
                  <a:spcPct val="0"/>
                </a:spcBef>
              </a:pPr>
              <a:r>
                <a:rPr lang="en-GB" altLang="zh-CN" sz="1200" b="1" dirty="0" smtClean="0">
                  <a:solidFill>
                    <a:schemeClr val="tx1"/>
                  </a:solidFill>
                  <a:latin typeface="Arial"/>
                  <a:ea typeface="SimSun" charset="0"/>
                  <a:cs typeface="Arial"/>
                </a:rPr>
                <a:t>MYANMAR</a:t>
              </a:r>
            </a:p>
            <a:p>
              <a:pPr algn="ctr">
                <a:spcBef>
                  <a:spcPct val="0"/>
                </a:spcBef>
              </a:pPr>
              <a:r>
                <a:rPr lang="en-GB" altLang="zh-CN" sz="1200" b="1" dirty="0" smtClean="0">
                  <a:solidFill>
                    <a:schemeClr val="tx1"/>
                  </a:solidFill>
                  <a:latin typeface="Arial"/>
                  <a:ea typeface="SimSun" charset="0"/>
                  <a:cs typeface="Arial"/>
                </a:rPr>
                <a:t>SWAZILAND</a:t>
              </a:r>
            </a:p>
            <a:p>
              <a:pPr algn="ctr">
                <a:spcBef>
                  <a:spcPct val="0"/>
                </a:spcBef>
              </a:pPr>
              <a:r>
                <a:rPr lang="en-GB" altLang="zh-CN" sz="1200" b="1" dirty="0" smtClean="0">
                  <a:solidFill>
                    <a:schemeClr val="tx1"/>
                  </a:solidFill>
                  <a:latin typeface="Arial"/>
                  <a:ea typeface="SimSun" charset="0"/>
                  <a:cs typeface="Arial"/>
                </a:rPr>
                <a:t>UGANDA</a:t>
              </a:r>
            </a:p>
            <a:p>
              <a:pPr algn="ctr">
                <a:spcBef>
                  <a:spcPct val="0"/>
                </a:spcBef>
              </a:pPr>
              <a:r>
                <a:rPr lang="en-GB" altLang="zh-CN" sz="1200" b="1" dirty="0" smtClean="0">
                  <a:solidFill>
                    <a:schemeClr val="tx1"/>
                  </a:solidFill>
                  <a:latin typeface="Arial"/>
                  <a:ea typeface="SimSun" charset="0"/>
                  <a:cs typeface="Arial"/>
                </a:rPr>
                <a:t>VIET NAM ZAMBIA</a:t>
              </a:r>
            </a:p>
            <a:p>
              <a:pPr algn="ctr">
                <a:spcBef>
                  <a:spcPct val="0"/>
                </a:spcBef>
              </a:pPr>
              <a:r>
                <a:rPr lang="en-GB" altLang="zh-CN" sz="1200" b="1" dirty="0" smtClean="0">
                  <a:solidFill>
                    <a:schemeClr val="tx1"/>
                  </a:solidFill>
                  <a:latin typeface="Arial"/>
                  <a:ea typeface="SimSun" charset="0"/>
                  <a:cs typeface="Arial"/>
                </a:rPr>
                <a:t>ZIMBABWE  </a:t>
              </a:r>
              <a:endParaRPr lang="en-GB" sz="1200" b="1" dirty="0">
                <a:solidFill>
                  <a:schemeClr val="tx1"/>
                </a:solidFill>
                <a:latin typeface="Arial"/>
                <a:ea typeface="SimSun" charset="0"/>
                <a:cs typeface="Arial"/>
              </a:endParaRPr>
            </a:p>
            <a:p>
              <a:pPr algn="ctr" eaLnBrk="1" hangingPunct="1">
                <a:lnSpc>
                  <a:spcPct val="100000"/>
                </a:lnSpc>
                <a:spcBef>
                  <a:spcPct val="0"/>
                </a:spcBef>
              </a:pPr>
              <a:endParaRPr lang="en-GB" sz="1200" b="1" dirty="0">
                <a:solidFill>
                  <a:schemeClr val="tx1"/>
                </a:solidFill>
                <a:latin typeface="Arial"/>
                <a:ea typeface="SimSun" charset="0"/>
                <a:cs typeface="Arial"/>
              </a:endParaRPr>
            </a:p>
          </p:txBody>
        </p:sp>
        <p:sp>
          <p:nvSpPr>
            <p:cNvPr id="3" name="Text Box 81"/>
            <p:cNvSpPr txBox="1">
              <a:spLocks noChangeArrowheads="1"/>
            </p:cNvSpPr>
            <p:nvPr/>
          </p:nvSpPr>
          <p:spPr bwMode="auto">
            <a:xfrm>
              <a:off x="7515568" y="2925468"/>
              <a:ext cx="1368425" cy="27070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defRPr sz="1400">
                  <a:solidFill>
                    <a:srgbClr val="F1838B"/>
                  </a:solidFill>
                  <a:latin typeface="Arial" charset="0"/>
                  <a:ea typeface="ヒラギノ角ゴ Pro W3" charset="0"/>
                  <a:cs typeface="ヒラギノ角ゴ Pro W3" charset="0"/>
                </a:defRPr>
              </a:lvl1pPr>
              <a:lvl2pPr marL="742950" indent="-285750">
                <a:defRPr sz="1400">
                  <a:solidFill>
                    <a:srgbClr val="F1838B"/>
                  </a:solidFill>
                  <a:latin typeface="Arial" charset="0"/>
                  <a:ea typeface="ヒラギノ角ゴ Pro W3" charset="0"/>
                </a:defRPr>
              </a:lvl2pPr>
              <a:lvl3pPr marL="1143000" indent="-228600">
                <a:defRPr sz="1400">
                  <a:solidFill>
                    <a:srgbClr val="F1838B"/>
                  </a:solidFill>
                  <a:latin typeface="Arial" charset="0"/>
                  <a:ea typeface="ヒラギノ角ゴ Pro W3" charset="0"/>
                </a:defRPr>
              </a:lvl3pPr>
              <a:lvl4pPr marL="1600200" indent="-228600">
                <a:defRPr sz="1400">
                  <a:solidFill>
                    <a:srgbClr val="F1838B"/>
                  </a:solidFill>
                  <a:latin typeface="Arial" charset="0"/>
                  <a:ea typeface="ヒラギノ角ゴ Pro W3" charset="0"/>
                </a:defRPr>
              </a:lvl4pPr>
              <a:lvl5pPr marL="2057400" indent="-228600">
                <a:defRPr sz="1400">
                  <a:solidFill>
                    <a:srgbClr val="F1838B"/>
                  </a:solidFill>
                  <a:latin typeface="Arial" charset="0"/>
                  <a:ea typeface="ヒラギノ角ゴ Pro W3" charset="0"/>
                </a:defRPr>
              </a:lvl5pPr>
              <a:lvl6pPr marL="25146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6pPr>
              <a:lvl7pPr marL="29718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7pPr>
              <a:lvl8pPr marL="34290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8pPr>
              <a:lvl9pPr marL="38862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9pPr>
            </a:lstStyle>
            <a:p>
              <a:pPr algn="ctr" eaLnBrk="1" hangingPunct="1">
                <a:lnSpc>
                  <a:spcPct val="100000"/>
                </a:lnSpc>
                <a:spcBef>
                  <a:spcPct val="0"/>
                </a:spcBef>
              </a:pPr>
              <a:r>
                <a:rPr lang="en-GB" altLang="zh-CN" sz="1200" b="1" dirty="0" smtClean="0">
                  <a:solidFill>
                    <a:schemeClr val="tx1"/>
                  </a:solidFill>
                  <a:latin typeface="Arial"/>
                  <a:ea typeface="SimSun" charset="0"/>
                  <a:cs typeface="Arial"/>
                </a:rPr>
                <a:t>TANZANIA</a:t>
              </a:r>
              <a:endParaRPr lang="en-US" sz="1200" b="1" dirty="0">
                <a:solidFill>
                  <a:schemeClr val="tx1"/>
                </a:solidFill>
                <a:latin typeface="Arial"/>
                <a:cs typeface="Arial"/>
              </a:endParaRPr>
            </a:p>
          </p:txBody>
        </p:sp>
        <p:sp>
          <p:nvSpPr>
            <p:cNvPr id="4" name="Text Box 80"/>
            <p:cNvSpPr txBox="1">
              <a:spLocks noChangeArrowheads="1"/>
            </p:cNvSpPr>
            <p:nvPr/>
          </p:nvSpPr>
          <p:spPr bwMode="auto">
            <a:xfrm>
              <a:off x="3618398" y="2511097"/>
              <a:ext cx="1363852" cy="30867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defRPr sz="1400">
                  <a:solidFill>
                    <a:srgbClr val="F1838B"/>
                  </a:solidFill>
                  <a:latin typeface="Arial" charset="0"/>
                  <a:ea typeface="ヒラギノ角ゴ Pro W3" charset="0"/>
                  <a:cs typeface="ヒラギノ角ゴ Pro W3" charset="0"/>
                </a:defRPr>
              </a:lvl1pPr>
              <a:lvl2pPr marL="742950" indent="-285750">
                <a:defRPr sz="1400">
                  <a:solidFill>
                    <a:srgbClr val="F1838B"/>
                  </a:solidFill>
                  <a:latin typeface="Arial" charset="0"/>
                  <a:ea typeface="ヒラギノ角ゴ Pro W3" charset="0"/>
                </a:defRPr>
              </a:lvl2pPr>
              <a:lvl3pPr marL="1143000" indent="-228600">
                <a:defRPr sz="1400">
                  <a:solidFill>
                    <a:srgbClr val="F1838B"/>
                  </a:solidFill>
                  <a:latin typeface="Arial" charset="0"/>
                  <a:ea typeface="ヒラギノ角ゴ Pro W3" charset="0"/>
                </a:defRPr>
              </a:lvl3pPr>
              <a:lvl4pPr marL="1600200" indent="-228600">
                <a:defRPr sz="1400">
                  <a:solidFill>
                    <a:srgbClr val="F1838B"/>
                  </a:solidFill>
                  <a:latin typeface="Arial" charset="0"/>
                  <a:ea typeface="ヒラギノ角ゴ Pro W3" charset="0"/>
                </a:defRPr>
              </a:lvl4pPr>
              <a:lvl5pPr marL="2057400" indent="-228600">
                <a:defRPr sz="1400">
                  <a:solidFill>
                    <a:srgbClr val="F1838B"/>
                  </a:solidFill>
                  <a:latin typeface="Arial" charset="0"/>
                  <a:ea typeface="ヒラギノ角ゴ Pro W3" charset="0"/>
                </a:defRPr>
              </a:lvl5pPr>
              <a:lvl6pPr marL="25146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6pPr>
              <a:lvl7pPr marL="29718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7pPr>
              <a:lvl8pPr marL="34290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8pPr>
              <a:lvl9pPr marL="38862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9pPr>
            </a:lstStyle>
            <a:p>
              <a:pPr algn="ctr" eaLnBrk="1" hangingPunct="1">
                <a:lnSpc>
                  <a:spcPct val="100000"/>
                </a:lnSpc>
                <a:spcBef>
                  <a:spcPct val="0"/>
                </a:spcBef>
              </a:pPr>
              <a:r>
                <a:rPr lang="en-GB" altLang="zh-CN" sz="1200" b="1" dirty="0" smtClean="0">
                  <a:solidFill>
                    <a:schemeClr val="tx1"/>
                  </a:solidFill>
                  <a:latin typeface="Arial"/>
                  <a:ea typeface="SimSun" charset="0"/>
                  <a:cs typeface="Arial"/>
                </a:rPr>
                <a:t>MOZAMBIQUE</a:t>
              </a:r>
              <a:endParaRPr lang="en-US" sz="1200" b="1" dirty="0">
                <a:solidFill>
                  <a:schemeClr val="tx1"/>
                </a:solidFill>
                <a:latin typeface="Arial"/>
                <a:cs typeface="Arial"/>
              </a:endParaRPr>
            </a:p>
          </p:txBody>
        </p:sp>
        <p:sp>
          <p:nvSpPr>
            <p:cNvPr id="5" name="Text Box 73"/>
            <p:cNvSpPr txBox="1">
              <a:spLocks noChangeArrowheads="1"/>
            </p:cNvSpPr>
            <p:nvPr/>
          </p:nvSpPr>
          <p:spPr bwMode="auto">
            <a:xfrm>
              <a:off x="2605010" y="2942667"/>
              <a:ext cx="1311340" cy="267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defRPr sz="1400">
                  <a:solidFill>
                    <a:srgbClr val="F1838B"/>
                  </a:solidFill>
                  <a:latin typeface="Arial" charset="0"/>
                  <a:ea typeface="ヒラギノ角ゴ Pro W3" charset="0"/>
                  <a:cs typeface="ヒラギノ角ゴ Pro W3" charset="0"/>
                </a:defRPr>
              </a:lvl1pPr>
              <a:lvl2pPr marL="742950" indent="-285750">
                <a:defRPr sz="1400">
                  <a:solidFill>
                    <a:srgbClr val="F1838B"/>
                  </a:solidFill>
                  <a:latin typeface="Arial" charset="0"/>
                  <a:ea typeface="ヒラギノ角ゴ Pro W3" charset="0"/>
                </a:defRPr>
              </a:lvl2pPr>
              <a:lvl3pPr marL="1143000" indent="-228600">
                <a:defRPr sz="1400">
                  <a:solidFill>
                    <a:srgbClr val="F1838B"/>
                  </a:solidFill>
                  <a:latin typeface="Arial" charset="0"/>
                  <a:ea typeface="ヒラギノ角ゴ Pro W3" charset="0"/>
                </a:defRPr>
              </a:lvl3pPr>
              <a:lvl4pPr marL="1600200" indent="-228600">
                <a:defRPr sz="1400">
                  <a:solidFill>
                    <a:srgbClr val="F1838B"/>
                  </a:solidFill>
                  <a:latin typeface="Arial" charset="0"/>
                  <a:ea typeface="ヒラギノ角ゴ Pro W3" charset="0"/>
                </a:defRPr>
              </a:lvl4pPr>
              <a:lvl5pPr marL="2057400" indent="-228600">
                <a:defRPr sz="1400">
                  <a:solidFill>
                    <a:srgbClr val="F1838B"/>
                  </a:solidFill>
                  <a:latin typeface="Arial" charset="0"/>
                  <a:ea typeface="ヒラギノ角ゴ Pro W3" charset="0"/>
                </a:defRPr>
              </a:lvl5pPr>
              <a:lvl6pPr marL="25146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6pPr>
              <a:lvl7pPr marL="29718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7pPr>
              <a:lvl8pPr marL="34290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8pPr>
              <a:lvl9pPr marL="38862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9pPr>
            </a:lstStyle>
            <a:p>
              <a:pPr algn="ctr" eaLnBrk="1" hangingPunct="1">
                <a:lnSpc>
                  <a:spcPct val="100000"/>
                </a:lnSpc>
                <a:spcBef>
                  <a:spcPct val="0"/>
                </a:spcBef>
              </a:pPr>
              <a:r>
                <a:rPr lang="en-US" altLang="zh-CN" sz="1200" b="1" dirty="0" smtClean="0">
                  <a:solidFill>
                    <a:schemeClr val="tx1"/>
                  </a:solidFill>
                  <a:latin typeface="Arial"/>
                  <a:cs typeface="Arial"/>
                </a:rPr>
                <a:t>INDONESIA</a:t>
              </a:r>
              <a:endParaRPr lang="en-GB" altLang="zh-CN" sz="1200" b="1" dirty="0">
                <a:solidFill>
                  <a:schemeClr val="tx1"/>
                </a:solidFill>
                <a:latin typeface="Arial"/>
                <a:ea typeface="SimSun" charset="0"/>
                <a:cs typeface="Arial"/>
              </a:endParaRPr>
            </a:p>
          </p:txBody>
        </p:sp>
        <p:grpSp>
          <p:nvGrpSpPr>
            <p:cNvPr id="6" name="Group 5"/>
            <p:cNvGrpSpPr/>
            <p:nvPr/>
          </p:nvGrpSpPr>
          <p:grpSpPr>
            <a:xfrm>
              <a:off x="1670595" y="4155456"/>
              <a:ext cx="1133812" cy="1663700"/>
              <a:chOff x="400413" y="4457700"/>
              <a:chExt cx="1133812" cy="1663700"/>
            </a:xfrm>
          </p:grpSpPr>
          <p:sp>
            <p:nvSpPr>
              <p:cNvPr id="7" name="AutoShape 30"/>
              <p:cNvSpPr>
                <a:spLocks noChangeArrowheads="1"/>
              </p:cNvSpPr>
              <p:nvPr/>
            </p:nvSpPr>
            <p:spPr bwMode="auto">
              <a:xfrm>
                <a:off x="512039" y="5737225"/>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8" name="Rectangle 18"/>
              <p:cNvSpPr>
                <a:spLocks noChangeArrowheads="1"/>
              </p:cNvSpPr>
              <p:nvPr/>
            </p:nvSpPr>
            <p:spPr bwMode="auto">
              <a:xfrm>
                <a:off x="400413" y="5768975"/>
                <a:ext cx="1121112" cy="3524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200" b="1" dirty="0">
                    <a:latin typeface="Arial"/>
                    <a:ea typeface="SimSun" charset="0"/>
                    <a:cs typeface="Arial"/>
                  </a:rPr>
                  <a:t>Cough</a:t>
                </a:r>
                <a:endParaRPr lang="en-US" sz="1200" b="1" dirty="0">
                  <a:latin typeface="Arial"/>
                  <a:cs typeface="Arial"/>
                </a:endParaRPr>
              </a:p>
            </p:txBody>
          </p:sp>
          <p:sp>
            <p:nvSpPr>
              <p:cNvPr id="9" name="AutoShape 30"/>
              <p:cNvSpPr>
                <a:spLocks noChangeArrowheads="1"/>
              </p:cNvSpPr>
              <p:nvPr/>
            </p:nvSpPr>
            <p:spPr bwMode="auto">
              <a:xfrm>
                <a:off x="512039" y="53213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10" name="Rectangle 23"/>
              <p:cNvSpPr>
                <a:spLocks noChangeArrowheads="1"/>
              </p:cNvSpPr>
              <p:nvPr/>
            </p:nvSpPr>
            <p:spPr bwMode="auto">
              <a:xfrm>
                <a:off x="400413" y="5351463"/>
                <a:ext cx="1067190" cy="214312"/>
              </a:xfrm>
              <a:prstGeom prst="rect">
                <a:avLst/>
              </a:prstGeom>
              <a:noFill/>
              <a:ln w="31750">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200" b="1" dirty="0">
                    <a:latin typeface="Arial"/>
                    <a:ea typeface="SimSun" charset="0"/>
                    <a:cs typeface="Arial"/>
                  </a:rPr>
                  <a:t>Fever</a:t>
                </a:r>
                <a:endParaRPr lang="en-US" sz="1200" b="1" dirty="0">
                  <a:latin typeface="Arial"/>
                  <a:cs typeface="Arial"/>
                </a:endParaRPr>
              </a:p>
            </p:txBody>
          </p:sp>
          <p:sp>
            <p:nvSpPr>
              <p:cNvPr id="11" name="AutoShape 30"/>
              <p:cNvSpPr>
                <a:spLocks noChangeArrowheads="1"/>
              </p:cNvSpPr>
              <p:nvPr/>
            </p:nvSpPr>
            <p:spPr bwMode="auto">
              <a:xfrm>
                <a:off x="512039" y="48895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12" name="Rectangle 49"/>
              <p:cNvSpPr>
                <a:spLocks noChangeArrowheads="1"/>
              </p:cNvSpPr>
              <p:nvPr/>
            </p:nvSpPr>
            <p:spPr bwMode="auto">
              <a:xfrm>
                <a:off x="406400" y="4910138"/>
                <a:ext cx="1121112" cy="3587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Weight loss</a:t>
                </a:r>
                <a:endParaRPr lang="en-US" sz="1100" b="1" dirty="0">
                  <a:latin typeface="Arial"/>
                  <a:cs typeface="Arial"/>
                </a:endParaRPr>
              </a:p>
            </p:txBody>
          </p:sp>
          <p:sp>
            <p:nvSpPr>
              <p:cNvPr id="13" name="AutoShape 30"/>
              <p:cNvSpPr>
                <a:spLocks noChangeArrowheads="1"/>
              </p:cNvSpPr>
              <p:nvPr/>
            </p:nvSpPr>
            <p:spPr bwMode="auto">
              <a:xfrm>
                <a:off x="509612" y="44577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14" name="Rectangle 22"/>
              <p:cNvSpPr>
                <a:spLocks noChangeArrowheads="1"/>
              </p:cNvSpPr>
              <p:nvPr/>
            </p:nvSpPr>
            <p:spPr bwMode="auto">
              <a:xfrm>
                <a:off x="413113" y="4478338"/>
                <a:ext cx="1121112" cy="3603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Night sweats</a:t>
                </a:r>
                <a:endParaRPr lang="en-US" sz="1100" b="1" dirty="0">
                  <a:latin typeface="Arial"/>
                  <a:cs typeface="Arial"/>
                </a:endParaRPr>
              </a:p>
            </p:txBody>
          </p:sp>
        </p:grpSp>
        <p:grpSp>
          <p:nvGrpSpPr>
            <p:cNvPr id="15" name="Group 14"/>
            <p:cNvGrpSpPr/>
            <p:nvPr/>
          </p:nvGrpSpPr>
          <p:grpSpPr>
            <a:xfrm>
              <a:off x="7635626" y="4149190"/>
              <a:ext cx="1133812" cy="1663700"/>
              <a:chOff x="400413" y="4457700"/>
              <a:chExt cx="1133812" cy="1663700"/>
            </a:xfrm>
          </p:grpSpPr>
          <p:sp>
            <p:nvSpPr>
              <p:cNvPr id="16" name="AutoShape 30"/>
              <p:cNvSpPr>
                <a:spLocks noChangeArrowheads="1"/>
              </p:cNvSpPr>
              <p:nvPr/>
            </p:nvSpPr>
            <p:spPr bwMode="auto">
              <a:xfrm>
                <a:off x="512039" y="5737225"/>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17" name="Rectangle 18"/>
              <p:cNvSpPr>
                <a:spLocks noChangeArrowheads="1"/>
              </p:cNvSpPr>
              <p:nvPr/>
            </p:nvSpPr>
            <p:spPr bwMode="auto">
              <a:xfrm>
                <a:off x="400413" y="5768975"/>
                <a:ext cx="1121112" cy="3524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200" b="1" dirty="0">
                    <a:latin typeface="Arial"/>
                    <a:ea typeface="SimSun" charset="0"/>
                    <a:cs typeface="Arial"/>
                  </a:rPr>
                  <a:t>Cough</a:t>
                </a:r>
                <a:endParaRPr lang="en-US" sz="1200" b="1" dirty="0">
                  <a:latin typeface="Arial"/>
                  <a:cs typeface="Arial"/>
                </a:endParaRPr>
              </a:p>
            </p:txBody>
          </p:sp>
          <p:sp>
            <p:nvSpPr>
              <p:cNvPr id="18" name="AutoShape 30"/>
              <p:cNvSpPr>
                <a:spLocks noChangeArrowheads="1"/>
              </p:cNvSpPr>
              <p:nvPr/>
            </p:nvSpPr>
            <p:spPr bwMode="auto">
              <a:xfrm>
                <a:off x="512039" y="53213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19" name="Rectangle 23"/>
              <p:cNvSpPr>
                <a:spLocks noChangeArrowheads="1"/>
              </p:cNvSpPr>
              <p:nvPr/>
            </p:nvSpPr>
            <p:spPr bwMode="auto">
              <a:xfrm>
                <a:off x="400413" y="5351463"/>
                <a:ext cx="1067190" cy="214312"/>
              </a:xfrm>
              <a:prstGeom prst="rect">
                <a:avLst/>
              </a:prstGeom>
              <a:noFill/>
              <a:ln w="31750">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200" b="1" dirty="0">
                    <a:latin typeface="Arial"/>
                    <a:ea typeface="SimSun" charset="0"/>
                    <a:cs typeface="Arial"/>
                  </a:rPr>
                  <a:t>Fever</a:t>
                </a:r>
                <a:endParaRPr lang="en-US" sz="1200" b="1" dirty="0">
                  <a:latin typeface="Arial"/>
                  <a:cs typeface="Arial"/>
                </a:endParaRPr>
              </a:p>
            </p:txBody>
          </p:sp>
          <p:sp>
            <p:nvSpPr>
              <p:cNvPr id="20" name="AutoShape 30"/>
              <p:cNvSpPr>
                <a:spLocks noChangeArrowheads="1"/>
              </p:cNvSpPr>
              <p:nvPr/>
            </p:nvSpPr>
            <p:spPr bwMode="auto">
              <a:xfrm>
                <a:off x="512039" y="48895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21" name="Rectangle 49"/>
              <p:cNvSpPr>
                <a:spLocks noChangeArrowheads="1"/>
              </p:cNvSpPr>
              <p:nvPr/>
            </p:nvSpPr>
            <p:spPr bwMode="auto">
              <a:xfrm>
                <a:off x="406400" y="4910138"/>
                <a:ext cx="1121112" cy="3587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Weight loss</a:t>
                </a:r>
                <a:endParaRPr lang="en-US" sz="1100" b="1" dirty="0">
                  <a:latin typeface="Arial"/>
                  <a:cs typeface="Arial"/>
                </a:endParaRPr>
              </a:p>
            </p:txBody>
          </p:sp>
          <p:sp>
            <p:nvSpPr>
              <p:cNvPr id="22" name="AutoShape 30"/>
              <p:cNvSpPr>
                <a:spLocks noChangeArrowheads="1"/>
              </p:cNvSpPr>
              <p:nvPr/>
            </p:nvSpPr>
            <p:spPr bwMode="auto">
              <a:xfrm>
                <a:off x="509612" y="44577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23" name="Rectangle 22"/>
              <p:cNvSpPr>
                <a:spLocks noChangeArrowheads="1"/>
              </p:cNvSpPr>
              <p:nvPr/>
            </p:nvSpPr>
            <p:spPr bwMode="auto">
              <a:xfrm>
                <a:off x="413113" y="4478338"/>
                <a:ext cx="1121112" cy="3603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Night sweats</a:t>
                </a:r>
                <a:endParaRPr lang="en-US" sz="1100" b="1" dirty="0">
                  <a:latin typeface="Arial"/>
                  <a:cs typeface="Arial"/>
                </a:endParaRPr>
              </a:p>
            </p:txBody>
          </p:sp>
        </p:grpSp>
        <p:grpSp>
          <p:nvGrpSpPr>
            <p:cNvPr id="24" name="Group 23"/>
            <p:cNvGrpSpPr/>
            <p:nvPr/>
          </p:nvGrpSpPr>
          <p:grpSpPr>
            <a:xfrm>
              <a:off x="2710094" y="4155456"/>
              <a:ext cx="1133812" cy="1663700"/>
              <a:chOff x="400413" y="4457700"/>
              <a:chExt cx="1133812" cy="1663700"/>
            </a:xfrm>
          </p:grpSpPr>
          <p:sp>
            <p:nvSpPr>
              <p:cNvPr id="25" name="AutoShape 30"/>
              <p:cNvSpPr>
                <a:spLocks noChangeArrowheads="1"/>
              </p:cNvSpPr>
              <p:nvPr/>
            </p:nvSpPr>
            <p:spPr bwMode="auto">
              <a:xfrm>
                <a:off x="512039" y="5737225"/>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26" name="Rectangle 18"/>
              <p:cNvSpPr>
                <a:spLocks noChangeArrowheads="1"/>
              </p:cNvSpPr>
              <p:nvPr/>
            </p:nvSpPr>
            <p:spPr bwMode="auto">
              <a:xfrm>
                <a:off x="400413" y="5768975"/>
                <a:ext cx="1121112" cy="3524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200" b="1" dirty="0">
                    <a:latin typeface="Arial"/>
                    <a:ea typeface="SimSun" charset="0"/>
                    <a:cs typeface="Arial"/>
                  </a:rPr>
                  <a:t>Cough</a:t>
                </a:r>
                <a:endParaRPr lang="en-US" sz="1200" b="1" dirty="0">
                  <a:latin typeface="Arial"/>
                  <a:cs typeface="Arial"/>
                </a:endParaRPr>
              </a:p>
            </p:txBody>
          </p:sp>
          <p:sp>
            <p:nvSpPr>
              <p:cNvPr id="27" name="AutoShape 30"/>
              <p:cNvSpPr>
                <a:spLocks noChangeArrowheads="1"/>
              </p:cNvSpPr>
              <p:nvPr/>
            </p:nvSpPr>
            <p:spPr bwMode="auto">
              <a:xfrm>
                <a:off x="512039" y="53213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28" name="Rectangle 23"/>
              <p:cNvSpPr>
                <a:spLocks noChangeArrowheads="1"/>
              </p:cNvSpPr>
              <p:nvPr/>
            </p:nvSpPr>
            <p:spPr bwMode="auto">
              <a:xfrm>
                <a:off x="400413" y="5351463"/>
                <a:ext cx="1067190" cy="214312"/>
              </a:xfrm>
              <a:prstGeom prst="rect">
                <a:avLst/>
              </a:prstGeom>
              <a:noFill/>
              <a:ln w="31750">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200" b="1" dirty="0">
                    <a:latin typeface="Arial"/>
                    <a:ea typeface="SimSun" charset="0"/>
                    <a:cs typeface="Arial"/>
                  </a:rPr>
                  <a:t>Fever</a:t>
                </a:r>
                <a:endParaRPr lang="en-US" sz="1200" b="1" dirty="0">
                  <a:latin typeface="Arial"/>
                  <a:cs typeface="Arial"/>
                </a:endParaRPr>
              </a:p>
            </p:txBody>
          </p:sp>
          <p:sp>
            <p:nvSpPr>
              <p:cNvPr id="29" name="AutoShape 30"/>
              <p:cNvSpPr>
                <a:spLocks noChangeArrowheads="1"/>
              </p:cNvSpPr>
              <p:nvPr/>
            </p:nvSpPr>
            <p:spPr bwMode="auto">
              <a:xfrm>
                <a:off x="512039" y="48895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30" name="Rectangle 49"/>
              <p:cNvSpPr>
                <a:spLocks noChangeArrowheads="1"/>
              </p:cNvSpPr>
              <p:nvPr/>
            </p:nvSpPr>
            <p:spPr bwMode="auto">
              <a:xfrm>
                <a:off x="406400" y="4910138"/>
                <a:ext cx="1121112" cy="3587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Weight loss</a:t>
                </a:r>
                <a:endParaRPr lang="en-US" sz="1100" b="1" dirty="0">
                  <a:latin typeface="Arial"/>
                  <a:cs typeface="Arial"/>
                </a:endParaRPr>
              </a:p>
            </p:txBody>
          </p:sp>
          <p:sp>
            <p:nvSpPr>
              <p:cNvPr id="31" name="AutoShape 30"/>
              <p:cNvSpPr>
                <a:spLocks noChangeArrowheads="1"/>
              </p:cNvSpPr>
              <p:nvPr/>
            </p:nvSpPr>
            <p:spPr bwMode="auto">
              <a:xfrm>
                <a:off x="509612" y="44577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32" name="Rectangle 22"/>
              <p:cNvSpPr>
                <a:spLocks noChangeArrowheads="1"/>
              </p:cNvSpPr>
              <p:nvPr/>
            </p:nvSpPr>
            <p:spPr bwMode="auto">
              <a:xfrm>
                <a:off x="413113" y="4478338"/>
                <a:ext cx="1121112" cy="3603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Night sweats</a:t>
                </a:r>
                <a:endParaRPr lang="en-US" sz="1100" b="1" dirty="0">
                  <a:latin typeface="Arial"/>
                  <a:cs typeface="Arial"/>
                </a:endParaRPr>
              </a:p>
            </p:txBody>
          </p:sp>
        </p:grpSp>
        <p:grpSp>
          <p:nvGrpSpPr>
            <p:cNvPr id="33" name="Group 32"/>
            <p:cNvGrpSpPr/>
            <p:nvPr/>
          </p:nvGrpSpPr>
          <p:grpSpPr>
            <a:xfrm>
              <a:off x="6632140" y="4141527"/>
              <a:ext cx="1133812" cy="1663700"/>
              <a:chOff x="400413" y="4457700"/>
              <a:chExt cx="1133812" cy="1663700"/>
            </a:xfrm>
          </p:grpSpPr>
          <p:sp>
            <p:nvSpPr>
              <p:cNvPr id="34" name="AutoShape 30"/>
              <p:cNvSpPr>
                <a:spLocks noChangeArrowheads="1"/>
              </p:cNvSpPr>
              <p:nvPr/>
            </p:nvSpPr>
            <p:spPr bwMode="auto">
              <a:xfrm>
                <a:off x="512039" y="5737225"/>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35" name="Rectangle 18"/>
              <p:cNvSpPr>
                <a:spLocks noChangeArrowheads="1"/>
              </p:cNvSpPr>
              <p:nvPr/>
            </p:nvSpPr>
            <p:spPr bwMode="auto">
              <a:xfrm>
                <a:off x="400413" y="5768975"/>
                <a:ext cx="1121112" cy="3524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200" b="1" dirty="0">
                    <a:latin typeface="Arial"/>
                    <a:ea typeface="SimSun" charset="0"/>
                    <a:cs typeface="Arial"/>
                  </a:rPr>
                  <a:t>Cough</a:t>
                </a:r>
                <a:endParaRPr lang="en-US" sz="1200" b="1" dirty="0">
                  <a:latin typeface="Arial"/>
                  <a:cs typeface="Arial"/>
                </a:endParaRPr>
              </a:p>
            </p:txBody>
          </p:sp>
          <p:sp>
            <p:nvSpPr>
              <p:cNvPr id="36" name="AutoShape 30"/>
              <p:cNvSpPr>
                <a:spLocks noChangeArrowheads="1"/>
              </p:cNvSpPr>
              <p:nvPr/>
            </p:nvSpPr>
            <p:spPr bwMode="auto">
              <a:xfrm>
                <a:off x="512039" y="53213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37" name="Rectangle 23"/>
              <p:cNvSpPr>
                <a:spLocks noChangeArrowheads="1"/>
              </p:cNvSpPr>
              <p:nvPr/>
            </p:nvSpPr>
            <p:spPr bwMode="auto">
              <a:xfrm>
                <a:off x="400413" y="5351463"/>
                <a:ext cx="1067190" cy="214312"/>
              </a:xfrm>
              <a:prstGeom prst="rect">
                <a:avLst/>
              </a:prstGeom>
              <a:noFill/>
              <a:ln w="31750">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200" b="1" dirty="0">
                    <a:latin typeface="Arial"/>
                    <a:ea typeface="SimSun" charset="0"/>
                    <a:cs typeface="Arial"/>
                  </a:rPr>
                  <a:t>Fever</a:t>
                </a:r>
                <a:endParaRPr lang="en-US" sz="1200" b="1" dirty="0">
                  <a:latin typeface="Arial"/>
                  <a:cs typeface="Arial"/>
                </a:endParaRPr>
              </a:p>
            </p:txBody>
          </p:sp>
          <p:sp>
            <p:nvSpPr>
              <p:cNvPr id="38" name="AutoShape 30"/>
              <p:cNvSpPr>
                <a:spLocks noChangeArrowheads="1"/>
              </p:cNvSpPr>
              <p:nvPr/>
            </p:nvSpPr>
            <p:spPr bwMode="auto">
              <a:xfrm>
                <a:off x="512039" y="48895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39" name="Rectangle 49"/>
              <p:cNvSpPr>
                <a:spLocks noChangeArrowheads="1"/>
              </p:cNvSpPr>
              <p:nvPr/>
            </p:nvSpPr>
            <p:spPr bwMode="auto">
              <a:xfrm>
                <a:off x="406400" y="4910138"/>
                <a:ext cx="1121112" cy="3587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Weight loss</a:t>
                </a:r>
                <a:endParaRPr lang="en-US" sz="1100" b="1" dirty="0">
                  <a:latin typeface="Arial"/>
                  <a:cs typeface="Arial"/>
                </a:endParaRPr>
              </a:p>
            </p:txBody>
          </p:sp>
          <p:sp>
            <p:nvSpPr>
              <p:cNvPr id="40" name="AutoShape 30"/>
              <p:cNvSpPr>
                <a:spLocks noChangeArrowheads="1"/>
              </p:cNvSpPr>
              <p:nvPr/>
            </p:nvSpPr>
            <p:spPr bwMode="auto">
              <a:xfrm>
                <a:off x="509612" y="44577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41" name="Rectangle 22"/>
              <p:cNvSpPr>
                <a:spLocks noChangeArrowheads="1"/>
              </p:cNvSpPr>
              <p:nvPr/>
            </p:nvSpPr>
            <p:spPr bwMode="auto">
              <a:xfrm>
                <a:off x="413113" y="4478338"/>
                <a:ext cx="1121112" cy="3603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Night sweats</a:t>
                </a:r>
                <a:endParaRPr lang="en-US" sz="1100" b="1" dirty="0">
                  <a:latin typeface="Arial"/>
                  <a:cs typeface="Arial"/>
                </a:endParaRPr>
              </a:p>
            </p:txBody>
          </p:sp>
        </p:grpSp>
        <p:grpSp>
          <p:nvGrpSpPr>
            <p:cNvPr id="42" name="Group 41"/>
            <p:cNvGrpSpPr/>
            <p:nvPr/>
          </p:nvGrpSpPr>
          <p:grpSpPr>
            <a:xfrm>
              <a:off x="3745391" y="4151414"/>
              <a:ext cx="1133812" cy="1663700"/>
              <a:chOff x="400413" y="4457700"/>
              <a:chExt cx="1133812" cy="1663700"/>
            </a:xfrm>
          </p:grpSpPr>
          <p:sp>
            <p:nvSpPr>
              <p:cNvPr id="43" name="AutoShape 30"/>
              <p:cNvSpPr>
                <a:spLocks noChangeArrowheads="1"/>
              </p:cNvSpPr>
              <p:nvPr/>
            </p:nvSpPr>
            <p:spPr bwMode="auto">
              <a:xfrm>
                <a:off x="512039" y="5737225"/>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44" name="Rectangle 18"/>
              <p:cNvSpPr>
                <a:spLocks noChangeArrowheads="1"/>
              </p:cNvSpPr>
              <p:nvPr/>
            </p:nvSpPr>
            <p:spPr bwMode="auto">
              <a:xfrm>
                <a:off x="400413" y="5768975"/>
                <a:ext cx="1121112" cy="3524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200" b="1" dirty="0">
                    <a:latin typeface="Arial"/>
                    <a:ea typeface="SimSun" charset="0"/>
                    <a:cs typeface="Arial"/>
                  </a:rPr>
                  <a:t>Cough</a:t>
                </a:r>
                <a:endParaRPr lang="en-US" sz="1200" b="1" dirty="0">
                  <a:latin typeface="Arial"/>
                  <a:cs typeface="Arial"/>
                </a:endParaRPr>
              </a:p>
            </p:txBody>
          </p:sp>
          <p:sp>
            <p:nvSpPr>
              <p:cNvPr id="45" name="AutoShape 30"/>
              <p:cNvSpPr>
                <a:spLocks noChangeArrowheads="1"/>
              </p:cNvSpPr>
              <p:nvPr/>
            </p:nvSpPr>
            <p:spPr bwMode="auto">
              <a:xfrm>
                <a:off x="512039" y="53213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46" name="Rectangle 23"/>
              <p:cNvSpPr>
                <a:spLocks noChangeArrowheads="1"/>
              </p:cNvSpPr>
              <p:nvPr/>
            </p:nvSpPr>
            <p:spPr bwMode="auto">
              <a:xfrm>
                <a:off x="400413" y="5351463"/>
                <a:ext cx="1067190" cy="214312"/>
              </a:xfrm>
              <a:prstGeom prst="rect">
                <a:avLst/>
              </a:prstGeom>
              <a:noFill/>
              <a:ln w="31750">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200" b="1" dirty="0">
                    <a:latin typeface="Arial"/>
                    <a:ea typeface="SimSun" charset="0"/>
                    <a:cs typeface="Arial"/>
                  </a:rPr>
                  <a:t>Fever</a:t>
                </a:r>
                <a:endParaRPr lang="en-US" sz="1200" b="1" dirty="0">
                  <a:latin typeface="Arial"/>
                  <a:cs typeface="Arial"/>
                </a:endParaRPr>
              </a:p>
            </p:txBody>
          </p:sp>
          <p:sp>
            <p:nvSpPr>
              <p:cNvPr id="47" name="AutoShape 30"/>
              <p:cNvSpPr>
                <a:spLocks noChangeArrowheads="1"/>
              </p:cNvSpPr>
              <p:nvPr/>
            </p:nvSpPr>
            <p:spPr bwMode="auto">
              <a:xfrm>
                <a:off x="512039" y="48895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48" name="Rectangle 49"/>
              <p:cNvSpPr>
                <a:spLocks noChangeArrowheads="1"/>
              </p:cNvSpPr>
              <p:nvPr/>
            </p:nvSpPr>
            <p:spPr bwMode="auto">
              <a:xfrm>
                <a:off x="406400" y="4910138"/>
                <a:ext cx="1121112" cy="3587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Weight loss</a:t>
                </a:r>
                <a:endParaRPr lang="en-US" sz="1100" b="1" dirty="0">
                  <a:latin typeface="Arial"/>
                  <a:cs typeface="Arial"/>
                </a:endParaRPr>
              </a:p>
            </p:txBody>
          </p:sp>
          <p:sp>
            <p:nvSpPr>
              <p:cNvPr id="49" name="AutoShape 30"/>
              <p:cNvSpPr>
                <a:spLocks noChangeArrowheads="1"/>
              </p:cNvSpPr>
              <p:nvPr/>
            </p:nvSpPr>
            <p:spPr bwMode="auto">
              <a:xfrm>
                <a:off x="509612" y="44577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50" name="Rectangle 22"/>
              <p:cNvSpPr>
                <a:spLocks noChangeArrowheads="1"/>
              </p:cNvSpPr>
              <p:nvPr/>
            </p:nvSpPr>
            <p:spPr bwMode="auto">
              <a:xfrm>
                <a:off x="413113" y="4478338"/>
                <a:ext cx="1121112" cy="3603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Night sweats</a:t>
                </a:r>
                <a:endParaRPr lang="en-US" sz="1100" b="1" dirty="0">
                  <a:latin typeface="Arial"/>
                  <a:cs typeface="Arial"/>
                </a:endParaRPr>
              </a:p>
            </p:txBody>
          </p:sp>
        </p:grpSp>
        <p:sp>
          <p:nvSpPr>
            <p:cNvPr id="51" name="AutoShape 30"/>
            <p:cNvSpPr>
              <a:spLocks noChangeArrowheads="1"/>
            </p:cNvSpPr>
            <p:nvPr/>
          </p:nvSpPr>
          <p:spPr bwMode="auto">
            <a:xfrm>
              <a:off x="1779794" y="3693493"/>
              <a:ext cx="916661" cy="342900"/>
            </a:xfrm>
            <a:prstGeom prst="roundRect">
              <a:avLst>
                <a:gd name="adj" fmla="val 16667"/>
              </a:avLst>
            </a:prstGeom>
            <a:solidFill>
              <a:schemeClr val="accent2">
                <a:lumMod val="60000"/>
                <a:lumOff val="40000"/>
              </a:schemeClr>
            </a:solidFill>
            <a:ln w="19050">
              <a:solidFill>
                <a:schemeClr val="tx1"/>
              </a:solidFill>
              <a:round/>
              <a:headEnd/>
              <a:tailEnd/>
            </a:ln>
          </p:spPr>
          <p:txBody>
            <a:bodyPr anchor="ctr"/>
            <a:lstStyle/>
            <a:p>
              <a:pPr eaLnBrk="1" hangingPunct="1">
                <a:lnSpc>
                  <a:spcPct val="100000"/>
                </a:lnSpc>
                <a:spcBef>
                  <a:spcPct val="0"/>
                </a:spcBef>
              </a:pPr>
              <a:endParaRPr lang="en-US" sz="1000" b="1">
                <a:latin typeface="Arial"/>
                <a:cs typeface="Arial"/>
              </a:endParaRPr>
            </a:p>
          </p:txBody>
        </p:sp>
        <p:sp>
          <p:nvSpPr>
            <p:cNvPr id="52" name="AutoShape 30"/>
            <p:cNvSpPr>
              <a:spLocks noChangeArrowheads="1"/>
            </p:cNvSpPr>
            <p:nvPr/>
          </p:nvSpPr>
          <p:spPr bwMode="auto">
            <a:xfrm>
              <a:off x="7745583" y="3697282"/>
              <a:ext cx="916661" cy="342900"/>
            </a:xfrm>
            <a:prstGeom prst="roundRect">
              <a:avLst>
                <a:gd name="adj" fmla="val 16667"/>
              </a:avLst>
            </a:prstGeom>
            <a:solidFill>
              <a:srgbClr val="D99694"/>
            </a:solidFill>
            <a:ln w="19050">
              <a:solidFill>
                <a:schemeClr val="tx1"/>
              </a:solidFill>
              <a:round/>
              <a:headEnd/>
              <a:tailEnd/>
            </a:ln>
          </p:spPr>
          <p:txBody>
            <a:bodyPr anchor="ctr"/>
            <a:lstStyle/>
            <a:p>
              <a:pPr eaLnBrk="1" hangingPunct="1">
                <a:lnSpc>
                  <a:spcPct val="100000"/>
                </a:lnSpc>
                <a:spcBef>
                  <a:spcPct val="0"/>
                </a:spcBef>
              </a:pPr>
              <a:endParaRPr lang="en-US" sz="1000" b="1">
                <a:latin typeface="Arial"/>
                <a:cs typeface="Arial"/>
              </a:endParaRPr>
            </a:p>
          </p:txBody>
        </p:sp>
        <p:sp>
          <p:nvSpPr>
            <p:cNvPr id="53" name="AutoShape 30"/>
            <p:cNvSpPr>
              <a:spLocks noChangeArrowheads="1"/>
            </p:cNvSpPr>
            <p:nvPr/>
          </p:nvSpPr>
          <p:spPr bwMode="auto">
            <a:xfrm>
              <a:off x="2795404" y="3706193"/>
              <a:ext cx="916661" cy="342900"/>
            </a:xfrm>
            <a:prstGeom prst="roundRect">
              <a:avLst>
                <a:gd name="adj" fmla="val 16667"/>
              </a:avLst>
            </a:prstGeom>
            <a:solidFill>
              <a:srgbClr val="D99694"/>
            </a:solidFill>
            <a:ln w="19050">
              <a:solidFill>
                <a:schemeClr val="tx1"/>
              </a:solidFill>
              <a:round/>
              <a:headEnd/>
              <a:tailEnd/>
            </a:ln>
          </p:spPr>
          <p:txBody>
            <a:bodyPr anchor="ctr"/>
            <a:lstStyle/>
            <a:p>
              <a:pPr eaLnBrk="1" hangingPunct="1">
                <a:lnSpc>
                  <a:spcPct val="100000"/>
                </a:lnSpc>
                <a:spcBef>
                  <a:spcPct val="0"/>
                </a:spcBef>
              </a:pPr>
              <a:endParaRPr lang="en-US" sz="1000" b="1">
                <a:latin typeface="Arial"/>
                <a:cs typeface="Arial"/>
              </a:endParaRPr>
            </a:p>
          </p:txBody>
        </p:sp>
        <p:sp>
          <p:nvSpPr>
            <p:cNvPr id="54" name="Rectangle 69"/>
            <p:cNvSpPr>
              <a:spLocks noChangeArrowheads="1"/>
            </p:cNvSpPr>
            <p:nvPr/>
          </p:nvSpPr>
          <p:spPr bwMode="auto">
            <a:xfrm>
              <a:off x="1770311" y="3633962"/>
              <a:ext cx="915871" cy="4579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a:spcBef>
                  <a:spcPct val="0"/>
                </a:spcBef>
              </a:pPr>
              <a:r>
                <a:rPr lang="en-GB" altLang="zh-CN" sz="1100" b="1" dirty="0">
                  <a:latin typeface="Arial"/>
                  <a:ea typeface="SimSun" charset="0"/>
                  <a:cs typeface="Arial"/>
                </a:rPr>
                <a:t>Enlarged nodes</a:t>
              </a:r>
              <a:endParaRPr lang="en-US" sz="1100" b="1" dirty="0">
                <a:latin typeface="Arial"/>
                <a:cs typeface="Arial"/>
              </a:endParaRPr>
            </a:p>
          </p:txBody>
        </p:sp>
        <p:sp>
          <p:nvSpPr>
            <p:cNvPr id="55" name="Rectangle 35"/>
            <p:cNvSpPr>
              <a:spLocks noChangeArrowheads="1"/>
            </p:cNvSpPr>
            <p:nvPr/>
          </p:nvSpPr>
          <p:spPr bwMode="auto">
            <a:xfrm>
              <a:off x="7732883" y="3651245"/>
              <a:ext cx="936625" cy="35718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Coughing blood</a:t>
              </a:r>
              <a:endParaRPr lang="en-US" sz="1100" b="1" dirty="0">
                <a:latin typeface="Arial"/>
                <a:cs typeface="Arial"/>
              </a:endParaRPr>
            </a:p>
          </p:txBody>
        </p:sp>
        <p:sp>
          <p:nvSpPr>
            <p:cNvPr id="56" name="Rectangle 78"/>
            <p:cNvSpPr>
              <a:spLocks noChangeArrowheads="1"/>
            </p:cNvSpPr>
            <p:nvPr/>
          </p:nvSpPr>
          <p:spPr bwMode="auto">
            <a:xfrm>
              <a:off x="2860630" y="3655395"/>
              <a:ext cx="800100" cy="4778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Enlarged </a:t>
              </a:r>
              <a:r>
                <a:rPr lang="en-GB" altLang="zh-CN" sz="1100" b="1" dirty="0" smtClean="0">
                  <a:latin typeface="Arial"/>
                  <a:ea typeface="SimSun" charset="0"/>
                  <a:cs typeface="Arial"/>
                </a:rPr>
                <a:t>nodes</a:t>
              </a:r>
              <a:endParaRPr lang="en-US" sz="1100" b="1" dirty="0">
                <a:latin typeface="Arial"/>
                <a:cs typeface="Arial"/>
              </a:endParaRPr>
            </a:p>
          </p:txBody>
        </p:sp>
        <p:sp>
          <p:nvSpPr>
            <p:cNvPr id="57" name="AutoShape 30"/>
            <p:cNvSpPr>
              <a:spLocks noChangeArrowheads="1"/>
            </p:cNvSpPr>
            <p:nvPr/>
          </p:nvSpPr>
          <p:spPr bwMode="auto">
            <a:xfrm>
              <a:off x="3862197" y="3703737"/>
              <a:ext cx="916661" cy="342900"/>
            </a:xfrm>
            <a:prstGeom prst="roundRect">
              <a:avLst>
                <a:gd name="adj" fmla="val 16667"/>
              </a:avLst>
            </a:prstGeom>
            <a:solidFill>
              <a:srgbClr val="D99694"/>
            </a:solidFill>
            <a:ln w="19050">
              <a:solidFill>
                <a:schemeClr val="tx1"/>
              </a:solidFill>
              <a:round/>
              <a:headEnd/>
              <a:tailEnd/>
            </a:ln>
          </p:spPr>
          <p:txBody>
            <a:bodyPr anchor="ctr"/>
            <a:lstStyle/>
            <a:p>
              <a:pPr eaLnBrk="1" hangingPunct="1">
                <a:lnSpc>
                  <a:spcPct val="100000"/>
                </a:lnSpc>
                <a:spcBef>
                  <a:spcPct val="0"/>
                </a:spcBef>
              </a:pPr>
              <a:endParaRPr lang="en-US" sz="1000" b="1">
                <a:latin typeface="Arial"/>
                <a:cs typeface="Arial"/>
              </a:endParaRPr>
            </a:p>
          </p:txBody>
        </p:sp>
        <p:sp>
          <p:nvSpPr>
            <p:cNvPr id="58" name="Rectangle 69"/>
            <p:cNvSpPr>
              <a:spLocks noChangeArrowheads="1"/>
            </p:cNvSpPr>
            <p:nvPr/>
          </p:nvSpPr>
          <p:spPr bwMode="auto">
            <a:xfrm>
              <a:off x="3852714" y="3656906"/>
              <a:ext cx="915871" cy="34059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a:spcBef>
                  <a:spcPct val="0"/>
                </a:spcBef>
              </a:pPr>
              <a:r>
                <a:rPr lang="en-GB" altLang="zh-CN" sz="1100" b="1" dirty="0">
                  <a:latin typeface="Arial"/>
                  <a:ea typeface="SimSun" charset="0"/>
                  <a:cs typeface="Arial"/>
                </a:rPr>
                <a:t>Enlarged nodes</a:t>
              </a:r>
              <a:endParaRPr lang="en-US" sz="1100" b="1" dirty="0">
                <a:latin typeface="Arial"/>
                <a:cs typeface="Arial"/>
              </a:endParaRPr>
            </a:p>
          </p:txBody>
        </p:sp>
        <p:sp>
          <p:nvSpPr>
            <p:cNvPr id="59" name="AutoShape 30"/>
            <p:cNvSpPr>
              <a:spLocks noChangeArrowheads="1"/>
            </p:cNvSpPr>
            <p:nvPr/>
          </p:nvSpPr>
          <p:spPr bwMode="auto">
            <a:xfrm>
              <a:off x="3846577" y="3272732"/>
              <a:ext cx="916661" cy="342900"/>
            </a:xfrm>
            <a:prstGeom prst="roundRect">
              <a:avLst>
                <a:gd name="adj" fmla="val 16667"/>
              </a:avLst>
            </a:prstGeom>
            <a:solidFill>
              <a:srgbClr val="D99694"/>
            </a:solidFill>
            <a:ln w="19050">
              <a:solidFill>
                <a:schemeClr val="tx1"/>
              </a:solidFill>
              <a:round/>
              <a:headEnd/>
              <a:tailEnd/>
            </a:ln>
          </p:spPr>
          <p:txBody>
            <a:bodyPr anchor="ctr"/>
            <a:lstStyle/>
            <a:p>
              <a:pPr eaLnBrk="1" hangingPunct="1">
                <a:lnSpc>
                  <a:spcPct val="100000"/>
                </a:lnSpc>
                <a:spcBef>
                  <a:spcPct val="0"/>
                </a:spcBef>
              </a:pPr>
              <a:endParaRPr lang="en-US" sz="1000" b="1">
                <a:latin typeface="Arial"/>
                <a:cs typeface="Arial"/>
              </a:endParaRPr>
            </a:p>
          </p:txBody>
        </p:sp>
        <p:sp>
          <p:nvSpPr>
            <p:cNvPr id="60" name="Rectangle 31"/>
            <p:cNvSpPr>
              <a:spLocks noChangeArrowheads="1"/>
            </p:cNvSpPr>
            <p:nvPr/>
          </p:nvSpPr>
          <p:spPr bwMode="auto">
            <a:xfrm>
              <a:off x="3814464" y="3221137"/>
              <a:ext cx="982513" cy="4302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Shortness of breath</a:t>
              </a:r>
              <a:endParaRPr lang="en-US" sz="1100" b="1" dirty="0">
                <a:latin typeface="Arial"/>
                <a:cs typeface="Arial"/>
              </a:endParaRPr>
            </a:p>
          </p:txBody>
        </p:sp>
        <p:sp>
          <p:nvSpPr>
            <p:cNvPr id="61" name="AutoShape 30"/>
            <p:cNvSpPr>
              <a:spLocks noChangeArrowheads="1"/>
            </p:cNvSpPr>
            <p:nvPr/>
          </p:nvSpPr>
          <p:spPr bwMode="auto">
            <a:xfrm>
              <a:off x="3844317" y="2830613"/>
              <a:ext cx="916661" cy="342900"/>
            </a:xfrm>
            <a:prstGeom prst="roundRect">
              <a:avLst>
                <a:gd name="adj" fmla="val 16667"/>
              </a:avLst>
            </a:prstGeom>
            <a:solidFill>
              <a:srgbClr val="D99694"/>
            </a:solidFill>
            <a:ln w="19050">
              <a:solidFill>
                <a:schemeClr val="tx1"/>
              </a:solidFill>
              <a:round/>
              <a:headEnd/>
              <a:tailEnd/>
            </a:ln>
          </p:spPr>
          <p:txBody>
            <a:bodyPr anchor="ctr"/>
            <a:lstStyle/>
            <a:p>
              <a:pPr eaLnBrk="1" hangingPunct="1">
                <a:lnSpc>
                  <a:spcPct val="100000"/>
                </a:lnSpc>
                <a:spcBef>
                  <a:spcPct val="0"/>
                </a:spcBef>
              </a:pPr>
              <a:endParaRPr lang="en-US" sz="1000" b="1">
                <a:latin typeface="Arial"/>
                <a:cs typeface="Arial"/>
              </a:endParaRPr>
            </a:p>
          </p:txBody>
        </p:sp>
        <p:sp>
          <p:nvSpPr>
            <p:cNvPr id="62" name="Rectangle 35"/>
            <p:cNvSpPr>
              <a:spLocks noChangeArrowheads="1"/>
            </p:cNvSpPr>
            <p:nvPr/>
          </p:nvSpPr>
          <p:spPr bwMode="auto">
            <a:xfrm>
              <a:off x="3831617" y="2784576"/>
              <a:ext cx="936625" cy="35718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Coughing blood</a:t>
              </a:r>
              <a:endParaRPr lang="en-US" sz="1100" b="1" dirty="0">
                <a:latin typeface="Arial"/>
                <a:cs typeface="Arial"/>
              </a:endParaRPr>
            </a:p>
          </p:txBody>
        </p:sp>
        <p:grpSp>
          <p:nvGrpSpPr>
            <p:cNvPr id="63" name="Group 62"/>
            <p:cNvGrpSpPr/>
            <p:nvPr/>
          </p:nvGrpSpPr>
          <p:grpSpPr>
            <a:xfrm>
              <a:off x="598456" y="4157771"/>
              <a:ext cx="1133812" cy="1663700"/>
              <a:chOff x="400413" y="4457700"/>
              <a:chExt cx="1133812" cy="1663700"/>
            </a:xfrm>
          </p:grpSpPr>
          <p:sp>
            <p:nvSpPr>
              <p:cNvPr id="64" name="AutoShape 30"/>
              <p:cNvSpPr>
                <a:spLocks noChangeArrowheads="1"/>
              </p:cNvSpPr>
              <p:nvPr/>
            </p:nvSpPr>
            <p:spPr bwMode="auto">
              <a:xfrm>
                <a:off x="512039" y="5737225"/>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65" name="Rectangle 18"/>
              <p:cNvSpPr>
                <a:spLocks noChangeArrowheads="1"/>
              </p:cNvSpPr>
              <p:nvPr/>
            </p:nvSpPr>
            <p:spPr bwMode="auto">
              <a:xfrm>
                <a:off x="400413" y="5768975"/>
                <a:ext cx="1121112" cy="3524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200" b="1" dirty="0">
                    <a:latin typeface="Arial"/>
                    <a:ea typeface="SimSun" charset="0"/>
                    <a:cs typeface="Arial"/>
                  </a:rPr>
                  <a:t>Cough</a:t>
                </a:r>
                <a:endParaRPr lang="en-US" sz="1200" b="1" dirty="0">
                  <a:latin typeface="Arial"/>
                  <a:cs typeface="Arial"/>
                </a:endParaRPr>
              </a:p>
            </p:txBody>
          </p:sp>
          <p:sp>
            <p:nvSpPr>
              <p:cNvPr id="66" name="AutoShape 30"/>
              <p:cNvSpPr>
                <a:spLocks noChangeArrowheads="1"/>
              </p:cNvSpPr>
              <p:nvPr/>
            </p:nvSpPr>
            <p:spPr bwMode="auto">
              <a:xfrm>
                <a:off x="512039" y="53213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67" name="Rectangle 23"/>
              <p:cNvSpPr>
                <a:spLocks noChangeArrowheads="1"/>
              </p:cNvSpPr>
              <p:nvPr/>
            </p:nvSpPr>
            <p:spPr bwMode="auto">
              <a:xfrm>
                <a:off x="400413" y="5351463"/>
                <a:ext cx="1067190" cy="214312"/>
              </a:xfrm>
              <a:prstGeom prst="rect">
                <a:avLst/>
              </a:prstGeom>
              <a:noFill/>
              <a:ln w="31750">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200" b="1" dirty="0">
                    <a:latin typeface="Arial"/>
                    <a:ea typeface="SimSun" charset="0"/>
                    <a:cs typeface="Arial"/>
                  </a:rPr>
                  <a:t>Fever</a:t>
                </a:r>
                <a:endParaRPr lang="en-US" sz="1200" b="1" dirty="0">
                  <a:latin typeface="Arial"/>
                  <a:cs typeface="Arial"/>
                </a:endParaRPr>
              </a:p>
            </p:txBody>
          </p:sp>
          <p:sp>
            <p:nvSpPr>
              <p:cNvPr id="68" name="AutoShape 30"/>
              <p:cNvSpPr>
                <a:spLocks noChangeArrowheads="1"/>
              </p:cNvSpPr>
              <p:nvPr/>
            </p:nvSpPr>
            <p:spPr bwMode="auto">
              <a:xfrm>
                <a:off x="512039" y="48895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69" name="Rectangle 49"/>
              <p:cNvSpPr>
                <a:spLocks noChangeArrowheads="1"/>
              </p:cNvSpPr>
              <p:nvPr/>
            </p:nvSpPr>
            <p:spPr bwMode="auto">
              <a:xfrm>
                <a:off x="406400" y="4910138"/>
                <a:ext cx="1121112" cy="3587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Weight loss</a:t>
                </a:r>
                <a:endParaRPr lang="en-US" sz="1100" b="1" dirty="0">
                  <a:latin typeface="Arial"/>
                  <a:cs typeface="Arial"/>
                </a:endParaRPr>
              </a:p>
            </p:txBody>
          </p:sp>
          <p:sp>
            <p:nvSpPr>
              <p:cNvPr id="70" name="AutoShape 30"/>
              <p:cNvSpPr>
                <a:spLocks noChangeArrowheads="1"/>
              </p:cNvSpPr>
              <p:nvPr/>
            </p:nvSpPr>
            <p:spPr bwMode="auto">
              <a:xfrm>
                <a:off x="509612" y="44577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71" name="Rectangle 22"/>
              <p:cNvSpPr>
                <a:spLocks noChangeArrowheads="1"/>
              </p:cNvSpPr>
              <p:nvPr/>
            </p:nvSpPr>
            <p:spPr bwMode="auto">
              <a:xfrm>
                <a:off x="413113" y="4478338"/>
                <a:ext cx="1121112" cy="3603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Night sweats</a:t>
                </a:r>
                <a:endParaRPr lang="en-US" sz="1100" b="1" dirty="0">
                  <a:latin typeface="Arial"/>
                  <a:cs typeface="Arial"/>
                </a:endParaRPr>
              </a:p>
            </p:txBody>
          </p:sp>
        </p:grpSp>
        <p:sp>
          <p:nvSpPr>
            <p:cNvPr id="72" name="AutoShape 30"/>
            <p:cNvSpPr>
              <a:spLocks noChangeArrowheads="1"/>
            </p:cNvSpPr>
            <p:nvPr/>
          </p:nvSpPr>
          <p:spPr bwMode="auto">
            <a:xfrm>
              <a:off x="5889595" y="5398670"/>
              <a:ext cx="757961" cy="342900"/>
            </a:xfrm>
            <a:prstGeom prst="roundRect">
              <a:avLst>
                <a:gd name="adj" fmla="val 16667"/>
              </a:avLst>
            </a:prstGeom>
            <a:solidFill>
              <a:srgbClr val="404040"/>
            </a:solidFill>
            <a:ln>
              <a:headEnd/>
              <a:tailEnd/>
            </a:ln>
            <a:extLst/>
          </p:spPr>
          <p:style>
            <a:lnRef idx="2">
              <a:schemeClr val="dk1"/>
            </a:lnRef>
            <a:fillRef idx="1">
              <a:schemeClr val="lt1"/>
            </a:fillRef>
            <a:effectRef idx="0">
              <a:schemeClr val="dk1"/>
            </a:effectRef>
            <a:fontRef idx="minor">
              <a:schemeClr val="dk1"/>
            </a:fontRef>
          </p:style>
          <p:txBody>
            <a:bodyPr anchor="ctr"/>
            <a:lstStyle/>
            <a:p>
              <a:pPr eaLnBrk="1" hangingPunct="1">
                <a:lnSpc>
                  <a:spcPct val="100000"/>
                </a:lnSpc>
                <a:spcBef>
                  <a:spcPct val="0"/>
                </a:spcBef>
              </a:pPr>
              <a:endParaRPr lang="en-US" sz="1000" b="1">
                <a:latin typeface="Arial"/>
                <a:cs typeface="Arial"/>
              </a:endParaRPr>
            </a:p>
          </p:txBody>
        </p:sp>
        <p:sp>
          <p:nvSpPr>
            <p:cNvPr id="73" name="TextBox 72"/>
            <p:cNvSpPr txBox="1"/>
            <p:nvPr/>
          </p:nvSpPr>
          <p:spPr>
            <a:xfrm>
              <a:off x="5889595" y="5441481"/>
              <a:ext cx="757961" cy="276999"/>
            </a:xfrm>
            <a:prstGeom prst="rect">
              <a:avLst/>
            </a:prstGeom>
            <a:noFill/>
          </p:spPr>
          <p:txBody>
            <a:bodyPr wrap="square" rtlCol="0">
              <a:spAutoFit/>
            </a:bodyPr>
            <a:lstStyle/>
            <a:p>
              <a:pPr algn="ctr"/>
              <a:r>
                <a:rPr lang="en-US" sz="1200" b="1" dirty="0" smtClean="0">
                  <a:solidFill>
                    <a:srgbClr val="FFFFFF"/>
                  </a:solidFill>
                  <a:latin typeface="Arial"/>
                  <a:cs typeface="Arial"/>
                </a:rPr>
                <a:t>TST</a:t>
              </a:r>
              <a:endParaRPr lang="en-US" sz="1200" b="1" dirty="0">
                <a:solidFill>
                  <a:srgbClr val="FFFFFF"/>
                </a:solidFill>
                <a:latin typeface="Arial"/>
                <a:cs typeface="Arial"/>
              </a:endParaRPr>
            </a:p>
          </p:txBody>
        </p:sp>
        <p:sp>
          <p:nvSpPr>
            <p:cNvPr id="74" name="Text Box 75"/>
            <p:cNvSpPr txBox="1">
              <a:spLocks noChangeArrowheads="1"/>
            </p:cNvSpPr>
            <p:nvPr/>
          </p:nvSpPr>
          <p:spPr bwMode="auto">
            <a:xfrm>
              <a:off x="5715769" y="5021555"/>
              <a:ext cx="1127608" cy="45649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defRPr sz="1400">
                  <a:solidFill>
                    <a:srgbClr val="F1838B"/>
                  </a:solidFill>
                  <a:latin typeface="Arial" charset="0"/>
                  <a:ea typeface="ヒラギノ角ゴ Pro W3" charset="0"/>
                  <a:cs typeface="ヒラギノ角ゴ Pro W3" charset="0"/>
                </a:defRPr>
              </a:lvl1pPr>
              <a:lvl2pPr marL="742950" indent="-285750">
                <a:defRPr sz="1400">
                  <a:solidFill>
                    <a:srgbClr val="F1838B"/>
                  </a:solidFill>
                  <a:latin typeface="Arial" charset="0"/>
                  <a:ea typeface="ヒラギノ角ゴ Pro W3" charset="0"/>
                </a:defRPr>
              </a:lvl2pPr>
              <a:lvl3pPr marL="1143000" indent="-228600">
                <a:defRPr sz="1400">
                  <a:solidFill>
                    <a:srgbClr val="F1838B"/>
                  </a:solidFill>
                  <a:latin typeface="Arial" charset="0"/>
                  <a:ea typeface="ヒラギノ角ゴ Pro W3" charset="0"/>
                </a:defRPr>
              </a:lvl3pPr>
              <a:lvl4pPr marL="1600200" indent="-228600">
                <a:defRPr sz="1400">
                  <a:solidFill>
                    <a:srgbClr val="F1838B"/>
                  </a:solidFill>
                  <a:latin typeface="Arial" charset="0"/>
                  <a:ea typeface="ヒラギノ角ゴ Pro W3" charset="0"/>
                </a:defRPr>
              </a:lvl4pPr>
              <a:lvl5pPr marL="2057400" indent="-228600">
                <a:defRPr sz="1400">
                  <a:solidFill>
                    <a:srgbClr val="F1838B"/>
                  </a:solidFill>
                  <a:latin typeface="Arial" charset="0"/>
                  <a:ea typeface="ヒラギノ角ゴ Pro W3" charset="0"/>
                </a:defRPr>
              </a:lvl5pPr>
              <a:lvl6pPr marL="25146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6pPr>
              <a:lvl7pPr marL="29718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7pPr>
              <a:lvl8pPr marL="34290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8pPr>
              <a:lvl9pPr marL="38862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9pPr>
            </a:lstStyle>
            <a:p>
              <a:pPr algn="ctr" eaLnBrk="1" hangingPunct="1">
                <a:lnSpc>
                  <a:spcPct val="100000"/>
                </a:lnSpc>
                <a:spcBef>
                  <a:spcPct val="0"/>
                </a:spcBef>
              </a:pPr>
              <a:r>
                <a:rPr lang="en-GB" altLang="zh-CN" sz="1200" b="1" dirty="0" smtClean="0">
                  <a:solidFill>
                    <a:schemeClr val="tx1"/>
                  </a:solidFill>
                  <a:latin typeface="Arial"/>
                  <a:ea typeface="SimSun" charset="0"/>
                  <a:cs typeface="Arial"/>
                </a:rPr>
                <a:t>BRAZIL</a:t>
              </a:r>
              <a:endParaRPr lang="en-GB" sz="1200" b="1" dirty="0">
                <a:solidFill>
                  <a:schemeClr val="tx1"/>
                </a:solidFill>
                <a:latin typeface="Arial"/>
                <a:ea typeface="SimSun" charset="0"/>
                <a:cs typeface="Arial"/>
              </a:endParaRPr>
            </a:p>
          </p:txBody>
        </p:sp>
        <p:sp>
          <p:nvSpPr>
            <p:cNvPr id="75" name="AutoShape 30"/>
            <p:cNvSpPr>
              <a:spLocks noChangeArrowheads="1"/>
            </p:cNvSpPr>
            <p:nvPr/>
          </p:nvSpPr>
          <p:spPr bwMode="auto">
            <a:xfrm>
              <a:off x="6778866" y="3709071"/>
              <a:ext cx="824656" cy="342900"/>
            </a:xfrm>
            <a:prstGeom prst="roundRect">
              <a:avLst>
                <a:gd name="adj" fmla="val 16667"/>
              </a:avLst>
            </a:prstGeom>
            <a:solidFill>
              <a:schemeClr val="tx1">
                <a:lumMod val="75000"/>
                <a:lumOff val="25000"/>
              </a:schemeClr>
            </a:solidFill>
            <a:ln>
              <a:headEnd/>
              <a:tailEnd/>
            </a:ln>
            <a:extLst/>
          </p:spPr>
          <p:style>
            <a:lnRef idx="2">
              <a:schemeClr val="dk1"/>
            </a:lnRef>
            <a:fillRef idx="1">
              <a:schemeClr val="lt1"/>
            </a:fillRef>
            <a:effectRef idx="0">
              <a:schemeClr val="dk1"/>
            </a:effectRef>
            <a:fontRef idx="minor">
              <a:schemeClr val="dk1"/>
            </a:fontRef>
          </p:style>
          <p:txBody>
            <a:bodyPr anchor="ctr"/>
            <a:lstStyle/>
            <a:p>
              <a:pPr eaLnBrk="1" hangingPunct="1">
                <a:lnSpc>
                  <a:spcPct val="100000"/>
                </a:lnSpc>
                <a:spcBef>
                  <a:spcPct val="0"/>
                </a:spcBef>
              </a:pPr>
              <a:endParaRPr lang="en-US" sz="1000" b="1">
                <a:latin typeface="Arial"/>
                <a:cs typeface="Arial"/>
              </a:endParaRPr>
            </a:p>
          </p:txBody>
        </p:sp>
        <p:sp>
          <p:nvSpPr>
            <p:cNvPr id="76" name="TextBox 75"/>
            <p:cNvSpPr txBox="1"/>
            <p:nvPr/>
          </p:nvSpPr>
          <p:spPr>
            <a:xfrm>
              <a:off x="6778866" y="3751882"/>
              <a:ext cx="824656" cy="276999"/>
            </a:xfrm>
            <a:prstGeom prst="rect">
              <a:avLst/>
            </a:prstGeom>
            <a:noFill/>
          </p:spPr>
          <p:txBody>
            <a:bodyPr wrap="square" rtlCol="0">
              <a:spAutoFit/>
            </a:bodyPr>
            <a:lstStyle/>
            <a:p>
              <a:pPr algn="ctr"/>
              <a:r>
                <a:rPr lang="en-US" sz="1200" b="1" dirty="0" smtClean="0">
                  <a:solidFill>
                    <a:schemeClr val="bg1"/>
                  </a:solidFill>
                  <a:latin typeface="Arial"/>
                  <a:cs typeface="Arial"/>
                </a:rPr>
                <a:t>TST</a:t>
              </a:r>
              <a:endParaRPr lang="en-US" sz="1200" b="1" dirty="0">
                <a:solidFill>
                  <a:schemeClr val="bg1"/>
                </a:solidFill>
                <a:latin typeface="Arial"/>
                <a:cs typeface="Arial"/>
              </a:endParaRPr>
            </a:p>
          </p:txBody>
        </p:sp>
        <p:sp>
          <p:nvSpPr>
            <p:cNvPr id="77" name="Text Box 79"/>
            <p:cNvSpPr txBox="1">
              <a:spLocks noChangeArrowheads="1"/>
            </p:cNvSpPr>
            <p:nvPr/>
          </p:nvSpPr>
          <p:spPr bwMode="auto">
            <a:xfrm>
              <a:off x="6602081" y="3223228"/>
              <a:ext cx="1166812" cy="48247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defRPr sz="1400">
                  <a:solidFill>
                    <a:srgbClr val="F1838B"/>
                  </a:solidFill>
                  <a:latin typeface="Arial" charset="0"/>
                  <a:ea typeface="ヒラギノ角ゴ Pro W3" charset="0"/>
                  <a:cs typeface="ヒラギノ角ゴ Pro W3" charset="0"/>
                </a:defRPr>
              </a:lvl1pPr>
              <a:lvl2pPr marL="742950" indent="-285750">
                <a:defRPr sz="1400">
                  <a:solidFill>
                    <a:srgbClr val="F1838B"/>
                  </a:solidFill>
                  <a:latin typeface="Arial" charset="0"/>
                  <a:ea typeface="ヒラギノ角ゴ Pro W3" charset="0"/>
                </a:defRPr>
              </a:lvl2pPr>
              <a:lvl3pPr marL="1143000" indent="-228600">
                <a:defRPr sz="1400">
                  <a:solidFill>
                    <a:srgbClr val="F1838B"/>
                  </a:solidFill>
                  <a:latin typeface="Arial" charset="0"/>
                  <a:ea typeface="ヒラギノ角ゴ Pro W3" charset="0"/>
                </a:defRPr>
              </a:lvl3pPr>
              <a:lvl4pPr marL="1600200" indent="-228600">
                <a:defRPr sz="1400">
                  <a:solidFill>
                    <a:srgbClr val="F1838B"/>
                  </a:solidFill>
                  <a:latin typeface="Arial" charset="0"/>
                  <a:ea typeface="ヒラギノ角ゴ Pro W3" charset="0"/>
                </a:defRPr>
              </a:lvl4pPr>
              <a:lvl5pPr marL="2057400" indent="-228600">
                <a:defRPr sz="1400">
                  <a:solidFill>
                    <a:srgbClr val="F1838B"/>
                  </a:solidFill>
                  <a:latin typeface="Arial" charset="0"/>
                  <a:ea typeface="ヒラギノ角ゴ Pro W3" charset="0"/>
                </a:defRPr>
              </a:lvl5pPr>
              <a:lvl6pPr marL="25146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6pPr>
              <a:lvl7pPr marL="29718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7pPr>
              <a:lvl8pPr marL="34290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8pPr>
              <a:lvl9pPr marL="38862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9pPr>
            </a:lstStyle>
            <a:p>
              <a:pPr algn="ctr" eaLnBrk="1" hangingPunct="1">
                <a:lnSpc>
                  <a:spcPct val="100000"/>
                </a:lnSpc>
                <a:spcBef>
                  <a:spcPct val="0"/>
                </a:spcBef>
              </a:pPr>
              <a:r>
                <a:rPr lang="en-GB" altLang="zh-CN" sz="1200" b="1" dirty="0" smtClean="0">
                  <a:solidFill>
                    <a:schemeClr val="tx1"/>
                  </a:solidFill>
                  <a:latin typeface="Arial"/>
                  <a:ea typeface="SimSun" charset="0"/>
                  <a:cs typeface="Arial"/>
                </a:rPr>
                <a:t>SOUTH AFRICA</a:t>
              </a:r>
              <a:endParaRPr lang="en-US" sz="1200" b="1" dirty="0">
                <a:solidFill>
                  <a:schemeClr val="tx1"/>
                </a:solidFill>
                <a:latin typeface="Arial"/>
                <a:cs typeface="Arial"/>
              </a:endParaRPr>
            </a:p>
          </p:txBody>
        </p:sp>
        <p:sp>
          <p:nvSpPr>
            <p:cNvPr id="79" name="AutoShape 30"/>
            <p:cNvSpPr>
              <a:spLocks noChangeArrowheads="1"/>
            </p:cNvSpPr>
            <p:nvPr/>
          </p:nvSpPr>
          <p:spPr bwMode="auto">
            <a:xfrm>
              <a:off x="2797251" y="3278434"/>
              <a:ext cx="916661" cy="342900"/>
            </a:xfrm>
            <a:prstGeom prst="roundRect">
              <a:avLst>
                <a:gd name="adj" fmla="val 16667"/>
              </a:avLst>
            </a:prstGeom>
            <a:solidFill>
              <a:srgbClr val="D99694"/>
            </a:solidFill>
            <a:ln w="19050">
              <a:solidFill>
                <a:schemeClr val="tx1"/>
              </a:solidFill>
              <a:round/>
              <a:headEnd/>
              <a:tailEnd/>
            </a:ln>
          </p:spPr>
          <p:txBody>
            <a:bodyPr anchor="ctr"/>
            <a:lstStyle/>
            <a:p>
              <a:pPr eaLnBrk="1" hangingPunct="1">
                <a:lnSpc>
                  <a:spcPct val="100000"/>
                </a:lnSpc>
                <a:spcBef>
                  <a:spcPct val="0"/>
                </a:spcBef>
              </a:pPr>
              <a:endParaRPr lang="en-US" sz="1000" b="1">
                <a:latin typeface="Arial"/>
                <a:cs typeface="Arial"/>
              </a:endParaRPr>
            </a:p>
          </p:txBody>
        </p:sp>
        <p:sp>
          <p:nvSpPr>
            <p:cNvPr id="80" name="Rectangle 31"/>
            <p:cNvSpPr>
              <a:spLocks noChangeArrowheads="1"/>
            </p:cNvSpPr>
            <p:nvPr/>
          </p:nvSpPr>
          <p:spPr bwMode="auto">
            <a:xfrm>
              <a:off x="2765138" y="3226839"/>
              <a:ext cx="982513" cy="4302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Shortness of breath</a:t>
              </a:r>
              <a:endParaRPr lang="en-US" sz="1100" b="1" dirty="0">
                <a:latin typeface="Arial"/>
                <a:cs typeface="Arial"/>
              </a:endParaRPr>
            </a:p>
          </p:txBody>
        </p:sp>
        <p:sp>
          <p:nvSpPr>
            <p:cNvPr id="81" name="Text Box 79"/>
            <p:cNvSpPr txBox="1">
              <a:spLocks noChangeArrowheads="1"/>
            </p:cNvSpPr>
            <p:nvPr/>
          </p:nvSpPr>
          <p:spPr bwMode="auto">
            <a:xfrm>
              <a:off x="1640887" y="2963706"/>
              <a:ext cx="1166812" cy="69390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defRPr sz="1400">
                  <a:solidFill>
                    <a:srgbClr val="F1838B"/>
                  </a:solidFill>
                  <a:latin typeface="Arial" charset="0"/>
                  <a:ea typeface="ヒラギノ角ゴ Pro W3" charset="0"/>
                  <a:cs typeface="ヒラギノ角ゴ Pro W3" charset="0"/>
                </a:defRPr>
              </a:lvl1pPr>
              <a:lvl2pPr marL="742950" indent="-285750">
                <a:defRPr sz="1400">
                  <a:solidFill>
                    <a:srgbClr val="F1838B"/>
                  </a:solidFill>
                  <a:latin typeface="Arial" charset="0"/>
                  <a:ea typeface="ヒラギノ角ゴ Pro W3" charset="0"/>
                </a:defRPr>
              </a:lvl2pPr>
              <a:lvl3pPr marL="1143000" indent="-228600">
                <a:defRPr sz="1400">
                  <a:solidFill>
                    <a:srgbClr val="F1838B"/>
                  </a:solidFill>
                  <a:latin typeface="Arial" charset="0"/>
                  <a:ea typeface="ヒラギノ角ゴ Pro W3" charset="0"/>
                </a:defRPr>
              </a:lvl3pPr>
              <a:lvl4pPr marL="1600200" indent="-228600">
                <a:defRPr sz="1400">
                  <a:solidFill>
                    <a:srgbClr val="F1838B"/>
                  </a:solidFill>
                  <a:latin typeface="Arial" charset="0"/>
                  <a:ea typeface="ヒラギノ角ゴ Pro W3" charset="0"/>
                </a:defRPr>
              </a:lvl4pPr>
              <a:lvl5pPr marL="2057400" indent="-228600">
                <a:defRPr sz="1400">
                  <a:solidFill>
                    <a:srgbClr val="F1838B"/>
                  </a:solidFill>
                  <a:latin typeface="Arial" charset="0"/>
                  <a:ea typeface="ヒラギノ角ゴ Pro W3" charset="0"/>
                </a:defRPr>
              </a:lvl5pPr>
              <a:lvl6pPr marL="25146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6pPr>
              <a:lvl7pPr marL="29718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7pPr>
              <a:lvl8pPr marL="34290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8pPr>
              <a:lvl9pPr marL="38862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9pPr>
            </a:lstStyle>
            <a:p>
              <a:pPr algn="ctr" eaLnBrk="1" hangingPunct="1">
                <a:lnSpc>
                  <a:spcPct val="100000"/>
                </a:lnSpc>
                <a:spcBef>
                  <a:spcPct val="0"/>
                </a:spcBef>
              </a:pPr>
              <a:r>
                <a:rPr lang="en-GB" altLang="zh-CN" sz="1200" b="1" dirty="0">
                  <a:solidFill>
                    <a:schemeClr val="tx1"/>
                  </a:solidFill>
                  <a:latin typeface="Arial"/>
                  <a:ea typeface="SimSun" charset="0"/>
                  <a:cs typeface="Arial"/>
                </a:rPr>
                <a:t> </a:t>
              </a:r>
              <a:endParaRPr lang="en-GB" altLang="zh-CN" sz="1200" b="1" dirty="0" smtClean="0">
                <a:solidFill>
                  <a:schemeClr val="tx1"/>
                </a:solidFill>
                <a:latin typeface="Arial"/>
                <a:ea typeface="SimSun" charset="0"/>
                <a:cs typeface="Arial"/>
              </a:endParaRPr>
            </a:p>
            <a:p>
              <a:pPr algn="ctr" eaLnBrk="1" hangingPunct="1">
                <a:lnSpc>
                  <a:spcPct val="100000"/>
                </a:lnSpc>
                <a:spcBef>
                  <a:spcPct val="0"/>
                </a:spcBef>
              </a:pPr>
              <a:r>
                <a:rPr lang="en-GB" sz="1200" b="1" dirty="0" smtClean="0">
                  <a:solidFill>
                    <a:schemeClr val="tx1"/>
                  </a:solidFill>
                  <a:latin typeface="Arial"/>
                  <a:ea typeface="SimSun" charset="0"/>
                  <a:cs typeface="Arial"/>
                </a:rPr>
                <a:t>NIGERIA</a:t>
              </a:r>
            </a:p>
            <a:p>
              <a:pPr algn="ctr" eaLnBrk="1" hangingPunct="1">
                <a:lnSpc>
                  <a:spcPct val="100000"/>
                </a:lnSpc>
                <a:spcBef>
                  <a:spcPct val="0"/>
                </a:spcBef>
              </a:pPr>
              <a:r>
                <a:rPr lang="en-GB" sz="1200" b="1" dirty="0" smtClean="0">
                  <a:solidFill>
                    <a:schemeClr val="tx1"/>
                  </a:solidFill>
                  <a:latin typeface="Arial"/>
                  <a:ea typeface="SimSun" charset="0"/>
                  <a:cs typeface="Arial"/>
                </a:rPr>
                <a:t>THAILAND</a:t>
              </a:r>
              <a:endParaRPr lang="en-US" sz="1200" b="1" dirty="0">
                <a:solidFill>
                  <a:schemeClr val="tx1"/>
                </a:solidFill>
                <a:latin typeface="Arial"/>
                <a:cs typeface="Arial"/>
              </a:endParaRPr>
            </a:p>
          </p:txBody>
        </p:sp>
        <p:sp>
          <p:nvSpPr>
            <p:cNvPr id="82" name="AutoShape 30"/>
            <p:cNvSpPr>
              <a:spLocks noChangeArrowheads="1"/>
            </p:cNvSpPr>
            <p:nvPr/>
          </p:nvSpPr>
          <p:spPr bwMode="auto">
            <a:xfrm>
              <a:off x="7823452" y="3243885"/>
              <a:ext cx="757961" cy="342900"/>
            </a:xfrm>
            <a:prstGeom prst="roundRect">
              <a:avLst>
                <a:gd name="adj" fmla="val 16667"/>
              </a:avLst>
            </a:prstGeom>
            <a:solidFill>
              <a:srgbClr val="404040"/>
            </a:solidFill>
            <a:ln>
              <a:headEnd/>
              <a:tailEnd/>
            </a:ln>
            <a:extLst/>
          </p:spPr>
          <p:style>
            <a:lnRef idx="2">
              <a:schemeClr val="dk1"/>
            </a:lnRef>
            <a:fillRef idx="1">
              <a:schemeClr val="lt1"/>
            </a:fillRef>
            <a:effectRef idx="0">
              <a:schemeClr val="dk1"/>
            </a:effectRef>
            <a:fontRef idx="minor">
              <a:schemeClr val="dk1"/>
            </a:fontRef>
          </p:style>
          <p:txBody>
            <a:bodyPr anchor="ctr"/>
            <a:lstStyle/>
            <a:p>
              <a:pPr eaLnBrk="1" hangingPunct="1">
                <a:lnSpc>
                  <a:spcPct val="100000"/>
                </a:lnSpc>
                <a:spcBef>
                  <a:spcPct val="0"/>
                </a:spcBef>
              </a:pPr>
              <a:endParaRPr lang="en-US" sz="1000" b="1">
                <a:latin typeface="Arial"/>
                <a:cs typeface="Arial"/>
              </a:endParaRPr>
            </a:p>
          </p:txBody>
        </p:sp>
        <p:sp>
          <p:nvSpPr>
            <p:cNvPr id="83" name="TextBox 82"/>
            <p:cNvSpPr txBox="1"/>
            <p:nvPr/>
          </p:nvSpPr>
          <p:spPr>
            <a:xfrm>
              <a:off x="7823452" y="3286696"/>
              <a:ext cx="757961" cy="276999"/>
            </a:xfrm>
            <a:prstGeom prst="rect">
              <a:avLst/>
            </a:prstGeom>
            <a:noFill/>
          </p:spPr>
          <p:txBody>
            <a:bodyPr wrap="square" rtlCol="0">
              <a:spAutoFit/>
            </a:bodyPr>
            <a:lstStyle/>
            <a:p>
              <a:pPr algn="ctr"/>
              <a:r>
                <a:rPr lang="en-US" sz="1200" b="1" dirty="0" smtClean="0">
                  <a:solidFill>
                    <a:srgbClr val="FFFFFF"/>
                  </a:solidFill>
                  <a:latin typeface="Arial"/>
                  <a:cs typeface="Arial"/>
                </a:rPr>
                <a:t>TST</a:t>
              </a:r>
              <a:endParaRPr lang="en-US" sz="1200" b="1" dirty="0">
                <a:solidFill>
                  <a:srgbClr val="FFFFFF"/>
                </a:solidFill>
                <a:latin typeface="Arial"/>
                <a:cs typeface="Arial"/>
              </a:endParaRPr>
            </a:p>
          </p:txBody>
        </p:sp>
        <p:grpSp>
          <p:nvGrpSpPr>
            <p:cNvPr id="87" name="Group 86"/>
            <p:cNvGrpSpPr/>
            <p:nvPr/>
          </p:nvGrpSpPr>
          <p:grpSpPr>
            <a:xfrm>
              <a:off x="4761374" y="4151417"/>
              <a:ext cx="1133812" cy="1663700"/>
              <a:chOff x="400413" y="4457700"/>
              <a:chExt cx="1133812" cy="1663700"/>
            </a:xfrm>
          </p:grpSpPr>
          <p:sp>
            <p:nvSpPr>
              <p:cNvPr id="88" name="AutoShape 30"/>
              <p:cNvSpPr>
                <a:spLocks noChangeArrowheads="1"/>
              </p:cNvSpPr>
              <p:nvPr/>
            </p:nvSpPr>
            <p:spPr bwMode="auto">
              <a:xfrm>
                <a:off x="512039" y="5737225"/>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89" name="Rectangle 18"/>
              <p:cNvSpPr>
                <a:spLocks noChangeArrowheads="1"/>
              </p:cNvSpPr>
              <p:nvPr/>
            </p:nvSpPr>
            <p:spPr bwMode="auto">
              <a:xfrm>
                <a:off x="400413" y="5768975"/>
                <a:ext cx="1121112" cy="3524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200" b="1" dirty="0">
                    <a:latin typeface="Arial"/>
                    <a:ea typeface="SimSun" charset="0"/>
                    <a:cs typeface="Arial"/>
                  </a:rPr>
                  <a:t>Cough</a:t>
                </a:r>
                <a:endParaRPr lang="en-US" sz="1200" b="1" dirty="0">
                  <a:latin typeface="Arial"/>
                  <a:cs typeface="Arial"/>
                </a:endParaRPr>
              </a:p>
            </p:txBody>
          </p:sp>
          <p:sp>
            <p:nvSpPr>
              <p:cNvPr id="90" name="AutoShape 30"/>
              <p:cNvSpPr>
                <a:spLocks noChangeArrowheads="1"/>
              </p:cNvSpPr>
              <p:nvPr/>
            </p:nvSpPr>
            <p:spPr bwMode="auto">
              <a:xfrm>
                <a:off x="512039" y="53213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91" name="Rectangle 23"/>
              <p:cNvSpPr>
                <a:spLocks noChangeArrowheads="1"/>
              </p:cNvSpPr>
              <p:nvPr/>
            </p:nvSpPr>
            <p:spPr bwMode="auto">
              <a:xfrm>
                <a:off x="400413" y="5351463"/>
                <a:ext cx="1067190" cy="214312"/>
              </a:xfrm>
              <a:prstGeom prst="rect">
                <a:avLst/>
              </a:prstGeom>
              <a:noFill/>
              <a:ln w="31750">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200" b="1" dirty="0">
                    <a:latin typeface="Arial"/>
                    <a:ea typeface="SimSun" charset="0"/>
                    <a:cs typeface="Arial"/>
                  </a:rPr>
                  <a:t>Fever</a:t>
                </a:r>
                <a:endParaRPr lang="en-US" sz="1200" b="1" dirty="0">
                  <a:latin typeface="Arial"/>
                  <a:cs typeface="Arial"/>
                </a:endParaRPr>
              </a:p>
            </p:txBody>
          </p:sp>
          <p:sp>
            <p:nvSpPr>
              <p:cNvPr id="92" name="AutoShape 30"/>
              <p:cNvSpPr>
                <a:spLocks noChangeArrowheads="1"/>
              </p:cNvSpPr>
              <p:nvPr/>
            </p:nvSpPr>
            <p:spPr bwMode="auto">
              <a:xfrm>
                <a:off x="512039" y="48895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93" name="Rectangle 49"/>
              <p:cNvSpPr>
                <a:spLocks noChangeArrowheads="1"/>
              </p:cNvSpPr>
              <p:nvPr/>
            </p:nvSpPr>
            <p:spPr bwMode="auto">
              <a:xfrm>
                <a:off x="406400" y="4910138"/>
                <a:ext cx="1121112" cy="3587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Weight loss</a:t>
                </a:r>
                <a:endParaRPr lang="en-US" sz="1100" b="1" dirty="0">
                  <a:latin typeface="Arial"/>
                  <a:cs typeface="Arial"/>
                </a:endParaRPr>
              </a:p>
            </p:txBody>
          </p:sp>
          <p:sp>
            <p:nvSpPr>
              <p:cNvPr id="94" name="AutoShape 30"/>
              <p:cNvSpPr>
                <a:spLocks noChangeArrowheads="1"/>
              </p:cNvSpPr>
              <p:nvPr/>
            </p:nvSpPr>
            <p:spPr bwMode="auto">
              <a:xfrm>
                <a:off x="509612" y="4457700"/>
                <a:ext cx="916661" cy="342900"/>
              </a:xfrm>
              <a:prstGeom prst="roundRect">
                <a:avLst>
                  <a:gd name="adj" fmla="val 16667"/>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chor="ctr"/>
              <a:lstStyle/>
              <a:p>
                <a:pPr eaLnBrk="1" hangingPunct="1">
                  <a:lnSpc>
                    <a:spcPct val="100000"/>
                  </a:lnSpc>
                  <a:spcBef>
                    <a:spcPct val="0"/>
                  </a:spcBef>
                </a:pPr>
                <a:endParaRPr lang="en-US" sz="1000" b="1">
                  <a:latin typeface="Arial"/>
                  <a:cs typeface="Arial"/>
                </a:endParaRPr>
              </a:p>
            </p:txBody>
          </p:sp>
          <p:sp>
            <p:nvSpPr>
              <p:cNvPr id="95" name="Rectangle 22"/>
              <p:cNvSpPr>
                <a:spLocks noChangeArrowheads="1"/>
              </p:cNvSpPr>
              <p:nvPr/>
            </p:nvSpPr>
            <p:spPr bwMode="auto">
              <a:xfrm>
                <a:off x="413113" y="4478338"/>
                <a:ext cx="1121112" cy="3603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Night sweats</a:t>
                </a:r>
                <a:endParaRPr lang="en-US" sz="1100" b="1" dirty="0">
                  <a:latin typeface="Arial"/>
                  <a:cs typeface="Arial"/>
                </a:endParaRPr>
              </a:p>
            </p:txBody>
          </p:sp>
        </p:grpSp>
        <p:sp>
          <p:nvSpPr>
            <p:cNvPr id="96" name="Text Box 80"/>
            <p:cNvSpPr txBox="1">
              <a:spLocks noChangeArrowheads="1"/>
            </p:cNvSpPr>
            <p:nvPr/>
          </p:nvSpPr>
          <p:spPr bwMode="auto">
            <a:xfrm>
              <a:off x="4659380" y="893813"/>
              <a:ext cx="1363852" cy="30867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lvl1pPr>
                <a:defRPr sz="1400">
                  <a:solidFill>
                    <a:srgbClr val="F1838B"/>
                  </a:solidFill>
                  <a:latin typeface="Arial" charset="0"/>
                  <a:ea typeface="ヒラギノ角ゴ Pro W3" charset="0"/>
                  <a:cs typeface="ヒラギノ角ゴ Pro W3" charset="0"/>
                </a:defRPr>
              </a:lvl1pPr>
              <a:lvl2pPr marL="742950" indent="-285750">
                <a:defRPr sz="1400">
                  <a:solidFill>
                    <a:srgbClr val="F1838B"/>
                  </a:solidFill>
                  <a:latin typeface="Arial" charset="0"/>
                  <a:ea typeface="ヒラギノ角ゴ Pro W3" charset="0"/>
                </a:defRPr>
              </a:lvl2pPr>
              <a:lvl3pPr marL="1143000" indent="-228600">
                <a:defRPr sz="1400">
                  <a:solidFill>
                    <a:srgbClr val="F1838B"/>
                  </a:solidFill>
                  <a:latin typeface="Arial" charset="0"/>
                  <a:ea typeface="ヒラギノ角ゴ Pro W3" charset="0"/>
                </a:defRPr>
              </a:lvl3pPr>
              <a:lvl4pPr marL="1600200" indent="-228600">
                <a:defRPr sz="1400">
                  <a:solidFill>
                    <a:srgbClr val="F1838B"/>
                  </a:solidFill>
                  <a:latin typeface="Arial" charset="0"/>
                  <a:ea typeface="ヒラギノ角ゴ Pro W3" charset="0"/>
                </a:defRPr>
              </a:lvl4pPr>
              <a:lvl5pPr marL="2057400" indent="-228600">
                <a:defRPr sz="1400">
                  <a:solidFill>
                    <a:srgbClr val="F1838B"/>
                  </a:solidFill>
                  <a:latin typeface="Arial" charset="0"/>
                  <a:ea typeface="ヒラギノ角ゴ Pro W3" charset="0"/>
                </a:defRPr>
              </a:lvl5pPr>
              <a:lvl6pPr marL="25146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6pPr>
              <a:lvl7pPr marL="29718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7pPr>
              <a:lvl8pPr marL="34290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8pPr>
              <a:lvl9pPr marL="3886200" indent="-228600" algn="ctr" eaLnBrk="0" fontAlgn="base" hangingPunct="0">
                <a:lnSpc>
                  <a:spcPct val="90000"/>
                </a:lnSpc>
                <a:spcBef>
                  <a:spcPct val="20000"/>
                </a:spcBef>
                <a:spcAft>
                  <a:spcPct val="0"/>
                </a:spcAft>
                <a:defRPr sz="1400">
                  <a:solidFill>
                    <a:srgbClr val="F1838B"/>
                  </a:solidFill>
                  <a:latin typeface="Arial" charset="0"/>
                  <a:ea typeface="ヒラギノ角ゴ Pro W3" charset="0"/>
                </a:defRPr>
              </a:lvl9pPr>
            </a:lstStyle>
            <a:p>
              <a:pPr algn="ctr" eaLnBrk="1" hangingPunct="1">
                <a:lnSpc>
                  <a:spcPct val="100000"/>
                </a:lnSpc>
                <a:spcBef>
                  <a:spcPct val="0"/>
                </a:spcBef>
              </a:pPr>
              <a:r>
                <a:rPr lang="en-GB" altLang="zh-CN" sz="1200" b="1" dirty="0" smtClean="0">
                  <a:solidFill>
                    <a:schemeClr val="tx1"/>
                  </a:solidFill>
                  <a:latin typeface="Arial"/>
                  <a:ea typeface="SimSun" charset="0"/>
                  <a:cs typeface="Arial"/>
                </a:rPr>
                <a:t>NAMIBIA</a:t>
              </a:r>
              <a:endParaRPr lang="en-US" sz="1200" b="1" dirty="0">
                <a:solidFill>
                  <a:schemeClr val="tx1"/>
                </a:solidFill>
                <a:latin typeface="Arial"/>
                <a:cs typeface="Arial"/>
              </a:endParaRPr>
            </a:p>
          </p:txBody>
        </p:sp>
        <p:sp>
          <p:nvSpPr>
            <p:cNvPr id="97" name="AutoShape 30"/>
            <p:cNvSpPr>
              <a:spLocks noChangeArrowheads="1"/>
            </p:cNvSpPr>
            <p:nvPr/>
          </p:nvSpPr>
          <p:spPr bwMode="auto">
            <a:xfrm>
              <a:off x="4894712" y="3704349"/>
              <a:ext cx="916661" cy="342900"/>
            </a:xfrm>
            <a:prstGeom prst="roundRect">
              <a:avLst>
                <a:gd name="adj" fmla="val 16667"/>
              </a:avLst>
            </a:prstGeom>
            <a:solidFill>
              <a:srgbClr val="D99694"/>
            </a:solidFill>
            <a:ln w="19050">
              <a:solidFill>
                <a:schemeClr val="tx1"/>
              </a:solidFill>
              <a:round/>
              <a:headEnd/>
              <a:tailEnd/>
            </a:ln>
          </p:spPr>
          <p:txBody>
            <a:bodyPr anchor="ctr"/>
            <a:lstStyle/>
            <a:p>
              <a:pPr eaLnBrk="1" hangingPunct="1">
                <a:lnSpc>
                  <a:spcPct val="100000"/>
                </a:lnSpc>
                <a:spcBef>
                  <a:spcPct val="0"/>
                </a:spcBef>
              </a:pPr>
              <a:endParaRPr lang="en-US" sz="1000" b="1">
                <a:latin typeface="Arial"/>
                <a:cs typeface="Arial"/>
              </a:endParaRPr>
            </a:p>
          </p:txBody>
        </p:sp>
        <p:sp>
          <p:nvSpPr>
            <p:cNvPr id="98" name="Rectangle 69"/>
            <p:cNvSpPr>
              <a:spLocks noChangeArrowheads="1"/>
            </p:cNvSpPr>
            <p:nvPr/>
          </p:nvSpPr>
          <p:spPr bwMode="auto">
            <a:xfrm>
              <a:off x="4885229" y="3657518"/>
              <a:ext cx="915871" cy="34059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a:spcBef>
                  <a:spcPct val="0"/>
                </a:spcBef>
              </a:pPr>
              <a:r>
                <a:rPr lang="en-GB" altLang="zh-CN" sz="1100" b="1" dirty="0">
                  <a:latin typeface="Arial"/>
                  <a:ea typeface="SimSun" charset="0"/>
                  <a:cs typeface="Arial"/>
                </a:rPr>
                <a:t>Enlarged nodes</a:t>
              </a:r>
              <a:endParaRPr lang="en-US" sz="1100" b="1" dirty="0">
                <a:latin typeface="Arial"/>
                <a:cs typeface="Arial"/>
              </a:endParaRPr>
            </a:p>
          </p:txBody>
        </p:sp>
        <p:sp>
          <p:nvSpPr>
            <p:cNvPr id="99" name="AutoShape 30"/>
            <p:cNvSpPr>
              <a:spLocks noChangeArrowheads="1"/>
            </p:cNvSpPr>
            <p:nvPr/>
          </p:nvSpPr>
          <p:spPr bwMode="auto">
            <a:xfrm>
              <a:off x="4879092" y="3273344"/>
              <a:ext cx="916661" cy="342900"/>
            </a:xfrm>
            <a:prstGeom prst="roundRect">
              <a:avLst>
                <a:gd name="adj" fmla="val 16667"/>
              </a:avLst>
            </a:prstGeom>
            <a:solidFill>
              <a:srgbClr val="D99694"/>
            </a:solidFill>
            <a:ln w="19050">
              <a:solidFill>
                <a:schemeClr val="tx1"/>
              </a:solidFill>
              <a:round/>
              <a:headEnd/>
              <a:tailEnd/>
            </a:ln>
          </p:spPr>
          <p:txBody>
            <a:bodyPr anchor="ctr"/>
            <a:lstStyle/>
            <a:p>
              <a:pPr eaLnBrk="1" hangingPunct="1">
                <a:lnSpc>
                  <a:spcPct val="100000"/>
                </a:lnSpc>
                <a:spcBef>
                  <a:spcPct val="0"/>
                </a:spcBef>
              </a:pPr>
              <a:endParaRPr lang="en-US" sz="1000" b="1">
                <a:latin typeface="Arial"/>
                <a:cs typeface="Arial"/>
              </a:endParaRPr>
            </a:p>
          </p:txBody>
        </p:sp>
        <p:sp>
          <p:nvSpPr>
            <p:cNvPr id="100" name="Rectangle 31"/>
            <p:cNvSpPr>
              <a:spLocks noChangeArrowheads="1"/>
            </p:cNvSpPr>
            <p:nvPr/>
          </p:nvSpPr>
          <p:spPr bwMode="auto">
            <a:xfrm>
              <a:off x="4846979" y="3221749"/>
              <a:ext cx="982513" cy="4302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Shortness of breath</a:t>
              </a:r>
              <a:endParaRPr lang="en-US" sz="1100" b="1" dirty="0">
                <a:latin typeface="Arial"/>
                <a:cs typeface="Arial"/>
              </a:endParaRPr>
            </a:p>
          </p:txBody>
        </p:sp>
        <p:sp>
          <p:nvSpPr>
            <p:cNvPr id="101" name="AutoShape 30"/>
            <p:cNvSpPr>
              <a:spLocks noChangeArrowheads="1"/>
            </p:cNvSpPr>
            <p:nvPr/>
          </p:nvSpPr>
          <p:spPr bwMode="auto">
            <a:xfrm>
              <a:off x="4876832" y="2831225"/>
              <a:ext cx="916661" cy="342900"/>
            </a:xfrm>
            <a:prstGeom prst="roundRect">
              <a:avLst>
                <a:gd name="adj" fmla="val 16667"/>
              </a:avLst>
            </a:prstGeom>
            <a:solidFill>
              <a:srgbClr val="D99694"/>
            </a:solidFill>
            <a:ln w="19050">
              <a:solidFill>
                <a:schemeClr val="tx1"/>
              </a:solidFill>
              <a:round/>
              <a:headEnd/>
              <a:tailEnd/>
            </a:ln>
          </p:spPr>
          <p:txBody>
            <a:bodyPr anchor="ctr"/>
            <a:lstStyle/>
            <a:p>
              <a:pPr eaLnBrk="1" hangingPunct="1">
                <a:lnSpc>
                  <a:spcPct val="100000"/>
                </a:lnSpc>
                <a:spcBef>
                  <a:spcPct val="0"/>
                </a:spcBef>
              </a:pPr>
              <a:endParaRPr lang="en-US" sz="1000" b="1">
                <a:latin typeface="Arial"/>
                <a:cs typeface="Arial"/>
              </a:endParaRPr>
            </a:p>
          </p:txBody>
        </p:sp>
        <p:sp>
          <p:nvSpPr>
            <p:cNvPr id="102" name="Rectangle 35"/>
            <p:cNvSpPr>
              <a:spLocks noChangeArrowheads="1"/>
            </p:cNvSpPr>
            <p:nvPr/>
          </p:nvSpPr>
          <p:spPr bwMode="auto">
            <a:xfrm>
              <a:off x="4864132" y="2785188"/>
              <a:ext cx="936625" cy="35718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a:latin typeface="Arial"/>
                  <a:ea typeface="SimSun" charset="0"/>
                  <a:cs typeface="Arial"/>
                </a:rPr>
                <a:t>Coughing blood</a:t>
              </a:r>
              <a:endParaRPr lang="en-US" sz="1100" b="1" dirty="0">
                <a:latin typeface="Arial"/>
                <a:cs typeface="Arial"/>
              </a:endParaRPr>
            </a:p>
          </p:txBody>
        </p:sp>
        <p:sp>
          <p:nvSpPr>
            <p:cNvPr id="103" name="AutoShape 30"/>
            <p:cNvSpPr>
              <a:spLocks noChangeArrowheads="1"/>
            </p:cNvSpPr>
            <p:nvPr/>
          </p:nvSpPr>
          <p:spPr bwMode="auto">
            <a:xfrm>
              <a:off x="4877559" y="2414891"/>
              <a:ext cx="916661" cy="342900"/>
            </a:xfrm>
            <a:prstGeom prst="roundRect">
              <a:avLst>
                <a:gd name="adj" fmla="val 16667"/>
              </a:avLst>
            </a:prstGeom>
            <a:solidFill>
              <a:srgbClr val="D99694"/>
            </a:solidFill>
            <a:ln w="19050">
              <a:solidFill>
                <a:schemeClr val="tx1"/>
              </a:solidFill>
              <a:round/>
              <a:headEnd/>
              <a:tailEnd/>
            </a:ln>
          </p:spPr>
          <p:txBody>
            <a:bodyPr anchor="ctr"/>
            <a:lstStyle/>
            <a:p>
              <a:pPr eaLnBrk="1" hangingPunct="1">
                <a:lnSpc>
                  <a:spcPct val="100000"/>
                </a:lnSpc>
                <a:spcBef>
                  <a:spcPct val="0"/>
                </a:spcBef>
              </a:pPr>
              <a:endParaRPr lang="en-US" sz="1000" b="1">
                <a:latin typeface="Arial"/>
                <a:cs typeface="Arial"/>
              </a:endParaRPr>
            </a:p>
          </p:txBody>
        </p:sp>
        <p:sp>
          <p:nvSpPr>
            <p:cNvPr id="104" name="Rectangle 69"/>
            <p:cNvSpPr>
              <a:spLocks noChangeArrowheads="1"/>
            </p:cNvSpPr>
            <p:nvPr/>
          </p:nvSpPr>
          <p:spPr bwMode="auto">
            <a:xfrm>
              <a:off x="4868076" y="2435796"/>
              <a:ext cx="915871" cy="34059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a:spcBef>
                  <a:spcPct val="0"/>
                </a:spcBef>
              </a:pPr>
              <a:r>
                <a:rPr lang="en-GB" altLang="zh-CN" sz="1100" b="1" dirty="0" smtClean="0">
                  <a:latin typeface="Arial"/>
                  <a:ea typeface="SimSun" charset="0"/>
                  <a:cs typeface="Arial"/>
                </a:rPr>
                <a:t>Chest pain</a:t>
              </a:r>
              <a:endParaRPr lang="en-US" sz="1100" b="1" dirty="0">
                <a:latin typeface="Arial"/>
                <a:cs typeface="Arial"/>
              </a:endParaRPr>
            </a:p>
          </p:txBody>
        </p:sp>
        <p:sp>
          <p:nvSpPr>
            <p:cNvPr id="105" name="AutoShape 30"/>
            <p:cNvSpPr>
              <a:spLocks noChangeArrowheads="1"/>
            </p:cNvSpPr>
            <p:nvPr/>
          </p:nvSpPr>
          <p:spPr bwMode="auto">
            <a:xfrm>
              <a:off x="4861939" y="1983886"/>
              <a:ext cx="916661" cy="342900"/>
            </a:xfrm>
            <a:prstGeom prst="roundRect">
              <a:avLst>
                <a:gd name="adj" fmla="val 16667"/>
              </a:avLst>
            </a:prstGeom>
            <a:solidFill>
              <a:srgbClr val="D99694"/>
            </a:solidFill>
            <a:ln w="19050">
              <a:solidFill>
                <a:schemeClr val="tx1"/>
              </a:solidFill>
              <a:round/>
              <a:headEnd/>
              <a:tailEnd/>
            </a:ln>
          </p:spPr>
          <p:txBody>
            <a:bodyPr anchor="ctr"/>
            <a:lstStyle/>
            <a:p>
              <a:pPr eaLnBrk="1" hangingPunct="1">
                <a:lnSpc>
                  <a:spcPct val="100000"/>
                </a:lnSpc>
                <a:spcBef>
                  <a:spcPct val="0"/>
                </a:spcBef>
              </a:pPr>
              <a:endParaRPr lang="en-US" sz="1000" b="1">
                <a:latin typeface="Arial"/>
                <a:cs typeface="Arial"/>
              </a:endParaRPr>
            </a:p>
          </p:txBody>
        </p:sp>
        <p:sp>
          <p:nvSpPr>
            <p:cNvPr id="106" name="Rectangle 31"/>
            <p:cNvSpPr>
              <a:spLocks noChangeArrowheads="1"/>
            </p:cNvSpPr>
            <p:nvPr/>
          </p:nvSpPr>
          <p:spPr bwMode="auto">
            <a:xfrm>
              <a:off x="4829826" y="2000027"/>
              <a:ext cx="982513" cy="4302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smtClean="0">
                  <a:latin typeface="Arial"/>
                  <a:ea typeface="SimSun" charset="0"/>
                  <a:cs typeface="Arial"/>
                </a:rPr>
                <a:t>Fatigue</a:t>
              </a:r>
              <a:endParaRPr lang="en-US" sz="1100" b="1" dirty="0">
                <a:latin typeface="Arial"/>
                <a:cs typeface="Arial"/>
              </a:endParaRPr>
            </a:p>
          </p:txBody>
        </p:sp>
        <p:sp>
          <p:nvSpPr>
            <p:cNvPr id="107" name="AutoShape 30"/>
            <p:cNvSpPr>
              <a:spLocks noChangeArrowheads="1"/>
            </p:cNvSpPr>
            <p:nvPr/>
          </p:nvSpPr>
          <p:spPr bwMode="auto">
            <a:xfrm>
              <a:off x="4863913" y="1571933"/>
              <a:ext cx="916661" cy="342900"/>
            </a:xfrm>
            <a:prstGeom prst="roundRect">
              <a:avLst>
                <a:gd name="adj" fmla="val 16667"/>
              </a:avLst>
            </a:prstGeom>
            <a:solidFill>
              <a:srgbClr val="D99694"/>
            </a:solidFill>
            <a:ln w="19050">
              <a:solidFill>
                <a:schemeClr val="tx1"/>
              </a:solidFill>
              <a:round/>
              <a:headEnd/>
              <a:tailEnd/>
            </a:ln>
          </p:spPr>
          <p:txBody>
            <a:bodyPr anchor="ctr"/>
            <a:lstStyle/>
            <a:p>
              <a:pPr eaLnBrk="1" hangingPunct="1">
                <a:lnSpc>
                  <a:spcPct val="100000"/>
                </a:lnSpc>
                <a:spcBef>
                  <a:spcPct val="0"/>
                </a:spcBef>
              </a:pPr>
              <a:endParaRPr lang="en-US" sz="1000" b="1">
                <a:latin typeface="Arial"/>
                <a:cs typeface="Arial"/>
              </a:endParaRPr>
            </a:p>
          </p:txBody>
        </p:sp>
        <p:sp>
          <p:nvSpPr>
            <p:cNvPr id="108" name="Rectangle 35"/>
            <p:cNvSpPr>
              <a:spLocks noChangeArrowheads="1"/>
            </p:cNvSpPr>
            <p:nvPr/>
          </p:nvSpPr>
          <p:spPr bwMode="auto">
            <a:xfrm>
              <a:off x="4846979" y="1597334"/>
              <a:ext cx="936625" cy="35718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smtClean="0">
                  <a:latin typeface="Arial"/>
                  <a:ea typeface="SimSun" charset="0"/>
                  <a:cs typeface="Arial"/>
                </a:rPr>
                <a:t>Diarrhoea</a:t>
              </a:r>
              <a:endParaRPr lang="en-US" sz="1100" b="1" dirty="0">
                <a:latin typeface="Arial"/>
                <a:cs typeface="Arial"/>
              </a:endParaRPr>
            </a:p>
          </p:txBody>
        </p:sp>
        <p:sp>
          <p:nvSpPr>
            <p:cNvPr id="109" name="AutoShape 30"/>
            <p:cNvSpPr>
              <a:spLocks noChangeArrowheads="1"/>
            </p:cNvSpPr>
            <p:nvPr/>
          </p:nvSpPr>
          <p:spPr bwMode="auto">
            <a:xfrm>
              <a:off x="4869568" y="1170361"/>
              <a:ext cx="916661" cy="342900"/>
            </a:xfrm>
            <a:prstGeom prst="roundRect">
              <a:avLst>
                <a:gd name="adj" fmla="val 16667"/>
              </a:avLst>
            </a:prstGeom>
            <a:solidFill>
              <a:srgbClr val="D99694"/>
            </a:solidFill>
            <a:ln w="19050">
              <a:solidFill>
                <a:schemeClr val="tx1"/>
              </a:solidFill>
              <a:round/>
              <a:headEnd/>
              <a:tailEnd/>
            </a:ln>
          </p:spPr>
          <p:txBody>
            <a:bodyPr anchor="ctr"/>
            <a:lstStyle/>
            <a:p>
              <a:pPr eaLnBrk="1" hangingPunct="1">
                <a:lnSpc>
                  <a:spcPct val="100000"/>
                </a:lnSpc>
                <a:spcBef>
                  <a:spcPct val="0"/>
                </a:spcBef>
              </a:pPr>
              <a:endParaRPr lang="en-US" sz="1000" b="1">
                <a:latin typeface="Arial"/>
                <a:cs typeface="Arial"/>
              </a:endParaRPr>
            </a:p>
          </p:txBody>
        </p:sp>
        <p:sp>
          <p:nvSpPr>
            <p:cNvPr id="110" name="Rectangle 35"/>
            <p:cNvSpPr>
              <a:spLocks noChangeArrowheads="1"/>
            </p:cNvSpPr>
            <p:nvPr/>
          </p:nvSpPr>
          <p:spPr bwMode="auto">
            <a:xfrm>
              <a:off x="4856868" y="1124324"/>
              <a:ext cx="936625" cy="35718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1" hangingPunct="1">
                <a:lnSpc>
                  <a:spcPct val="100000"/>
                </a:lnSpc>
                <a:spcBef>
                  <a:spcPct val="0"/>
                </a:spcBef>
              </a:pPr>
              <a:r>
                <a:rPr lang="en-GB" altLang="zh-CN" sz="1100" b="1" dirty="0" smtClean="0">
                  <a:latin typeface="Arial"/>
                  <a:ea typeface="SimSun" charset="0"/>
                  <a:cs typeface="Arial"/>
                </a:rPr>
                <a:t>Loss of appetite</a:t>
              </a:r>
              <a:endParaRPr lang="en-US" sz="1100" b="1" dirty="0">
                <a:latin typeface="Arial"/>
                <a:cs typeface="Arial"/>
              </a:endParaRPr>
            </a:p>
          </p:txBody>
        </p:sp>
      </p:grpSp>
    </p:spTree>
    <p:extLst>
      <p:ext uri="{BB962C8B-B14F-4D97-AF65-F5344CB8AC3E}">
        <p14:creationId xmlns:p14="http://schemas.microsoft.com/office/powerpoint/2010/main" val="650498400"/>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62119027"/>
              </p:ext>
            </p:extLst>
          </p:nvPr>
        </p:nvGraphicFramePr>
        <p:xfrm>
          <a:off x="287863" y="6157"/>
          <a:ext cx="8534400" cy="6874933"/>
        </p:xfrm>
        <a:graphic>
          <a:graphicData uri="http://schemas.openxmlformats.org/drawingml/2006/table">
            <a:tbl>
              <a:tblPr firstRow="1" bandRow="1">
                <a:tableStyleId>{D7AC3CCA-C797-4891-BE02-D94E43425B78}</a:tableStyleId>
              </a:tblPr>
              <a:tblGrid>
                <a:gridCol w="1195825"/>
                <a:gridCol w="4476846"/>
                <a:gridCol w="1591733"/>
                <a:gridCol w="1269996"/>
              </a:tblGrid>
              <a:tr h="179494">
                <a:tc>
                  <a:txBody>
                    <a:bodyPr/>
                    <a:lstStyle/>
                    <a:p>
                      <a:pPr algn="ctr"/>
                      <a:r>
                        <a:rPr lang="en-US" sz="1100" b="1" dirty="0" smtClean="0">
                          <a:solidFill>
                            <a:srgbClr val="FFFFFF"/>
                          </a:solidFill>
                        </a:rPr>
                        <a:t>COUNTRY</a:t>
                      </a:r>
                      <a:endParaRPr lang="en-US" sz="1100" b="1"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solidFill>
                      <a:schemeClr val="accent2"/>
                    </a:solidFill>
                  </a:tcPr>
                </a:tc>
                <a:tc>
                  <a:txBody>
                    <a:bodyPr/>
                    <a:lstStyle/>
                    <a:p>
                      <a:pPr algn="ctr"/>
                      <a:r>
                        <a:rPr lang="en-US" sz="1100" b="1" dirty="0" smtClean="0">
                          <a:solidFill>
                            <a:srgbClr val="FFFFFF"/>
                          </a:solidFill>
                        </a:rPr>
                        <a:t>IPT RECOMMENDATION</a:t>
                      </a:r>
                      <a:endParaRPr lang="en-US" sz="1100" b="1"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solidFill>
                      <a:schemeClr val="accent2"/>
                    </a:solidFill>
                  </a:tcPr>
                </a:tc>
                <a:tc>
                  <a:txBody>
                    <a:bodyPr/>
                    <a:lstStyle/>
                    <a:p>
                      <a:pPr algn="ctr"/>
                      <a:r>
                        <a:rPr lang="en-US" sz="1100" b="1" dirty="0" smtClean="0">
                          <a:solidFill>
                            <a:srgbClr val="FFFFFF"/>
                          </a:solidFill>
                        </a:rPr>
                        <a:t>DURATION</a:t>
                      </a:r>
                      <a:endParaRPr lang="en-US" sz="1100" b="1"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solidFill>
                      <a:schemeClr val="accent2"/>
                    </a:solidFill>
                  </a:tcPr>
                </a:tc>
                <a:tc>
                  <a:txBody>
                    <a:bodyPr/>
                    <a:lstStyle/>
                    <a:p>
                      <a:pPr algn="ctr"/>
                      <a:r>
                        <a:rPr lang="en-US" sz="1100" b="1" dirty="0" smtClean="0">
                          <a:solidFill>
                            <a:srgbClr val="FFFFFF"/>
                          </a:solidFill>
                        </a:rPr>
                        <a:t>PLHIV on IPT</a:t>
                      </a:r>
                      <a:endParaRPr lang="en-US" sz="1100" b="1"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solidFill>
                      <a:schemeClr val="accent2"/>
                    </a:solidFill>
                  </a:tcPr>
                </a:tc>
              </a:tr>
              <a:tr h="179494">
                <a:tc>
                  <a:txBody>
                    <a:bodyPr/>
                    <a:lstStyle/>
                    <a:p>
                      <a:r>
                        <a:rPr lang="en-US" sz="1100" b="0" dirty="0" smtClean="0">
                          <a:solidFill>
                            <a:srgbClr val="FFFFFF"/>
                          </a:solidFill>
                        </a:rPr>
                        <a:t>Botswana</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Not recommended for</a:t>
                      </a:r>
                      <a:r>
                        <a:rPr lang="en-US" sz="1100" b="0" baseline="0" dirty="0" smtClean="0">
                          <a:solidFill>
                            <a:srgbClr val="FFFFFF"/>
                          </a:solidFill>
                        </a:rPr>
                        <a:t> </a:t>
                      </a:r>
                      <a:r>
                        <a:rPr lang="en-US" sz="1100" b="0" dirty="0" smtClean="0">
                          <a:solidFill>
                            <a:srgbClr val="FFFFFF"/>
                          </a:solidFill>
                        </a:rPr>
                        <a:t>PLHIV &gt; 12 years</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179494">
                <a:tc>
                  <a:txBody>
                    <a:bodyPr/>
                    <a:lstStyle/>
                    <a:p>
                      <a:r>
                        <a:rPr lang="en-US" sz="1100" b="0" dirty="0" smtClean="0">
                          <a:solidFill>
                            <a:srgbClr val="FFFFFF"/>
                          </a:solidFill>
                        </a:rPr>
                        <a:t>Brazil</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Recommended (TST) -</a:t>
                      </a:r>
                      <a:r>
                        <a:rPr lang="en-US" sz="1100" b="0" baseline="0" dirty="0" smtClean="0">
                          <a:solidFill>
                            <a:srgbClr val="FFFFFF"/>
                          </a:solidFill>
                        </a:rPr>
                        <a:t> </a:t>
                      </a:r>
                      <a:r>
                        <a:rPr lang="en-US" sz="1100" b="0" dirty="0" smtClean="0">
                          <a:solidFill>
                            <a:srgbClr val="FFFFFF"/>
                          </a:solidFill>
                        </a:rPr>
                        <a:t>availability unknown</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6 months</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endParaRPr lang="en-US" sz="1100" b="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247227">
                <a:tc>
                  <a:txBody>
                    <a:bodyPr/>
                    <a:lstStyle/>
                    <a:p>
                      <a:r>
                        <a:rPr lang="en-US" sz="1100" b="0" dirty="0" smtClean="0">
                          <a:solidFill>
                            <a:srgbClr val="FFFFFF"/>
                          </a:solidFill>
                        </a:rPr>
                        <a:t>Cameroon</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Recommended with limited availability</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6 months</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endParaRPr lang="en-US" sz="1100" b="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0">
                <a:tc>
                  <a:txBody>
                    <a:bodyPr/>
                    <a:lstStyle/>
                    <a:p>
                      <a:r>
                        <a:rPr lang="en-US" sz="1100" b="0" dirty="0" smtClean="0">
                          <a:solidFill>
                            <a:srgbClr val="FFFFFF"/>
                          </a:solidFill>
                        </a:rPr>
                        <a:t>China</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Recommended with limited availability (algorithm unknown)</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3%</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247227">
                <a:tc>
                  <a:txBody>
                    <a:bodyPr/>
                    <a:lstStyle/>
                    <a:p>
                      <a:r>
                        <a:rPr lang="en-US" sz="1100" b="0" dirty="0" smtClean="0">
                          <a:solidFill>
                            <a:srgbClr val="FFFFFF"/>
                          </a:solidFill>
                        </a:rPr>
                        <a:t>Cote d’Ivoire</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Not recommended</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230294">
                <a:tc>
                  <a:txBody>
                    <a:bodyPr/>
                    <a:lstStyle/>
                    <a:p>
                      <a:r>
                        <a:rPr lang="en-US" sz="1100" b="0" dirty="0" smtClean="0">
                          <a:solidFill>
                            <a:srgbClr val="FFFFFF"/>
                          </a:solidFill>
                        </a:rPr>
                        <a:t>DRC</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with limited availability (algorithm unknown)</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4.4%</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164252">
                <a:tc>
                  <a:txBody>
                    <a:bodyPr/>
                    <a:lstStyle/>
                    <a:p>
                      <a:r>
                        <a:rPr lang="en-US" sz="1100" b="0" dirty="0" smtClean="0">
                          <a:solidFill>
                            <a:srgbClr val="FFFFFF"/>
                          </a:solidFill>
                        </a:rPr>
                        <a:t>Ethiopia</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with limited availability</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6 months</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22%</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162560">
                <a:tc>
                  <a:txBody>
                    <a:bodyPr/>
                    <a:lstStyle/>
                    <a:p>
                      <a:r>
                        <a:rPr lang="en-US" sz="1100" b="0" dirty="0" smtClean="0">
                          <a:solidFill>
                            <a:srgbClr val="FFFFFF"/>
                          </a:solidFill>
                        </a:rPr>
                        <a:t>India</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with limited availability</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6 months</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3%</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196427">
                <a:tc>
                  <a:txBody>
                    <a:bodyPr/>
                    <a:lstStyle/>
                    <a:p>
                      <a:r>
                        <a:rPr lang="en-US" sz="1100" b="0" dirty="0" smtClean="0">
                          <a:solidFill>
                            <a:srgbClr val="FFFFFF"/>
                          </a:solidFill>
                        </a:rPr>
                        <a:t>Indonesia</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with limited availability</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6 months</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22%</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230294">
                <a:tc>
                  <a:txBody>
                    <a:bodyPr/>
                    <a:lstStyle/>
                    <a:p>
                      <a:r>
                        <a:rPr lang="en-US" sz="1100" b="0" dirty="0" smtClean="0">
                          <a:solidFill>
                            <a:srgbClr val="FFFFFF"/>
                          </a:solidFill>
                        </a:rPr>
                        <a:t>Kenya</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with limited availability</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smtClean="0">
                          <a:solidFill>
                            <a:srgbClr val="FFFFFF"/>
                          </a:solidFill>
                        </a:rPr>
                        <a:t>6 months</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13% (in care)</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264160">
                <a:tc>
                  <a:txBody>
                    <a:bodyPr/>
                    <a:lstStyle/>
                    <a:p>
                      <a:r>
                        <a:rPr lang="en-US" sz="1100" b="0" dirty="0" smtClean="0">
                          <a:solidFill>
                            <a:srgbClr val="FFFFFF"/>
                          </a:solidFill>
                        </a:rPr>
                        <a:t>Lesotho</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with limited availability</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smtClean="0">
                          <a:solidFill>
                            <a:srgbClr val="FFFFFF"/>
                          </a:solidFill>
                        </a:rPr>
                        <a:t>6 months</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292945">
                <a:tc>
                  <a:txBody>
                    <a:bodyPr/>
                    <a:lstStyle/>
                    <a:p>
                      <a:r>
                        <a:rPr lang="en-US" sz="1100" b="0" dirty="0" smtClean="0">
                          <a:solidFill>
                            <a:srgbClr val="FFFFFF"/>
                          </a:solidFill>
                        </a:rPr>
                        <a:t>Malawi</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10 high burden districts) with limited availability</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6 months</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1.5%</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220134">
                <a:tc>
                  <a:txBody>
                    <a:bodyPr/>
                    <a:lstStyle/>
                    <a:p>
                      <a:r>
                        <a:rPr lang="en-US" sz="1100" b="0" dirty="0" smtClean="0">
                          <a:solidFill>
                            <a:srgbClr val="FFFFFF"/>
                          </a:solidFill>
                        </a:rPr>
                        <a:t>Mozambique</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availability unknown)</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smtClean="0">
                          <a:solidFill>
                            <a:srgbClr val="FFFFFF"/>
                          </a:solidFill>
                        </a:rPr>
                        <a:t>6 months</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186267">
                <a:tc>
                  <a:txBody>
                    <a:bodyPr/>
                    <a:lstStyle/>
                    <a:p>
                      <a:r>
                        <a:rPr lang="en-US" sz="1100" b="0" dirty="0" smtClean="0">
                          <a:solidFill>
                            <a:srgbClr val="FFFFFF"/>
                          </a:solidFill>
                        </a:rPr>
                        <a:t>Myanmar</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with limited availability</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6 months</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8.5%</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270934">
                <a:tc>
                  <a:txBody>
                    <a:bodyPr/>
                    <a:lstStyle/>
                    <a:p>
                      <a:r>
                        <a:rPr lang="en-US" sz="1100" b="0" dirty="0" smtClean="0">
                          <a:solidFill>
                            <a:srgbClr val="FFFFFF"/>
                          </a:solidFill>
                        </a:rPr>
                        <a:t>Namibia</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with limited availability</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9 months</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270934">
                <a:tc>
                  <a:txBody>
                    <a:bodyPr/>
                    <a:lstStyle/>
                    <a:p>
                      <a:r>
                        <a:rPr lang="en-US" sz="1100" b="0" dirty="0" smtClean="0">
                          <a:solidFill>
                            <a:srgbClr val="FFFFFF"/>
                          </a:solidFill>
                        </a:rPr>
                        <a:t>Nigeria</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with limited availability</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6 months</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186267">
                <a:tc>
                  <a:txBody>
                    <a:bodyPr/>
                    <a:lstStyle/>
                    <a:p>
                      <a:r>
                        <a:rPr lang="en-US" sz="1100" b="0" dirty="0" smtClean="0">
                          <a:solidFill>
                            <a:srgbClr val="FFFFFF"/>
                          </a:solidFill>
                        </a:rPr>
                        <a:t>South Africa</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TST) with limited availability</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6, 12 or 36 months (</a:t>
                      </a:r>
                      <a:r>
                        <a:rPr lang="en-US" sz="1100" b="0" baseline="0" dirty="0" smtClean="0">
                          <a:solidFill>
                            <a:srgbClr val="FFFFFF"/>
                          </a:solidFill>
                        </a:rPr>
                        <a:t>TST and ART status)</a:t>
                      </a:r>
                      <a:endParaRPr lang="en-US" sz="1100" b="0" dirty="0" smtClean="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10.4%</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237067">
                <a:tc>
                  <a:txBody>
                    <a:bodyPr/>
                    <a:lstStyle/>
                    <a:p>
                      <a:r>
                        <a:rPr lang="en-US" sz="1100" b="0" dirty="0" smtClean="0">
                          <a:solidFill>
                            <a:srgbClr val="FFFFFF"/>
                          </a:solidFill>
                        </a:rPr>
                        <a:t>Swaziland</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with limited availability</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6 months</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15%</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237067">
                <a:tc>
                  <a:txBody>
                    <a:bodyPr/>
                    <a:lstStyle/>
                    <a:p>
                      <a:r>
                        <a:rPr lang="en-US" sz="1100" b="0" dirty="0" smtClean="0">
                          <a:solidFill>
                            <a:srgbClr val="FFFFFF"/>
                          </a:solidFill>
                        </a:rPr>
                        <a:t>Tanzania</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TST) with limited availability</a:t>
                      </a:r>
                    </a:p>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for</a:t>
                      </a:r>
                      <a:r>
                        <a:rPr lang="en-US" sz="1100" b="0" baseline="0" dirty="0" smtClean="0">
                          <a:solidFill>
                            <a:srgbClr val="FFFFFF"/>
                          </a:solidFill>
                        </a:rPr>
                        <a:t> adults &amp; adolescents excluding pregnant women</a:t>
                      </a:r>
                      <a:endParaRPr lang="en-US" sz="1100" b="0" dirty="0" smtClean="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smtClean="0">
                          <a:solidFill>
                            <a:srgbClr val="FFFFFF"/>
                          </a:solidFill>
                        </a:rPr>
                        <a:t>6 months</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11.5%</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174412">
                <a:tc>
                  <a:txBody>
                    <a:bodyPr/>
                    <a:lstStyle/>
                    <a:p>
                      <a:r>
                        <a:rPr lang="en-US" sz="1100" b="0" dirty="0" smtClean="0">
                          <a:solidFill>
                            <a:srgbClr val="FFFFFF"/>
                          </a:solidFill>
                        </a:rPr>
                        <a:t>Thailand</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with limited availability</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6 months</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11%</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169334">
                <a:tc>
                  <a:txBody>
                    <a:bodyPr/>
                    <a:lstStyle/>
                    <a:p>
                      <a:r>
                        <a:rPr lang="en-US" sz="1100" b="0" dirty="0" smtClean="0">
                          <a:solidFill>
                            <a:srgbClr val="FFFFFF"/>
                          </a:solidFill>
                        </a:rPr>
                        <a:t>Uganda</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with limited availability</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6 months</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lt;1%</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169334">
                <a:tc>
                  <a:txBody>
                    <a:bodyPr/>
                    <a:lstStyle/>
                    <a:p>
                      <a:r>
                        <a:rPr lang="en-US" sz="1100" b="0" dirty="0" smtClean="0">
                          <a:solidFill>
                            <a:srgbClr val="FFFFFF"/>
                          </a:solidFill>
                        </a:rPr>
                        <a:t>Viet Nam</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with limited availability</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9 months</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26% (in care)</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169334">
                <a:tc>
                  <a:txBody>
                    <a:bodyPr/>
                    <a:lstStyle/>
                    <a:p>
                      <a:r>
                        <a:rPr lang="en-US" sz="1100" b="0" dirty="0" smtClean="0">
                          <a:solidFill>
                            <a:srgbClr val="FFFFFF"/>
                          </a:solidFill>
                        </a:rPr>
                        <a:t>Zambia</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with limited availability</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6 months</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r h="186266">
                <a:tc>
                  <a:txBody>
                    <a:bodyPr/>
                    <a:lstStyle/>
                    <a:p>
                      <a:r>
                        <a:rPr lang="en-US" sz="1100" b="0" dirty="0" smtClean="0">
                          <a:solidFill>
                            <a:srgbClr val="FFFFFF"/>
                          </a:solidFill>
                        </a:rPr>
                        <a:t>Zimbabwe</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dirty="0" smtClean="0">
                          <a:solidFill>
                            <a:srgbClr val="FFFFFF"/>
                          </a:solidFill>
                        </a:rPr>
                        <a:t>Recommended with limited availability</a:t>
                      </a: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6 months</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c>
                  <a:txBody>
                    <a:bodyPr/>
                    <a:lstStyle/>
                    <a:p>
                      <a:r>
                        <a:rPr lang="en-US" sz="1100" b="0" dirty="0" smtClean="0">
                          <a:solidFill>
                            <a:srgbClr val="FFFFFF"/>
                          </a:solidFill>
                        </a:rPr>
                        <a:t>15%</a:t>
                      </a:r>
                      <a:endParaRPr lang="en-US" sz="1100" b="0" dirty="0">
                        <a:solidFill>
                          <a:srgbClr val="FFFFFF"/>
                        </a:solidFill>
                      </a:endParaRPr>
                    </a:p>
                  </a:txBody>
                  <a:tcPr>
                    <a:lnL w="12700" cap="flat" cmpd="sng" algn="ctr">
                      <a:solidFill>
                        <a:prstClr val="white">
                          <a:lumMod val="85000"/>
                        </a:prstClr>
                      </a:solidFill>
                      <a:prstDash val="solid"/>
                      <a:round/>
                      <a:headEnd type="none" w="med" len="med"/>
                      <a:tailEnd type="none" w="med" len="med"/>
                    </a:lnL>
                    <a:lnR w="12700" cap="flat" cmpd="sng" algn="ctr">
                      <a:solidFill>
                        <a:prstClr val="white">
                          <a:lumMod val="85000"/>
                        </a:prstClr>
                      </a:solidFill>
                      <a:prstDash val="solid"/>
                      <a:round/>
                      <a:headEnd type="none" w="med" len="med"/>
                      <a:tailEnd type="none" w="med" len="med"/>
                    </a:lnR>
                    <a:lnT w="12700" cap="flat" cmpd="sng" algn="ctr">
                      <a:solidFill>
                        <a:prstClr val="white">
                          <a:lumMod val="85000"/>
                        </a:prstClr>
                      </a:solidFill>
                      <a:prstDash val="solid"/>
                      <a:round/>
                      <a:headEnd type="none" w="med" len="med"/>
                      <a:tailEnd type="none" w="med" len="med"/>
                    </a:lnT>
                    <a:lnB w="12700" cap="flat" cmpd="sng" algn="ctr">
                      <a:solidFill>
                        <a:prstClr val="white">
                          <a:lumMod val="85000"/>
                        </a:prstClr>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525907338"/>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bwMode="auto">
          <a:xfrm>
            <a:off x="533400" y="29950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a:lstStyle>
          <a:p>
            <a:r>
              <a:rPr lang="en-US" sz="3600" dirty="0" smtClean="0">
                <a:solidFill>
                  <a:srgbClr val="FFFF00"/>
                </a:solidFill>
                <a:latin typeface="Arial" charset="0"/>
              </a:rPr>
              <a:t>Limitations</a:t>
            </a:r>
          </a:p>
        </p:txBody>
      </p:sp>
      <p:sp>
        <p:nvSpPr>
          <p:cNvPr id="3" name="Rectangle 5"/>
          <p:cNvSpPr>
            <a:spLocks noChangeArrowheads="1"/>
          </p:cNvSpPr>
          <p:nvPr/>
        </p:nvSpPr>
        <p:spPr bwMode="auto">
          <a:xfrm>
            <a:off x="180444" y="1442508"/>
            <a:ext cx="8789988" cy="3697422"/>
          </a:xfrm>
          <a:prstGeom prst="rect">
            <a:avLst/>
          </a:prstGeom>
          <a:noFill/>
          <a:ln w="9525">
            <a:noFill/>
            <a:miter lim="800000"/>
            <a:headEnd/>
            <a:tailEnd/>
          </a:ln>
        </p:spPr>
        <p:txBody>
          <a:bodyPr wrap="square">
            <a:spAutoFit/>
          </a:bodyPr>
          <a:lstStyle/>
          <a:p>
            <a:pPr marL="457200" indent="-457200">
              <a:lnSpc>
                <a:spcPct val="120000"/>
              </a:lnSpc>
              <a:buClr>
                <a:srgbClr val="FFFF00"/>
              </a:buClr>
              <a:buSzPct val="150000"/>
              <a:buFont typeface="Arial" pitchFamily="34" charset="0"/>
              <a:buChar char="•"/>
            </a:pPr>
            <a:r>
              <a:rPr lang="en-US" sz="2800" dirty="0" smtClean="0">
                <a:solidFill>
                  <a:srgbClr val="FFFFFF"/>
                </a:solidFill>
                <a:latin typeface="Arial" pitchFamily="34" charset="0"/>
                <a:cs typeface="Arial" pitchFamily="34" charset="0"/>
              </a:rPr>
              <a:t>Guidelines may be outdated and/or in the process of being updated</a:t>
            </a:r>
            <a:endParaRPr lang="en-US" sz="2800" dirty="0">
              <a:solidFill>
                <a:srgbClr val="FFFFFF"/>
              </a:solidFill>
              <a:latin typeface="Arial" pitchFamily="34" charset="0"/>
              <a:cs typeface="Arial" pitchFamily="34" charset="0"/>
            </a:endParaRPr>
          </a:p>
          <a:p>
            <a:pPr marL="457200" indent="-457200">
              <a:lnSpc>
                <a:spcPct val="120000"/>
              </a:lnSpc>
              <a:buClr>
                <a:srgbClr val="FFFF00"/>
              </a:buClr>
              <a:buSzPct val="150000"/>
              <a:buFont typeface="Arial" pitchFamily="34" charset="0"/>
              <a:buChar char="•"/>
            </a:pPr>
            <a:r>
              <a:rPr lang="en-US" sz="2800" dirty="0">
                <a:solidFill>
                  <a:srgbClr val="FFFFFF"/>
                </a:solidFill>
                <a:latin typeface="Arial" pitchFamily="34" charset="0"/>
                <a:cs typeface="Arial" pitchFamily="34" charset="0"/>
              </a:rPr>
              <a:t>Written policies may not reflect programme </a:t>
            </a:r>
            <a:r>
              <a:rPr lang="en-US" sz="2800" dirty="0" smtClean="0">
                <a:solidFill>
                  <a:srgbClr val="FFFFFF"/>
                </a:solidFill>
                <a:latin typeface="Arial" pitchFamily="34" charset="0"/>
                <a:cs typeface="Arial" pitchFamily="34" charset="0"/>
              </a:rPr>
              <a:t>implementation or clinical practice </a:t>
            </a:r>
            <a:endParaRPr lang="en-US" sz="2800" dirty="0">
              <a:solidFill>
                <a:srgbClr val="FFFFFF"/>
              </a:solidFill>
              <a:latin typeface="Arial" pitchFamily="34" charset="0"/>
              <a:cs typeface="Arial" pitchFamily="34" charset="0"/>
            </a:endParaRPr>
          </a:p>
          <a:p>
            <a:pPr marL="457200" indent="-457200">
              <a:lnSpc>
                <a:spcPct val="120000"/>
              </a:lnSpc>
              <a:buClr>
                <a:srgbClr val="FFFF00"/>
              </a:buClr>
              <a:buSzPct val="150000"/>
              <a:buFont typeface="Arial" pitchFamily="34" charset="0"/>
              <a:buChar char="•"/>
            </a:pPr>
            <a:r>
              <a:rPr lang="en-US" sz="2800" dirty="0">
                <a:solidFill>
                  <a:srgbClr val="FFFFFF"/>
                </a:solidFill>
                <a:latin typeface="Arial" pitchFamily="34" charset="0"/>
                <a:cs typeface="Arial" pitchFamily="34" charset="0"/>
              </a:rPr>
              <a:t>Other guidelines covering </a:t>
            </a:r>
            <a:r>
              <a:rPr lang="en-US" sz="2800" dirty="0" smtClean="0">
                <a:solidFill>
                  <a:srgbClr val="FFFFFF"/>
                </a:solidFill>
                <a:latin typeface="Arial" pitchFamily="34" charset="0"/>
                <a:cs typeface="Arial" pitchFamily="34" charset="0"/>
              </a:rPr>
              <a:t>ART, task shifting, drug dispensing </a:t>
            </a:r>
            <a:r>
              <a:rPr lang="en-US" altLang="ja-JP" sz="2800" dirty="0" smtClean="0">
                <a:solidFill>
                  <a:srgbClr val="FFFFFF"/>
                </a:solidFill>
                <a:latin typeface="Arial" pitchFamily="34" charset="0"/>
                <a:cs typeface="Arial" pitchFamily="34" charset="0"/>
              </a:rPr>
              <a:t>may exist</a:t>
            </a:r>
            <a:endParaRPr lang="en-US" altLang="ja-JP" sz="2800" dirty="0">
              <a:solidFill>
                <a:srgbClr val="FFFFFF"/>
              </a:solidFill>
              <a:latin typeface="Arial" pitchFamily="34" charset="0"/>
              <a:cs typeface="Arial" pitchFamily="34" charset="0"/>
            </a:endParaRPr>
          </a:p>
          <a:p>
            <a:pPr>
              <a:lnSpc>
                <a:spcPct val="120000"/>
              </a:lnSpc>
              <a:buClr>
                <a:srgbClr val="FFFF00"/>
              </a:buClr>
              <a:buSzPct val="150000"/>
            </a:pPr>
            <a:endParaRPr lang="en-US" altLang="ja-JP" sz="2800" dirty="0">
              <a:solidFill>
                <a:srgbClr val="FFFFFF"/>
              </a:solidFill>
              <a:latin typeface="Arial" pitchFamily="34" charset="0"/>
              <a:cs typeface="Arial" pitchFamily="34" charset="0"/>
            </a:endParaRPr>
          </a:p>
        </p:txBody>
      </p:sp>
      <p:pic>
        <p:nvPicPr>
          <p:cNvPr id="4" name="Picture 3"/>
          <p:cNvPicPr>
            <a:picLocks noChangeAspect="1"/>
          </p:cNvPicPr>
          <p:nvPr/>
        </p:nvPicPr>
        <p:blipFill>
          <a:blip r:embed="rId2"/>
          <a:stretch>
            <a:fillRect/>
          </a:stretch>
        </p:blipFill>
        <p:spPr>
          <a:xfrm>
            <a:off x="7747000" y="6324600"/>
            <a:ext cx="1397000" cy="533400"/>
          </a:xfrm>
          <a:prstGeom prst="rect">
            <a:avLst/>
          </a:prstGeom>
        </p:spPr>
      </p:pic>
    </p:spTree>
    <p:extLst>
      <p:ext uri="{BB962C8B-B14F-4D97-AF65-F5344CB8AC3E}">
        <p14:creationId xmlns:p14="http://schemas.microsoft.com/office/powerpoint/2010/main" val="3408680028"/>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1227502"/>
            <a:ext cx="9144000" cy="3764107"/>
          </a:xfrm>
          <a:prstGeom prst="rect">
            <a:avLst/>
          </a:prstGeom>
        </p:spPr>
        <p:txBody>
          <a:bodyPr wrap="square">
            <a:spAutoFit/>
          </a:bodyPr>
          <a:lstStyle/>
          <a:p>
            <a:pPr marL="342900" indent="-342900">
              <a:lnSpc>
                <a:spcPct val="140000"/>
              </a:lnSpc>
              <a:spcAft>
                <a:spcPts val="200"/>
              </a:spcAft>
              <a:buClr>
                <a:srgbClr val="FFFF00"/>
              </a:buClr>
              <a:buSzPct val="120000"/>
              <a:buFont typeface="Arial"/>
              <a:buChar char="•"/>
            </a:pPr>
            <a:r>
              <a:rPr lang="en-US" sz="2400" dirty="0" smtClean="0">
                <a:solidFill>
                  <a:schemeClr val="bg1"/>
                </a:solidFill>
                <a:latin typeface="+mn-lt"/>
              </a:rPr>
              <a:t>Guidelines </a:t>
            </a:r>
            <a:r>
              <a:rPr lang="en-US" sz="2400" dirty="0">
                <a:solidFill>
                  <a:schemeClr val="bg1"/>
                </a:solidFill>
                <a:latin typeface="+mn-lt"/>
              </a:rPr>
              <a:t>from </a:t>
            </a:r>
            <a:r>
              <a:rPr lang="en-US" sz="2400" dirty="0" smtClean="0">
                <a:solidFill>
                  <a:schemeClr val="bg1"/>
                </a:solidFill>
                <a:latin typeface="+mn-lt"/>
              </a:rPr>
              <a:t>16 </a:t>
            </a:r>
            <a:r>
              <a:rPr lang="en-US" sz="2400" dirty="0">
                <a:solidFill>
                  <a:schemeClr val="bg1"/>
                </a:solidFill>
                <a:latin typeface="+mn-lt"/>
              </a:rPr>
              <a:t>countries released before </a:t>
            </a:r>
            <a:r>
              <a:rPr lang="en-US" sz="2400" dirty="0" smtClean="0">
                <a:solidFill>
                  <a:schemeClr val="bg1"/>
                </a:solidFill>
                <a:latin typeface="+mn-lt"/>
              </a:rPr>
              <a:t>2015 recommend </a:t>
            </a:r>
            <a:r>
              <a:rPr lang="en-US" sz="2400" dirty="0">
                <a:solidFill>
                  <a:schemeClr val="bg1"/>
                </a:solidFill>
                <a:latin typeface="+mn-lt"/>
              </a:rPr>
              <a:t>ART for asymptomatic people </a:t>
            </a:r>
            <a:r>
              <a:rPr lang="en-US" sz="2400" dirty="0" smtClean="0">
                <a:solidFill>
                  <a:schemeClr val="bg1"/>
                </a:solidFill>
                <a:latin typeface="+mn-lt"/>
              </a:rPr>
              <a:t>irrespective of CD4 count</a:t>
            </a:r>
            <a:endParaRPr lang="en-US" sz="2400" dirty="0">
              <a:solidFill>
                <a:schemeClr val="bg1"/>
              </a:solidFill>
              <a:latin typeface="+mn-lt"/>
            </a:endParaRPr>
          </a:p>
          <a:p>
            <a:pPr marL="342900" indent="-342900">
              <a:lnSpc>
                <a:spcPct val="140000"/>
              </a:lnSpc>
              <a:spcAft>
                <a:spcPts val="200"/>
              </a:spcAft>
              <a:buClr>
                <a:srgbClr val="FFFF00"/>
              </a:buClr>
              <a:buSzPct val="120000"/>
              <a:buFont typeface="Arial"/>
              <a:buChar char="•"/>
            </a:pPr>
            <a:r>
              <a:rPr lang="en-US" sz="2400" dirty="0" smtClean="0">
                <a:solidFill>
                  <a:schemeClr val="bg1"/>
                </a:solidFill>
                <a:latin typeface="+mn-lt"/>
              </a:rPr>
              <a:t>48 countries (63% global burden) recommend test and treat</a:t>
            </a:r>
            <a:endParaRPr lang="en-US" sz="2400" dirty="0">
              <a:solidFill>
                <a:schemeClr val="bg1"/>
              </a:solidFill>
              <a:latin typeface="+mn-lt"/>
            </a:endParaRPr>
          </a:p>
          <a:p>
            <a:pPr marL="342900" indent="-342900">
              <a:lnSpc>
                <a:spcPct val="140000"/>
              </a:lnSpc>
              <a:spcAft>
                <a:spcPts val="200"/>
              </a:spcAft>
              <a:buClr>
                <a:srgbClr val="FFFF00"/>
              </a:buClr>
              <a:buSzPct val="120000"/>
              <a:buFont typeface="Arial"/>
              <a:buChar char="•"/>
            </a:pPr>
            <a:r>
              <a:rPr lang="en-US" sz="2400" dirty="0" smtClean="0">
                <a:solidFill>
                  <a:schemeClr val="bg1"/>
                </a:solidFill>
              </a:rPr>
              <a:t>Only 23 </a:t>
            </a:r>
            <a:r>
              <a:rPr lang="en-US" sz="2400" dirty="0">
                <a:solidFill>
                  <a:schemeClr val="bg1"/>
                </a:solidFill>
              </a:rPr>
              <a:t>countries are consistent with </a:t>
            </a:r>
            <a:r>
              <a:rPr lang="en-US" sz="2400" dirty="0" smtClean="0">
                <a:solidFill>
                  <a:schemeClr val="bg1"/>
                </a:solidFill>
              </a:rPr>
              <a:t>the 2015 WHO </a:t>
            </a:r>
            <a:r>
              <a:rPr lang="en-US" sz="2400" dirty="0" err="1" smtClean="0">
                <a:solidFill>
                  <a:schemeClr val="bg1"/>
                </a:solidFill>
              </a:rPr>
              <a:t>paediatric</a:t>
            </a:r>
            <a:r>
              <a:rPr lang="en-US" sz="2400" dirty="0" smtClean="0">
                <a:solidFill>
                  <a:schemeClr val="bg1"/>
                </a:solidFill>
              </a:rPr>
              <a:t>  ART recommendation</a:t>
            </a:r>
            <a:endParaRPr lang="en-US" sz="2400" dirty="0">
              <a:solidFill>
                <a:schemeClr val="bg1"/>
              </a:solidFill>
              <a:latin typeface="+mn-lt"/>
            </a:endParaRPr>
          </a:p>
          <a:p>
            <a:pPr marL="342900" indent="-342900">
              <a:lnSpc>
                <a:spcPct val="140000"/>
              </a:lnSpc>
              <a:spcAft>
                <a:spcPts val="200"/>
              </a:spcAft>
              <a:buClr>
                <a:srgbClr val="FFFF00"/>
              </a:buClr>
              <a:buSzPct val="120000"/>
              <a:buFont typeface="Arial"/>
              <a:buChar char="•"/>
            </a:pPr>
            <a:r>
              <a:rPr lang="en-US" sz="2400" dirty="0" smtClean="0">
                <a:solidFill>
                  <a:schemeClr val="bg1"/>
                </a:solidFill>
                <a:latin typeface="+mn-lt"/>
              </a:rPr>
              <a:t>Post 2015 </a:t>
            </a:r>
            <a:r>
              <a:rPr lang="en-US" sz="2400" dirty="0">
                <a:solidFill>
                  <a:schemeClr val="bg1"/>
                </a:solidFill>
                <a:latin typeface="+mn-lt"/>
              </a:rPr>
              <a:t>WHO guidelines, countries are </a:t>
            </a:r>
            <a:r>
              <a:rPr lang="en-US" sz="2400" dirty="0" smtClean="0">
                <a:solidFill>
                  <a:schemeClr val="bg1"/>
                </a:solidFill>
                <a:latin typeface="+mn-lt"/>
              </a:rPr>
              <a:t>revising/ planning </a:t>
            </a:r>
            <a:r>
              <a:rPr lang="en-US" sz="2400" dirty="0">
                <a:solidFill>
                  <a:schemeClr val="bg1"/>
                </a:solidFill>
                <a:latin typeface="+mn-lt"/>
              </a:rPr>
              <a:t>to </a:t>
            </a:r>
            <a:r>
              <a:rPr lang="en-US" sz="2400" dirty="0" smtClean="0">
                <a:solidFill>
                  <a:schemeClr val="bg1"/>
                </a:solidFill>
                <a:latin typeface="+mn-lt"/>
              </a:rPr>
              <a:t>revise national guidelines</a:t>
            </a:r>
          </a:p>
        </p:txBody>
      </p:sp>
      <p:sp>
        <p:nvSpPr>
          <p:cNvPr id="5" name="Text Box 4"/>
          <p:cNvSpPr txBox="1">
            <a:spLocks noChangeArrowheads="1"/>
          </p:cNvSpPr>
          <p:nvPr/>
        </p:nvSpPr>
        <p:spPr bwMode="auto">
          <a:xfrm>
            <a:off x="448205" y="450688"/>
            <a:ext cx="8305800" cy="641350"/>
          </a:xfrm>
          <a:prstGeom prst="rect">
            <a:avLst/>
          </a:prstGeom>
          <a:noFill/>
          <a:ln w="9525">
            <a:noFill/>
            <a:miter lim="800000"/>
            <a:headEnd/>
            <a:tailEnd/>
          </a:ln>
        </p:spPr>
        <p:txBody>
          <a:bodyPr>
            <a:spAutoFit/>
          </a:bodyPr>
          <a:lstStyle/>
          <a:p>
            <a:pPr algn="ctr">
              <a:spcBef>
                <a:spcPct val="50000"/>
              </a:spcBef>
            </a:pPr>
            <a:r>
              <a:rPr lang="en-US" sz="3600" dirty="0" smtClean="0">
                <a:solidFill>
                  <a:srgbClr val="FFFF00"/>
                </a:solidFill>
                <a:ea typeface="ヒラギノ角ゴ Pro W3"/>
                <a:cs typeface="ヒラギノ角ゴ Pro W3"/>
              </a:rPr>
              <a:t>Conclusion</a:t>
            </a:r>
            <a:endParaRPr lang="en-US" sz="3600" dirty="0">
              <a:solidFill>
                <a:srgbClr val="FFFF00"/>
              </a:solidFill>
              <a:ea typeface="ヒラギノ角ゴ Pro W3"/>
              <a:cs typeface="ヒラギノ角ゴ Pro W3"/>
            </a:endParaRPr>
          </a:p>
        </p:txBody>
      </p:sp>
      <p:pic>
        <p:nvPicPr>
          <p:cNvPr id="6" name="Picture 5"/>
          <p:cNvPicPr>
            <a:picLocks noChangeAspect="1"/>
          </p:cNvPicPr>
          <p:nvPr/>
        </p:nvPicPr>
        <p:blipFill>
          <a:blip r:embed="rId2"/>
          <a:stretch>
            <a:fillRect/>
          </a:stretch>
        </p:blipFill>
        <p:spPr>
          <a:xfrm>
            <a:off x="7747000" y="6324600"/>
            <a:ext cx="1397000" cy="533400"/>
          </a:xfrm>
          <a:prstGeom prst="rect">
            <a:avLst/>
          </a:prstGeom>
        </p:spPr>
      </p:pic>
    </p:spTree>
    <p:extLst>
      <p:ext uri="{BB962C8B-B14F-4D97-AF65-F5344CB8AC3E}">
        <p14:creationId xmlns:p14="http://schemas.microsoft.com/office/powerpoint/2010/main" val="1284922538"/>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81739" y="5223646"/>
            <a:ext cx="6764242" cy="1323439"/>
          </a:xfrm>
          <a:prstGeom prst="rect">
            <a:avLst/>
          </a:prstGeom>
        </p:spPr>
        <p:txBody>
          <a:bodyPr wrap="square">
            <a:spAutoFit/>
          </a:bodyPr>
          <a:lstStyle/>
          <a:p>
            <a:r>
              <a:rPr lang="en-US" sz="1600" dirty="0">
                <a:solidFill>
                  <a:schemeClr val="bg1"/>
                </a:solidFill>
              </a:rPr>
              <a:t>Please send </a:t>
            </a:r>
            <a:r>
              <a:rPr lang="en-US" sz="1600" dirty="0" smtClean="0">
                <a:solidFill>
                  <a:schemeClr val="bg1"/>
                </a:solidFill>
              </a:rPr>
              <a:t>new </a:t>
            </a:r>
            <a:r>
              <a:rPr lang="en-US" sz="1600" dirty="0">
                <a:solidFill>
                  <a:schemeClr val="bg1"/>
                </a:solidFill>
              </a:rPr>
              <a:t>and/or updated guidelines to:</a:t>
            </a:r>
            <a:endParaRPr lang="en-GB" sz="1600" dirty="0">
              <a:solidFill>
                <a:schemeClr val="bg1"/>
              </a:solidFill>
            </a:endParaRPr>
          </a:p>
          <a:p>
            <a:r>
              <a:rPr lang="en-US" sz="1600" dirty="0" smtClean="0">
                <a:solidFill>
                  <a:schemeClr val="bg1"/>
                </a:solidFill>
              </a:rPr>
              <a:t>Reuben </a:t>
            </a:r>
            <a:r>
              <a:rPr lang="en-US" sz="1600" dirty="0" err="1" smtClean="0">
                <a:solidFill>
                  <a:schemeClr val="bg1"/>
                </a:solidFill>
              </a:rPr>
              <a:t>Granich</a:t>
            </a:r>
            <a:r>
              <a:rPr lang="en-US" sz="1600" dirty="0" smtClean="0">
                <a:solidFill>
                  <a:schemeClr val="bg1"/>
                </a:solidFill>
              </a:rPr>
              <a:t> MD MPH</a:t>
            </a:r>
          </a:p>
          <a:p>
            <a:r>
              <a:rPr lang="en-GB" sz="1600" dirty="0" smtClean="0">
                <a:solidFill>
                  <a:schemeClr val="bg1"/>
                </a:solidFill>
              </a:rPr>
              <a:t>Vice President and Chief Technical Advisor, IAPAC</a:t>
            </a:r>
            <a:endParaRPr lang="en-GB" sz="1600" dirty="0">
              <a:solidFill>
                <a:schemeClr val="bg1"/>
              </a:solidFill>
            </a:endParaRPr>
          </a:p>
          <a:p>
            <a:r>
              <a:rPr lang="en-US" sz="1600" dirty="0" smtClean="0">
                <a:solidFill>
                  <a:schemeClr val="bg1"/>
                </a:solidFill>
              </a:rPr>
              <a:t>E</a:t>
            </a:r>
            <a:r>
              <a:rPr lang="en-US" sz="1600" dirty="0">
                <a:solidFill>
                  <a:schemeClr val="bg1"/>
                </a:solidFill>
              </a:rPr>
              <a:t>-mail</a:t>
            </a:r>
            <a:r>
              <a:rPr lang="en-US" sz="1600" dirty="0" smtClean="0">
                <a:solidFill>
                  <a:schemeClr val="bg1"/>
                </a:solidFill>
              </a:rPr>
              <a:t>: </a:t>
            </a:r>
            <a:r>
              <a:rPr lang="en-US" sz="1600" dirty="0" err="1" smtClean="0">
                <a:solidFill>
                  <a:schemeClr val="bg1"/>
                </a:solidFill>
              </a:rPr>
              <a:t>r</a:t>
            </a:r>
            <a:r>
              <a:rPr lang="en-US" sz="1600" u="sng" dirty="0" err="1" smtClean="0">
                <a:solidFill>
                  <a:schemeClr val="bg1"/>
                </a:solidFill>
              </a:rPr>
              <a:t>granich@iapac.org</a:t>
            </a:r>
            <a:endParaRPr lang="en-US" sz="1600" u="sng" dirty="0" smtClean="0">
              <a:solidFill>
                <a:schemeClr val="bg1"/>
              </a:solidFill>
            </a:endParaRPr>
          </a:p>
          <a:p>
            <a:endParaRPr lang="en-GB" sz="1600" dirty="0">
              <a:solidFill>
                <a:srgbClr val="FFFF00"/>
              </a:solidFill>
            </a:endParaRPr>
          </a:p>
        </p:txBody>
      </p:sp>
      <p:pic>
        <p:nvPicPr>
          <p:cNvPr id="6" name="Picture 5"/>
          <p:cNvPicPr>
            <a:picLocks noChangeAspect="1"/>
          </p:cNvPicPr>
          <p:nvPr/>
        </p:nvPicPr>
        <p:blipFill>
          <a:blip r:embed="rId2"/>
          <a:stretch>
            <a:fillRect/>
          </a:stretch>
        </p:blipFill>
        <p:spPr>
          <a:xfrm>
            <a:off x="7747000" y="6324600"/>
            <a:ext cx="1397000" cy="533400"/>
          </a:xfrm>
          <a:prstGeom prst="rect">
            <a:avLst/>
          </a:prstGeom>
        </p:spPr>
      </p:pic>
      <p:sp>
        <p:nvSpPr>
          <p:cNvPr id="8" name="Text Box 4"/>
          <p:cNvSpPr txBox="1">
            <a:spLocks noChangeArrowheads="1"/>
          </p:cNvSpPr>
          <p:nvPr/>
        </p:nvSpPr>
        <p:spPr bwMode="auto">
          <a:xfrm>
            <a:off x="14600" y="124885"/>
            <a:ext cx="91440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Calibri" charset="0"/>
                <a:ea typeface="ヒラギノ角ゴ Pro W3" charset="0"/>
              </a:defRPr>
            </a:lvl1pPr>
            <a:lvl2pPr>
              <a:defRPr sz="2800">
                <a:solidFill>
                  <a:schemeClr val="tx1"/>
                </a:solidFill>
                <a:latin typeface="Calibri" charset="0"/>
                <a:ea typeface="ヒラギノ角ゴ Pro W3" charset="0"/>
              </a:defRPr>
            </a:lvl2pPr>
            <a:lvl3pPr>
              <a:defRPr sz="2400">
                <a:solidFill>
                  <a:schemeClr val="tx1"/>
                </a:solidFill>
                <a:latin typeface="Calibri" charset="0"/>
                <a:ea typeface="ヒラギノ角ゴ Pro W3" charset="0"/>
              </a:defRPr>
            </a:lvl3pPr>
            <a:lvl4pPr>
              <a:defRPr sz="2000">
                <a:solidFill>
                  <a:schemeClr val="tx1"/>
                </a:solidFill>
                <a:latin typeface="Calibri" charset="0"/>
                <a:ea typeface="ヒラギノ角ゴ Pro W3" charset="0"/>
              </a:defRPr>
            </a:lvl4pPr>
            <a:lvl5pPr>
              <a:defRPr sz="2000">
                <a:solidFill>
                  <a:schemeClr val="tx1"/>
                </a:solidFill>
                <a:latin typeface="Calibri" charset="0"/>
                <a:ea typeface="ヒラギノ角ゴ Pro W3" charset="0"/>
              </a:defRPr>
            </a:lvl5pPr>
            <a:lvl6pPr eaLnBrk="0" fontAlgn="base" hangingPunct="0">
              <a:spcAft>
                <a:spcPct val="0"/>
              </a:spcAft>
              <a:buFont typeface="Arial" charset="0"/>
              <a:buChar char="»"/>
              <a:defRPr sz="2000">
                <a:solidFill>
                  <a:schemeClr val="tx1"/>
                </a:solidFill>
                <a:latin typeface="Calibri" charset="0"/>
                <a:ea typeface="ヒラギノ角ゴ Pro W3" charset="0"/>
              </a:defRPr>
            </a:lvl6pPr>
            <a:lvl7pPr eaLnBrk="0" fontAlgn="base" hangingPunct="0">
              <a:spcAft>
                <a:spcPct val="0"/>
              </a:spcAft>
              <a:buFont typeface="Arial" charset="0"/>
              <a:buChar char="»"/>
              <a:defRPr sz="2000">
                <a:solidFill>
                  <a:schemeClr val="tx1"/>
                </a:solidFill>
                <a:latin typeface="Calibri" charset="0"/>
                <a:ea typeface="ヒラギノ角ゴ Pro W3" charset="0"/>
              </a:defRPr>
            </a:lvl7pPr>
            <a:lvl8pPr eaLnBrk="0" fontAlgn="base" hangingPunct="0">
              <a:spcAft>
                <a:spcPct val="0"/>
              </a:spcAft>
              <a:buFont typeface="Arial" charset="0"/>
              <a:buChar char="»"/>
              <a:defRPr sz="2000">
                <a:solidFill>
                  <a:schemeClr val="tx1"/>
                </a:solidFill>
                <a:latin typeface="Calibri" charset="0"/>
                <a:ea typeface="ヒラギノ角ゴ Pro W3" charset="0"/>
              </a:defRPr>
            </a:lvl8pPr>
            <a:lvl9pPr eaLnBrk="0" fontAlgn="base" hangingPunct="0">
              <a:spcAft>
                <a:spcPct val="0"/>
              </a:spcAft>
              <a:buFont typeface="Arial" charset="0"/>
              <a:buChar char="»"/>
              <a:defRPr sz="2000">
                <a:solidFill>
                  <a:schemeClr val="tx1"/>
                </a:solidFill>
                <a:latin typeface="Calibri" charset="0"/>
                <a:ea typeface="ヒラギノ角ゴ Pro W3" charset="0"/>
              </a:defRPr>
            </a:lvl9pPr>
          </a:lstStyle>
          <a:p>
            <a:pPr algn="ctr">
              <a:spcBef>
                <a:spcPct val="50000"/>
              </a:spcBef>
            </a:pPr>
            <a:r>
              <a:rPr lang="en-US" sz="4000" dirty="0" err="1">
                <a:solidFill>
                  <a:srgbClr val="FFFF00"/>
                </a:solidFill>
                <a:latin typeface="Arial" charset="0"/>
              </a:rPr>
              <a:t>www.HIVpolicywatch.org</a:t>
            </a:r>
            <a:endParaRPr lang="en-US" sz="4000" dirty="0">
              <a:solidFill>
                <a:srgbClr val="FFFF00"/>
              </a:solidFill>
              <a:latin typeface="Arial" charset="0"/>
            </a:endParaRPr>
          </a:p>
        </p:txBody>
      </p:sp>
      <p:pic>
        <p:nvPicPr>
          <p:cNvPr id="3" name="Picture 2"/>
          <p:cNvPicPr>
            <a:picLocks noChangeAspect="1"/>
          </p:cNvPicPr>
          <p:nvPr/>
        </p:nvPicPr>
        <p:blipFill rotWithShape="1">
          <a:blip r:embed="rId3"/>
          <a:srcRect r="972"/>
          <a:stretch/>
        </p:blipFill>
        <p:spPr>
          <a:xfrm>
            <a:off x="63500" y="1092200"/>
            <a:ext cx="9055100" cy="3929485"/>
          </a:xfrm>
          <a:prstGeom prst="rect">
            <a:avLst/>
          </a:prstGeom>
        </p:spPr>
      </p:pic>
    </p:spTree>
    <p:extLst>
      <p:ext uri="{BB962C8B-B14F-4D97-AF65-F5344CB8AC3E}">
        <p14:creationId xmlns:p14="http://schemas.microsoft.com/office/powerpoint/2010/main" val="278982776"/>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7747000" y="6324600"/>
            <a:ext cx="1397000" cy="533400"/>
          </a:xfrm>
          <a:prstGeom prst="rect">
            <a:avLst/>
          </a:prstGeom>
        </p:spPr>
      </p:pic>
      <p:sp>
        <p:nvSpPr>
          <p:cNvPr id="5" name="Rectangle 4"/>
          <p:cNvSpPr/>
          <p:nvPr/>
        </p:nvSpPr>
        <p:spPr>
          <a:xfrm>
            <a:off x="626533" y="34257"/>
            <a:ext cx="7907867" cy="1077218"/>
          </a:xfrm>
          <a:prstGeom prst="rect">
            <a:avLst/>
          </a:prstGeom>
        </p:spPr>
        <p:txBody>
          <a:bodyPr wrap="square">
            <a:spAutoFit/>
          </a:bodyPr>
          <a:lstStyle/>
          <a:p>
            <a:pPr algn="ctr"/>
            <a:r>
              <a:rPr lang="en-US" sz="3200" dirty="0">
                <a:solidFill>
                  <a:srgbClr val="FFFF00"/>
                </a:solidFill>
              </a:rPr>
              <a:t>WHO recommendations and published national guidelines (2003-</a:t>
            </a:r>
            <a:r>
              <a:rPr lang="en-US" sz="3200" dirty="0" smtClean="0">
                <a:solidFill>
                  <a:srgbClr val="FFFF00"/>
                </a:solidFill>
              </a:rPr>
              <a:t>2017)</a:t>
            </a:r>
            <a:endParaRPr lang="en-US" sz="3200" dirty="0">
              <a:solidFill>
                <a:srgbClr val="FFFF00"/>
              </a:solidFill>
            </a:endParaRPr>
          </a:p>
        </p:txBody>
      </p:sp>
      <p:sp>
        <p:nvSpPr>
          <p:cNvPr id="6" name="Rectangle 5"/>
          <p:cNvSpPr/>
          <p:nvPr/>
        </p:nvSpPr>
        <p:spPr>
          <a:xfrm>
            <a:off x="-38100" y="6443136"/>
            <a:ext cx="8013700" cy="400110"/>
          </a:xfrm>
          <a:prstGeom prst="rect">
            <a:avLst/>
          </a:prstGeom>
        </p:spPr>
        <p:txBody>
          <a:bodyPr wrap="square">
            <a:spAutoFit/>
          </a:bodyPr>
          <a:lstStyle/>
          <a:p>
            <a:r>
              <a:rPr lang="en-US" sz="1000" dirty="0">
                <a:solidFill>
                  <a:schemeClr val="bg1"/>
                </a:solidFill>
              </a:rPr>
              <a:t>Countries in the green boxes were consistent with the WHO ART guidelines in a given year, countries in blue boxes were recommending early ART compared to WHO guidelines while countries in red boxes were recommending delayed ART compared to WHO guidelines.</a:t>
            </a:r>
          </a:p>
        </p:txBody>
      </p:sp>
      <p:sp>
        <p:nvSpPr>
          <p:cNvPr id="3" name="Right Arrow 2"/>
          <p:cNvSpPr/>
          <p:nvPr/>
        </p:nvSpPr>
        <p:spPr>
          <a:xfrm>
            <a:off x="8842481" y="1083733"/>
            <a:ext cx="299402" cy="431998"/>
          </a:xfrm>
          <a:prstGeom prst="rightArrow">
            <a:avLst/>
          </a:prstGeom>
          <a:solidFill>
            <a:schemeClr val="accent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7" name="Table 6"/>
          <p:cNvGraphicFramePr>
            <a:graphicFrameLocks noGrp="1"/>
          </p:cNvGraphicFramePr>
          <p:nvPr>
            <p:extLst>
              <p:ext uri="{D42A27DB-BD31-4B8C-83A1-F6EECF244321}">
                <p14:modId xmlns:p14="http://schemas.microsoft.com/office/powerpoint/2010/main" val="3582615485"/>
              </p:ext>
            </p:extLst>
          </p:nvPr>
        </p:nvGraphicFramePr>
        <p:xfrm>
          <a:off x="33866" y="1196141"/>
          <a:ext cx="8825550" cy="5008570"/>
        </p:xfrm>
        <a:graphic>
          <a:graphicData uri="http://schemas.openxmlformats.org/drawingml/2006/table">
            <a:tbl>
              <a:tblPr/>
              <a:tblGrid>
                <a:gridCol w="812800"/>
                <a:gridCol w="1049867"/>
                <a:gridCol w="771693"/>
                <a:gridCol w="895860"/>
                <a:gridCol w="869250"/>
                <a:gridCol w="886990"/>
                <a:gridCol w="928074"/>
                <a:gridCol w="837036"/>
                <a:gridCol w="1127230"/>
                <a:gridCol w="646750"/>
              </a:tblGrid>
              <a:tr h="209326">
                <a:tc>
                  <a:txBody>
                    <a:bodyPr/>
                    <a:lstStyle/>
                    <a:p>
                      <a:pPr algn="ctr" fontAlgn="ctr"/>
                      <a:r>
                        <a:rPr lang="en-US" sz="800" b="1" i="0" u="none" strike="noStrike" dirty="0" smtClean="0">
                          <a:solidFill>
                            <a:schemeClr val="tx1"/>
                          </a:solidFill>
                          <a:effectLst/>
                          <a:latin typeface="Arial"/>
                          <a:cs typeface="Arial"/>
                        </a:rPr>
                        <a:t>2003-05</a:t>
                      </a:r>
                      <a:endParaRPr lang="en-US" sz="800" b="1" i="0" u="none" strike="noStrike" dirty="0">
                        <a:solidFill>
                          <a:schemeClr val="tx1"/>
                        </a:solidFill>
                        <a:effectLst/>
                        <a:latin typeface="Arial"/>
                        <a:cs typeface="Arial"/>
                      </a:endParaRPr>
                    </a:p>
                  </a:txBody>
                  <a:tcPr marL="0" marR="0" marT="0" marB="0" anchor="ctr">
                    <a:lnL>
                      <a:noFill/>
                    </a:lnL>
                    <a:lnR>
                      <a:noFill/>
                    </a:lnR>
                    <a:lnT>
                      <a:noFill/>
                    </a:lnT>
                    <a:lnB>
                      <a:noFill/>
                    </a:lnB>
                    <a:solidFill>
                      <a:schemeClr val="accent2">
                        <a:lumMod val="40000"/>
                        <a:lumOff val="60000"/>
                      </a:schemeClr>
                    </a:solidFill>
                  </a:tcPr>
                </a:tc>
                <a:tc>
                  <a:txBody>
                    <a:bodyPr/>
                    <a:lstStyle/>
                    <a:p>
                      <a:pPr algn="ctr" fontAlgn="ctr"/>
                      <a:r>
                        <a:rPr lang="en-US" sz="800" b="1" i="0" u="none" strike="noStrike" dirty="0" smtClean="0">
                          <a:solidFill>
                            <a:schemeClr val="tx1"/>
                          </a:solidFill>
                          <a:effectLst/>
                          <a:latin typeface="Arial"/>
                          <a:cs typeface="Arial"/>
                        </a:rPr>
                        <a:t>2006-09</a:t>
                      </a:r>
                      <a:endParaRPr lang="en-US" sz="800" b="1" i="0" u="none" strike="noStrike" dirty="0">
                        <a:solidFill>
                          <a:schemeClr val="tx1"/>
                        </a:solidFill>
                        <a:effectLst/>
                        <a:latin typeface="Arial"/>
                        <a:cs typeface="Arial"/>
                      </a:endParaRPr>
                    </a:p>
                  </a:txBody>
                  <a:tcPr marL="0" marR="0" marT="0" marB="0" anchor="ctr">
                    <a:lnL>
                      <a:noFill/>
                    </a:lnL>
                    <a:lnR>
                      <a:noFill/>
                    </a:lnR>
                    <a:lnT>
                      <a:noFill/>
                    </a:lnT>
                    <a:lnB>
                      <a:noFill/>
                    </a:lnB>
                    <a:solidFill>
                      <a:schemeClr val="accent2">
                        <a:lumMod val="40000"/>
                        <a:lumOff val="60000"/>
                      </a:schemeClr>
                    </a:solidFill>
                  </a:tcPr>
                </a:tc>
                <a:tc>
                  <a:txBody>
                    <a:bodyPr/>
                    <a:lstStyle/>
                    <a:p>
                      <a:pPr algn="ctr" fontAlgn="ctr"/>
                      <a:r>
                        <a:rPr lang="en-US" sz="800" b="1" i="0" u="none" strike="noStrike" dirty="0" smtClean="0">
                          <a:solidFill>
                            <a:schemeClr val="tx1"/>
                          </a:solidFill>
                          <a:effectLst/>
                          <a:latin typeface="Arial"/>
                          <a:cs typeface="Arial"/>
                        </a:rPr>
                        <a:t>2010</a:t>
                      </a:r>
                      <a:endParaRPr lang="en-US" sz="800" b="1" i="0" u="none" strike="noStrike" dirty="0">
                        <a:solidFill>
                          <a:schemeClr val="tx1"/>
                        </a:solidFill>
                        <a:effectLst/>
                        <a:latin typeface="Arial"/>
                        <a:cs typeface="Arial"/>
                      </a:endParaRPr>
                    </a:p>
                  </a:txBody>
                  <a:tcPr marL="0" marR="0" marT="0" marB="0" anchor="ctr">
                    <a:lnL>
                      <a:noFill/>
                    </a:lnL>
                    <a:lnR>
                      <a:noFill/>
                    </a:lnR>
                    <a:lnT>
                      <a:noFill/>
                    </a:lnT>
                    <a:lnB>
                      <a:noFill/>
                    </a:lnB>
                    <a:solidFill>
                      <a:schemeClr val="accent2">
                        <a:lumMod val="40000"/>
                        <a:lumOff val="60000"/>
                      </a:schemeClr>
                    </a:solidFill>
                  </a:tcPr>
                </a:tc>
                <a:tc>
                  <a:txBody>
                    <a:bodyPr/>
                    <a:lstStyle/>
                    <a:p>
                      <a:pPr algn="ctr" fontAlgn="t"/>
                      <a:r>
                        <a:rPr lang="en-US" sz="800" b="1" i="0" u="none" strike="noStrike" dirty="0" smtClean="0">
                          <a:solidFill>
                            <a:schemeClr val="tx1"/>
                          </a:solidFill>
                          <a:effectLst/>
                          <a:latin typeface="Arial"/>
                          <a:cs typeface="Arial"/>
                        </a:rPr>
                        <a:t>2011</a:t>
                      </a:r>
                      <a:endParaRPr lang="en-US" sz="800" b="1" i="0" u="none" strike="noStrike" dirty="0">
                        <a:solidFill>
                          <a:schemeClr val="tx1"/>
                        </a:solidFill>
                        <a:effectLst/>
                        <a:latin typeface="Arial"/>
                        <a:cs typeface="Arial"/>
                      </a:endParaRPr>
                    </a:p>
                  </a:txBody>
                  <a:tcPr marL="0" marR="0" marT="0" marB="0" anchor="ctr">
                    <a:lnL>
                      <a:noFill/>
                    </a:lnL>
                    <a:lnR>
                      <a:noFill/>
                    </a:lnR>
                    <a:lnT>
                      <a:noFill/>
                    </a:lnT>
                    <a:lnB>
                      <a:noFill/>
                    </a:lnB>
                    <a:solidFill>
                      <a:schemeClr val="accent2">
                        <a:lumMod val="40000"/>
                        <a:lumOff val="60000"/>
                      </a:schemeClr>
                    </a:solidFill>
                  </a:tcPr>
                </a:tc>
                <a:tc>
                  <a:txBody>
                    <a:bodyPr/>
                    <a:lstStyle/>
                    <a:p>
                      <a:pPr algn="ctr" fontAlgn="t"/>
                      <a:r>
                        <a:rPr lang="en-US" sz="800" b="1" i="0" u="none" strike="noStrike" dirty="0" smtClean="0">
                          <a:solidFill>
                            <a:schemeClr val="tx1"/>
                          </a:solidFill>
                          <a:effectLst/>
                          <a:latin typeface="Arial"/>
                          <a:cs typeface="Arial"/>
                        </a:rPr>
                        <a:t>2012</a:t>
                      </a:r>
                      <a:endParaRPr lang="en-US" sz="800" b="1" i="0" u="none" strike="noStrike" dirty="0">
                        <a:solidFill>
                          <a:schemeClr val="tx1"/>
                        </a:solidFill>
                        <a:effectLst/>
                        <a:latin typeface="Arial"/>
                        <a:cs typeface="Arial"/>
                      </a:endParaRPr>
                    </a:p>
                  </a:txBody>
                  <a:tcPr marL="0" marR="0" marT="0" marB="0" anchor="ctr">
                    <a:lnL>
                      <a:noFill/>
                    </a:lnL>
                    <a:lnR>
                      <a:noFill/>
                    </a:lnR>
                    <a:lnT>
                      <a:noFill/>
                    </a:lnT>
                    <a:lnB>
                      <a:noFill/>
                    </a:lnB>
                    <a:solidFill>
                      <a:schemeClr val="accent2">
                        <a:lumMod val="40000"/>
                        <a:lumOff val="60000"/>
                      </a:schemeClr>
                    </a:solidFill>
                  </a:tcPr>
                </a:tc>
                <a:tc>
                  <a:txBody>
                    <a:bodyPr/>
                    <a:lstStyle/>
                    <a:p>
                      <a:pPr algn="ctr" fontAlgn="t"/>
                      <a:r>
                        <a:rPr lang="en-US" sz="800" b="1" i="0" u="none" strike="noStrike" dirty="0" smtClean="0">
                          <a:solidFill>
                            <a:schemeClr val="tx1"/>
                          </a:solidFill>
                          <a:effectLst/>
                          <a:latin typeface="Arial"/>
                          <a:cs typeface="Arial"/>
                        </a:rPr>
                        <a:t>2013</a:t>
                      </a:r>
                      <a:endParaRPr lang="en-US" sz="800" b="1" i="0" u="none" strike="noStrike" dirty="0">
                        <a:solidFill>
                          <a:schemeClr val="tx1"/>
                        </a:solidFill>
                        <a:effectLst/>
                        <a:latin typeface="Arial"/>
                        <a:cs typeface="Arial"/>
                      </a:endParaRPr>
                    </a:p>
                  </a:txBody>
                  <a:tcPr marL="0" marR="0" marT="0" marB="0" anchor="ctr">
                    <a:lnL>
                      <a:noFill/>
                    </a:lnL>
                    <a:lnR>
                      <a:noFill/>
                    </a:lnR>
                    <a:lnT>
                      <a:noFill/>
                    </a:lnT>
                    <a:lnB>
                      <a:noFill/>
                    </a:lnB>
                    <a:solidFill>
                      <a:schemeClr val="accent2">
                        <a:lumMod val="40000"/>
                        <a:lumOff val="60000"/>
                      </a:schemeClr>
                    </a:solidFill>
                  </a:tcPr>
                </a:tc>
                <a:tc>
                  <a:txBody>
                    <a:bodyPr/>
                    <a:lstStyle/>
                    <a:p>
                      <a:pPr algn="ctr" fontAlgn="t"/>
                      <a:r>
                        <a:rPr lang="en-US" sz="800" b="1" i="0" u="none" strike="noStrike" dirty="0" smtClean="0">
                          <a:solidFill>
                            <a:schemeClr val="tx1"/>
                          </a:solidFill>
                          <a:effectLst/>
                          <a:latin typeface="Arial"/>
                          <a:cs typeface="Arial"/>
                        </a:rPr>
                        <a:t>2014</a:t>
                      </a:r>
                      <a:endParaRPr lang="en-US" sz="800" b="1" i="0" u="none" strike="noStrike" dirty="0">
                        <a:solidFill>
                          <a:schemeClr val="tx1"/>
                        </a:solidFill>
                        <a:effectLst/>
                        <a:latin typeface="Arial"/>
                        <a:cs typeface="Arial"/>
                      </a:endParaRPr>
                    </a:p>
                  </a:txBody>
                  <a:tcPr marL="0" marR="0" marT="0" marB="0" anchor="ctr">
                    <a:lnL>
                      <a:noFill/>
                    </a:lnL>
                    <a:lnR>
                      <a:noFill/>
                    </a:lnR>
                    <a:lnT>
                      <a:noFill/>
                    </a:lnT>
                    <a:lnB>
                      <a:noFill/>
                    </a:lnB>
                    <a:solidFill>
                      <a:schemeClr val="accent2">
                        <a:lumMod val="40000"/>
                        <a:lumOff val="60000"/>
                      </a:schemeClr>
                    </a:solidFill>
                  </a:tcPr>
                </a:tc>
                <a:tc>
                  <a:txBody>
                    <a:bodyPr/>
                    <a:lstStyle/>
                    <a:p>
                      <a:pPr algn="ctr" fontAlgn="t"/>
                      <a:r>
                        <a:rPr lang="en-US" sz="800" b="1" i="0" u="none" strike="noStrike" dirty="0" smtClean="0">
                          <a:solidFill>
                            <a:schemeClr val="tx1"/>
                          </a:solidFill>
                          <a:effectLst/>
                          <a:latin typeface="Arial"/>
                          <a:cs typeface="Arial"/>
                        </a:rPr>
                        <a:t>2015</a:t>
                      </a:r>
                      <a:endParaRPr lang="en-US" sz="800" b="1" i="0" u="none" strike="noStrike" dirty="0">
                        <a:solidFill>
                          <a:schemeClr val="tx1"/>
                        </a:solidFill>
                        <a:effectLst/>
                        <a:latin typeface="Arial"/>
                        <a:cs typeface="Arial"/>
                      </a:endParaRPr>
                    </a:p>
                  </a:txBody>
                  <a:tcPr marL="0" marR="0" marT="0" marB="0" anchor="ctr">
                    <a:lnL>
                      <a:noFill/>
                    </a:lnL>
                    <a:lnR>
                      <a:noFill/>
                    </a:lnR>
                    <a:lnT>
                      <a:noFill/>
                    </a:lnT>
                    <a:lnB>
                      <a:noFill/>
                    </a:lnB>
                    <a:solidFill>
                      <a:schemeClr val="accent2">
                        <a:lumMod val="40000"/>
                        <a:lumOff val="60000"/>
                      </a:schemeClr>
                    </a:solidFill>
                  </a:tcPr>
                </a:tc>
                <a:tc>
                  <a:txBody>
                    <a:bodyPr/>
                    <a:lstStyle/>
                    <a:p>
                      <a:pPr algn="ctr" fontAlgn="t"/>
                      <a:r>
                        <a:rPr lang="en-US" sz="800" b="1" i="0" u="none" strike="noStrike" dirty="0" smtClean="0">
                          <a:solidFill>
                            <a:schemeClr val="tx1"/>
                          </a:solidFill>
                          <a:effectLst/>
                          <a:latin typeface="Arial"/>
                          <a:cs typeface="Arial"/>
                        </a:rPr>
                        <a:t>2016</a:t>
                      </a:r>
                      <a:endParaRPr lang="en-US" sz="800" b="1" i="0" u="none" strike="noStrike" dirty="0">
                        <a:solidFill>
                          <a:schemeClr val="tx1"/>
                        </a:solidFill>
                        <a:effectLst/>
                        <a:latin typeface="Arial"/>
                        <a:cs typeface="Arial"/>
                      </a:endParaRPr>
                    </a:p>
                  </a:txBody>
                  <a:tcPr marL="0" marR="0" marT="0" marB="0" anchor="ctr">
                    <a:lnL>
                      <a:noFill/>
                    </a:lnL>
                    <a:lnR>
                      <a:noFill/>
                    </a:lnR>
                    <a:lnT>
                      <a:noFill/>
                    </a:lnT>
                    <a:lnB>
                      <a:noFill/>
                    </a:lnB>
                    <a:solidFill>
                      <a:schemeClr val="accent2">
                        <a:lumMod val="40000"/>
                        <a:lumOff val="60000"/>
                      </a:schemeClr>
                    </a:solidFill>
                  </a:tcPr>
                </a:tc>
                <a:tc>
                  <a:txBody>
                    <a:bodyPr/>
                    <a:lstStyle/>
                    <a:p>
                      <a:pPr algn="ctr" fontAlgn="t"/>
                      <a:r>
                        <a:rPr lang="en-US" sz="800" b="1" i="0" u="none" strike="noStrike" dirty="0" smtClean="0">
                          <a:solidFill>
                            <a:schemeClr val="tx1"/>
                          </a:solidFill>
                          <a:effectLst/>
                          <a:latin typeface="Arial"/>
                          <a:cs typeface="Arial"/>
                        </a:rPr>
                        <a:t>2017</a:t>
                      </a:r>
                      <a:endParaRPr lang="en-US" sz="800" b="1" i="0" u="none" strike="noStrike" dirty="0">
                        <a:solidFill>
                          <a:schemeClr val="tx1"/>
                        </a:solidFill>
                        <a:effectLst/>
                        <a:latin typeface="Arial"/>
                        <a:cs typeface="Arial"/>
                      </a:endParaRPr>
                    </a:p>
                  </a:txBody>
                  <a:tcPr marL="0" marR="0" marT="0" marB="0" anchor="ctr">
                    <a:lnL>
                      <a:noFill/>
                    </a:lnL>
                    <a:lnR>
                      <a:noFill/>
                    </a:lnR>
                    <a:lnT>
                      <a:noFill/>
                    </a:lnT>
                    <a:lnB>
                      <a:noFill/>
                    </a:lnB>
                    <a:solidFill>
                      <a:schemeClr val="accent2">
                        <a:lumMod val="40000"/>
                        <a:lumOff val="60000"/>
                      </a:schemeClr>
                    </a:solidFill>
                  </a:tcPr>
                </a:tc>
              </a:tr>
              <a:tr h="743972">
                <a:tc>
                  <a:txBody>
                    <a:bodyPr/>
                    <a:lstStyle/>
                    <a:p>
                      <a:pPr algn="ctr" fontAlgn="ctr"/>
                      <a:r>
                        <a:rPr lang="en-US" sz="800" b="0" i="0" u="none" strike="noStrike" dirty="0">
                          <a:solidFill>
                            <a:srgbClr val="000000"/>
                          </a:solidFill>
                          <a:effectLst/>
                          <a:latin typeface="Arial"/>
                          <a:cs typeface="Arial"/>
                        </a:rPr>
                        <a:t> </a:t>
                      </a:r>
                    </a:p>
                  </a:txBody>
                  <a:tcPr marL="0" marR="0" marT="0" marB="0" anchor="ctr">
                    <a:lnL>
                      <a:noFill/>
                    </a:lnL>
                    <a:lnR>
                      <a:noFill/>
                    </a:lnR>
                    <a:lnT>
                      <a:noFill/>
                    </a:lnT>
                    <a:lnB>
                      <a:noFill/>
                    </a:lnB>
                    <a:noFill/>
                  </a:tcPr>
                </a:tc>
                <a:tc>
                  <a:txBody>
                    <a:bodyPr/>
                    <a:lstStyle/>
                    <a:p>
                      <a:pPr algn="ctr" fontAlgn="ctr"/>
                      <a:r>
                        <a:rPr lang="en-US" sz="800" b="0" i="0" u="none" strike="noStrike" dirty="0">
                          <a:solidFill>
                            <a:srgbClr val="000000"/>
                          </a:solidFill>
                          <a:effectLst/>
                          <a:latin typeface="Arial"/>
                          <a:cs typeface="Arial"/>
                        </a:rPr>
                        <a:t> </a:t>
                      </a:r>
                    </a:p>
                  </a:txBody>
                  <a:tcPr marL="0" marR="0" marT="0" marB="0" anchor="ctr">
                    <a:lnL>
                      <a:noFill/>
                    </a:lnL>
                    <a:lnR>
                      <a:noFill/>
                    </a:lnR>
                    <a:lnT>
                      <a:noFill/>
                    </a:lnT>
                    <a:lnB>
                      <a:noFill/>
                    </a:lnB>
                    <a:noFill/>
                  </a:tcPr>
                </a:tc>
                <a:tc>
                  <a:txBody>
                    <a:bodyPr/>
                    <a:lstStyle/>
                    <a:p>
                      <a:pPr algn="ctr" fontAlgn="ctr"/>
                      <a:r>
                        <a:rPr lang="en-US" sz="800" b="0" i="0" u="none" strike="noStrike" dirty="0">
                          <a:solidFill>
                            <a:srgbClr val="000000"/>
                          </a:solidFill>
                          <a:effectLst/>
                          <a:latin typeface="Arial"/>
                          <a:cs typeface="Arial"/>
                        </a:rPr>
                        <a:t> </a:t>
                      </a:r>
                    </a:p>
                  </a:txBody>
                  <a:tcPr marL="0" marR="0" marT="0" marB="0" anchor="ctr">
                    <a:lnL>
                      <a:noFill/>
                    </a:lnL>
                    <a:lnR>
                      <a:noFill/>
                    </a:lnR>
                    <a:lnT>
                      <a:noFill/>
                    </a:lnT>
                    <a:lnB>
                      <a:noFill/>
                    </a:lnB>
                    <a:noFill/>
                  </a:tcPr>
                </a:tc>
                <a:tc>
                  <a:txBody>
                    <a:bodyPr/>
                    <a:lstStyle/>
                    <a:p>
                      <a:pPr algn="ctr" fontAlgn="t"/>
                      <a:r>
                        <a:rPr lang="en-US" sz="800" b="0" i="0" u="none" strike="noStrike" dirty="0">
                          <a:solidFill>
                            <a:srgbClr val="000000"/>
                          </a:solidFill>
                          <a:effectLst/>
                          <a:latin typeface="Arial"/>
                          <a:cs typeface="Arial"/>
                        </a:rPr>
                        <a:t>ALL</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Denmark, Italy</a:t>
                      </a:r>
                    </a:p>
                  </a:txBody>
                  <a:tcPr marL="0" marR="0" marT="0" marB="0">
                    <a:lnL>
                      <a:noFill/>
                    </a:lnL>
                    <a:lnR>
                      <a:noFill/>
                    </a:lnR>
                    <a:lnT>
                      <a:noFill/>
                    </a:lnT>
                    <a:lnB>
                      <a:noFill/>
                    </a:lnB>
                    <a:solidFill>
                      <a:schemeClr val="accent1">
                        <a:lumMod val="60000"/>
                        <a:lumOff val="40000"/>
                      </a:schemeClr>
                    </a:solidFill>
                  </a:tcPr>
                </a:tc>
                <a:tc>
                  <a:txBody>
                    <a:bodyPr/>
                    <a:lstStyle/>
                    <a:p>
                      <a:pPr algn="ctr" fontAlgn="t"/>
                      <a:r>
                        <a:rPr lang="en-US" sz="800" b="0" i="0" u="none" strike="noStrike" dirty="0">
                          <a:solidFill>
                            <a:srgbClr val="000000"/>
                          </a:solidFill>
                          <a:effectLst/>
                          <a:latin typeface="Arial"/>
                          <a:cs typeface="Arial"/>
                        </a:rPr>
                        <a:t>ALL</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Netherlands, United States</a:t>
                      </a:r>
                    </a:p>
                  </a:txBody>
                  <a:tcPr marL="0" marR="0" marT="0" marB="0">
                    <a:lnL>
                      <a:noFill/>
                    </a:lnL>
                    <a:lnR>
                      <a:noFill/>
                    </a:lnR>
                    <a:lnT>
                      <a:noFill/>
                    </a:lnT>
                    <a:lnB>
                      <a:noFill/>
                    </a:lnB>
                    <a:solidFill>
                      <a:schemeClr val="accent1">
                        <a:lumMod val="60000"/>
                        <a:lumOff val="40000"/>
                      </a:schemeClr>
                    </a:solidFill>
                  </a:tcPr>
                </a:tc>
                <a:tc>
                  <a:txBody>
                    <a:bodyPr/>
                    <a:lstStyle/>
                    <a:p>
                      <a:pPr algn="ctr" fontAlgn="t"/>
                      <a:r>
                        <a:rPr lang="en-US" sz="800" b="0" i="0" u="none" strike="noStrike" dirty="0">
                          <a:solidFill>
                            <a:srgbClr val="000000"/>
                          </a:solidFill>
                          <a:effectLst/>
                          <a:latin typeface="Arial"/>
                          <a:cs typeface="Arial"/>
                        </a:rPr>
                        <a:t>ALL</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Australia, Brazil, France, Romania, South Korea, Turkey </a:t>
                      </a:r>
                    </a:p>
                  </a:txBody>
                  <a:tcPr marL="0" marR="0" marT="0" marB="0">
                    <a:lnL>
                      <a:noFill/>
                    </a:lnL>
                    <a:lnR>
                      <a:noFill/>
                    </a:lnR>
                    <a:lnT>
                      <a:noFill/>
                    </a:lnT>
                    <a:lnB>
                      <a:noFill/>
                    </a:lnB>
                    <a:solidFill>
                      <a:schemeClr val="accent1">
                        <a:lumMod val="60000"/>
                        <a:lumOff val="40000"/>
                      </a:schemeClr>
                    </a:solidFill>
                  </a:tcPr>
                </a:tc>
                <a:tc>
                  <a:txBody>
                    <a:bodyPr/>
                    <a:lstStyle/>
                    <a:p>
                      <a:pPr algn="ctr" fontAlgn="t"/>
                      <a:r>
                        <a:rPr lang="en-US" sz="800" b="0" i="0" u="none" strike="noStrike" dirty="0">
                          <a:solidFill>
                            <a:srgbClr val="000000"/>
                          </a:solidFill>
                          <a:effectLst/>
                          <a:latin typeface="Arial"/>
                          <a:cs typeface="Arial"/>
                        </a:rPr>
                        <a:t>ALL</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Mexico, Spain, Sweden, Thailand </a:t>
                      </a:r>
                    </a:p>
                  </a:txBody>
                  <a:tcPr marL="0" marR="0" marT="0" marB="0">
                    <a:lnL>
                      <a:noFill/>
                    </a:lnL>
                    <a:lnR>
                      <a:noFill/>
                    </a:lnR>
                    <a:lnT>
                      <a:noFill/>
                    </a:lnT>
                    <a:lnB>
                      <a:noFill/>
                    </a:lnB>
                    <a:solidFill>
                      <a:schemeClr val="accent1">
                        <a:lumMod val="60000"/>
                        <a:lumOff val="40000"/>
                      </a:schemeClr>
                    </a:solidFill>
                  </a:tcPr>
                </a:tc>
                <a:tc>
                  <a:txBody>
                    <a:bodyPr/>
                    <a:lstStyle/>
                    <a:p>
                      <a:pPr algn="ctr" fontAlgn="t"/>
                      <a:r>
                        <a:rPr lang="en-US" sz="800" b="0" i="0" u="none" strike="noStrike" dirty="0">
                          <a:solidFill>
                            <a:srgbClr val="000000"/>
                          </a:solidFill>
                          <a:effectLst/>
                          <a:latin typeface="Arial"/>
                          <a:cs typeface="Arial"/>
                        </a:rPr>
                        <a:t>ALL</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Argentina, Austria, </a:t>
                      </a:r>
                      <a:r>
                        <a:rPr lang="en-US" sz="800" b="0" i="0" u="none" strike="noStrike" dirty="0" smtClean="0">
                          <a:solidFill>
                            <a:srgbClr val="000000"/>
                          </a:solidFill>
                          <a:effectLst/>
                          <a:latin typeface="Arial"/>
                          <a:cs typeface="Arial"/>
                        </a:rPr>
                        <a:t>Croatia, Georgia, Germany</a:t>
                      </a:r>
                      <a:r>
                        <a:rPr lang="en-US" sz="800" b="0" i="0" u="none" strike="noStrike" dirty="0">
                          <a:solidFill>
                            <a:srgbClr val="000000"/>
                          </a:solidFill>
                          <a:effectLst/>
                          <a:latin typeface="Arial"/>
                          <a:cs typeface="Arial"/>
                        </a:rPr>
                        <a:t>, Maldives, Montenegro, Switzerland, United Kingdom</a:t>
                      </a:r>
                    </a:p>
                  </a:txBody>
                  <a:tcPr marL="0" marR="0" marT="0" marB="0">
                    <a:lnL>
                      <a:noFill/>
                    </a:lnL>
                    <a:lnR>
                      <a:noFill/>
                    </a:lnR>
                    <a:lnT>
                      <a:noFill/>
                    </a:lnT>
                    <a:lnB>
                      <a:noFill/>
                    </a:lnB>
                    <a:solidFill>
                      <a:schemeClr val="accent1">
                        <a:lumMod val="60000"/>
                        <a:lumOff val="40000"/>
                      </a:schemeClr>
                    </a:solidFill>
                  </a:tcPr>
                </a:tc>
                <a:tc>
                  <a:txBody>
                    <a:bodyPr/>
                    <a:lstStyle/>
                    <a:p>
                      <a:pPr algn="ctr" fontAlgn="t"/>
                      <a:r>
                        <a:rPr lang="en-US" sz="800" b="0" i="0" u="none" strike="noStrike" dirty="0">
                          <a:solidFill>
                            <a:srgbClr val="000000"/>
                          </a:solidFill>
                          <a:effectLst/>
                          <a:latin typeface="Arial"/>
                          <a:cs typeface="Arial"/>
                        </a:rPr>
                        <a:t>ALL</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Botswana, </a:t>
                      </a:r>
                      <a:r>
                        <a:rPr lang="en-US" sz="800" b="0" i="0" u="none" strike="noStrike" dirty="0" smtClean="0">
                          <a:solidFill>
                            <a:srgbClr val="000000"/>
                          </a:solidFill>
                          <a:effectLst/>
                          <a:latin typeface="Arial"/>
                          <a:cs typeface="Arial"/>
                        </a:rPr>
                        <a:t>Burundi, Cambodia, China</a:t>
                      </a:r>
                      <a:r>
                        <a:rPr lang="en-US" sz="800" b="0" i="0" u="none" strike="noStrike" dirty="0">
                          <a:solidFill>
                            <a:srgbClr val="000000"/>
                          </a:solidFill>
                          <a:effectLst/>
                          <a:latin typeface="Arial"/>
                          <a:cs typeface="Arial"/>
                        </a:rPr>
                        <a:t>, </a:t>
                      </a:r>
                      <a:r>
                        <a:rPr lang="en-US" sz="800" b="0" i="0" u="none" strike="noStrike" dirty="0" smtClean="0">
                          <a:solidFill>
                            <a:srgbClr val="000000"/>
                          </a:solidFill>
                          <a:effectLst/>
                          <a:latin typeface="Arial"/>
                          <a:cs typeface="Arial"/>
                        </a:rPr>
                        <a:t>Haiti, Japan</a:t>
                      </a:r>
                      <a:r>
                        <a:rPr lang="en-US" sz="800" b="0" i="0" u="none" strike="noStrike" dirty="0">
                          <a:solidFill>
                            <a:srgbClr val="000000"/>
                          </a:solidFill>
                          <a:effectLst/>
                          <a:latin typeface="Arial"/>
                          <a:cs typeface="Arial"/>
                        </a:rPr>
                        <a:t>, Kenya, </a:t>
                      </a:r>
                      <a:r>
                        <a:rPr lang="en-US" sz="800" b="0" i="0" u="none" strike="noStrike" dirty="0" smtClean="0">
                          <a:solidFill>
                            <a:srgbClr val="000000"/>
                          </a:solidFill>
                          <a:effectLst/>
                          <a:latin typeface="Arial"/>
                          <a:cs typeface="Arial"/>
                        </a:rPr>
                        <a:t>Lao PDR, Lesotho</a:t>
                      </a:r>
                      <a:r>
                        <a:rPr lang="en-US" sz="800" b="0" i="0" u="none" strike="noStrike" dirty="0">
                          <a:solidFill>
                            <a:srgbClr val="000000"/>
                          </a:solidFill>
                          <a:effectLst/>
                          <a:latin typeface="Arial"/>
                          <a:cs typeface="Arial"/>
                        </a:rPr>
                        <a:t>, Malawi, </a:t>
                      </a:r>
                      <a:r>
                        <a:rPr lang="en-US" sz="800" b="0" i="0" u="none" strike="noStrike" dirty="0" smtClean="0">
                          <a:solidFill>
                            <a:srgbClr val="000000"/>
                          </a:solidFill>
                          <a:effectLst/>
                          <a:latin typeface="Arial"/>
                          <a:cs typeface="Arial"/>
                        </a:rPr>
                        <a:t>Malaysia, Mozambique, Namibia, </a:t>
                      </a:r>
                      <a:r>
                        <a:rPr lang="en-US" sz="800" b="0" i="0" u="none" strike="noStrike" dirty="0">
                          <a:solidFill>
                            <a:srgbClr val="000000"/>
                          </a:solidFill>
                          <a:effectLst/>
                          <a:latin typeface="Arial"/>
                          <a:cs typeface="Arial"/>
                        </a:rPr>
                        <a:t>Norway, Poland, Portugal, Rwanda, South </a:t>
                      </a:r>
                      <a:r>
                        <a:rPr lang="en-US" sz="800" b="0" i="0" u="none" strike="noStrike" dirty="0" smtClean="0">
                          <a:solidFill>
                            <a:srgbClr val="000000"/>
                          </a:solidFill>
                          <a:effectLst/>
                          <a:latin typeface="Arial"/>
                          <a:cs typeface="Arial"/>
                        </a:rPr>
                        <a:t>Africa, Sri Lanka Uganda, Zambia, Zimbabwe</a:t>
                      </a:r>
                      <a:endParaRPr lang="en-US" sz="800" b="0" i="0" u="none" strike="noStrike" dirty="0">
                        <a:solidFill>
                          <a:srgbClr val="000000"/>
                        </a:solidFill>
                        <a:effectLst/>
                        <a:latin typeface="Arial"/>
                        <a:cs typeface="Arial"/>
                      </a:endParaRPr>
                    </a:p>
                  </a:txBody>
                  <a:tcPr marL="0" marR="0" marT="0" marB="0">
                    <a:lnL>
                      <a:noFill/>
                    </a:lnL>
                    <a:lnR>
                      <a:noFill/>
                    </a:lnR>
                    <a:lnT>
                      <a:noFill/>
                    </a:lnT>
                    <a:lnB>
                      <a:noFill/>
                    </a:lnB>
                    <a:solidFill>
                      <a:schemeClr val="accent3">
                        <a:lumMod val="60000"/>
                        <a:lumOff val="40000"/>
                      </a:schemeClr>
                    </a:solidFill>
                  </a:tcPr>
                </a:tc>
                <a:tc>
                  <a:txBody>
                    <a:bodyPr/>
                    <a:lstStyle/>
                    <a:p>
                      <a:pPr algn="ctr" fontAlgn="t"/>
                      <a:r>
                        <a:rPr lang="en-US" sz="800" b="0" i="0" u="none" strike="noStrike" dirty="0" smtClean="0">
                          <a:solidFill>
                            <a:srgbClr val="000000"/>
                          </a:solidFill>
                          <a:effectLst/>
                          <a:latin typeface="Arial"/>
                          <a:cs typeface="Arial"/>
                        </a:rPr>
                        <a:t>ALL</a:t>
                      </a:r>
                    </a:p>
                    <a:p>
                      <a:pPr algn="ctr" fontAlgn="t"/>
                      <a:r>
                        <a:rPr lang="en-US" sz="800" b="0" i="0" u="none" strike="noStrike" dirty="0" smtClean="0">
                          <a:solidFill>
                            <a:srgbClr val="000000"/>
                          </a:solidFill>
                          <a:effectLst/>
                          <a:latin typeface="Arial"/>
                          <a:cs typeface="Arial"/>
                        </a:rPr>
                        <a:t>India</a:t>
                      </a:r>
                    </a:p>
                    <a:p>
                      <a:pPr algn="ctr" fontAlgn="t"/>
                      <a:r>
                        <a:rPr lang="en-US" sz="800" b="0" i="0" u="none" strike="noStrike" dirty="0" smtClean="0">
                          <a:solidFill>
                            <a:srgbClr val="000000"/>
                          </a:solidFill>
                          <a:effectLst/>
                          <a:latin typeface="Arial"/>
                          <a:cs typeface="Arial"/>
                        </a:rPr>
                        <a:t>Jamaica</a:t>
                      </a:r>
                    </a:p>
                    <a:p>
                      <a:pPr algn="ctr" fontAlgn="t"/>
                      <a:r>
                        <a:rPr lang="en-US" sz="800" b="0" i="0" u="none" strike="noStrike" dirty="0" smtClean="0">
                          <a:solidFill>
                            <a:srgbClr val="000000"/>
                          </a:solidFill>
                          <a:effectLst/>
                          <a:latin typeface="Arial"/>
                          <a:cs typeface="Arial"/>
                        </a:rPr>
                        <a:t>Papua</a:t>
                      </a:r>
                      <a:r>
                        <a:rPr lang="en-US" sz="800" b="0" i="0" u="none" strike="noStrike" baseline="0" dirty="0" smtClean="0">
                          <a:solidFill>
                            <a:srgbClr val="000000"/>
                          </a:solidFill>
                          <a:effectLst/>
                          <a:latin typeface="Arial"/>
                          <a:cs typeface="Arial"/>
                        </a:rPr>
                        <a:t> New Guinea</a:t>
                      </a:r>
                      <a:endParaRPr lang="en-US" sz="800" b="0" i="0" u="none" strike="noStrike" dirty="0" smtClean="0">
                        <a:solidFill>
                          <a:srgbClr val="000000"/>
                        </a:solidFill>
                        <a:effectLst/>
                        <a:latin typeface="Arial"/>
                        <a:cs typeface="Arial"/>
                      </a:endParaRPr>
                    </a:p>
                  </a:txBody>
                  <a:tcPr marL="0" marR="0" marT="0" marB="0">
                    <a:lnL>
                      <a:noFill/>
                    </a:lnL>
                    <a:lnR>
                      <a:noFill/>
                    </a:lnR>
                    <a:lnT>
                      <a:noFill/>
                    </a:lnT>
                    <a:lnB>
                      <a:noFill/>
                    </a:lnB>
                    <a:solidFill>
                      <a:schemeClr val="accent3">
                        <a:lumMod val="60000"/>
                        <a:lumOff val="40000"/>
                      </a:schemeClr>
                    </a:solidFill>
                  </a:tcPr>
                </a:tc>
              </a:tr>
              <a:tr h="268098">
                <a:tc>
                  <a:txBody>
                    <a:bodyPr/>
                    <a:lstStyle/>
                    <a:p>
                      <a:pPr algn="ctr" fontAlgn="ctr"/>
                      <a:r>
                        <a:rPr lang="en-US" sz="800" b="0" i="0" u="none" strike="noStrike" dirty="0">
                          <a:solidFill>
                            <a:srgbClr val="000000"/>
                          </a:solidFill>
                          <a:effectLst/>
                          <a:latin typeface="Arial"/>
                          <a:cs typeface="Arial"/>
                        </a:rPr>
                        <a:t> </a:t>
                      </a:r>
                    </a:p>
                  </a:txBody>
                  <a:tcPr marL="0" marR="0" marT="0" marB="0" anchor="ctr">
                    <a:lnL>
                      <a:noFill/>
                    </a:lnL>
                    <a:lnR>
                      <a:noFill/>
                    </a:lnR>
                    <a:lnT>
                      <a:noFill/>
                    </a:lnT>
                    <a:lnB>
                      <a:noFill/>
                    </a:lnB>
                    <a:no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dirty="0">
                          <a:solidFill>
                            <a:srgbClr val="000000"/>
                          </a:solidFill>
                          <a:effectLst/>
                          <a:latin typeface="Arial"/>
                          <a:cs typeface="Arial"/>
                        </a:rPr>
                        <a:t> </a:t>
                      </a:r>
                      <a:r>
                        <a:rPr lang="tr-TR" sz="800" b="0" i="0" u="none" strike="noStrike" dirty="0" smtClean="0">
                          <a:solidFill>
                            <a:srgbClr val="000000"/>
                          </a:solidFill>
                          <a:effectLst/>
                          <a:latin typeface="Arial"/>
                          <a:cs typeface="Arial"/>
                        </a:rPr>
                        <a:t>&gt;500</a:t>
                      </a:r>
                      <a:br>
                        <a:rPr lang="tr-TR" sz="800" b="0" i="0" u="none" strike="noStrike" dirty="0" smtClean="0">
                          <a:solidFill>
                            <a:srgbClr val="000000"/>
                          </a:solidFill>
                          <a:effectLst/>
                          <a:latin typeface="Arial"/>
                          <a:cs typeface="Arial"/>
                        </a:rPr>
                      </a:br>
                      <a:r>
                        <a:rPr lang="tr-TR" sz="800" b="0" i="0" u="none" strike="noStrike" dirty="0" smtClean="0">
                          <a:solidFill>
                            <a:srgbClr val="000000"/>
                          </a:solidFill>
                          <a:effectLst/>
                          <a:latin typeface="Arial"/>
                          <a:cs typeface="Arial"/>
                        </a:rPr>
                        <a:t>Guyana</a:t>
                      </a:r>
                      <a:endParaRPr lang="en-US" sz="800" b="0" i="0" u="none" strike="noStrike" dirty="0" smtClean="0">
                        <a:solidFill>
                          <a:srgbClr val="000000"/>
                        </a:solidFill>
                        <a:effectLst/>
                        <a:latin typeface="Arial"/>
                        <a:cs typeface="Arial"/>
                      </a:endParaRPr>
                    </a:p>
                    <a:p>
                      <a:pPr marL="0" marR="0" indent="0" algn="ctr" defTabSz="457200" rtl="0" eaLnBrk="1" fontAlgn="ctr" latinLnBrk="0" hangingPunct="1">
                        <a:lnSpc>
                          <a:spcPct val="100000"/>
                        </a:lnSpc>
                        <a:spcBef>
                          <a:spcPts val="0"/>
                        </a:spcBef>
                        <a:spcAft>
                          <a:spcPts val="0"/>
                        </a:spcAft>
                        <a:buClrTx/>
                        <a:buSzTx/>
                        <a:buFontTx/>
                        <a:buNone/>
                        <a:tabLst/>
                        <a:defRPr/>
                      </a:pPr>
                      <a:endParaRPr lang="tr-TR" sz="800" b="0" i="0" u="none" strike="noStrike" dirty="0" smtClean="0">
                        <a:solidFill>
                          <a:srgbClr val="000000"/>
                        </a:solidFill>
                        <a:effectLst/>
                        <a:latin typeface="Arial"/>
                        <a:cs typeface="Arial"/>
                      </a:endParaRPr>
                    </a:p>
                  </a:txBody>
                  <a:tcPr marL="0" marR="0" marT="0" marB="0" anchor="ctr">
                    <a:lnL>
                      <a:noFill/>
                    </a:lnL>
                    <a:lnR>
                      <a:noFill/>
                    </a:lnR>
                    <a:lnT>
                      <a:noFill/>
                    </a:lnT>
                    <a:lnB>
                      <a:noFill/>
                    </a:lnB>
                    <a:solidFill>
                      <a:srgbClr val="95B3D7"/>
                    </a:solidFill>
                  </a:tcPr>
                </a:tc>
                <a:tc>
                  <a:txBody>
                    <a:bodyPr/>
                    <a:lstStyle/>
                    <a:p>
                      <a:pPr algn="ctr" fontAlgn="t"/>
                      <a:r>
                        <a:rPr lang="en-US" sz="800" b="0" i="0" u="none" strike="noStrike" dirty="0">
                          <a:solidFill>
                            <a:srgbClr val="000000"/>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000000"/>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000000"/>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000000"/>
                          </a:solidFill>
                          <a:effectLst/>
                          <a:latin typeface="Arial"/>
                          <a:cs typeface="Arial"/>
                        </a:rPr>
                        <a:t>&gt;500</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Hong Kong</a:t>
                      </a:r>
                    </a:p>
                  </a:txBody>
                  <a:tcPr marL="0" marR="0" marT="0" marB="0">
                    <a:lnL>
                      <a:noFill/>
                    </a:lnL>
                    <a:lnR>
                      <a:noFill/>
                    </a:lnR>
                    <a:lnT>
                      <a:noFill/>
                    </a:lnT>
                    <a:lnB>
                      <a:noFill/>
                    </a:lnB>
                    <a:solidFill>
                      <a:srgbClr val="95B3D7"/>
                    </a:solidFill>
                  </a:tcPr>
                </a:tc>
                <a:tc>
                  <a:txBody>
                    <a:bodyPr/>
                    <a:lstStyle/>
                    <a:p>
                      <a:pPr algn="ctr" fontAlgn="t"/>
                      <a:r>
                        <a:rPr lang="en-US" sz="800" b="0" i="0" u="none" strike="noStrike" dirty="0">
                          <a:solidFill>
                            <a:srgbClr val="000000"/>
                          </a:solidFill>
                          <a:effectLst/>
                          <a:latin typeface="Arial"/>
                          <a:cs typeface="Arial"/>
                        </a:rPr>
                        <a:t>&gt;500</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Colombia, Greece, Venezuela</a:t>
                      </a:r>
                    </a:p>
                  </a:txBody>
                  <a:tcPr marL="0" marR="0" marT="0" marB="0">
                    <a:lnL>
                      <a:noFill/>
                    </a:lnL>
                    <a:lnR>
                      <a:noFill/>
                    </a:lnR>
                    <a:lnT>
                      <a:noFill/>
                    </a:lnT>
                    <a:lnB>
                      <a:noFill/>
                    </a:lnB>
                    <a:solidFill>
                      <a:srgbClr val="95B3D7"/>
                    </a:solidFill>
                  </a:tcPr>
                </a:tc>
                <a:tc>
                  <a:txBody>
                    <a:bodyPr/>
                    <a:lstStyle/>
                    <a:p>
                      <a:pPr algn="ctr" fontAlgn="ctr"/>
                      <a:r>
                        <a:rPr lang="en-US" sz="800" b="0" i="0" u="none" strike="noStrike" dirty="0">
                          <a:solidFill>
                            <a:srgbClr val="000000"/>
                          </a:solidFill>
                          <a:effectLst/>
                          <a:latin typeface="Arial"/>
                          <a:cs typeface="Arial"/>
                        </a:rPr>
                        <a:t> </a:t>
                      </a:r>
                    </a:p>
                  </a:txBody>
                  <a:tcPr marL="0" marR="0" marT="0" marB="0" anchor="ctr">
                    <a:lnL>
                      <a:noFill/>
                    </a:lnL>
                    <a:lnR>
                      <a:noFill/>
                    </a:lnR>
                    <a:lnT>
                      <a:noFill/>
                    </a:lnT>
                    <a:lnB>
                      <a:noFill/>
                    </a:lnB>
                    <a:noFill/>
                  </a:tcPr>
                </a:tc>
                <a:tc>
                  <a:txBody>
                    <a:bodyPr/>
                    <a:lstStyle/>
                    <a:p>
                      <a:pPr algn="ctr" fontAlgn="ctr"/>
                      <a:r>
                        <a:rPr lang="en-US" sz="800" b="0" i="0" u="none" strike="noStrike" dirty="0">
                          <a:solidFill>
                            <a:srgbClr val="000000"/>
                          </a:solidFill>
                          <a:effectLst/>
                          <a:latin typeface="Arial"/>
                          <a:cs typeface="Arial"/>
                        </a:rPr>
                        <a:t> </a:t>
                      </a:r>
                    </a:p>
                  </a:txBody>
                  <a:tcPr marL="0" marR="0" marT="0" marB="0" anchor="ctr">
                    <a:lnL>
                      <a:noFill/>
                    </a:lnL>
                    <a:lnR>
                      <a:noFill/>
                    </a:lnR>
                    <a:lnT>
                      <a:noFill/>
                    </a:lnT>
                    <a:lnB>
                      <a:noFill/>
                    </a:lnB>
                    <a:noFill/>
                  </a:tcPr>
                </a:tc>
                <a:tc>
                  <a:txBody>
                    <a:bodyPr/>
                    <a:lstStyle/>
                    <a:p>
                      <a:pPr algn="ctr" fontAlgn="ctr"/>
                      <a:endParaRPr lang="en-US" sz="800" b="0" i="0" u="none" strike="noStrike" dirty="0">
                        <a:solidFill>
                          <a:srgbClr val="000000"/>
                        </a:solidFill>
                        <a:effectLst/>
                        <a:latin typeface="Arial"/>
                        <a:cs typeface="Arial"/>
                      </a:endParaRPr>
                    </a:p>
                  </a:txBody>
                  <a:tcPr marL="0" marR="0" marT="0" marB="0" anchor="ctr">
                    <a:lnL>
                      <a:noFill/>
                    </a:lnL>
                    <a:lnR>
                      <a:noFill/>
                    </a:lnR>
                    <a:lnT>
                      <a:noFill/>
                    </a:lnT>
                    <a:lnB>
                      <a:noFill/>
                    </a:lnB>
                    <a:noFill/>
                  </a:tcPr>
                </a:tc>
              </a:tr>
              <a:tr h="1018772">
                <a:tc>
                  <a:txBody>
                    <a:bodyPr/>
                    <a:lstStyle/>
                    <a:p>
                      <a:pPr algn="ctr" fontAlgn="t"/>
                      <a:r>
                        <a:rPr lang="en-US" sz="800" b="0" i="0" u="none" strike="noStrike" dirty="0">
                          <a:solidFill>
                            <a:srgbClr val="000000"/>
                          </a:solidFill>
                          <a:effectLst/>
                          <a:latin typeface="Arial"/>
                          <a:cs typeface="Arial"/>
                        </a:rPr>
                        <a:t> </a:t>
                      </a:r>
                    </a:p>
                  </a:txBody>
                  <a:tcPr marL="0" marR="0" marT="0" marB="0">
                    <a:lnL>
                      <a:noFill/>
                    </a:lnL>
                    <a:lnR>
                      <a:noFill/>
                    </a:lnR>
                    <a:lnT>
                      <a:noFill/>
                    </a:lnT>
                    <a:lnB>
                      <a:noFill/>
                    </a:lnB>
                    <a:noFill/>
                  </a:tcPr>
                </a:tc>
                <a:tc>
                  <a:txBody>
                    <a:bodyPr/>
                    <a:lstStyle/>
                    <a:p>
                      <a:pPr marL="0" marR="0" indent="0" algn="ctr" defTabSz="457200" rtl="0" eaLnBrk="1" fontAlgn="t" latinLnBrk="0" hangingPunct="1">
                        <a:lnSpc>
                          <a:spcPct val="100000"/>
                        </a:lnSpc>
                        <a:spcBef>
                          <a:spcPts val="0"/>
                        </a:spcBef>
                        <a:spcAft>
                          <a:spcPts val="0"/>
                        </a:spcAft>
                        <a:buClrTx/>
                        <a:buSzTx/>
                        <a:buFontTx/>
                        <a:buNone/>
                        <a:tabLst/>
                        <a:defRPr/>
                      </a:pPr>
                      <a:r>
                        <a:rPr lang="en-US" sz="800" b="0" i="0" u="none" strike="noStrike" dirty="0">
                          <a:solidFill>
                            <a:srgbClr val="000000"/>
                          </a:solidFill>
                          <a:effectLst/>
                          <a:latin typeface="Arial"/>
                          <a:cs typeface="Arial"/>
                        </a:rPr>
                        <a:t> </a:t>
                      </a:r>
                      <a:r>
                        <a:rPr lang="en-US" sz="800" b="0" i="0" u="none" strike="noStrike" dirty="0" smtClean="0">
                          <a:solidFill>
                            <a:srgbClr val="000000"/>
                          </a:solidFill>
                          <a:effectLst/>
                          <a:latin typeface="Arial"/>
                          <a:cs typeface="Arial"/>
                        </a:rPr>
                        <a:t>&lt;500</a:t>
                      </a:r>
                      <a:br>
                        <a:rPr lang="en-US" sz="800" b="0" i="0" u="none" strike="noStrike" dirty="0" smtClean="0">
                          <a:solidFill>
                            <a:srgbClr val="000000"/>
                          </a:solidFill>
                          <a:effectLst/>
                          <a:latin typeface="Arial"/>
                          <a:cs typeface="Arial"/>
                        </a:rPr>
                      </a:br>
                      <a:r>
                        <a:rPr lang="en-US" sz="800" b="0" i="0" u="none" strike="noStrike" dirty="0" smtClean="0">
                          <a:solidFill>
                            <a:srgbClr val="000000"/>
                          </a:solidFill>
                          <a:effectLst/>
                          <a:latin typeface="Arial"/>
                          <a:cs typeface="Arial"/>
                        </a:rPr>
                        <a:t>Bolivia</a:t>
                      </a:r>
                    </a:p>
                  </a:txBody>
                  <a:tcPr marL="0" marR="0" marT="0" marB="0">
                    <a:lnL>
                      <a:noFill/>
                    </a:lnL>
                    <a:lnR>
                      <a:noFill/>
                    </a:lnR>
                    <a:lnT>
                      <a:noFill/>
                    </a:lnT>
                    <a:lnB>
                      <a:noFill/>
                    </a:lnB>
                    <a:solidFill>
                      <a:srgbClr val="95B3D7"/>
                    </a:solidFill>
                  </a:tcPr>
                </a:tc>
                <a:tc>
                  <a:txBody>
                    <a:bodyPr/>
                    <a:lstStyle/>
                    <a:p>
                      <a:pPr algn="ctr" fontAlgn="t"/>
                      <a:r>
                        <a:rPr lang="en-US" sz="800" b="0" i="0" u="none" strike="noStrike" dirty="0">
                          <a:solidFill>
                            <a:srgbClr val="000000"/>
                          </a:solidFill>
                          <a:effectLst/>
                          <a:latin typeface="Arial"/>
                          <a:cs typeface="Arial"/>
                        </a:rPr>
                        <a:t>&lt;500</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Algeria</a:t>
                      </a:r>
                    </a:p>
                  </a:txBody>
                  <a:tcPr marL="0" marR="0" marT="0" marB="0">
                    <a:lnL>
                      <a:noFill/>
                    </a:lnL>
                    <a:lnR>
                      <a:noFill/>
                    </a:lnR>
                    <a:lnT>
                      <a:noFill/>
                    </a:lnT>
                    <a:lnB>
                      <a:noFill/>
                    </a:lnB>
                    <a:solidFill>
                      <a:srgbClr val="95B3D7"/>
                    </a:solidFill>
                  </a:tcPr>
                </a:tc>
                <a:tc>
                  <a:txBody>
                    <a:bodyPr/>
                    <a:lstStyle/>
                    <a:p>
                      <a:pPr algn="ctr" fontAlgn="t"/>
                      <a:r>
                        <a:rPr lang="en-US" sz="800" b="0" i="0" u="none" strike="noStrike" dirty="0">
                          <a:solidFill>
                            <a:srgbClr val="000000"/>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000000"/>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000000"/>
                          </a:solidFill>
                          <a:effectLst/>
                          <a:latin typeface="Arial"/>
                          <a:cs typeface="Arial"/>
                        </a:rPr>
                        <a:t>&lt;500</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Chile, Democratic Republic of the Congo, Ecuador, Ethiopia, Fiji, </a:t>
                      </a:r>
                      <a:r>
                        <a:rPr lang="en-US" sz="800" b="0" i="0" u="none" strike="noStrike" dirty="0" smtClean="0">
                          <a:solidFill>
                            <a:srgbClr val="000000"/>
                          </a:solidFill>
                          <a:effectLst/>
                          <a:latin typeface="Arial"/>
                          <a:cs typeface="Arial"/>
                        </a:rPr>
                        <a:t>Honduras</a:t>
                      </a:r>
                      <a:r>
                        <a:rPr lang="en-US" sz="800" b="0" i="0" u="none" strike="noStrike" dirty="0">
                          <a:solidFill>
                            <a:srgbClr val="000000"/>
                          </a:solidFill>
                          <a:effectLst/>
                          <a:latin typeface="Arial"/>
                          <a:cs typeface="Arial"/>
                        </a:rPr>
                        <a:t>, Madagascar, Mali, Oman, Russia, </a:t>
                      </a:r>
                      <a:r>
                        <a:rPr lang="en-US" sz="800" b="0" i="0" u="none" strike="noStrike" dirty="0" smtClean="0">
                          <a:solidFill>
                            <a:srgbClr val="000000"/>
                          </a:solidFill>
                          <a:effectLst/>
                          <a:latin typeface="Arial"/>
                          <a:cs typeface="Arial"/>
                        </a:rPr>
                        <a:t>Tunisia</a:t>
                      </a:r>
                      <a:endParaRPr lang="en-US" sz="800" b="0" i="0" u="none" strike="noStrike" dirty="0">
                        <a:solidFill>
                          <a:srgbClr val="000000"/>
                        </a:solidFill>
                        <a:effectLst/>
                        <a:latin typeface="Arial"/>
                        <a:cs typeface="Arial"/>
                      </a:endParaRPr>
                    </a:p>
                  </a:txBody>
                  <a:tcPr marL="0" marR="0" marT="0" marB="0">
                    <a:lnL>
                      <a:noFill/>
                    </a:lnL>
                    <a:lnR>
                      <a:noFill/>
                    </a:lnR>
                    <a:lnT>
                      <a:noFill/>
                    </a:lnT>
                    <a:lnB>
                      <a:noFill/>
                    </a:lnB>
                    <a:solidFill>
                      <a:srgbClr val="C3D69B"/>
                    </a:solidFill>
                  </a:tcPr>
                </a:tc>
                <a:tc>
                  <a:txBody>
                    <a:bodyPr/>
                    <a:lstStyle/>
                    <a:p>
                      <a:pPr algn="ctr" fontAlgn="t"/>
                      <a:r>
                        <a:rPr lang="en-US" sz="800" b="0" i="0" u="none" strike="noStrike" dirty="0">
                          <a:solidFill>
                            <a:srgbClr val="000000"/>
                          </a:solidFill>
                          <a:effectLst/>
                          <a:latin typeface="Arial"/>
                          <a:cs typeface="Arial"/>
                        </a:rPr>
                        <a:t>&lt;500</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Bangladesh, Bhutan, </a:t>
                      </a:r>
                      <a:r>
                        <a:rPr lang="en-US" sz="800" b="0" i="0" u="none" strike="noStrike" dirty="0" smtClean="0">
                          <a:solidFill>
                            <a:srgbClr val="000000"/>
                          </a:solidFill>
                          <a:effectLst/>
                          <a:latin typeface="Arial"/>
                          <a:cs typeface="Arial"/>
                        </a:rPr>
                        <a:t>Cameroon</a:t>
                      </a:r>
                      <a:r>
                        <a:rPr lang="en-US" sz="800" b="0" i="0" u="none" strike="noStrike" dirty="0">
                          <a:solidFill>
                            <a:srgbClr val="000000"/>
                          </a:solidFill>
                          <a:effectLst/>
                          <a:latin typeface="Arial"/>
                          <a:cs typeface="Arial"/>
                        </a:rPr>
                        <a:t>, El Salvador, Gabon, </a:t>
                      </a:r>
                      <a:r>
                        <a:rPr lang="en-US" sz="800" b="0" i="0" u="none" strike="noStrike" dirty="0" smtClean="0">
                          <a:solidFill>
                            <a:srgbClr val="000000"/>
                          </a:solidFill>
                          <a:effectLst/>
                          <a:latin typeface="Arial"/>
                          <a:cs typeface="Arial"/>
                        </a:rPr>
                        <a:t>Liberia, Mauritania</a:t>
                      </a:r>
                      <a:r>
                        <a:rPr lang="en-US" sz="800" b="0" i="0" u="none" strike="noStrike" dirty="0">
                          <a:solidFill>
                            <a:srgbClr val="000000"/>
                          </a:solidFill>
                          <a:effectLst/>
                          <a:latin typeface="Arial"/>
                          <a:cs typeface="Arial"/>
                        </a:rPr>
                        <a:t>, Moldova, Myanmar, </a:t>
                      </a:r>
                      <a:r>
                        <a:rPr lang="en-US" sz="800" b="0" i="0" u="none" strike="noStrike" dirty="0" smtClean="0">
                          <a:solidFill>
                            <a:srgbClr val="000000"/>
                          </a:solidFill>
                          <a:effectLst/>
                          <a:latin typeface="Arial"/>
                          <a:cs typeface="Arial"/>
                        </a:rPr>
                        <a:t>Nepal</a:t>
                      </a:r>
                      <a:r>
                        <a:rPr lang="en-US" sz="800" b="0" i="0" u="none" strike="noStrike" dirty="0">
                          <a:solidFill>
                            <a:srgbClr val="000000"/>
                          </a:solidFill>
                          <a:effectLst/>
                          <a:latin typeface="Arial"/>
                          <a:cs typeface="Arial"/>
                        </a:rPr>
                        <a:t>, Nigeria, South Sudan</a:t>
                      </a:r>
                      <a:r>
                        <a:rPr lang="en-US" sz="800" b="0" i="0" u="none" strike="noStrike" dirty="0" smtClean="0">
                          <a:solidFill>
                            <a:srgbClr val="000000"/>
                          </a:solidFill>
                          <a:effectLst/>
                          <a:latin typeface="Arial"/>
                          <a:cs typeface="Arial"/>
                        </a:rPr>
                        <a:t>, </a:t>
                      </a:r>
                      <a:r>
                        <a:rPr lang="en-US" sz="800" b="0" i="0" u="none" strike="noStrike" dirty="0">
                          <a:solidFill>
                            <a:srgbClr val="000000"/>
                          </a:solidFill>
                          <a:effectLst/>
                          <a:latin typeface="Arial"/>
                          <a:cs typeface="Arial"/>
                        </a:rPr>
                        <a:t>Sudan, Uruguay</a:t>
                      </a:r>
                    </a:p>
                  </a:txBody>
                  <a:tcPr marL="0" marR="0" marT="0" marB="0">
                    <a:lnL>
                      <a:noFill/>
                    </a:lnL>
                    <a:lnR>
                      <a:noFill/>
                    </a:lnR>
                    <a:lnT>
                      <a:noFill/>
                    </a:lnT>
                    <a:lnB>
                      <a:noFill/>
                    </a:lnB>
                    <a:solidFill>
                      <a:srgbClr val="C3D69B"/>
                    </a:solidFill>
                  </a:tcPr>
                </a:tc>
                <a:tc>
                  <a:txBody>
                    <a:bodyPr/>
                    <a:lstStyle/>
                    <a:p>
                      <a:pPr algn="ctr" fontAlgn="t"/>
                      <a:r>
                        <a:rPr lang="en-US" sz="800" b="0" i="0" u="none" strike="noStrike" dirty="0">
                          <a:solidFill>
                            <a:srgbClr val="000000"/>
                          </a:solidFill>
                          <a:effectLst/>
                          <a:latin typeface="Arial"/>
                          <a:cs typeface="Arial"/>
                        </a:rPr>
                        <a:t>&lt;500</a:t>
                      </a:r>
                      <a:br>
                        <a:rPr lang="en-US" sz="800" b="0" i="0" u="none" strike="noStrike" dirty="0">
                          <a:solidFill>
                            <a:srgbClr val="000000"/>
                          </a:solidFill>
                          <a:effectLst/>
                          <a:latin typeface="Arial"/>
                          <a:cs typeface="Arial"/>
                        </a:rPr>
                      </a:br>
                      <a:r>
                        <a:rPr lang="en-US" sz="800" b="0" i="0" u="none" strike="noStrike" dirty="0" smtClean="0">
                          <a:solidFill>
                            <a:srgbClr val="000000"/>
                          </a:solidFill>
                          <a:effectLst/>
                          <a:latin typeface="Arial"/>
                          <a:cs typeface="Arial"/>
                        </a:rPr>
                        <a:t>Pakistan</a:t>
                      </a:r>
                      <a:r>
                        <a:rPr lang="en-US" sz="800" b="0" i="0" u="none" strike="noStrike" dirty="0">
                          <a:solidFill>
                            <a:srgbClr val="000000"/>
                          </a:solidFill>
                          <a:effectLst/>
                          <a:latin typeface="Arial"/>
                          <a:cs typeface="Arial"/>
                        </a:rPr>
                        <a:t>, </a:t>
                      </a:r>
                      <a:r>
                        <a:rPr lang="en-US" sz="800" b="0" i="0" u="none" strike="noStrike" dirty="0" smtClean="0">
                          <a:solidFill>
                            <a:srgbClr val="000000"/>
                          </a:solidFill>
                          <a:effectLst/>
                          <a:latin typeface="Arial"/>
                          <a:cs typeface="Arial"/>
                        </a:rPr>
                        <a:t>Peru, Swaziland</a:t>
                      </a:r>
                      <a:r>
                        <a:rPr lang="en-US" sz="800" b="0" i="0" u="none" strike="noStrike" dirty="0">
                          <a:solidFill>
                            <a:srgbClr val="000000"/>
                          </a:solidFill>
                          <a:effectLst/>
                          <a:latin typeface="Arial"/>
                          <a:cs typeface="Arial"/>
                        </a:rPr>
                        <a:t>, Tanzania, Ukraine, Viet Nam</a:t>
                      </a:r>
                    </a:p>
                  </a:txBody>
                  <a:tcPr marL="0" marR="0" marT="0" marB="0">
                    <a:lnL>
                      <a:noFill/>
                    </a:lnL>
                    <a:lnR>
                      <a:noFill/>
                    </a:lnR>
                    <a:lnT>
                      <a:noFill/>
                    </a:lnT>
                    <a:lnB>
                      <a:noFill/>
                    </a:lnB>
                    <a:solidFill>
                      <a:srgbClr val="C3D69B"/>
                    </a:solidFill>
                  </a:tcPr>
                </a:tc>
                <a:tc>
                  <a:txBody>
                    <a:bodyPr/>
                    <a:lstStyle/>
                    <a:p>
                      <a:pPr algn="ctr" fontAlgn="t"/>
                      <a:r>
                        <a:rPr lang="en-US" sz="800" b="0" i="0" u="none" strike="noStrike" dirty="0">
                          <a:solidFill>
                            <a:srgbClr val="000000"/>
                          </a:solidFill>
                          <a:effectLst/>
                          <a:latin typeface="Arial"/>
                          <a:cs typeface="Arial"/>
                        </a:rPr>
                        <a:t> </a:t>
                      </a:r>
                    </a:p>
                  </a:txBody>
                  <a:tcPr marL="0" marR="0" marT="0" marB="0">
                    <a:lnL>
                      <a:noFill/>
                    </a:lnL>
                    <a:lnR>
                      <a:noFill/>
                    </a:lnR>
                    <a:lnT>
                      <a:noFill/>
                    </a:lnT>
                    <a:lnB>
                      <a:noFill/>
                    </a:lnB>
                    <a:noFill/>
                  </a:tcPr>
                </a:tc>
                <a:tc>
                  <a:txBody>
                    <a:bodyPr/>
                    <a:lstStyle/>
                    <a:p>
                      <a:pPr algn="ctr" fontAlgn="t"/>
                      <a:endParaRPr lang="en-US" sz="800" b="0" i="0" u="none" strike="noStrike" dirty="0">
                        <a:solidFill>
                          <a:srgbClr val="000000"/>
                        </a:solidFill>
                        <a:effectLst/>
                        <a:latin typeface="Arial"/>
                        <a:cs typeface="Arial"/>
                      </a:endParaRPr>
                    </a:p>
                  </a:txBody>
                  <a:tcPr marL="0" marR="0" marT="0" marB="0">
                    <a:lnL>
                      <a:noFill/>
                    </a:lnL>
                    <a:lnR>
                      <a:noFill/>
                    </a:lnR>
                    <a:lnT>
                      <a:noFill/>
                    </a:lnT>
                    <a:lnB>
                      <a:noFill/>
                    </a:lnB>
                    <a:noFill/>
                  </a:tcPr>
                </a:tc>
              </a:tr>
              <a:tr h="207776">
                <a:tc>
                  <a:txBody>
                    <a:bodyPr/>
                    <a:lstStyle/>
                    <a:p>
                      <a:pPr algn="ctr" fontAlgn="t"/>
                      <a:r>
                        <a:rPr lang="en-US" sz="800" b="0" i="0" u="none" strike="noStrike" dirty="0">
                          <a:solidFill>
                            <a:srgbClr val="000000"/>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000000"/>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000000"/>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000000"/>
                          </a:solidFill>
                          <a:effectLst/>
                          <a:latin typeface="Arial"/>
                          <a:cs typeface="Arial"/>
                        </a:rPr>
                        <a:t>Consider for &lt;500</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Guinea</a:t>
                      </a:r>
                    </a:p>
                  </a:txBody>
                  <a:tcPr marL="0" marR="0" marT="0" marB="0">
                    <a:lnL>
                      <a:noFill/>
                    </a:lnL>
                    <a:lnR>
                      <a:noFill/>
                    </a:lnR>
                    <a:lnT>
                      <a:noFill/>
                    </a:lnT>
                    <a:lnB>
                      <a:noFill/>
                    </a:lnB>
                    <a:solidFill>
                      <a:srgbClr val="95B3D7"/>
                    </a:solidFill>
                  </a:tcPr>
                </a:tc>
                <a:tc>
                  <a:txBody>
                    <a:bodyPr/>
                    <a:lstStyle/>
                    <a:p>
                      <a:pPr algn="ctr" fontAlgn="t"/>
                      <a:r>
                        <a:rPr lang="en-US" sz="800" b="0" i="0" u="none" strike="noStrike" dirty="0">
                          <a:solidFill>
                            <a:srgbClr val="000000"/>
                          </a:solidFill>
                          <a:effectLst/>
                          <a:latin typeface="Arial"/>
                          <a:cs typeface="Arial"/>
                        </a:rPr>
                        <a:t>Consider for &lt;500</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Belize</a:t>
                      </a:r>
                    </a:p>
                  </a:txBody>
                  <a:tcPr marL="0" marR="0" marT="0" marB="0">
                    <a:lnL>
                      <a:noFill/>
                    </a:lnL>
                    <a:lnR>
                      <a:noFill/>
                    </a:lnR>
                    <a:lnT>
                      <a:noFill/>
                    </a:lnT>
                    <a:lnB>
                      <a:noFill/>
                    </a:lnB>
                    <a:solidFill>
                      <a:srgbClr val="95B3D7"/>
                    </a:solidFill>
                  </a:tcPr>
                </a:tc>
                <a:tc>
                  <a:txBody>
                    <a:bodyPr/>
                    <a:lstStyle/>
                    <a:p>
                      <a:pPr algn="ctr" fontAlgn="t"/>
                      <a:r>
                        <a:rPr lang="en-US" sz="800" b="0" i="0" u="none" strike="noStrike" dirty="0">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FFFFFF"/>
                          </a:solidFill>
                          <a:effectLst/>
                          <a:latin typeface="Arial"/>
                          <a:cs typeface="Arial"/>
                        </a:rPr>
                        <a:t>Consider for &lt;500</a:t>
                      </a:r>
                      <a:br>
                        <a:rPr lang="en-US" sz="800" b="0" i="0" u="none" strike="noStrike" dirty="0">
                          <a:solidFill>
                            <a:srgbClr val="FFFFFF"/>
                          </a:solidFill>
                          <a:effectLst/>
                          <a:latin typeface="Arial"/>
                          <a:cs typeface="Arial"/>
                        </a:rPr>
                      </a:br>
                      <a:r>
                        <a:rPr lang="en-US" sz="800" b="0" i="0" u="none" strike="noStrike" dirty="0">
                          <a:solidFill>
                            <a:srgbClr val="FFFFFF"/>
                          </a:solidFill>
                          <a:effectLst/>
                          <a:latin typeface="Arial"/>
                          <a:cs typeface="Arial"/>
                        </a:rPr>
                        <a:t>Costa Rica, </a:t>
                      </a:r>
                      <a:r>
                        <a:rPr lang="en-US" sz="800" b="0" i="0" u="none" strike="noStrike" dirty="0" smtClean="0">
                          <a:solidFill>
                            <a:srgbClr val="FFFFFF"/>
                          </a:solidFill>
                          <a:effectLst/>
                          <a:latin typeface="Arial"/>
                          <a:cs typeface="Arial"/>
                        </a:rPr>
                        <a:t>Finland, Philippines</a:t>
                      </a:r>
                      <a:endParaRPr lang="en-US" sz="800" b="0" i="0" u="none" strike="noStrike" dirty="0">
                        <a:solidFill>
                          <a:srgbClr val="FFFFFF"/>
                        </a:solidFill>
                        <a:effectLst/>
                        <a:latin typeface="Arial"/>
                        <a:cs typeface="Arial"/>
                      </a:endParaRPr>
                    </a:p>
                  </a:txBody>
                  <a:tcPr marL="0" marR="0" marT="0" marB="0">
                    <a:lnL>
                      <a:noFill/>
                    </a:lnL>
                    <a:lnR>
                      <a:noFill/>
                    </a:lnR>
                    <a:lnT>
                      <a:noFill/>
                    </a:lnT>
                    <a:lnB>
                      <a:noFill/>
                    </a:lnB>
                    <a:solidFill>
                      <a:schemeClr val="accent2">
                        <a:lumMod val="75000"/>
                      </a:schemeClr>
                    </a:solidFill>
                  </a:tcPr>
                </a:tc>
                <a:tc>
                  <a:txBody>
                    <a:bodyPr/>
                    <a:lstStyle/>
                    <a:p>
                      <a:pPr algn="ctr" fontAlgn="t"/>
                      <a:r>
                        <a:rPr lang="en-US" sz="800" b="0" i="0" u="none" strike="noStrike" dirty="0">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endParaRPr lang="en-US" sz="800" b="0" i="0" u="none" strike="noStrike" dirty="0">
                        <a:solidFill>
                          <a:srgbClr val="FFFFFF"/>
                        </a:solidFill>
                        <a:effectLst/>
                        <a:latin typeface="Arial"/>
                        <a:cs typeface="Arial"/>
                      </a:endParaRPr>
                    </a:p>
                  </a:txBody>
                  <a:tcPr marL="0" marR="0" marT="0" marB="0">
                    <a:lnL>
                      <a:noFill/>
                    </a:lnL>
                    <a:lnR>
                      <a:noFill/>
                    </a:lnR>
                    <a:lnT>
                      <a:noFill/>
                    </a:lnT>
                    <a:lnB>
                      <a:noFill/>
                    </a:lnB>
                    <a:noFill/>
                  </a:tcPr>
                </a:tc>
              </a:tr>
              <a:tr h="569708">
                <a:tc>
                  <a:txBody>
                    <a:bodyPr/>
                    <a:lstStyle/>
                    <a:p>
                      <a:pPr algn="ctr" fontAlgn="t"/>
                      <a:r>
                        <a:rPr lang="en-US" sz="800" b="0" i="0" u="none" strike="noStrike" dirty="0">
                          <a:solidFill>
                            <a:srgbClr val="000000"/>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000000"/>
                          </a:solidFill>
                          <a:effectLst/>
                          <a:latin typeface="Arial"/>
                          <a:cs typeface="Arial"/>
                        </a:rPr>
                        <a:t>&lt;350</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Burkina Faso, Canada, Djibouti, Ghana, </a:t>
                      </a:r>
                      <a:r>
                        <a:rPr lang="en-US" sz="800" b="0" i="0" u="none" strike="noStrike" dirty="0" smtClean="0">
                          <a:solidFill>
                            <a:srgbClr val="000000"/>
                          </a:solidFill>
                          <a:effectLst/>
                          <a:latin typeface="Arial"/>
                          <a:cs typeface="Arial"/>
                        </a:rPr>
                        <a:t>Nicaragua, Niger,, Panama, Paraguay, </a:t>
                      </a:r>
                      <a:r>
                        <a:rPr lang="en-US" sz="800" b="0" i="0" u="none" strike="noStrike" dirty="0">
                          <a:solidFill>
                            <a:srgbClr val="000000"/>
                          </a:solidFill>
                          <a:effectLst/>
                          <a:latin typeface="Arial"/>
                          <a:cs typeface="Arial"/>
                        </a:rPr>
                        <a:t>Sierra Leone</a:t>
                      </a:r>
                    </a:p>
                  </a:txBody>
                  <a:tcPr marL="0" marR="0" marT="0" marB="0">
                    <a:lnL>
                      <a:noFill/>
                    </a:lnL>
                    <a:lnR>
                      <a:noFill/>
                    </a:lnR>
                    <a:lnT>
                      <a:noFill/>
                    </a:lnT>
                    <a:lnB>
                      <a:noFill/>
                    </a:lnB>
                    <a:solidFill>
                      <a:srgbClr val="95B3D7"/>
                    </a:solidFill>
                  </a:tcPr>
                </a:tc>
                <a:tc>
                  <a:txBody>
                    <a:bodyPr/>
                    <a:lstStyle/>
                    <a:p>
                      <a:pPr algn="ctr" fontAlgn="t"/>
                      <a:r>
                        <a:rPr lang="en-US" sz="800" b="0" i="0" u="none" strike="noStrike" dirty="0">
                          <a:solidFill>
                            <a:srgbClr val="000000"/>
                          </a:solidFill>
                          <a:effectLst/>
                          <a:latin typeface="Arial"/>
                          <a:cs typeface="Arial"/>
                        </a:rPr>
                        <a:t>&lt;350</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Guatemala, Kazakhstan, Morocco</a:t>
                      </a:r>
                    </a:p>
                  </a:txBody>
                  <a:tcPr marL="0" marR="0" marT="0" marB="0">
                    <a:lnL>
                      <a:noFill/>
                    </a:lnL>
                    <a:lnR>
                      <a:noFill/>
                    </a:lnR>
                    <a:lnT>
                      <a:noFill/>
                    </a:lnT>
                    <a:lnB>
                      <a:noFill/>
                    </a:lnB>
                    <a:solidFill>
                      <a:srgbClr val="C3D69B"/>
                    </a:solidFill>
                  </a:tcPr>
                </a:tc>
                <a:tc>
                  <a:txBody>
                    <a:bodyPr/>
                    <a:lstStyle/>
                    <a:p>
                      <a:pPr algn="ctr" fontAlgn="t"/>
                      <a:r>
                        <a:rPr lang="en-US" sz="800" b="0" i="0" u="none" strike="noStrike" dirty="0">
                          <a:solidFill>
                            <a:srgbClr val="000000"/>
                          </a:solidFill>
                          <a:effectLst/>
                          <a:latin typeface="Arial"/>
                          <a:cs typeface="Arial"/>
                        </a:rPr>
                        <a:t>&lt;350</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Afghanistan, Angola, </a:t>
                      </a:r>
                      <a:r>
                        <a:rPr lang="en-US" sz="800" b="0" i="0" u="none" strike="noStrike" dirty="0" smtClean="0">
                          <a:solidFill>
                            <a:srgbClr val="000000"/>
                          </a:solidFill>
                          <a:effectLst/>
                          <a:latin typeface="Arial"/>
                          <a:cs typeface="Arial"/>
                        </a:rPr>
                        <a:t>Indonesia</a:t>
                      </a:r>
                      <a:r>
                        <a:rPr lang="en-US" sz="800" b="0" i="0" u="none" strike="noStrike" dirty="0">
                          <a:solidFill>
                            <a:srgbClr val="000000"/>
                          </a:solidFill>
                          <a:effectLst/>
                          <a:latin typeface="Arial"/>
                          <a:cs typeface="Arial"/>
                        </a:rPr>
                        <a:t>, </a:t>
                      </a:r>
                      <a:r>
                        <a:rPr lang="en-US" sz="800" b="0" i="0" u="none" strike="noStrike" dirty="0" smtClean="0">
                          <a:solidFill>
                            <a:srgbClr val="000000"/>
                          </a:solidFill>
                          <a:effectLst/>
                          <a:latin typeface="Arial"/>
                          <a:cs typeface="Arial"/>
                        </a:rPr>
                        <a:t>Timor</a:t>
                      </a:r>
                      <a:r>
                        <a:rPr lang="en-US" sz="800" b="0" i="0" u="none" strike="noStrike" dirty="0">
                          <a:solidFill>
                            <a:srgbClr val="000000"/>
                          </a:solidFill>
                          <a:effectLst/>
                          <a:latin typeface="Arial"/>
                          <a:cs typeface="Arial"/>
                        </a:rPr>
                        <a:t>-Leste</a:t>
                      </a:r>
                    </a:p>
                  </a:txBody>
                  <a:tcPr marL="0" marR="0" marT="0" marB="0">
                    <a:lnL>
                      <a:noFill/>
                    </a:lnL>
                    <a:lnR>
                      <a:noFill/>
                    </a:lnR>
                    <a:lnT>
                      <a:noFill/>
                    </a:lnT>
                    <a:lnB>
                      <a:noFill/>
                    </a:lnB>
                    <a:solidFill>
                      <a:srgbClr val="C3D69B"/>
                    </a:solidFill>
                  </a:tcPr>
                </a:tc>
                <a:tc>
                  <a:txBody>
                    <a:bodyPr/>
                    <a:lstStyle/>
                    <a:p>
                      <a:pPr algn="ctr" fontAlgn="t"/>
                      <a:r>
                        <a:rPr lang="en-US" sz="800" b="0" i="0" u="none" strike="noStrike" dirty="0">
                          <a:solidFill>
                            <a:srgbClr val="000000"/>
                          </a:solidFill>
                          <a:effectLst/>
                          <a:latin typeface="Arial"/>
                          <a:cs typeface="Arial"/>
                        </a:rPr>
                        <a:t>&lt;350</a:t>
                      </a:r>
                      <a:br>
                        <a:rPr lang="en-US" sz="800" b="0" i="0" u="none" strike="noStrike" dirty="0">
                          <a:solidFill>
                            <a:srgbClr val="000000"/>
                          </a:solidFill>
                          <a:effectLst/>
                          <a:latin typeface="Arial"/>
                          <a:cs typeface="Arial"/>
                        </a:rPr>
                      </a:br>
                      <a:r>
                        <a:rPr lang="en-US" sz="800" b="0" i="0" u="none" strike="noStrike" dirty="0" smtClean="0">
                          <a:solidFill>
                            <a:srgbClr val="000000"/>
                          </a:solidFill>
                          <a:effectLst/>
                          <a:latin typeface="Arial"/>
                          <a:cs typeface="Arial"/>
                        </a:rPr>
                        <a:t>Benin</a:t>
                      </a:r>
                      <a:endParaRPr lang="en-US" sz="800" b="0" i="0" u="none" strike="noStrike" dirty="0">
                        <a:solidFill>
                          <a:srgbClr val="000000"/>
                        </a:solidFill>
                        <a:effectLst/>
                        <a:latin typeface="Arial"/>
                        <a:cs typeface="Arial"/>
                      </a:endParaRPr>
                    </a:p>
                  </a:txBody>
                  <a:tcPr marL="0" marR="0" marT="0" marB="0">
                    <a:lnL>
                      <a:noFill/>
                    </a:lnL>
                    <a:lnR>
                      <a:noFill/>
                    </a:lnR>
                    <a:lnT>
                      <a:noFill/>
                    </a:lnT>
                    <a:lnB>
                      <a:noFill/>
                    </a:lnB>
                    <a:solidFill>
                      <a:srgbClr val="C3D69B"/>
                    </a:solidFill>
                  </a:tcPr>
                </a:tc>
                <a:tc>
                  <a:txBody>
                    <a:bodyPr/>
                    <a:lstStyle/>
                    <a:p>
                      <a:pPr algn="ctr" fontAlgn="t"/>
                      <a:r>
                        <a:rPr lang="en-US" sz="800" b="0" i="0" u="none" strike="noStrike" dirty="0">
                          <a:solidFill>
                            <a:srgbClr val="FFFFFF"/>
                          </a:solidFill>
                          <a:effectLst/>
                          <a:latin typeface="Arial"/>
                          <a:cs typeface="Arial"/>
                        </a:rPr>
                        <a:t>&lt;350</a:t>
                      </a:r>
                      <a:br>
                        <a:rPr lang="en-US" sz="800" b="0" i="0" u="none" strike="noStrike" dirty="0">
                          <a:solidFill>
                            <a:srgbClr val="FFFFFF"/>
                          </a:solidFill>
                          <a:effectLst/>
                          <a:latin typeface="Arial"/>
                          <a:cs typeface="Arial"/>
                        </a:rPr>
                      </a:br>
                      <a:r>
                        <a:rPr lang="en-US" sz="800" b="0" i="0" u="none" strike="noStrike" dirty="0">
                          <a:solidFill>
                            <a:srgbClr val="FFFFFF"/>
                          </a:solidFill>
                          <a:effectLst/>
                          <a:latin typeface="Arial"/>
                          <a:cs typeface="Arial"/>
                        </a:rPr>
                        <a:t>Cote d’Ivoire, Dominican Republic, Marshall Islands, Samoa, Tuvalu, Vanuatu</a:t>
                      </a:r>
                    </a:p>
                  </a:txBody>
                  <a:tcPr marL="0" marR="0" marT="0" marB="0">
                    <a:lnL>
                      <a:noFill/>
                    </a:lnL>
                    <a:lnR>
                      <a:noFill/>
                    </a:lnR>
                    <a:lnT>
                      <a:noFill/>
                    </a:lnT>
                    <a:lnB>
                      <a:noFill/>
                    </a:lnB>
                    <a:solidFill>
                      <a:srgbClr val="953735"/>
                    </a:solidFill>
                  </a:tcPr>
                </a:tc>
                <a:tc>
                  <a:txBody>
                    <a:bodyPr/>
                    <a:lstStyle/>
                    <a:p>
                      <a:pPr algn="ctr" fontAlgn="t"/>
                      <a:r>
                        <a:rPr lang="en-US" sz="800" b="0" i="0" u="none" strike="noStrike" dirty="0">
                          <a:solidFill>
                            <a:srgbClr val="FFFFFF"/>
                          </a:solidFill>
                          <a:effectLst/>
                          <a:latin typeface="Arial"/>
                          <a:cs typeface="Arial"/>
                        </a:rPr>
                        <a:t>&lt;350</a:t>
                      </a:r>
                      <a:br>
                        <a:rPr lang="en-US" sz="800" b="0" i="0" u="none" strike="noStrike" dirty="0">
                          <a:solidFill>
                            <a:srgbClr val="FFFFFF"/>
                          </a:solidFill>
                          <a:effectLst/>
                          <a:latin typeface="Arial"/>
                          <a:cs typeface="Arial"/>
                        </a:rPr>
                      </a:br>
                      <a:r>
                        <a:rPr lang="en-US" sz="800" b="0" i="0" u="none" strike="noStrike" dirty="0">
                          <a:solidFill>
                            <a:srgbClr val="FFFFFF"/>
                          </a:solidFill>
                          <a:effectLst/>
                          <a:latin typeface="Arial"/>
                          <a:cs typeface="Arial"/>
                        </a:rPr>
                        <a:t>Latvia</a:t>
                      </a:r>
                    </a:p>
                  </a:txBody>
                  <a:tcPr marL="0" marR="0" marT="0" marB="0">
                    <a:lnL>
                      <a:noFill/>
                    </a:lnL>
                    <a:lnR>
                      <a:noFill/>
                    </a:lnR>
                    <a:lnT>
                      <a:noFill/>
                    </a:lnT>
                    <a:lnB>
                      <a:noFill/>
                    </a:lnB>
                    <a:solidFill>
                      <a:schemeClr val="accent2">
                        <a:lumMod val="75000"/>
                      </a:schemeClr>
                    </a:solidFill>
                  </a:tcPr>
                </a:tc>
                <a:tc>
                  <a:txBody>
                    <a:bodyPr/>
                    <a:lstStyle/>
                    <a:p>
                      <a:pPr algn="ctr" fontAlgn="t"/>
                      <a:r>
                        <a:rPr lang="en-US" sz="800" b="0" i="0" u="none" strike="noStrike" dirty="0">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endParaRPr lang="en-US" sz="800" b="0" i="0" u="none" strike="noStrike" dirty="0">
                        <a:solidFill>
                          <a:srgbClr val="FFFFFF"/>
                        </a:solidFill>
                        <a:effectLst/>
                        <a:latin typeface="Arial"/>
                        <a:cs typeface="Arial"/>
                      </a:endParaRPr>
                    </a:p>
                  </a:txBody>
                  <a:tcPr marL="0" marR="0" marT="0" marB="0">
                    <a:lnL>
                      <a:noFill/>
                    </a:lnL>
                    <a:lnR>
                      <a:noFill/>
                    </a:lnR>
                    <a:lnT>
                      <a:noFill/>
                    </a:lnT>
                    <a:lnB>
                      <a:noFill/>
                    </a:lnB>
                    <a:noFill/>
                  </a:tcPr>
                </a:tc>
              </a:tr>
              <a:tr h="187669">
                <a:tc>
                  <a:txBody>
                    <a:bodyPr/>
                    <a:lstStyle/>
                    <a:p>
                      <a:pPr algn="ctr" fontAlgn="t"/>
                      <a:r>
                        <a:rPr lang="en-US" sz="800" b="0" i="0" u="none" strike="noStrike" dirty="0">
                          <a:solidFill>
                            <a:srgbClr val="000000"/>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000000"/>
                          </a:solidFill>
                          <a:effectLst/>
                          <a:latin typeface="Arial"/>
                          <a:cs typeface="Arial"/>
                        </a:rPr>
                        <a:t>&lt;300</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Macedonia</a:t>
                      </a:r>
                    </a:p>
                  </a:txBody>
                  <a:tcPr marL="0" marR="0" marT="0" marB="0">
                    <a:lnL>
                      <a:noFill/>
                    </a:lnL>
                    <a:lnR>
                      <a:noFill/>
                    </a:lnR>
                    <a:lnT>
                      <a:noFill/>
                    </a:lnT>
                    <a:lnB>
                      <a:noFill/>
                    </a:lnB>
                    <a:solidFill>
                      <a:srgbClr val="95B3D7"/>
                    </a:solidFill>
                  </a:tcPr>
                </a:tc>
                <a:tc>
                  <a:txBody>
                    <a:bodyPr/>
                    <a:lstStyle/>
                    <a:p>
                      <a:pPr algn="ctr" fontAlgn="t"/>
                      <a:r>
                        <a:rPr lang="en-US" sz="800" b="0" i="0" u="none" strike="noStrike" dirty="0">
                          <a:solidFill>
                            <a:srgbClr val="000000"/>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000000"/>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000000"/>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endParaRPr lang="en-US" sz="800" b="0" i="0" u="none" strike="noStrike" dirty="0">
                        <a:solidFill>
                          <a:srgbClr val="FFFFFF"/>
                        </a:solidFill>
                        <a:effectLst/>
                        <a:latin typeface="Arial"/>
                        <a:cs typeface="Arial"/>
                      </a:endParaRPr>
                    </a:p>
                  </a:txBody>
                  <a:tcPr marL="0" marR="0" marT="0" marB="0">
                    <a:lnL>
                      <a:noFill/>
                    </a:lnL>
                    <a:lnR>
                      <a:noFill/>
                    </a:lnR>
                    <a:lnT>
                      <a:noFill/>
                    </a:lnT>
                    <a:lnB>
                      <a:noFill/>
                    </a:lnB>
                    <a:noFill/>
                  </a:tcPr>
                </a:tc>
              </a:tr>
              <a:tr h="288205">
                <a:tc>
                  <a:txBody>
                    <a:bodyPr/>
                    <a:lstStyle/>
                    <a:p>
                      <a:pPr algn="ctr" fontAlgn="t"/>
                      <a:r>
                        <a:rPr lang="en-US" sz="800" b="0" i="0" u="none" strike="noStrike" dirty="0">
                          <a:solidFill>
                            <a:srgbClr val="000000"/>
                          </a:solidFill>
                          <a:effectLst/>
                          <a:latin typeface="Arial"/>
                          <a:cs typeface="Arial"/>
                        </a:rPr>
                        <a:t>Consider for &lt;350</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Cape Verde, Estonia</a:t>
                      </a:r>
                    </a:p>
                  </a:txBody>
                  <a:tcPr marL="0" marR="0" marT="0" marB="0">
                    <a:lnL>
                      <a:noFill/>
                    </a:lnL>
                    <a:lnR>
                      <a:noFill/>
                    </a:lnR>
                    <a:lnT>
                      <a:noFill/>
                    </a:lnT>
                    <a:lnB>
                      <a:noFill/>
                    </a:lnB>
                    <a:solidFill>
                      <a:srgbClr val="95B3D7"/>
                    </a:solidFill>
                  </a:tcPr>
                </a:tc>
                <a:tc>
                  <a:txBody>
                    <a:bodyPr/>
                    <a:lstStyle/>
                    <a:p>
                      <a:pPr algn="ctr" fontAlgn="t"/>
                      <a:r>
                        <a:rPr lang="en-US" sz="800" b="0" i="0" u="none" strike="noStrike" dirty="0">
                          <a:solidFill>
                            <a:srgbClr val="000000"/>
                          </a:solidFill>
                          <a:effectLst/>
                          <a:latin typeface="Arial"/>
                          <a:cs typeface="Arial"/>
                        </a:rPr>
                        <a:t>Consider for &lt;350</a:t>
                      </a:r>
                      <a:br>
                        <a:rPr lang="en-US" sz="800" b="0" i="0" u="none" strike="noStrike" dirty="0">
                          <a:solidFill>
                            <a:srgbClr val="000000"/>
                          </a:solidFill>
                          <a:effectLst/>
                          <a:latin typeface="Arial"/>
                          <a:cs typeface="Arial"/>
                        </a:rPr>
                      </a:br>
                      <a:r>
                        <a:rPr lang="en-US" sz="800" b="0" i="0" u="none" strike="noStrike" dirty="0" smtClean="0">
                          <a:solidFill>
                            <a:srgbClr val="000000"/>
                          </a:solidFill>
                          <a:effectLst/>
                          <a:latin typeface="Arial"/>
                          <a:cs typeface="Arial"/>
                        </a:rPr>
                        <a:t>Belarus, Cuba</a:t>
                      </a:r>
                      <a:endParaRPr lang="en-US" sz="800" b="0" i="0" u="none" strike="noStrike" dirty="0">
                        <a:solidFill>
                          <a:srgbClr val="000000"/>
                        </a:solidFill>
                        <a:effectLst/>
                        <a:latin typeface="Arial"/>
                        <a:cs typeface="Arial"/>
                      </a:endParaRPr>
                    </a:p>
                  </a:txBody>
                  <a:tcPr marL="0" marR="0" marT="0" marB="0">
                    <a:lnL>
                      <a:noFill/>
                    </a:lnL>
                    <a:lnR>
                      <a:noFill/>
                    </a:lnR>
                    <a:lnT>
                      <a:noFill/>
                    </a:lnT>
                    <a:lnB>
                      <a:noFill/>
                    </a:lnB>
                    <a:solidFill>
                      <a:srgbClr val="C3D69B"/>
                    </a:solidFill>
                  </a:tcPr>
                </a:tc>
                <a:tc>
                  <a:txBody>
                    <a:bodyPr/>
                    <a:lstStyle/>
                    <a:p>
                      <a:pPr algn="ctr" fontAlgn="t"/>
                      <a:r>
                        <a:rPr lang="en-US" sz="800" b="0" i="0" u="none" strike="noStrike" dirty="0">
                          <a:solidFill>
                            <a:srgbClr val="FFFFFF"/>
                          </a:solidFill>
                          <a:effectLst/>
                          <a:latin typeface="Arial"/>
                          <a:cs typeface="Arial"/>
                        </a:rPr>
                        <a:t>Consider for &lt;350</a:t>
                      </a:r>
                      <a:br>
                        <a:rPr lang="en-US" sz="800" b="0" i="0" u="none" strike="noStrike" dirty="0">
                          <a:solidFill>
                            <a:srgbClr val="FFFFFF"/>
                          </a:solidFill>
                          <a:effectLst/>
                          <a:latin typeface="Arial"/>
                          <a:cs typeface="Arial"/>
                        </a:rPr>
                      </a:br>
                      <a:r>
                        <a:rPr lang="en-US" sz="800" b="0" i="0" u="none" strike="noStrike" dirty="0">
                          <a:solidFill>
                            <a:srgbClr val="FFFFFF"/>
                          </a:solidFill>
                          <a:effectLst/>
                          <a:latin typeface="Arial"/>
                          <a:cs typeface="Arial"/>
                        </a:rPr>
                        <a:t>Hungary</a:t>
                      </a:r>
                    </a:p>
                  </a:txBody>
                  <a:tcPr marL="0" marR="0" marT="0" marB="0">
                    <a:lnL>
                      <a:noFill/>
                    </a:lnL>
                    <a:lnR>
                      <a:noFill/>
                    </a:lnR>
                    <a:lnT>
                      <a:noFill/>
                    </a:lnT>
                    <a:lnB>
                      <a:noFill/>
                    </a:lnB>
                    <a:solidFill>
                      <a:srgbClr val="953735"/>
                    </a:solidFill>
                  </a:tcPr>
                </a:tc>
                <a:tc>
                  <a:txBody>
                    <a:bodyPr/>
                    <a:lstStyle/>
                    <a:p>
                      <a:pPr algn="ctr" fontAlgn="t"/>
                      <a:r>
                        <a:rPr lang="en-US" sz="800" b="0" i="0" u="none" strike="noStrike">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endParaRPr lang="en-US" sz="800" b="0" i="0" u="none" strike="noStrike" dirty="0">
                        <a:solidFill>
                          <a:srgbClr val="FFFFFF"/>
                        </a:solidFill>
                        <a:effectLst/>
                        <a:latin typeface="Arial"/>
                        <a:cs typeface="Arial"/>
                      </a:endParaRPr>
                    </a:p>
                  </a:txBody>
                  <a:tcPr marL="0" marR="0" marT="0" marB="0">
                    <a:lnL>
                      <a:noFill/>
                    </a:lnL>
                    <a:lnR>
                      <a:noFill/>
                    </a:lnR>
                    <a:lnT>
                      <a:noFill/>
                    </a:lnT>
                    <a:lnB>
                      <a:noFill/>
                    </a:lnB>
                    <a:noFill/>
                  </a:tcPr>
                </a:tc>
              </a:tr>
              <a:tr h="288205">
                <a:tc>
                  <a:txBody>
                    <a:bodyPr/>
                    <a:lstStyle/>
                    <a:p>
                      <a:pPr algn="ctr" fontAlgn="t"/>
                      <a:r>
                        <a:rPr lang="en-US" sz="800" b="0" i="0" u="none" strike="noStrike" dirty="0">
                          <a:solidFill>
                            <a:srgbClr val="000000"/>
                          </a:solidFill>
                          <a:effectLst/>
                          <a:latin typeface="Arial"/>
                          <a:cs typeface="Arial"/>
                        </a:rPr>
                        <a:t>&lt;200</a:t>
                      </a:r>
                      <a:br>
                        <a:rPr lang="en-US" sz="800" b="0" i="0" u="none" strike="noStrike" dirty="0">
                          <a:solidFill>
                            <a:srgbClr val="000000"/>
                          </a:solidFill>
                          <a:effectLst/>
                          <a:latin typeface="Arial"/>
                          <a:cs typeface="Arial"/>
                        </a:rPr>
                      </a:br>
                      <a:r>
                        <a:rPr lang="en-US" sz="800" b="0" i="0" u="none" strike="noStrike" dirty="0">
                          <a:solidFill>
                            <a:srgbClr val="000000"/>
                          </a:solidFill>
                          <a:effectLst/>
                          <a:latin typeface="Arial"/>
                          <a:cs typeface="Arial"/>
                        </a:rPr>
                        <a:t>Senegal</a:t>
                      </a:r>
                    </a:p>
                  </a:txBody>
                  <a:tcPr marL="0" marR="0" marT="0" marB="0">
                    <a:lnL>
                      <a:noFill/>
                    </a:lnL>
                    <a:lnR>
                      <a:noFill/>
                    </a:lnR>
                    <a:lnT>
                      <a:noFill/>
                    </a:lnT>
                    <a:lnB>
                      <a:noFill/>
                    </a:lnB>
                    <a:solidFill>
                      <a:srgbClr val="C3D69B"/>
                    </a:solidFill>
                  </a:tcPr>
                </a:tc>
                <a:tc>
                  <a:txBody>
                    <a:bodyPr/>
                    <a:lstStyle/>
                    <a:p>
                      <a:pPr algn="ctr" fontAlgn="t"/>
                      <a:r>
                        <a:rPr lang="en-US" sz="800" b="0" i="0" u="none" strike="noStrike" dirty="0">
                          <a:solidFill>
                            <a:srgbClr val="FFFFFF"/>
                          </a:solidFill>
                          <a:effectLst/>
                          <a:latin typeface="Arial"/>
                          <a:cs typeface="Arial"/>
                        </a:rPr>
                        <a:t>&lt;200</a:t>
                      </a:r>
                      <a:br>
                        <a:rPr lang="en-US" sz="800" b="0" i="0" u="none" strike="noStrike" dirty="0">
                          <a:solidFill>
                            <a:srgbClr val="FFFFFF"/>
                          </a:solidFill>
                          <a:effectLst/>
                          <a:latin typeface="Arial"/>
                          <a:cs typeface="Arial"/>
                        </a:rPr>
                      </a:br>
                      <a:r>
                        <a:rPr lang="en-US" sz="800" b="0" i="0" u="none" strike="noStrike" dirty="0" smtClean="0">
                          <a:solidFill>
                            <a:srgbClr val="FFFFFF"/>
                          </a:solidFill>
                          <a:effectLst/>
                          <a:latin typeface="Arial"/>
                          <a:cs typeface="Arial"/>
                        </a:rPr>
                        <a:t>Comoros</a:t>
                      </a:r>
                      <a:endParaRPr lang="en-US" sz="800" b="0" i="0" u="none" strike="noStrike" dirty="0">
                        <a:solidFill>
                          <a:srgbClr val="FFFFFF"/>
                        </a:solidFill>
                        <a:effectLst/>
                        <a:latin typeface="Arial"/>
                        <a:cs typeface="Arial"/>
                      </a:endParaRPr>
                    </a:p>
                  </a:txBody>
                  <a:tcPr marL="0" marR="0" marT="0" marB="0">
                    <a:lnL>
                      <a:noFill/>
                    </a:lnL>
                    <a:lnR>
                      <a:noFill/>
                    </a:lnR>
                    <a:lnT>
                      <a:noFill/>
                    </a:lnT>
                    <a:lnB>
                      <a:noFill/>
                    </a:lnB>
                    <a:solidFill>
                      <a:srgbClr val="953735"/>
                    </a:solidFill>
                  </a:tcPr>
                </a:tc>
                <a:tc>
                  <a:txBody>
                    <a:bodyPr/>
                    <a:lstStyle/>
                    <a:p>
                      <a:pPr algn="ctr" fontAlgn="t"/>
                      <a:r>
                        <a:rPr lang="en-US" sz="800" b="0" i="0" u="none" strike="noStrike" dirty="0">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r>
                        <a:rPr lang="en-US" sz="800" b="0" i="0" u="none" strike="noStrike" dirty="0">
                          <a:solidFill>
                            <a:srgbClr val="FFFFFF"/>
                          </a:solidFill>
                          <a:effectLst/>
                          <a:latin typeface="Arial"/>
                          <a:cs typeface="Arial"/>
                        </a:rPr>
                        <a:t> </a:t>
                      </a:r>
                    </a:p>
                  </a:txBody>
                  <a:tcPr marL="0" marR="0" marT="0" marB="0">
                    <a:lnL>
                      <a:noFill/>
                    </a:lnL>
                    <a:lnR>
                      <a:noFill/>
                    </a:lnR>
                    <a:lnT>
                      <a:noFill/>
                    </a:lnT>
                    <a:lnB>
                      <a:noFill/>
                    </a:lnB>
                    <a:noFill/>
                  </a:tcPr>
                </a:tc>
                <a:tc>
                  <a:txBody>
                    <a:bodyPr/>
                    <a:lstStyle/>
                    <a:p>
                      <a:pPr algn="ctr" fontAlgn="t"/>
                      <a:endParaRPr lang="en-US" sz="800" b="0" i="0" u="none" strike="noStrike" dirty="0">
                        <a:solidFill>
                          <a:srgbClr val="FFFFFF"/>
                        </a:solidFill>
                        <a:effectLst/>
                        <a:latin typeface="Arial"/>
                        <a:cs typeface="Arial"/>
                      </a:endParaRPr>
                    </a:p>
                  </a:txBody>
                  <a:tcPr marL="0" marR="0" marT="0" marB="0">
                    <a:lnL>
                      <a:noFill/>
                    </a:lnL>
                    <a:lnR>
                      <a:noFill/>
                    </a:lnR>
                    <a:lnT>
                      <a:noFill/>
                    </a:lnT>
                    <a:lnB>
                      <a:noFill/>
                    </a:lnB>
                    <a:noFill/>
                  </a:tcPr>
                </a:tc>
              </a:tr>
            </a:tbl>
          </a:graphicData>
        </a:graphic>
      </p:graphicFrame>
    </p:spTree>
    <p:extLst>
      <p:ext uri="{BB962C8B-B14F-4D97-AF65-F5344CB8AC3E}">
        <p14:creationId xmlns:p14="http://schemas.microsoft.com/office/powerpoint/2010/main" val="3506593095"/>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57150" y="1378932"/>
            <a:ext cx="9015413" cy="4874102"/>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p:nvSpPr>
        <p:spPr>
          <a:xfrm>
            <a:off x="93134" y="6320765"/>
            <a:ext cx="2165979" cy="307777"/>
          </a:xfrm>
          <a:prstGeom prst="rect">
            <a:avLst/>
          </a:prstGeom>
        </p:spPr>
        <p:txBody>
          <a:bodyPr wrap="none">
            <a:spAutoFit/>
          </a:bodyPr>
          <a:lstStyle/>
          <a:p>
            <a:pPr algn="ctr">
              <a:spcBef>
                <a:spcPct val="50000"/>
              </a:spcBef>
            </a:pPr>
            <a:r>
              <a:rPr lang="en-US" sz="1400" b="1" dirty="0" smtClean="0">
                <a:solidFill>
                  <a:srgbClr val="FFFF00"/>
                </a:solidFill>
                <a:ea typeface="ヒラギノ角ゴ Pro W3"/>
                <a:cs typeface="ヒラギノ角ゴ Pro W3"/>
              </a:rPr>
              <a:t>Source</a:t>
            </a:r>
            <a:r>
              <a:rPr lang="en-US" sz="1400" dirty="0" smtClean="0">
                <a:solidFill>
                  <a:srgbClr val="FFFF00"/>
                </a:solidFill>
                <a:ea typeface="ヒラギノ角ゴ Pro W3"/>
                <a:cs typeface="ヒラギノ角ゴ Pro W3"/>
              </a:rPr>
              <a:t>: published policy</a:t>
            </a:r>
            <a:endParaRPr lang="en-US" sz="1400" dirty="0">
              <a:solidFill>
                <a:srgbClr val="FFFF00"/>
              </a:solidFill>
              <a:ea typeface="ヒラギノ角ゴ Pro W3"/>
              <a:cs typeface="ヒラギノ角ゴ Pro W3"/>
            </a:endParaRPr>
          </a:p>
        </p:txBody>
      </p:sp>
      <p:sp>
        <p:nvSpPr>
          <p:cNvPr id="20" name="Text Box 4"/>
          <p:cNvSpPr txBox="1">
            <a:spLocks noChangeArrowheads="1"/>
          </p:cNvSpPr>
          <p:nvPr/>
        </p:nvSpPr>
        <p:spPr bwMode="auto">
          <a:xfrm>
            <a:off x="1" y="223006"/>
            <a:ext cx="9143999" cy="646331"/>
          </a:xfrm>
          <a:prstGeom prst="rect">
            <a:avLst/>
          </a:prstGeom>
          <a:noFill/>
          <a:ln w="9525">
            <a:noFill/>
            <a:miter lim="800000"/>
            <a:headEnd/>
            <a:tailEnd/>
          </a:ln>
        </p:spPr>
        <p:txBody>
          <a:bodyPr wrap="square">
            <a:spAutoFit/>
          </a:bodyPr>
          <a:lstStyle/>
          <a:p>
            <a:pPr algn="ctr">
              <a:spcBef>
                <a:spcPct val="50000"/>
              </a:spcBef>
            </a:pPr>
            <a:r>
              <a:rPr lang="en-US" sz="3600" dirty="0" smtClean="0">
                <a:solidFill>
                  <a:srgbClr val="FFFF00"/>
                </a:solidFill>
                <a:ea typeface="ヒラギノ角ゴ Pro W3"/>
                <a:cs typeface="ヒラギノ角ゴ Pro W3"/>
              </a:rPr>
              <a:t>ART initiation for asymptomatic people</a:t>
            </a:r>
            <a:endParaRPr lang="en-US" sz="3600" dirty="0">
              <a:solidFill>
                <a:srgbClr val="FFFF00"/>
              </a:solidFill>
              <a:ea typeface="ヒラギノ角ゴ Pro W3"/>
              <a:cs typeface="ヒラギノ角ゴ Pro W3"/>
            </a:endParaRPr>
          </a:p>
        </p:txBody>
      </p:sp>
      <p:sp>
        <p:nvSpPr>
          <p:cNvPr id="21" name="Text Box 5"/>
          <p:cNvSpPr txBox="1">
            <a:spLocks noChangeArrowheads="1"/>
          </p:cNvSpPr>
          <p:nvPr/>
        </p:nvSpPr>
        <p:spPr bwMode="auto">
          <a:xfrm>
            <a:off x="1689092" y="921846"/>
            <a:ext cx="5795433" cy="338554"/>
          </a:xfrm>
          <a:prstGeom prst="rect">
            <a:avLst/>
          </a:prstGeom>
          <a:noFill/>
          <a:ln w="9525">
            <a:solidFill>
              <a:schemeClr val="bg1"/>
            </a:solidFill>
            <a:miter lim="800000"/>
            <a:headEnd/>
            <a:tailEnd/>
          </a:ln>
        </p:spPr>
        <p:txBody>
          <a:bodyPr wrap="square">
            <a:spAutoFit/>
          </a:bodyPr>
          <a:lstStyle/>
          <a:p>
            <a:pPr algn="ctr">
              <a:spcBef>
                <a:spcPct val="50000"/>
              </a:spcBef>
            </a:pPr>
            <a:r>
              <a:rPr lang="en-US" sz="1600" dirty="0" smtClean="0">
                <a:solidFill>
                  <a:schemeClr val="bg1"/>
                </a:solidFill>
                <a:ea typeface="ヒラギノ角ゴ Pro W3"/>
                <a:cs typeface="ヒラギノ角ゴ Pro W3"/>
              </a:rPr>
              <a:t>2015 </a:t>
            </a:r>
            <a:r>
              <a:rPr lang="en-US" sz="1600" dirty="0">
                <a:solidFill>
                  <a:schemeClr val="bg1"/>
                </a:solidFill>
                <a:ea typeface="ヒラギノ角ゴ Pro W3"/>
                <a:cs typeface="ヒラギノ角ゴ Pro W3"/>
              </a:rPr>
              <a:t>WHO Recommendation : </a:t>
            </a:r>
            <a:r>
              <a:rPr lang="en-US" sz="1600" dirty="0" smtClean="0">
                <a:solidFill>
                  <a:schemeClr val="bg1"/>
                </a:solidFill>
                <a:ea typeface="ヒラギノ角ゴ Pro W3"/>
                <a:cs typeface="ヒラギノ角ゴ Pro W3"/>
              </a:rPr>
              <a:t>Irrespective of CD4 count</a:t>
            </a:r>
            <a:endParaRPr lang="en-US" sz="1600" dirty="0">
              <a:solidFill>
                <a:schemeClr val="bg1"/>
              </a:solidFill>
              <a:ea typeface="ヒラギノ角ゴ Pro W3"/>
              <a:cs typeface="ヒラギノ角ゴ Pro W3"/>
            </a:endParaRPr>
          </a:p>
        </p:txBody>
      </p:sp>
      <p:pic>
        <p:nvPicPr>
          <p:cNvPr id="22" name="Picture 21"/>
          <p:cNvPicPr>
            <a:picLocks noChangeAspect="1"/>
          </p:cNvPicPr>
          <p:nvPr/>
        </p:nvPicPr>
        <p:blipFill>
          <a:blip r:embed="rId3"/>
          <a:stretch>
            <a:fillRect/>
          </a:stretch>
        </p:blipFill>
        <p:spPr>
          <a:xfrm>
            <a:off x="7747000" y="6324600"/>
            <a:ext cx="1397000" cy="533400"/>
          </a:xfrm>
          <a:prstGeom prst="rect">
            <a:avLst/>
          </a:prstGeom>
          <a:ln>
            <a:noFill/>
          </a:ln>
        </p:spPr>
      </p:pic>
      <p:grpSp>
        <p:nvGrpSpPr>
          <p:cNvPr id="25" name="Group 21"/>
          <p:cNvGrpSpPr>
            <a:grpSpLocks/>
          </p:cNvGrpSpPr>
          <p:nvPr/>
        </p:nvGrpSpPr>
        <p:grpSpPr bwMode="auto">
          <a:xfrm>
            <a:off x="57150" y="1489075"/>
            <a:ext cx="9015413" cy="4706938"/>
            <a:chOff x="56622" y="1420934"/>
            <a:chExt cx="9016495" cy="4707467"/>
          </a:xfrm>
        </p:grpSpPr>
        <p:grpSp>
          <p:nvGrpSpPr>
            <p:cNvPr id="26" name="Group 22"/>
            <p:cNvGrpSpPr>
              <a:grpSpLocks/>
            </p:cNvGrpSpPr>
            <p:nvPr/>
          </p:nvGrpSpPr>
          <p:grpSpPr bwMode="auto">
            <a:xfrm>
              <a:off x="56622" y="1420934"/>
              <a:ext cx="9016495" cy="4707467"/>
              <a:chOff x="31222" y="1420934"/>
              <a:chExt cx="9016495" cy="4707467"/>
            </a:xfrm>
          </p:grpSpPr>
          <p:graphicFrame>
            <p:nvGraphicFramePr>
              <p:cNvPr id="38" name="Object 34"/>
              <p:cNvGraphicFramePr>
                <a:graphicFrameLocks noChangeAspect="1"/>
              </p:cNvGraphicFramePr>
              <p:nvPr>
                <p:extLst>
                  <p:ext uri="{D42A27DB-BD31-4B8C-83A1-F6EECF244321}">
                    <p14:modId xmlns:p14="http://schemas.microsoft.com/office/powerpoint/2010/main" val="494234705"/>
                  </p:ext>
                </p:extLst>
              </p:nvPr>
            </p:nvGraphicFramePr>
            <p:xfrm>
              <a:off x="31222" y="1420934"/>
              <a:ext cx="9016495" cy="4707467"/>
            </p:xfrm>
            <a:graphic>
              <a:graphicData uri="http://schemas.openxmlformats.org/presentationml/2006/ole">
                <mc:AlternateContent xmlns:mc="http://schemas.openxmlformats.org/markup-compatibility/2006">
                  <mc:Choice xmlns:v="urn:schemas-microsoft-com:vml" Requires="v">
                    <p:oleObj spid="_x0000_s2890" name="Document" r:id="rId5" imgW="8267700" imgH="4318000" progId="Word.Document.12">
                      <p:embed/>
                    </p:oleObj>
                  </mc:Choice>
                  <mc:Fallback>
                    <p:oleObj name="Document" r:id="rId5" imgW="8267700" imgH="4318000" progId="Word.Document.12">
                      <p:embed/>
                      <p:pic>
                        <p:nvPicPr>
                          <p:cNvPr id="0" name=""/>
                          <p:cNvPicPr>
                            <a:picLocks noChangeAspect="1" noChangeArrowheads="1"/>
                          </p:cNvPicPr>
                          <p:nvPr/>
                        </p:nvPicPr>
                        <p:blipFill>
                          <a:blip r:embed="rId6"/>
                          <a:srcRect/>
                          <a:stretch>
                            <a:fillRect/>
                          </a:stretch>
                        </p:blipFill>
                        <p:spPr bwMode="auto">
                          <a:xfrm>
                            <a:off x="31222" y="1420934"/>
                            <a:ext cx="9016495" cy="4707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9" name="Freeform 125"/>
              <p:cNvSpPr>
                <a:spLocks/>
              </p:cNvSpPr>
              <p:nvPr/>
            </p:nvSpPr>
            <p:spPr bwMode="auto">
              <a:xfrm>
                <a:off x="5067376" y="4909064"/>
                <a:ext cx="47631" cy="46042"/>
              </a:xfrm>
              <a:custGeom>
                <a:avLst/>
                <a:gdLst>
                  <a:gd name="T0" fmla="*/ 126 w 89"/>
                  <a:gd name="T1" fmla="*/ 32 h 79"/>
                  <a:gd name="T2" fmla="*/ 130 w 89"/>
                  <a:gd name="T3" fmla="*/ 42 h 79"/>
                  <a:gd name="T4" fmla="*/ 131 w 89"/>
                  <a:gd name="T5" fmla="*/ 40 h 79"/>
                  <a:gd name="T6" fmla="*/ 131 w 89"/>
                  <a:gd name="T7" fmla="*/ 47 h 79"/>
                  <a:gd name="T8" fmla="*/ 105 w 89"/>
                  <a:gd name="T9" fmla="*/ 80 h 79"/>
                  <a:gd name="T10" fmla="*/ 75 w 89"/>
                  <a:gd name="T11" fmla="*/ 90 h 79"/>
                  <a:gd name="T12" fmla="*/ 65 w 89"/>
                  <a:gd name="T13" fmla="*/ 101 h 79"/>
                  <a:gd name="T14" fmla="*/ 57 w 89"/>
                  <a:gd name="T15" fmla="*/ 105 h 79"/>
                  <a:gd name="T16" fmla="*/ 44 w 89"/>
                  <a:gd name="T17" fmla="*/ 106 h 79"/>
                  <a:gd name="T18" fmla="*/ 22 w 89"/>
                  <a:gd name="T19" fmla="*/ 92 h 79"/>
                  <a:gd name="T20" fmla="*/ 14 w 89"/>
                  <a:gd name="T21" fmla="*/ 82 h 79"/>
                  <a:gd name="T22" fmla="*/ 3 w 89"/>
                  <a:gd name="T23" fmla="*/ 71 h 79"/>
                  <a:gd name="T24" fmla="*/ 0 w 89"/>
                  <a:gd name="T25" fmla="*/ 60 h 79"/>
                  <a:gd name="T26" fmla="*/ 3 w 89"/>
                  <a:gd name="T27" fmla="*/ 49 h 79"/>
                  <a:gd name="T28" fmla="*/ 29 w 89"/>
                  <a:gd name="T29" fmla="*/ 22 h 79"/>
                  <a:gd name="T30" fmla="*/ 41 w 89"/>
                  <a:gd name="T31" fmla="*/ 16 h 79"/>
                  <a:gd name="T32" fmla="*/ 70 w 89"/>
                  <a:gd name="T33" fmla="*/ 1 h 79"/>
                  <a:gd name="T34" fmla="*/ 85 w 89"/>
                  <a:gd name="T35" fmla="*/ 0 h 79"/>
                  <a:gd name="T36" fmla="*/ 100 w 89"/>
                  <a:gd name="T37" fmla="*/ 3 h 79"/>
                  <a:gd name="T38" fmla="*/ 111 w 89"/>
                  <a:gd name="T39" fmla="*/ 17 h 79"/>
                  <a:gd name="T40" fmla="*/ 115 w 89"/>
                  <a:gd name="T41" fmla="*/ 23 h 79"/>
                  <a:gd name="T42" fmla="*/ 126 w 89"/>
                  <a:gd name="T43" fmla="*/ 32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5" y="25"/>
                    </a:moveTo>
                    <a:lnTo>
                      <a:pt x="88" y="30"/>
                    </a:lnTo>
                    <a:lnTo>
                      <a:pt x="89" y="29"/>
                    </a:lnTo>
                    <a:lnTo>
                      <a:pt x="89" y="35"/>
                    </a:lnTo>
                    <a:lnTo>
                      <a:pt x="71" y="60"/>
                    </a:lnTo>
                    <a:lnTo>
                      <a:pt x="51" y="67"/>
                    </a:lnTo>
                    <a:lnTo>
                      <a:pt x="44" y="75"/>
                    </a:lnTo>
                    <a:lnTo>
                      <a:pt x="38" y="78"/>
                    </a:lnTo>
                    <a:lnTo>
                      <a:pt x="30" y="79"/>
                    </a:lnTo>
                    <a:lnTo>
                      <a:pt x="16" y="69"/>
                    </a:lnTo>
                    <a:lnTo>
                      <a:pt x="8" y="61"/>
                    </a:lnTo>
                    <a:lnTo>
                      <a:pt x="3" y="53"/>
                    </a:lnTo>
                    <a:lnTo>
                      <a:pt x="0" y="45"/>
                    </a:lnTo>
                    <a:lnTo>
                      <a:pt x="3" y="37"/>
                    </a:lnTo>
                    <a:lnTo>
                      <a:pt x="20" y="16"/>
                    </a:lnTo>
                    <a:lnTo>
                      <a:pt x="28" y="10"/>
                    </a:lnTo>
                    <a:lnTo>
                      <a:pt x="48" y="1"/>
                    </a:lnTo>
                    <a:lnTo>
                      <a:pt x="58" y="0"/>
                    </a:lnTo>
                    <a:lnTo>
                      <a:pt x="67" y="3"/>
                    </a:lnTo>
                    <a:lnTo>
                      <a:pt x="75" y="11"/>
                    </a:lnTo>
                    <a:lnTo>
                      <a:pt x="78" y="17"/>
                    </a:lnTo>
                    <a:lnTo>
                      <a:pt x="85" y="25"/>
                    </a:lnTo>
                    <a:close/>
                  </a:path>
                </a:pathLst>
              </a:custGeom>
              <a:solidFill>
                <a:schemeClr val="accent3"/>
              </a:solidFill>
              <a:ln w="7938">
                <a:solidFill>
                  <a:srgbClr val="1C1329"/>
                </a:solidFill>
                <a:miter lim="800000"/>
                <a:headEnd/>
                <a:tailEnd/>
              </a:ln>
            </p:spPr>
            <p:txBody>
              <a:bodyPr/>
              <a:lstStyle/>
              <a:p>
                <a:pPr>
                  <a:defRPr/>
                </a:pPr>
                <a:endParaRPr lang="en-US">
                  <a:ea typeface="ＭＳ Ｐゴシック" charset="0"/>
                  <a:cs typeface="ＭＳ Ｐゴシック" charset="0"/>
                </a:endParaRPr>
              </a:p>
            </p:txBody>
          </p:sp>
          <p:sp>
            <p:nvSpPr>
              <p:cNvPr id="40" name="Freeform 125"/>
              <p:cNvSpPr>
                <a:spLocks/>
              </p:cNvSpPr>
              <p:nvPr/>
            </p:nvSpPr>
            <p:spPr bwMode="auto">
              <a:xfrm>
                <a:off x="5424607" y="3629395"/>
                <a:ext cx="47631" cy="46042"/>
              </a:xfrm>
              <a:custGeom>
                <a:avLst/>
                <a:gdLst>
                  <a:gd name="T0" fmla="*/ 126 w 89"/>
                  <a:gd name="T1" fmla="*/ 32 h 79"/>
                  <a:gd name="T2" fmla="*/ 130 w 89"/>
                  <a:gd name="T3" fmla="*/ 42 h 79"/>
                  <a:gd name="T4" fmla="*/ 131 w 89"/>
                  <a:gd name="T5" fmla="*/ 40 h 79"/>
                  <a:gd name="T6" fmla="*/ 131 w 89"/>
                  <a:gd name="T7" fmla="*/ 47 h 79"/>
                  <a:gd name="T8" fmla="*/ 105 w 89"/>
                  <a:gd name="T9" fmla="*/ 80 h 79"/>
                  <a:gd name="T10" fmla="*/ 75 w 89"/>
                  <a:gd name="T11" fmla="*/ 90 h 79"/>
                  <a:gd name="T12" fmla="*/ 65 w 89"/>
                  <a:gd name="T13" fmla="*/ 101 h 79"/>
                  <a:gd name="T14" fmla="*/ 57 w 89"/>
                  <a:gd name="T15" fmla="*/ 105 h 79"/>
                  <a:gd name="T16" fmla="*/ 44 w 89"/>
                  <a:gd name="T17" fmla="*/ 106 h 79"/>
                  <a:gd name="T18" fmla="*/ 22 w 89"/>
                  <a:gd name="T19" fmla="*/ 92 h 79"/>
                  <a:gd name="T20" fmla="*/ 14 w 89"/>
                  <a:gd name="T21" fmla="*/ 82 h 79"/>
                  <a:gd name="T22" fmla="*/ 3 w 89"/>
                  <a:gd name="T23" fmla="*/ 71 h 79"/>
                  <a:gd name="T24" fmla="*/ 0 w 89"/>
                  <a:gd name="T25" fmla="*/ 60 h 79"/>
                  <a:gd name="T26" fmla="*/ 3 w 89"/>
                  <a:gd name="T27" fmla="*/ 49 h 79"/>
                  <a:gd name="T28" fmla="*/ 29 w 89"/>
                  <a:gd name="T29" fmla="*/ 22 h 79"/>
                  <a:gd name="T30" fmla="*/ 41 w 89"/>
                  <a:gd name="T31" fmla="*/ 16 h 79"/>
                  <a:gd name="T32" fmla="*/ 70 w 89"/>
                  <a:gd name="T33" fmla="*/ 1 h 79"/>
                  <a:gd name="T34" fmla="*/ 85 w 89"/>
                  <a:gd name="T35" fmla="*/ 0 h 79"/>
                  <a:gd name="T36" fmla="*/ 100 w 89"/>
                  <a:gd name="T37" fmla="*/ 3 h 79"/>
                  <a:gd name="T38" fmla="*/ 111 w 89"/>
                  <a:gd name="T39" fmla="*/ 17 h 79"/>
                  <a:gd name="T40" fmla="*/ 115 w 89"/>
                  <a:gd name="T41" fmla="*/ 23 h 79"/>
                  <a:gd name="T42" fmla="*/ 126 w 89"/>
                  <a:gd name="T43" fmla="*/ 32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5" y="25"/>
                    </a:moveTo>
                    <a:lnTo>
                      <a:pt x="88" y="30"/>
                    </a:lnTo>
                    <a:lnTo>
                      <a:pt x="89" y="29"/>
                    </a:lnTo>
                    <a:lnTo>
                      <a:pt x="89" y="35"/>
                    </a:lnTo>
                    <a:lnTo>
                      <a:pt x="71" y="60"/>
                    </a:lnTo>
                    <a:lnTo>
                      <a:pt x="51" y="67"/>
                    </a:lnTo>
                    <a:lnTo>
                      <a:pt x="44" y="75"/>
                    </a:lnTo>
                    <a:lnTo>
                      <a:pt x="38" y="78"/>
                    </a:lnTo>
                    <a:lnTo>
                      <a:pt x="30" y="79"/>
                    </a:lnTo>
                    <a:lnTo>
                      <a:pt x="16" y="69"/>
                    </a:lnTo>
                    <a:lnTo>
                      <a:pt x="8" y="61"/>
                    </a:lnTo>
                    <a:lnTo>
                      <a:pt x="3" y="53"/>
                    </a:lnTo>
                    <a:lnTo>
                      <a:pt x="0" y="45"/>
                    </a:lnTo>
                    <a:lnTo>
                      <a:pt x="3" y="37"/>
                    </a:lnTo>
                    <a:lnTo>
                      <a:pt x="20" y="16"/>
                    </a:lnTo>
                    <a:lnTo>
                      <a:pt x="28" y="10"/>
                    </a:lnTo>
                    <a:lnTo>
                      <a:pt x="48" y="1"/>
                    </a:lnTo>
                    <a:lnTo>
                      <a:pt x="58" y="0"/>
                    </a:lnTo>
                    <a:lnTo>
                      <a:pt x="67" y="3"/>
                    </a:lnTo>
                    <a:lnTo>
                      <a:pt x="75" y="11"/>
                    </a:lnTo>
                    <a:lnTo>
                      <a:pt x="78" y="17"/>
                    </a:lnTo>
                    <a:lnTo>
                      <a:pt x="85" y="25"/>
                    </a:lnTo>
                    <a:close/>
                  </a:path>
                </a:pathLst>
              </a:custGeom>
              <a:solidFill>
                <a:schemeClr val="accent2">
                  <a:lumMod val="60000"/>
                  <a:lumOff val="40000"/>
                </a:schemeClr>
              </a:solidFill>
              <a:ln w="7938">
                <a:solidFill>
                  <a:srgbClr val="1C1329"/>
                </a:solidFill>
                <a:miter lim="800000"/>
                <a:headEnd/>
                <a:tailEnd/>
              </a:ln>
            </p:spPr>
            <p:txBody>
              <a:bodyPr/>
              <a:lstStyle/>
              <a:p>
                <a:pPr>
                  <a:defRPr/>
                </a:pPr>
                <a:endParaRPr lang="en-US">
                  <a:ea typeface="ＭＳ Ｐゴシック" charset="0"/>
                  <a:cs typeface="ＭＳ Ｐゴシック" charset="0"/>
                </a:endParaRPr>
              </a:p>
            </p:txBody>
          </p:sp>
        </p:grpSp>
        <p:grpSp>
          <p:nvGrpSpPr>
            <p:cNvPr id="27" name="Group 23"/>
            <p:cNvGrpSpPr>
              <a:grpSpLocks/>
            </p:cNvGrpSpPr>
            <p:nvPr/>
          </p:nvGrpSpPr>
          <p:grpSpPr bwMode="auto">
            <a:xfrm>
              <a:off x="156690" y="4438248"/>
              <a:ext cx="2680018" cy="1658126"/>
              <a:chOff x="6187440" y="3226133"/>
              <a:chExt cx="2680018" cy="1658126"/>
            </a:xfrm>
          </p:grpSpPr>
          <p:sp>
            <p:nvSpPr>
              <p:cNvPr id="28" name="Rectangle 27"/>
              <p:cNvSpPr/>
              <p:nvPr/>
            </p:nvSpPr>
            <p:spPr>
              <a:xfrm>
                <a:off x="6187397" y="3246048"/>
                <a:ext cx="376282" cy="255616"/>
              </a:xfrm>
              <a:prstGeom prst="rect">
                <a:avLst/>
              </a:prstGeom>
              <a:solidFill>
                <a:srgbClr val="AD413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sp>
            <p:nvSpPr>
              <p:cNvPr id="29" name="Rectangle 28"/>
              <p:cNvSpPr/>
              <p:nvPr/>
            </p:nvSpPr>
            <p:spPr>
              <a:xfrm>
                <a:off x="6187397" y="3561996"/>
                <a:ext cx="376282" cy="255617"/>
              </a:xfrm>
              <a:prstGeom prst="rect">
                <a:avLst/>
              </a:prstGeom>
              <a:solidFill>
                <a:srgbClr val="C4888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sp>
            <p:nvSpPr>
              <p:cNvPr id="30" name="Rectangle 29"/>
              <p:cNvSpPr/>
              <p:nvPr/>
            </p:nvSpPr>
            <p:spPr>
              <a:xfrm>
                <a:off x="6187397" y="4239935"/>
                <a:ext cx="376282" cy="255616"/>
              </a:xfrm>
              <a:prstGeom prst="rect">
                <a:avLst/>
              </a:prstGeom>
              <a:solidFill>
                <a:srgbClr val="FC790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sp>
            <p:nvSpPr>
              <p:cNvPr id="31" name="Rectangle 30"/>
              <p:cNvSpPr/>
              <p:nvPr/>
            </p:nvSpPr>
            <p:spPr>
              <a:xfrm>
                <a:off x="6187397" y="4576522"/>
                <a:ext cx="376282" cy="255616"/>
              </a:xfrm>
              <a:prstGeom prst="rect">
                <a:avLst/>
              </a:prstGeom>
              <a:solidFill>
                <a:srgbClr val="24367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sp>
            <p:nvSpPr>
              <p:cNvPr id="32" name="Rectangle 31"/>
              <p:cNvSpPr/>
              <p:nvPr/>
            </p:nvSpPr>
            <p:spPr>
              <a:xfrm>
                <a:off x="6187397" y="3903347"/>
                <a:ext cx="376282" cy="255616"/>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sp>
            <p:nvSpPr>
              <p:cNvPr id="33" name="TextBox 29"/>
              <p:cNvSpPr txBox="1">
                <a:spLocks noChangeArrowheads="1"/>
              </p:cNvSpPr>
              <p:nvPr/>
            </p:nvSpPr>
            <p:spPr bwMode="auto">
              <a:xfrm>
                <a:off x="6583678" y="3226133"/>
                <a:ext cx="201247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a:t>&lt;200, &lt;250 or &lt;300</a:t>
                </a:r>
              </a:p>
            </p:txBody>
          </p:sp>
          <p:sp>
            <p:nvSpPr>
              <p:cNvPr id="34" name="TextBox 30"/>
              <p:cNvSpPr txBox="1">
                <a:spLocks noChangeArrowheads="1"/>
              </p:cNvSpPr>
              <p:nvPr/>
            </p:nvSpPr>
            <p:spPr bwMode="auto">
              <a:xfrm>
                <a:off x="6563359" y="3560641"/>
                <a:ext cx="15984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a:t>&lt;350</a:t>
                </a:r>
              </a:p>
            </p:txBody>
          </p:sp>
          <p:sp>
            <p:nvSpPr>
              <p:cNvPr id="35" name="TextBox 31"/>
              <p:cNvSpPr txBox="1">
                <a:spLocks noChangeArrowheads="1"/>
              </p:cNvSpPr>
              <p:nvPr/>
            </p:nvSpPr>
            <p:spPr bwMode="auto">
              <a:xfrm>
                <a:off x="6583679" y="3899254"/>
                <a:ext cx="15984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a:t>&lt;500</a:t>
                </a:r>
              </a:p>
            </p:txBody>
          </p:sp>
          <p:sp>
            <p:nvSpPr>
              <p:cNvPr id="36" name="TextBox 32"/>
              <p:cNvSpPr txBox="1">
                <a:spLocks noChangeArrowheads="1"/>
              </p:cNvSpPr>
              <p:nvPr/>
            </p:nvSpPr>
            <p:spPr bwMode="auto">
              <a:xfrm>
                <a:off x="6583679" y="4231977"/>
                <a:ext cx="15984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a:t>&gt;500</a:t>
                </a:r>
              </a:p>
            </p:txBody>
          </p:sp>
          <p:sp>
            <p:nvSpPr>
              <p:cNvPr id="37" name="TextBox 33"/>
              <p:cNvSpPr txBox="1">
                <a:spLocks noChangeArrowheads="1"/>
              </p:cNvSpPr>
              <p:nvPr/>
            </p:nvSpPr>
            <p:spPr bwMode="auto">
              <a:xfrm>
                <a:off x="6573519" y="4576482"/>
                <a:ext cx="229393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a:t>Irrespective of CD4 count</a:t>
                </a:r>
              </a:p>
            </p:txBody>
          </p:sp>
        </p:grpSp>
      </p:grpSp>
      <p:sp>
        <p:nvSpPr>
          <p:cNvPr id="24" name="Freeform 23"/>
          <p:cNvSpPr/>
          <p:nvPr/>
        </p:nvSpPr>
        <p:spPr>
          <a:xfrm>
            <a:off x="1177925" y="2098674"/>
            <a:ext cx="409575" cy="352425"/>
          </a:xfrm>
          <a:custGeom>
            <a:avLst/>
            <a:gdLst>
              <a:gd name="connsiteX0" fmla="*/ 15875 w 746125"/>
              <a:gd name="connsiteY0" fmla="*/ 5349 h 687974"/>
              <a:gd name="connsiteX1" fmla="*/ 15875 w 746125"/>
              <a:gd name="connsiteY1" fmla="*/ 5349 h 687974"/>
              <a:gd name="connsiteX2" fmla="*/ 476250 w 746125"/>
              <a:gd name="connsiteY2" fmla="*/ 8524 h 687974"/>
              <a:gd name="connsiteX3" fmla="*/ 558800 w 746125"/>
              <a:gd name="connsiteY3" fmla="*/ 14874 h 687974"/>
              <a:gd name="connsiteX4" fmla="*/ 666750 w 746125"/>
              <a:gd name="connsiteY4" fmla="*/ 11699 h 687974"/>
              <a:gd name="connsiteX5" fmla="*/ 676275 w 746125"/>
              <a:gd name="connsiteY5" fmla="*/ 5349 h 687974"/>
              <a:gd name="connsiteX6" fmla="*/ 746125 w 746125"/>
              <a:gd name="connsiteY6" fmla="*/ 8524 h 687974"/>
              <a:gd name="connsiteX7" fmla="*/ 736600 w 746125"/>
              <a:gd name="connsiteY7" fmla="*/ 33924 h 687974"/>
              <a:gd name="connsiteX8" fmla="*/ 730250 w 746125"/>
              <a:gd name="connsiteY8" fmla="*/ 52974 h 687974"/>
              <a:gd name="connsiteX9" fmla="*/ 711200 w 746125"/>
              <a:gd name="connsiteY9" fmla="*/ 97424 h 687974"/>
              <a:gd name="connsiteX10" fmla="*/ 704850 w 746125"/>
              <a:gd name="connsiteY10" fmla="*/ 110124 h 687974"/>
              <a:gd name="connsiteX11" fmla="*/ 701675 w 746125"/>
              <a:gd name="connsiteY11" fmla="*/ 122824 h 687974"/>
              <a:gd name="connsiteX12" fmla="*/ 695325 w 746125"/>
              <a:gd name="connsiteY12" fmla="*/ 141874 h 687974"/>
              <a:gd name="connsiteX13" fmla="*/ 692150 w 746125"/>
              <a:gd name="connsiteY13" fmla="*/ 151399 h 687974"/>
              <a:gd name="connsiteX14" fmla="*/ 688975 w 746125"/>
              <a:gd name="connsiteY14" fmla="*/ 164099 h 687974"/>
              <a:gd name="connsiteX15" fmla="*/ 682625 w 746125"/>
              <a:gd name="connsiteY15" fmla="*/ 183149 h 687974"/>
              <a:gd name="connsiteX16" fmla="*/ 679450 w 746125"/>
              <a:gd name="connsiteY16" fmla="*/ 192674 h 687974"/>
              <a:gd name="connsiteX17" fmla="*/ 676275 w 746125"/>
              <a:gd name="connsiteY17" fmla="*/ 224424 h 687974"/>
              <a:gd name="connsiteX18" fmla="*/ 666750 w 746125"/>
              <a:gd name="connsiteY18" fmla="*/ 246649 h 687974"/>
              <a:gd name="connsiteX19" fmla="*/ 663575 w 746125"/>
              <a:gd name="connsiteY19" fmla="*/ 259349 h 687974"/>
              <a:gd name="connsiteX20" fmla="*/ 657225 w 746125"/>
              <a:gd name="connsiteY20" fmla="*/ 278399 h 687974"/>
              <a:gd name="connsiteX21" fmla="*/ 650875 w 746125"/>
              <a:gd name="connsiteY21" fmla="*/ 303799 h 687974"/>
              <a:gd name="connsiteX22" fmla="*/ 644525 w 746125"/>
              <a:gd name="connsiteY22" fmla="*/ 316499 h 687974"/>
              <a:gd name="connsiteX23" fmla="*/ 641350 w 746125"/>
              <a:gd name="connsiteY23" fmla="*/ 329199 h 687974"/>
              <a:gd name="connsiteX24" fmla="*/ 635000 w 746125"/>
              <a:gd name="connsiteY24" fmla="*/ 341899 h 687974"/>
              <a:gd name="connsiteX25" fmla="*/ 631825 w 746125"/>
              <a:gd name="connsiteY25" fmla="*/ 354599 h 687974"/>
              <a:gd name="connsiteX26" fmla="*/ 622300 w 746125"/>
              <a:gd name="connsiteY26" fmla="*/ 364124 h 687974"/>
              <a:gd name="connsiteX27" fmla="*/ 612775 w 746125"/>
              <a:gd name="connsiteY27" fmla="*/ 386349 h 687974"/>
              <a:gd name="connsiteX28" fmla="*/ 619125 w 746125"/>
              <a:gd name="connsiteY28" fmla="*/ 481599 h 687974"/>
              <a:gd name="connsiteX29" fmla="*/ 622300 w 746125"/>
              <a:gd name="connsiteY29" fmla="*/ 491124 h 687974"/>
              <a:gd name="connsiteX30" fmla="*/ 625475 w 746125"/>
              <a:gd name="connsiteY30" fmla="*/ 516524 h 687974"/>
              <a:gd name="connsiteX31" fmla="*/ 628650 w 746125"/>
              <a:gd name="connsiteY31" fmla="*/ 538749 h 687974"/>
              <a:gd name="connsiteX32" fmla="*/ 631825 w 746125"/>
              <a:gd name="connsiteY32" fmla="*/ 580024 h 687974"/>
              <a:gd name="connsiteX33" fmla="*/ 635000 w 746125"/>
              <a:gd name="connsiteY33" fmla="*/ 589549 h 687974"/>
              <a:gd name="connsiteX34" fmla="*/ 638175 w 746125"/>
              <a:gd name="connsiteY34" fmla="*/ 605424 h 687974"/>
              <a:gd name="connsiteX35" fmla="*/ 644525 w 746125"/>
              <a:gd name="connsiteY35" fmla="*/ 633999 h 687974"/>
              <a:gd name="connsiteX36" fmla="*/ 654050 w 746125"/>
              <a:gd name="connsiteY36" fmla="*/ 646699 h 687974"/>
              <a:gd name="connsiteX37" fmla="*/ 657225 w 746125"/>
              <a:gd name="connsiteY37" fmla="*/ 656224 h 687974"/>
              <a:gd name="connsiteX38" fmla="*/ 663575 w 746125"/>
              <a:gd name="connsiteY38" fmla="*/ 665749 h 687974"/>
              <a:gd name="connsiteX39" fmla="*/ 654050 w 746125"/>
              <a:gd name="connsiteY39" fmla="*/ 668924 h 687974"/>
              <a:gd name="connsiteX40" fmla="*/ 603250 w 746125"/>
              <a:gd name="connsiteY40" fmla="*/ 672099 h 687974"/>
              <a:gd name="connsiteX41" fmla="*/ 561975 w 746125"/>
              <a:gd name="connsiteY41" fmla="*/ 678449 h 687974"/>
              <a:gd name="connsiteX42" fmla="*/ 514350 w 746125"/>
              <a:gd name="connsiteY42" fmla="*/ 687974 h 687974"/>
              <a:gd name="connsiteX43" fmla="*/ 393700 w 746125"/>
              <a:gd name="connsiteY43" fmla="*/ 684799 h 687974"/>
              <a:gd name="connsiteX44" fmla="*/ 355600 w 746125"/>
              <a:gd name="connsiteY44" fmla="*/ 678449 h 687974"/>
              <a:gd name="connsiteX45" fmla="*/ 311150 w 746125"/>
              <a:gd name="connsiteY45" fmla="*/ 675274 h 687974"/>
              <a:gd name="connsiteX46" fmla="*/ 234950 w 746125"/>
              <a:gd name="connsiteY46" fmla="*/ 678449 h 687974"/>
              <a:gd name="connsiteX47" fmla="*/ 174625 w 746125"/>
              <a:gd name="connsiteY47" fmla="*/ 684799 h 687974"/>
              <a:gd name="connsiteX48" fmla="*/ 133350 w 746125"/>
              <a:gd name="connsiteY48" fmla="*/ 678449 h 687974"/>
              <a:gd name="connsiteX49" fmla="*/ 123825 w 746125"/>
              <a:gd name="connsiteY49" fmla="*/ 668924 h 687974"/>
              <a:gd name="connsiteX50" fmla="*/ 98425 w 746125"/>
              <a:gd name="connsiteY50" fmla="*/ 646699 h 687974"/>
              <a:gd name="connsiteX51" fmla="*/ 95250 w 746125"/>
              <a:gd name="connsiteY51" fmla="*/ 633999 h 687974"/>
              <a:gd name="connsiteX52" fmla="*/ 82550 w 746125"/>
              <a:gd name="connsiteY52" fmla="*/ 627649 h 687974"/>
              <a:gd name="connsiteX53" fmla="*/ 73025 w 746125"/>
              <a:gd name="connsiteY53" fmla="*/ 621299 h 687974"/>
              <a:gd name="connsiteX54" fmla="*/ 66675 w 746125"/>
              <a:gd name="connsiteY54" fmla="*/ 608599 h 687974"/>
              <a:gd name="connsiteX55" fmla="*/ 44450 w 746125"/>
              <a:gd name="connsiteY55" fmla="*/ 595899 h 687974"/>
              <a:gd name="connsiteX56" fmla="*/ 38100 w 746125"/>
              <a:gd name="connsiteY56" fmla="*/ 586374 h 687974"/>
              <a:gd name="connsiteX57" fmla="*/ 15875 w 746125"/>
              <a:gd name="connsiteY57" fmla="*/ 576849 h 687974"/>
              <a:gd name="connsiteX58" fmla="*/ 9525 w 746125"/>
              <a:gd name="connsiteY58" fmla="*/ 567324 h 687974"/>
              <a:gd name="connsiteX59" fmla="*/ 19050 w 746125"/>
              <a:gd name="connsiteY59" fmla="*/ 557799 h 687974"/>
              <a:gd name="connsiteX60" fmla="*/ 31750 w 746125"/>
              <a:gd name="connsiteY60" fmla="*/ 538749 h 687974"/>
              <a:gd name="connsiteX61" fmla="*/ 38100 w 746125"/>
              <a:gd name="connsiteY61" fmla="*/ 529224 h 687974"/>
              <a:gd name="connsiteX62" fmla="*/ 47625 w 746125"/>
              <a:gd name="connsiteY62" fmla="*/ 494299 h 687974"/>
              <a:gd name="connsiteX63" fmla="*/ 38100 w 746125"/>
              <a:gd name="connsiteY63" fmla="*/ 487949 h 687974"/>
              <a:gd name="connsiteX64" fmla="*/ 25400 w 746125"/>
              <a:gd name="connsiteY64" fmla="*/ 481599 h 687974"/>
              <a:gd name="connsiteX65" fmla="*/ 22225 w 746125"/>
              <a:gd name="connsiteY65" fmla="*/ 472074 h 687974"/>
              <a:gd name="connsiteX66" fmla="*/ 25400 w 746125"/>
              <a:gd name="connsiteY66" fmla="*/ 437149 h 687974"/>
              <a:gd name="connsiteX67" fmla="*/ 34925 w 746125"/>
              <a:gd name="connsiteY67" fmla="*/ 433974 h 687974"/>
              <a:gd name="connsiteX68" fmla="*/ 66675 w 746125"/>
              <a:gd name="connsiteY68" fmla="*/ 411749 h 687974"/>
              <a:gd name="connsiteX69" fmla="*/ 79375 w 746125"/>
              <a:gd name="connsiteY69" fmla="*/ 408574 h 687974"/>
              <a:gd name="connsiteX70" fmla="*/ 85725 w 746125"/>
              <a:gd name="connsiteY70" fmla="*/ 399049 h 687974"/>
              <a:gd name="connsiteX71" fmla="*/ 98425 w 746125"/>
              <a:gd name="connsiteY71" fmla="*/ 370474 h 687974"/>
              <a:gd name="connsiteX72" fmla="*/ 111125 w 746125"/>
              <a:gd name="connsiteY72" fmla="*/ 367299 h 687974"/>
              <a:gd name="connsiteX73" fmla="*/ 123825 w 746125"/>
              <a:gd name="connsiteY73" fmla="*/ 351424 h 687974"/>
              <a:gd name="connsiteX74" fmla="*/ 130175 w 746125"/>
              <a:gd name="connsiteY74" fmla="*/ 341899 h 687974"/>
              <a:gd name="connsiteX75" fmla="*/ 139700 w 746125"/>
              <a:gd name="connsiteY75" fmla="*/ 332374 h 687974"/>
              <a:gd name="connsiteX76" fmla="*/ 142875 w 746125"/>
              <a:gd name="connsiteY76" fmla="*/ 322849 h 687974"/>
              <a:gd name="connsiteX77" fmla="*/ 152400 w 746125"/>
              <a:gd name="connsiteY77" fmla="*/ 319674 h 687974"/>
              <a:gd name="connsiteX78" fmla="*/ 139700 w 746125"/>
              <a:gd name="connsiteY78" fmla="*/ 281574 h 687974"/>
              <a:gd name="connsiteX79" fmla="*/ 127000 w 746125"/>
              <a:gd name="connsiteY79" fmla="*/ 278399 h 687974"/>
              <a:gd name="connsiteX80" fmla="*/ 127000 w 746125"/>
              <a:gd name="connsiteY80" fmla="*/ 211724 h 687974"/>
              <a:gd name="connsiteX81" fmla="*/ 133350 w 746125"/>
              <a:gd name="connsiteY81" fmla="*/ 202199 h 687974"/>
              <a:gd name="connsiteX82" fmla="*/ 139700 w 746125"/>
              <a:gd name="connsiteY82" fmla="*/ 183149 h 687974"/>
              <a:gd name="connsiteX83" fmla="*/ 152400 w 746125"/>
              <a:gd name="connsiteY83" fmla="*/ 138699 h 687974"/>
              <a:gd name="connsiteX84" fmla="*/ 155575 w 746125"/>
              <a:gd name="connsiteY84" fmla="*/ 129174 h 687974"/>
              <a:gd name="connsiteX85" fmla="*/ 161925 w 746125"/>
              <a:gd name="connsiteY85" fmla="*/ 119649 h 687974"/>
              <a:gd name="connsiteX86" fmla="*/ 152400 w 746125"/>
              <a:gd name="connsiteY86" fmla="*/ 78374 h 687974"/>
              <a:gd name="connsiteX87" fmla="*/ 149225 w 746125"/>
              <a:gd name="connsiteY87" fmla="*/ 65674 h 687974"/>
              <a:gd name="connsiteX88" fmla="*/ 139700 w 746125"/>
              <a:gd name="connsiteY88" fmla="*/ 59324 h 687974"/>
              <a:gd name="connsiteX89" fmla="*/ 114300 w 746125"/>
              <a:gd name="connsiteY89" fmla="*/ 62499 h 687974"/>
              <a:gd name="connsiteX90" fmla="*/ 104775 w 746125"/>
              <a:gd name="connsiteY90" fmla="*/ 65674 h 687974"/>
              <a:gd name="connsiteX91" fmla="*/ 98425 w 746125"/>
              <a:gd name="connsiteY91" fmla="*/ 75199 h 687974"/>
              <a:gd name="connsiteX92" fmla="*/ 79375 w 746125"/>
              <a:gd name="connsiteY92" fmla="*/ 81549 h 687974"/>
              <a:gd name="connsiteX93" fmla="*/ 9525 w 746125"/>
              <a:gd name="connsiteY93" fmla="*/ 78374 h 687974"/>
              <a:gd name="connsiteX94" fmla="*/ 3175 w 746125"/>
              <a:gd name="connsiteY94" fmla="*/ 59324 h 687974"/>
              <a:gd name="connsiteX95" fmla="*/ 0 w 746125"/>
              <a:gd name="connsiteY95" fmla="*/ 49799 h 687974"/>
              <a:gd name="connsiteX96" fmla="*/ 3175 w 746125"/>
              <a:gd name="connsiteY96" fmla="*/ 18049 h 687974"/>
              <a:gd name="connsiteX97" fmla="*/ 12700 w 746125"/>
              <a:gd name="connsiteY97" fmla="*/ 11699 h 687974"/>
              <a:gd name="connsiteX98" fmla="*/ 15875 w 746125"/>
              <a:gd name="connsiteY98" fmla="*/ 2174 h 687974"/>
              <a:gd name="connsiteX99" fmla="*/ 15875 w 746125"/>
              <a:gd name="connsiteY99" fmla="*/ 5349 h 687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746125" h="687974">
                <a:moveTo>
                  <a:pt x="15875" y="5349"/>
                </a:moveTo>
                <a:lnTo>
                  <a:pt x="15875" y="5349"/>
                </a:lnTo>
                <a:lnTo>
                  <a:pt x="476250" y="8524"/>
                </a:lnTo>
                <a:cubicBezTo>
                  <a:pt x="485868" y="8645"/>
                  <a:pt x="546686" y="13865"/>
                  <a:pt x="558800" y="14874"/>
                </a:cubicBezTo>
                <a:cubicBezTo>
                  <a:pt x="594783" y="13816"/>
                  <a:pt x="630869" y="14608"/>
                  <a:pt x="666750" y="11699"/>
                </a:cubicBezTo>
                <a:cubicBezTo>
                  <a:pt x="670553" y="11391"/>
                  <a:pt x="672462" y="5502"/>
                  <a:pt x="676275" y="5349"/>
                </a:cubicBezTo>
                <a:lnTo>
                  <a:pt x="746125" y="8524"/>
                </a:lnTo>
                <a:cubicBezTo>
                  <a:pt x="742950" y="16991"/>
                  <a:pt x="739641" y="25408"/>
                  <a:pt x="736600" y="33924"/>
                </a:cubicBezTo>
                <a:cubicBezTo>
                  <a:pt x="734349" y="40228"/>
                  <a:pt x="732736" y="46759"/>
                  <a:pt x="730250" y="52974"/>
                </a:cubicBezTo>
                <a:cubicBezTo>
                  <a:pt x="724263" y="67941"/>
                  <a:pt x="718409" y="83006"/>
                  <a:pt x="711200" y="97424"/>
                </a:cubicBezTo>
                <a:cubicBezTo>
                  <a:pt x="709083" y="101657"/>
                  <a:pt x="706512" y="105692"/>
                  <a:pt x="704850" y="110124"/>
                </a:cubicBezTo>
                <a:cubicBezTo>
                  <a:pt x="703318" y="114210"/>
                  <a:pt x="702929" y="118644"/>
                  <a:pt x="701675" y="122824"/>
                </a:cubicBezTo>
                <a:cubicBezTo>
                  <a:pt x="699752" y="129235"/>
                  <a:pt x="697442" y="135524"/>
                  <a:pt x="695325" y="141874"/>
                </a:cubicBezTo>
                <a:cubicBezTo>
                  <a:pt x="694267" y="145049"/>
                  <a:pt x="692962" y="148152"/>
                  <a:pt x="692150" y="151399"/>
                </a:cubicBezTo>
                <a:cubicBezTo>
                  <a:pt x="691092" y="155632"/>
                  <a:pt x="690229" y="159919"/>
                  <a:pt x="688975" y="164099"/>
                </a:cubicBezTo>
                <a:cubicBezTo>
                  <a:pt x="687052" y="170510"/>
                  <a:pt x="684742" y="176799"/>
                  <a:pt x="682625" y="183149"/>
                </a:cubicBezTo>
                <a:lnTo>
                  <a:pt x="679450" y="192674"/>
                </a:lnTo>
                <a:cubicBezTo>
                  <a:pt x="678392" y="203257"/>
                  <a:pt x="677892" y="213912"/>
                  <a:pt x="676275" y="224424"/>
                </a:cubicBezTo>
                <a:cubicBezTo>
                  <a:pt x="674904" y="233337"/>
                  <a:pt x="669929" y="238171"/>
                  <a:pt x="666750" y="246649"/>
                </a:cubicBezTo>
                <a:cubicBezTo>
                  <a:pt x="665218" y="250735"/>
                  <a:pt x="664829" y="255169"/>
                  <a:pt x="663575" y="259349"/>
                </a:cubicBezTo>
                <a:cubicBezTo>
                  <a:pt x="661652" y="265760"/>
                  <a:pt x="659064" y="271963"/>
                  <a:pt x="657225" y="278399"/>
                </a:cubicBezTo>
                <a:cubicBezTo>
                  <a:pt x="654827" y="286790"/>
                  <a:pt x="653635" y="295520"/>
                  <a:pt x="650875" y="303799"/>
                </a:cubicBezTo>
                <a:cubicBezTo>
                  <a:pt x="649378" y="308289"/>
                  <a:pt x="646187" y="312067"/>
                  <a:pt x="644525" y="316499"/>
                </a:cubicBezTo>
                <a:cubicBezTo>
                  <a:pt x="642993" y="320585"/>
                  <a:pt x="642882" y="325113"/>
                  <a:pt x="641350" y="329199"/>
                </a:cubicBezTo>
                <a:cubicBezTo>
                  <a:pt x="639688" y="333631"/>
                  <a:pt x="636662" y="337467"/>
                  <a:pt x="635000" y="341899"/>
                </a:cubicBezTo>
                <a:cubicBezTo>
                  <a:pt x="633468" y="345985"/>
                  <a:pt x="633990" y="350810"/>
                  <a:pt x="631825" y="354599"/>
                </a:cubicBezTo>
                <a:cubicBezTo>
                  <a:pt x="629597" y="358498"/>
                  <a:pt x="624910" y="360470"/>
                  <a:pt x="622300" y="364124"/>
                </a:cubicBezTo>
                <a:cubicBezTo>
                  <a:pt x="617396" y="370990"/>
                  <a:pt x="615366" y="378576"/>
                  <a:pt x="612775" y="386349"/>
                </a:cubicBezTo>
                <a:cubicBezTo>
                  <a:pt x="614892" y="418099"/>
                  <a:pt x="616244" y="449909"/>
                  <a:pt x="619125" y="481599"/>
                </a:cubicBezTo>
                <a:cubicBezTo>
                  <a:pt x="619428" y="484932"/>
                  <a:pt x="621701" y="487831"/>
                  <a:pt x="622300" y="491124"/>
                </a:cubicBezTo>
                <a:cubicBezTo>
                  <a:pt x="623826" y="499519"/>
                  <a:pt x="624347" y="508066"/>
                  <a:pt x="625475" y="516524"/>
                </a:cubicBezTo>
                <a:cubicBezTo>
                  <a:pt x="626464" y="523942"/>
                  <a:pt x="627905" y="531303"/>
                  <a:pt x="628650" y="538749"/>
                </a:cubicBezTo>
                <a:cubicBezTo>
                  <a:pt x="630023" y="552479"/>
                  <a:pt x="630113" y="566332"/>
                  <a:pt x="631825" y="580024"/>
                </a:cubicBezTo>
                <a:cubicBezTo>
                  <a:pt x="632240" y="583345"/>
                  <a:pt x="634188" y="586302"/>
                  <a:pt x="635000" y="589549"/>
                </a:cubicBezTo>
                <a:cubicBezTo>
                  <a:pt x="636309" y="594784"/>
                  <a:pt x="637210" y="600115"/>
                  <a:pt x="638175" y="605424"/>
                </a:cubicBezTo>
                <a:cubicBezTo>
                  <a:pt x="639056" y="610269"/>
                  <a:pt x="640793" y="627468"/>
                  <a:pt x="644525" y="633999"/>
                </a:cubicBezTo>
                <a:cubicBezTo>
                  <a:pt x="647150" y="638593"/>
                  <a:pt x="650875" y="642466"/>
                  <a:pt x="654050" y="646699"/>
                </a:cubicBezTo>
                <a:cubicBezTo>
                  <a:pt x="655108" y="649874"/>
                  <a:pt x="655728" y="653231"/>
                  <a:pt x="657225" y="656224"/>
                </a:cubicBezTo>
                <a:cubicBezTo>
                  <a:pt x="658932" y="659637"/>
                  <a:pt x="664500" y="662047"/>
                  <a:pt x="663575" y="665749"/>
                </a:cubicBezTo>
                <a:cubicBezTo>
                  <a:pt x="662763" y="668996"/>
                  <a:pt x="657378" y="668574"/>
                  <a:pt x="654050" y="668924"/>
                </a:cubicBezTo>
                <a:cubicBezTo>
                  <a:pt x="637177" y="670700"/>
                  <a:pt x="620183" y="671041"/>
                  <a:pt x="603250" y="672099"/>
                </a:cubicBezTo>
                <a:cubicBezTo>
                  <a:pt x="597057" y="672984"/>
                  <a:pt x="569134" y="676797"/>
                  <a:pt x="561975" y="678449"/>
                </a:cubicBezTo>
                <a:cubicBezTo>
                  <a:pt x="515738" y="689119"/>
                  <a:pt x="564901" y="681655"/>
                  <a:pt x="514350" y="687974"/>
                </a:cubicBezTo>
                <a:lnTo>
                  <a:pt x="393700" y="684799"/>
                </a:lnTo>
                <a:cubicBezTo>
                  <a:pt x="315568" y="681402"/>
                  <a:pt x="401331" y="683530"/>
                  <a:pt x="355600" y="678449"/>
                </a:cubicBezTo>
                <a:cubicBezTo>
                  <a:pt x="340836" y="676809"/>
                  <a:pt x="325967" y="676332"/>
                  <a:pt x="311150" y="675274"/>
                </a:cubicBezTo>
                <a:lnTo>
                  <a:pt x="234950" y="678449"/>
                </a:lnTo>
                <a:cubicBezTo>
                  <a:pt x="186995" y="680908"/>
                  <a:pt x="201657" y="678041"/>
                  <a:pt x="174625" y="684799"/>
                </a:cubicBezTo>
                <a:cubicBezTo>
                  <a:pt x="160867" y="682682"/>
                  <a:pt x="146637" y="682601"/>
                  <a:pt x="133350" y="678449"/>
                </a:cubicBezTo>
                <a:cubicBezTo>
                  <a:pt x="129064" y="677110"/>
                  <a:pt x="127234" y="671846"/>
                  <a:pt x="123825" y="668924"/>
                </a:cubicBezTo>
                <a:cubicBezTo>
                  <a:pt x="93218" y="642690"/>
                  <a:pt x="129707" y="677981"/>
                  <a:pt x="98425" y="646699"/>
                </a:cubicBezTo>
                <a:cubicBezTo>
                  <a:pt x="97367" y="642466"/>
                  <a:pt x="98044" y="637351"/>
                  <a:pt x="95250" y="633999"/>
                </a:cubicBezTo>
                <a:cubicBezTo>
                  <a:pt x="92220" y="630363"/>
                  <a:pt x="86659" y="629997"/>
                  <a:pt x="82550" y="627649"/>
                </a:cubicBezTo>
                <a:cubicBezTo>
                  <a:pt x="79237" y="625756"/>
                  <a:pt x="76200" y="623416"/>
                  <a:pt x="73025" y="621299"/>
                </a:cubicBezTo>
                <a:cubicBezTo>
                  <a:pt x="70908" y="617066"/>
                  <a:pt x="69755" y="612193"/>
                  <a:pt x="66675" y="608599"/>
                </a:cubicBezTo>
                <a:cubicBezTo>
                  <a:pt x="58986" y="599629"/>
                  <a:pt x="54132" y="599126"/>
                  <a:pt x="44450" y="595899"/>
                </a:cubicBezTo>
                <a:cubicBezTo>
                  <a:pt x="42333" y="592724"/>
                  <a:pt x="40798" y="589072"/>
                  <a:pt x="38100" y="586374"/>
                </a:cubicBezTo>
                <a:cubicBezTo>
                  <a:pt x="30791" y="579065"/>
                  <a:pt x="25591" y="579278"/>
                  <a:pt x="15875" y="576849"/>
                </a:cubicBezTo>
                <a:cubicBezTo>
                  <a:pt x="13758" y="573674"/>
                  <a:pt x="8898" y="571088"/>
                  <a:pt x="9525" y="567324"/>
                </a:cubicBezTo>
                <a:cubicBezTo>
                  <a:pt x="10263" y="562895"/>
                  <a:pt x="16293" y="561343"/>
                  <a:pt x="19050" y="557799"/>
                </a:cubicBezTo>
                <a:cubicBezTo>
                  <a:pt x="23735" y="551775"/>
                  <a:pt x="27517" y="545099"/>
                  <a:pt x="31750" y="538749"/>
                </a:cubicBezTo>
                <a:cubicBezTo>
                  <a:pt x="33867" y="535574"/>
                  <a:pt x="36893" y="532844"/>
                  <a:pt x="38100" y="529224"/>
                </a:cubicBezTo>
                <a:cubicBezTo>
                  <a:pt x="46157" y="505054"/>
                  <a:pt x="43137" y="516738"/>
                  <a:pt x="47625" y="494299"/>
                </a:cubicBezTo>
                <a:cubicBezTo>
                  <a:pt x="44450" y="492182"/>
                  <a:pt x="41413" y="489842"/>
                  <a:pt x="38100" y="487949"/>
                </a:cubicBezTo>
                <a:cubicBezTo>
                  <a:pt x="33991" y="485601"/>
                  <a:pt x="28747" y="484946"/>
                  <a:pt x="25400" y="481599"/>
                </a:cubicBezTo>
                <a:cubicBezTo>
                  <a:pt x="23033" y="479232"/>
                  <a:pt x="23283" y="475249"/>
                  <a:pt x="22225" y="472074"/>
                </a:cubicBezTo>
                <a:cubicBezTo>
                  <a:pt x="23283" y="460432"/>
                  <a:pt x="21703" y="448239"/>
                  <a:pt x="25400" y="437149"/>
                </a:cubicBezTo>
                <a:cubicBezTo>
                  <a:pt x="26458" y="433974"/>
                  <a:pt x="32019" y="435634"/>
                  <a:pt x="34925" y="433974"/>
                </a:cubicBezTo>
                <a:cubicBezTo>
                  <a:pt x="43098" y="429304"/>
                  <a:pt x="58556" y="413779"/>
                  <a:pt x="66675" y="411749"/>
                </a:cubicBezTo>
                <a:lnTo>
                  <a:pt x="79375" y="408574"/>
                </a:lnTo>
                <a:cubicBezTo>
                  <a:pt x="81492" y="405399"/>
                  <a:pt x="84175" y="402536"/>
                  <a:pt x="85725" y="399049"/>
                </a:cubicBezTo>
                <a:cubicBezTo>
                  <a:pt x="87571" y="394896"/>
                  <a:pt x="91618" y="375012"/>
                  <a:pt x="98425" y="370474"/>
                </a:cubicBezTo>
                <a:cubicBezTo>
                  <a:pt x="102056" y="368053"/>
                  <a:pt x="106892" y="368357"/>
                  <a:pt x="111125" y="367299"/>
                </a:cubicBezTo>
                <a:cubicBezTo>
                  <a:pt x="117306" y="348756"/>
                  <a:pt x="109464" y="365785"/>
                  <a:pt x="123825" y="351424"/>
                </a:cubicBezTo>
                <a:cubicBezTo>
                  <a:pt x="126523" y="348726"/>
                  <a:pt x="127732" y="344830"/>
                  <a:pt x="130175" y="341899"/>
                </a:cubicBezTo>
                <a:cubicBezTo>
                  <a:pt x="133050" y="338450"/>
                  <a:pt x="136525" y="335549"/>
                  <a:pt x="139700" y="332374"/>
                </a:cubicBezTo>
                <a:cubicBezTo>
                  <a:pt x="140758" y="329199"/>
                  <a:pt x="140508" y="325216"/>
                  <a:pt x="142875" y="322849"/>
                </a:cubicBezTo>
                <a:cubicBezTo>
                  <a:pt x="145242" y="320482"/>
                  <a:pt x="151801" y="322967"/>
                  <a:pt x="152400" y="319674"/>
                </a:cubicBezTo>
                <a:cubicBezTo>
                  <a:pt x="156082" y="299423"/>
                  <a:pt x="155479" y="288336"/>
                  <a:pt x="139700" y="281574"/>
                </a:cubicBezTo>
                <a:cubicBezTo>
                  <a:pt x="135689" y="279855"/>
                  <a:pt x="131233" y="279457"/>
                  <a:pt x="127000" y="278399"/>
                </a:cubicBezTo>
                <a:cubicBezTo>
                  <a:pt x="120259" y="251434"/>
                  <a:pt x="120245" y="256759"/>
                  <a:pt x="127000" y="211724"/>
                </a:cubicBezTo>
                <a:cubicBezTo>
                  <a:pt x="127566" y="207950"/>
                  <a:pt x="131800" y="205686"/>
                  <a:pt x="133350" y="202199"/>
                </a:cubicBezTo>
                <a:cubicBezTo>
                  <a:pt x="136068" y="196082"/>
                  <a:pt x="138077" y="189643"/>
                  <a:pt x="139700" y="183149"/>
                </a:cubicBezTo>
                <a:cubicBezTo>
                  <a:pt x="147673" y="151255"/>
                  <a:pt x="143290" y="166028"/>
                  <a:pt x="152400" y="138699"/>
                </a:cubicBezTo>
                <a:cubicBezTo>
                  <a:pt x="153458" y="135524"/>
                  <a:pt x="153719" y="131959"/>
                  <a:pt x="155575" y="129174"/>
                </a:cubicBezTo>
                <a:lnTo>
                  <a:pt x="161925" y="119649"/>
                </a:lnTo>
                <a:cubicBezTo>
                  <a:pt x="154555" y="68059"/>
                  <a:pt x="164022" y="124862"/>
                  <a:pt x="152400" y="78374"/>
                </a:cubicBezTo>
                <a:cubicBezTo>
                  <a:pt x="151342" y="74141"/>
                  <a:pt x="151646" y="69305"/>
                  <a:pt x="149225" y="65674"/>
                </a:cubicBezTo>
                <a:cubicBezTo>
                  <a:pt x="147108" y="62499"/>
                  <a:pt x="142875" y="61441"/>
                  <a:pt x="139700" y="59324"/>
                </a:cubicBezTo>
                <a:cubicBezTo>
                  <a:pt x="131233" y="60382"/>
                  <a:pt x="122695" y="60973"/>
                  <a:pt x="114300" y="62499"/>
                </a:cubicBezTo>
                <a:cubicBezTo>
                  <a:pt x="111007" y="63098"/>
                  <a:pt x="107388" y="63583"/>
                  <a:pt x="104775" y="65674"/>
                </a:cubicBezTo>
                <a:cubicBezTo>
                  <a:pt x="101795" y="68058"/>
                  <a:pt x="101661" y="73177"/>
                  <a:pt x="98425" y="75199"/>
                </a:cubicBezTo>
                <a:cubicBezTo>
                  <a:pt x="92749" y="78747"/>
                  <a:pt x="79375" y="81549"/>
                  <a:pt x="79375" y="81549"/>
                </a:cubicBezTo>
                <a:cubicBezTo>
                  <a:pt x="56092" y="80491"/>
                  <a:pt x="31900" y="84900"/>
                  <a:pt x="9525" y="78374"/>
                </a:cubicBezTo>
                <a:cubicBezTo>
                  <a:pt x="3099" y="76500"/>
                  <a:pt x="5292" y="65674"/>
                  <a:pt x="3175" y="59324"/>
                </a:cubicBezTo>
                <a:lnTo>
                  <a:pt x="0" y="49799"/>
                </a:lnTo>
                <a:cubicBezTo>
                  <a:pt x="1058" y="39216"/>
                  <a:pt x="-188" y="28139"/>
                  <a:pt x="3175" y="18049"/>
                </a:cubicBezTo>
                <a:cubicBezTo>
                  <a:pt x="4382" y="14429"/>
                  <a:pt x="10316" y="14679"/>
                  <a:pt x="12700" y="11699"/>
                </a:cubicBezTo>
                <a:cubicBezTo>
                  <a:pt x="14791" y="9086"/>
                  <a:pt x="14153" y="5044"/>
                  <a:pt x="15875" y="2174"/>
                </a:cubicBezTo>
                <a:cubicBezTo>
                  <a:pt x="17415" y="-393"/>
                  <a:pt x="20108" y="-2059"/>
                  <a:pt x="15875" y="5349"/>
                </a:cubicBezTo>
                <a:close/>
              </a:path>
            </a:pathLst>
          </a:custGeom>
          <a:solidFill>
            <a:schemeClr val="tx2"/>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Freeform 688"/>
          <p:cNvSpPr>
            <a:spLocks/>
          </p:cNvSpPr>
          <p:nvPr/>
        </p:nvSpPr>
        <p:spPr bwMode="auto">
          <a:xfrm>
            <a:off x="5069143" y="4149725"/>
            <a:ext cx="36000" cy="36000"/>
          </a:xfrm>
          <a:custGeom>
            <a:avLst/>
            <a:gdLst>
              <a:gd name="T0" fmla="*/ 0 w 38"/>
              <a:gd name="T1" fmla="*/ 9 h 29"/>
              <a:gd name="T2" fmla="*/ 21 w 38"/>
              <a:gd name="T3" fmla="*/ 0 h 29"/>
              <a:gd name="T4" fmla="*/ 38 w 38"/>
              <a:gd name="T5" fmla="*/ 0 h 29"/>
              <a:gd name="T6" fmla="*/ 38 w 38"/>
              <a:gd name="T7" fmla="*/ 20 h 29"/>
              <a:gd name="T8" fmla="*/ 21 w 38"/>
              <a:gd name="T9" fmla="*/ 29 h 29"/>
              <a:gd name="T10" fmla="*/ 8 w 38"/>
              <a:gd name="T11" fmla="*/ 29 h 29"/>
              <a:gd name="T12" fmla="*/ 0 w 38"/>
              <a:gd name="T13" fmla="*/ 9 h 29"/>
            </a:gdLst>
            <a:ahLst/>
            <a:cxnLst>
              <a:cxn ang="0">
                <a:pos x="T0" y="T1"/>
              </a:cxn>
              <a:cxn ang="0">
                <a:pos x="T2" y="T3"/>
              </a:cxn>
              <a:cxn ang="0">
                <a:pos x="T4" y="T5"/>
              </a:cxn>
              <a:cxn ang="0">
                <a:pos x="T6" y="T7"/>
              </a:cxn>
              <a:cxn ang="0">
                <a:pos x="T8" y="T9"/>
              </a:cxn>
              <a:cxn ang="0">
                <a:pos x="T10" y="T11"/>
              </a:cxn>
              <a:cxn ang="0">
                <a:pos x="T12" y="T13"/>
              </a:cxn>
            </a:cxnLst>
            <a:rect l="0" t="0" r="r" b="b"/>
            <a:pathLst>
              <a:path w="38" h="29">
                <a:moveTo>
                  <a:pt x="0" y="9"/>
                </a:moveTo>
                <a:lnTo>
                  <a:pt x="21" y="0"/>
                </a:lnTo>
                <a:lnTo>
                  <a:pt x="38" y="0"/>
                </a:lnTo>
                <a:lnTo>
                  <a:pt x="38" y="20"/>
                </a:lnTo>
                <a:lnTo>
                  <a:pt x="21" y="29"/>
                </a:lnTo>
                <a:lnTo>
                  <a:pt x="8" y="29"/>
                </a:lnTo>
                <a:lnTo>
                  <a:pt x="0" y="9"/>
                </a:lnTo>
                <a:close/>
              </a:path>
            </a:pathLst>
          </a:custGeom>
          <a:solidFill>
            <a:srgbClr val="1F497D"/>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178243290"/>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6" name="Rectangle 425"/>
          <p:cNvSpPr/>
          <p:nvPr/>
        </p:nvSpPr>
        <p:spPr>
          <a:xfrm>
            <a:off x="1303864" y="1395865"/>
            <a:ext cx="6510867" cy="4529743"/>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4" name="Rectangle 203"/>
          <p:cNvSpPr/>
          <p:nvPr/>
        </p:nvSpPr>
        <p:spPr>
          <a:xfrm>
            <a:off x="93134" y="6432314"/>
            <a:ext cx="2165979" cy="307777"/>
          </a:xfrm>
          <a:prstGeom prst="rect">
            <a:avLst/>
          </a:prstGeom>
        </p:spPr>
        <p:txBody>
          <a:bodyPr wrap="none">
            <a:spAutoFit/>
          </a:bodyPr>
          <a:lstStyle/>
          <a:p>
            <a:pPr algn="ctr">
              <a:spcBef>
                <a:spcPct val="50000"/>
              </a:spcBef>
            </a:pPr>
            <a:r>
              <a:rPr lang="en-US" sz="1400" b="1" dirty="0" smtClean="0">
                <a:solidFill>
                  <a:srgbClr val="FFFF00"/>
                </a:solidFill>
                <a:ea typeface="ヒラギノ角ゴ Pro W3"/>
                <a:cs typeface="ヒラギノ角ゴ Pro W3"/>
              </a:rPr>
              <a:t>Source</a:t>
            </a:r>
            <a:r>
              <a:rPr lang="en-US" sz="1400" dirty="0" smtClean="0">
                <a:solidFill>
                  <a:srgbClr val="FFFF00"/>
                </a:solidFill>
                <a:ea typeface="ヒラギノ角ゴ Pro W3"/>
                <a:cs typeface="ヒラギノ角ゴ Pro W3"/>
              </a:rPr>
              <a:t>: published policy</a:t>
            </a:r>
            <a:endParaRPr lang="en-US" sz="1400" dirty="0">
              <a:solidFill>
                <a:srgbClr val="FFFF00"/>
              </a:solidFill>
              <a:ea typeface="ヒラギノ角ゴ Pro W3"/>
              <a:cs typeface="ヒラギノ角ゴ Pro W3"/>
            </a:endParaRPr>
          </a:p>
        </p:txBody>
      </p:sp>
      <p:sp>
        <p:nvSpPr>
          <p:cNvPr id="205" name="Text Box 4"/>
          <p:cNvSpPr txBox="1">
            <a:spLocks noChangeArrowheads="1"/>
          </p:cNvSpPr>
          <p:nvPr/>
        </p:nvSpPr>
        <p:spPr bwMode="auto">
          <a:xfrm>
            <a:off x="0" y="135464"/>
            <a:ext cx="9144000" cy="646331"/>
          </a:xfrm>
          <a:prstGeom prst="rect">
            <a:avLst/>
          </a:prstGeom>
          <a:noFill/>
          <a:ln w="9525">
            <a:noFill/>
            <a:miter lim="800000"/>
            <a:headEnd/>
            <a:tailEnd/>
          </a:ln>
        </p:spPr>
        <p:txBody>
          <a:bodyPr wrap="square">
            <a:spAutoFit/>
          </a:bodyPr>
          <a:lstStyle/>
          <a:p>
            <a:pPr algn="ctr">
              <a:spcBef>
                <a:spcPct val="50000"/>
              </a:spcBef>
            </a:pPr>
            <a:r>
              <a:rPr lang="en-US" sz="3600" dirty="0" smtClean="0">
                <a:solidFill>
                  <a:srgbClr val="FFFF00"/>
                </a:solidFill>
                <a:ea typeface="ヒラギノ角ゴ Pro W3"/>
                <a:cs typeface="ヒラギノ角ゴ Pro W3"/>
              </a:rPr>
              <a:t>ART initiation criteria in Africa</a:t>
            </a:r>
            <a:endParaRPr lang="en-US" sz="3600" dirty="0">
              <a:solidFill>
                <a:srgbClr val="FFFF00"/>
              </a:solidFill>
              <a:ea typeface="ヒラギノ角ゴ Pro W3"/>
              <a:cs typeface="ヒラギノ角ゴ Pro W3"/>
            </a:endParaRPr>
          </a:p>
        </p:txBody>
      </p:sp>
      <p:sp>
        <p:nvSpPr>
          <p:cNvPr id="206" name="Text Box 5"/>
          <p:cNvSpPr txBox="1">
            <a:spLocks noChangeArrowheads="1"/>
          </p:cNvSpPr>
          <p:nvPr/>
        </p:nvSpPr>
        <p:spPr bwMode="auto">
          <a:xfrm>
            <a:off x="1689092" y="887980"/>
            <a:ext cx="5795433" cy="338554"/>
          </a:xfrm>
          <a:prstGeom prst="rect">
            <a:avLst/>
          </a:prstGeom>
          <a:noFill/>
          <a:ln w="9525">
            <a:solidFill>
              <a:schemeClr val="bg1"/>
            </a:solidFill>
            <a:miter lim="800000"/>
            <a:headEnd/>
            <a:tailEnd/>
          </a:ln>
        </p:spPr>
        <p:txBody>
          <a:bodyPr wrap="square">
            <a:spAutoFit/>
          </a:bodyPr>
          <a:lstStyle/>
          <a:p>
            <a:pPr algn="ctr">
              <a:spcBef>
                <a:spcPct val="50000"/>
              </a:spcBef>
            </a:pPr>
            <a:r>
              <a:rPr lang="en-US" sz="1600" dirty="0" smtClean="0">
                <a:solidFill>
                  <a:schemeClr val="bg1"/>
                </a:solidFill>
                <a:ea typeface="ヒラギノ角ゴ Pro W3"/>
                <a:cs typeface="ヒラギノ角ゴ Pro W3"/>
              </a:rPr>
              <a:t>2015 </a:t>
            </a:r>
            <a:r>
              <a:rPr lang="en-US" sz="1600" dirty="0">
                <a:solidFill>
                  <a:schemeClr val="bg1"/>
                </a:solidFill>
                <a:ea typeface="ヒラギノ角ゴ Pro W3"/>
                <a:cs typeface="ヒラギノ角ゴ Pro W3"/>
              </a:rPr>
              <a:t>WHO Recommendation : </a:t>
            </a:r>
            <a:r>
              <a:rPr lang="en-US" sz="1600" dirty="0" smtClean="0">
                <a:solidFill>
                  <a:schemeClr val="bg1"/>
                </a:solidFill>
                <a:ea typeface="ヒラギノ角ゴ Pro W3"/>
                <a:cs typeface="ヒラギノ角ゴ Pro W3"/>
              </a:rPr>
              <a:t>Irrespective of CD4 count</a:t>
            </a:r>
            <a:endParaRPr lang="en-US" sz="1600" dirty="0">
              <a:solidFill>
                <a:schemeClr val="bg1"/>
              </a:solidFill>
              <a:ea typeface="ヒラギノ角ゴ Pro W3"/>
              <a:cs typeface="ヒラギノ角ゴ Pro W3"/>
            </a:endParaRPr>
          </a:p>
        </p:txBody>
      </p:sp>
      <p:pic>
        <p:nvPicPr>
          <p:cNvPr id="207" name="Picture 206"/>
          <p:cNvPicPr>
            <a:picLocks noChangeAspect="1"/>
          </p:cNvPicPr>
          <p:nvPr/>
        </p:nvPicPr>
        <p:blipFill>
          <a:blip r:embed="rId2"/>
          <a:stretch>
            <a:fillRect/>
          </a:stretch>
        </p:blipFill>
        <p:spPr>
          <a:xfrm>
            <a:off x="7747000" y="6324600"/>
            <a:ext cx="1397000" cy="533400"/>
          </a:xfrm>
          <a:prstGeom prst="rect">
            <a:avLst/>
          </a:prstGeom>
          <a:ln>
            <a:noFill/>
          </a:ln>
        </p:spPr>
      </p:pic>
      <p:grpSp>
        <p:nvGrpSpPr>
          <p:cNvPr id="208" name="Group 1"/>
          <p:cNvGrpSpPr>
            <a:grpSpLocks/>
          </p:cNvGrpSpPr>
          <p:nvPr/>
        </p:nvGrpSpPr>
        <p:grpSpPr bwMode="auto">
          <a:xfrm>
            <a:off x="1111250" y="1446213"/>
            <a:ext cx="6858000" cy="4462462"/>
            <a:chOff x="1111255" y="1446218"/>
            <a:chExt cx="6858000" cy="4924427"/>
          </a:xfrm>
        </p:grpSpPr>
        <p:sp>
          <p:nvSpPr>
            <p:cNvPr id="209" name="Rectangle 208"/>
            <p:cNvSpPr/>
            <p:nvPr/>
          </p:nvSpPr>
          <p:spPr>
            <a:xfrm>
              <a:off x="1111255" y="1446218"/>
              <a:ext cx="6858000" cy="492442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nvGrpSpPr>
            <p:cNvPr id="210" name="Group 3"/>
            <p:cNvGrpSpPr>
              <a:grpSpLocks/>
            </p:cNvGrpSpPr>
            <p:nvPr/>
          </p:nvGrpSpPr>
          <p:grpSpPr bwMode="auto">
            <a:xfrm>
              <a:off x="1477968" y="4657840"/>
              <a:ext cx="2679704" cy="1283758"/>
              <a:chOff x="6187754" y="3581815"/>
              <a:chExt cx="2679704" cy="1283758"/>
            </a:xfrm>
          </p:grpSpPr>
          <p:sp>
            <p:nvSpPr>
              <p:cNvPr id="399" name="Rectangle 398"/>
              <p:cNvSpPr/>
              <p:nvPr/>
            </p:nvSpPr>
            <p:spPr>
              <a:xfrm>
                <a:off x="6187754" y="3602399"/>
                <a:ext cx="376237" cy="255769"/>
              </a:xfrm>
              <a:prstGeom prst="rect">
                <a:avLst/>
              </a:prstGeom>
              <a:solidFill>
                <a:srgbClr val="9537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400" name="Rectangle 399"/>
              <p:cNvSpPr/>
              <p:nvPr/>
            </p:nvSpPr>
            <p:spPr>
              <a:xfrm>
                <a:off x="6187754" y="3917730"/>
                <a:ext cx="376237" cy="255769"/>
              </a:xfrm>
              <a:prstGeom prst="rect">
                <a:avLst/>
              </a:prstGeom>
              <a:solidFill>
                <a:srgbClr val="DA979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402" name="Rectangle 401"/>
              <p:cNvSpPr/>
              <p:nvPr/>
            </p:nvSpPr>
            <p:spPr>
              <a:xfrm>
                <a:off x="6187754" y="4576364"/>
                <a:ext cx="376237" cy="255769"/>
              </a:xfrm>
              <a:prstGeom prst="rect">
                <a:avLst/>
              </a:prstGeom>
              <a:solidFill>
                <a:srgbClr val="17375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403" name="Rectangle 402"/>
              <p:cNvSpPr/>
              <p:nvPr/>
            </p:nvSpPr>
            <p:spPr>
              <a:xfrm>
                <a:off x="6187754" y="4259339"/>
                <a:ext cx="376237" cy="255769"/>
              </a:xfrm>
              <a:prstGeom prst="rect">
                <a:avLst/>
              </a:prstGeom>
              <a:solidFill>
                <a:srgbClr val="9CBC5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404" name="TextBox 198"/>
              <p:cNvSpPr txBox="1">
                <a:spLocks noChangeArrowheads="1"/>
              </p:cNvSpPr>
              <p:nvPr/>
            </p:nvSpPr>
            <p:spPr bwMode="auto">
              <a:xfrm>
                <a:off x="6583679" y="3581815"/>
                <a:ext cx="15984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a:t>&lt;200</a:t>
                </a:r>
              </a:p>
            </p:txBody>
          </p:sp>
          <p:sp>
            <p:nvSpPr>
              <p:cNvPr id="405" name="TextBox 199"/>
              <p:cNvSpPr txBox="1">
                <a:spLocks noChangeArrowheads="1"/>
              </p:cNvSpPr>
              <p:nvPr/>
            </p:nvSpPr>
            <p:spPr bwMode="auto">
              <a:xfrm>
                <a:off x="6563359" y="3916323"/>
                <a:ext cx="15984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a:t>&lt;350</a:t>
                </a:r>
              </a:p>
            </p:txBody>
          </p:sp>
          <p:sp>
            <p:nvSpPr>
              <p:cNvPr id="406" name="TextBox 200"/>
              <p:cNvSpPr txBox="1">
                <a:spLocks noChangeArrowheads="1"/>
              </p:cNvSpPr>
              <p:nvPr/>
            </p:nvSpPr>
            <p:spPr bwMode="auto">
              <a:xfrm>
                <a:off x="6583679" y="4254936"/>
                <a:ext cx="15984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a:t>&lt;500</a:t>
                </a:r>
              </a:p>
            </p:txBody>
          </p:sp>
          <p:sp>
            <p:nvSpPr>
              <p:cNvPr id="408" name="TextBox 202"/>
              <p:cNvSpPr txBox="1">
                <a:spLocks noChangeArrowheads="1"/>
              </p:cNvSpPr>
              <p:nvPr/>
            </p:nvSpPr>
            <p:spPr bwMode="auto">
              <a:xfrm>
                <a:off x="6573519" y="4557796"/>
                <a:ext cx="229393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dirty="0"/>
                  <a:t>Irrespective of CD4 count</a:t>
                </a:r>
              </a:p>
            </p:txBody>
          </p:sp>
        </p:grpSp>
        <p:grpSp>
          <p:nvGrpSpPr>
            <p:cNvPr id="211" name="Group 279"/>
            <p:cNvGrpSpPr>
              <a:grpSpLocks/>
            </p:cNvGrpSpPr>
            <p:nvPr/>
          </p:nvGrpSpPr>
          <p:grpSpPr bwMode="auto">
            <a:xfrm>
              <a:off x="1825633" y="1587505"/>
              <a:ext cx="5421316" cy="4632344"/>
              <a:chOff x="267" y="1010"/>
              <a:chExt cx="3415" cy="2918"/>
            </a:xfrm>
          </p:grpSpPr>
          <p:sp>
            <p:nvSpPr>
              <p:cNvPr id="212" name="Freeform 8"/>
              <p:cNvSpPr>
                <a:spLocks/>
              </p:cNvSpPr>
              <p:nvPr/>
            </p:nvSpPr>
            <p:spPr bwMode="auto">
              <a:xfrm>
                <a:off x="771" y="1506"/>
                <a:ext cx="686" cy="614"/>
              </a:xfrm>
              <a:custGeom>
                <a:avLst/>
                <a:gdLst>
                  <a:gd name="T0" fmla="*/ 52227 w 641"/>
                  <a:gd name="T1" fmla="*/ 5251 h 584"/>
                  <a:gd name="T2" fmla="*/ 52473 w 641"/>
                  <a:gd name="T3" fmla="*/ 5227 h 584"/>
                  <a:gd name="T4" fmla="*/ 52913 w 641"/>
                  <a:gd name="T5" fmla="*/ 5322 h 584"/>
                  <a:gd name="T6" fmla="*/ 52940 w 641"/>
                  <a:gd name="T7" fmla="*/ 5490 h 584"/>
                  <a:gd name="T8" fmla="*/ 52940 w 641"/>
                  <a:gd name="T9" fmla="*/ 5632 h 584"/>
                  <a:gd name="T10" fmla="*/ 52888 w 641"/>
                  <a:gd name="T11" fmla="*/ 5778 h 584"/>
                  <a:gd name="T12" fmla="*/ 52545 w 641"/>
                  <a:gd name="T13" fmla="*/ 5875 h 584"/>
                  <a:gd name="T14" fmla="*/ 52416 w 641"/>
                  <a:gd name="T15" fmla="*/ 6001 h 584"/>
                  <a:gd name="T16" fmla="*/ 52473 w 641"/>
                  <a:gd name="T17" fmla="*/ 6103 h 584"/>
                  <a:gd name="T18" fmla="*/ 52888 w 641"/>
                  <a:gd name="T19" fmla="*/ 6225 h 584"/>
                  <a:gd name="T20" fmla="*/ 53303 w 641"/>
                  <a:gd name="T21" fmla="*/ 6353 h 584"/>
                  <a:gd name="T22" fmla="*/ 53657 w 641"/>
                  <a:gd name="T23" fmla="*/ 6406 h 584"/>
                  <a:gd name="T24" fmla="*/ 56157 w 641"/>
                  <a:gd name="T25" fmla="*/ 9528 h 584"/>
                  <a:gd name="T26" fmla="*/ 55664 w 641"/>
                  <a:gd name="T27" fmla="*/ 9480 h 584"/>
                  <a:gd name="T28" fmla="*/ 55220 w 641"/>
                  <a:gd name="T29" fmla="*/ 9447 h 584"/>
                  <a:gd name="T30" fmla="*/ 54877 w 641"/>
                  <a:gd name="T31" fmla="*/ 9528 h 584"/>
                  <a:gd name="T32" fmla="*/ 54822 w 641"/>
                  <a:gd name="T33" fmla="*/ 9682 h 584"/>
                  <a:gd name="T34" fmla="*/ 54877 w 641"/>
                  <a:gd name="T35" fmla="*/ 9749 h 584"/>
                  <a:gd name="T36" fmla="*/ 46239 w 641"/>
                  <a:gd name="T37" fmla="*/ 10205 h 584"/>
                  <a:gd name="T38" fmla="*/ 26847 w 641"/>
                  <a:gd name="T39" fmla="*/ 13577 h 584"/>
                  <a:gd name="T40" fmla="*/ 26592 w 641"/>
                  <a:gd name="T41" fmla="*/ 13578 h 584"/>
                  <a:gd name="T42" fmla="*/ 26161 w 641"/>
                  <a:gd name="T43" fmla="*/ 13603 h 584"/>
                  <a:gd name="T44" fmla="*/ 25632 w 641"/>
                  <a:gd name="T45" fmla="*/ 13664 h 584"/>
                  <a:gd name="T46" fmla="*/ 25383 w 641"/>
                  <a:gd name="T47" fmla="*/ 13781 h 584"/>
                  <a:gd name="T48" fmla="*/ 24933 w 641"/>
                  <a:gd name="T49" fmla="*/ 13871 h 584"/>
                  <a:gd name="T50" fmla="*/ 24848 w 641"/>
                  <a:gd name="T51" fmla="*/ 13986 h 584"/>
                  <a:gd name="T52" fmla="*/ 24555 w 641"/>
                  <a:gd name="T53" fmla="*/ 14154 h 584"/>
                  <a:gd name="T54" fmla="*/ 24459 w 641"/>
                  <a:gd name="T55" fmla="*/ 14274 h 584"/>
                  <a:gd name="T56" fmla="*/ 24310 w 641"/>
                  <a:gd name="T57" fmla="*/ 14459 h 584"/>
                  <a:gd name="T58" fmla="*/ 21893 w 641"/>
                  <a:gd name="T59" fmla="*/ 15459 h 584"/>
                  <a:gd name="T60" fmla="*/ 21356 w 641"/>
                  <a:gd name="T61" fmla="*/ 15457 h 584"/>
                  <a:gd name="T62" fmla="*/ 20912 w 641"/>
                  <a:gd name="T63" fmla="*/ 15511 h 584"/>
                  <a:gd name="T64" fmla="*/ 20708 w 641"/>
                  <a:gd name="T65" fmla="*/ 15583 h 584"/>
                  <a:gd name="T66" fmla="*/ 20622 w 641"/>
                  <a:gd name="T67" fmla="*/ 15733 h 584"/>
                  <a:gd name="T68" fmla="*/ 17491 w 641"/>
                  <a:gd name="T69" fmla="*/ 15979 h 584"/>
                  <a:gd name="T70" fmla="*/ 11007 w 641"/>
                  <a:gd name="T71" fmla="*/ 14973 h 584"/>
                  <a:gd name="T72" fmla="*/ 9136 w 641"/>
                  <a:gd name="T73" fmla="*/ 13467 h 584"/>
                  <a:gd name="T74" fmla="*/ 3718 w 641"/>
                  <a:gd name="T75" fmla="*/ 13603 h 584"/>
                  <a:gd name="T76" fmla="*/ 3433 w 641"/>
                  <a:gd name="T77" fmla="*/ 13749 h 584"/>
                  <a:gd name="T78" fmla="*/ 3033 w 641"/>
                  <a:gd name="T79" fmla="*/ 13796 h 584"/>
                  <a:gd name="T80" fmla="*/ 2648 w 641"/>
                  <a:gd name="T81" fmla="*/ 13844 h 584"/>
                  <a:gd name="T82" fmla="*/ 2312 w 641"/>
                  <a:gd name="T83" fmla="*/ 13796 h 584"/>
                  <a:gd name="T84" fmla="*/ 2160 w 641"/>
                  <a:gd name="T85" fmla="*/ 13664 h 584"/>
                  <a:gd name="T86" fmla="*/ 2285 w 641"/>
                  <a:gd name="T87" fmla="*/ 13538 h 584"/>
                  <a:gd name="T88" fmla="*/ 1 w 641"/>
                  <a:gd name="T89" fmla="*/ 11859 h 584"/>
                  <a:gd name="T90" fmla="*/ 1864 w 641"/>
                  <a:gd name="T91" fmla="*/ 10072 h 584"/>
                  <a:gd name="T92" fmla="*/ 1521 w 641"/>
                  <a:gd name="T93" fmla="*/ 9971 h 584"/>
                  <a:gd name="T94" fmla="*/ 1328 w 641"/>
                  <a:gd name="T95" fmla="*/ 9771 h 584"/>
                  <a:gd name="T96" fmla="*/ 1328 w 641"/>
                  <a:gd name="T97" fmla="*/ 9685 h 584"/>
                  <a:gd name="T98" fmla="*/ 1628 w 641"/>
                  <a:gd name="T99" fmla="*/ 9563 h 584"/>
                  <a:gd name="T100" fmla="*/ 2160 w 641"/>
                  <a:gd name="T101" fmla="*/ 9575 h 584"/>
                  <a:gd name="T102" fmla="*/ 2617 w 641"/>
                  <a:gd name="T103" fmla="*/ 9682 h 584"/>
                  <a:gd name="T104" fmla="*/ 3208 w 641"/>
                  <a:gd name="T105" fmla="*/ 9698 h 584"/>
                  <a:gd name="T106" fmla="*/ 4819 w 641"/>
                  <a:gd name="T107" fmla="*/ 10540 h 584"/>
                  <a:gd name="T108" fmla="*/ 4877 w 641"/>
                  <a:gd name="T109" fmla="*/ 10412 h 584"/>
                  <a:gd name="T110" fmla="*/ 5030 w 641"/>
                  <a:gd name="T111" fmla="*/ 10205 h 584"/>
                  <a:gd name="T112" fmla="*/ 5383 w 641"/>
                  <a:gd name="T113" fmla="*/ 10067 h 584"/>
                  <a:gd name="T114" fmla="*/ 5761 w 641"/>
                  <a:gd name="T115" fmla="*/ 10053 h 584"/>
                  <a:gd name="T116" fmla="*/ 6297 w 641"/>
                  <a:gd name="T117" fmla="*/ 10025 h 584"/>
                  <a:gd name="T118" fmla="*/ 22855 w 641"/>
                  <a:gd name="T119" fmla="*/ 10067 h 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41"/>
                  <a:gd name="T181" fmla="*/ 0 h 584"/>
                  <a:gd name="T182" fmla="*/ 641 w 641"/>
                  <a:gd name="T183" fmla="*/ 584 h 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41" h="584">
                    <a:moveTo>
                      <a:pt x="212" y="0"/>
                    </a:moveTo>
                    <a:lnTo>
                      <a:pt x="279" y="0"/>
                    </a:lnTo>
                    <a:lnTo>
                      <a:pt x="523" y="149"/>
                    </a:lnTo>
                    <a:lnTo>
                      <a:pt x="519" y="159"/>
                    </a:lnTo>
                    <a:lnTo>
                      <a:pt x="548" y="180"/>
                    </a:lnTo>
                    <a:lnTo>
                      <a:pt x="569" y="191"/>
                    </a:lnTo>
                    <a:lnTo>
                      <a:pt x="592" y="194"/>
                    </a:lnTo>
                    <a:lnTo>
                      <a:pt x="592" y="193"/>
                    </a:lnTo>
                    <a:lnTo>
                      <a:pt x="593" y="193"/>
                    </a:lnTo>
                    <a:lnTo>
                      <a:pt x="594" y="193"/>
                    </a:lnTo>
                    <a:lnTo>
                      <a:pt x="595" y="193"/>
                    </a:lnTo>
                    <a:lnTo>
                      <a:pt x="596" y="192"/>
                    </a:lnTo>
                    <a:lnTo>
                      <a:pt x="597" y="192"/>
                    </a:lnTo>
                    <a:lnTo>
                      <a:pt x="597" y="193"/>
                    </a:lnTo>
                    <a:lnTo>
                      <a:pt x="598" y="193"/>
                    </a:lnTo>
                    <a:lnTo>
                      <a:pt x="599" y="193"/>
                    </a:lnTo>
                    <a:lnTo>
                      <a:pt x="600" y="193"/>
                    </a:lnTo>
                    <a:lnTo>
                      <a:pt x="601" y="194"/>
                    </a:lnTo>
                    <a:lnTo>
                      <a:pt x="601" y="195"/>
                    </a:lnTo>
                    <a:lnTo>
                      <a:pt x="601" y="196"/>
                    </a:lnTo>
                    <a:lnTo>
                      <a:pt x="601" y="197"/>
                    </a:lnTo>
                    <a:lnTo>
                      <a:pt x="601" y="198"/>
                    </a:lnTo>
                    <a:lnTo>
                      <a:pt x="602" y="199"/>
                    </a:lnTo>
                    <a:lnTo>
                      <a:pt x="602" y="200"/>
                    </a:lnTo>
                    <a:lnTo>
                      <a:pt x="602" y="201"/>
                    </a:lnTo>
                    <a:lnTo>
                      <a:pt x="602" y="202"/>
                    </a:lnTo>
                    <a:lnTo>
                      <a:pt x="602" y="203"/>
                    </a:lnTo>
                    <a:lnTo>
                      <a:pt x="602" y="204"/>
                    </a:lnTo>
                    <a:lnTo>
                      <a:pt x="602" y="205"/>
                    </a:lnTo>
                    <a:lnTo>
                      <a:pt x="602" y="206"/>
                    </a:lnTo>
                    <a:lnTo>
                      <a:pt x="602" y="207"/>
                    </a:lnTo>
                    <a:lnTo>
                      <a:pt x="602" y="208"/>
                    </a:lnTo>
                    <a:lnTo>
                      <a:pt x="602" y="209"/>
                    </a:lnTo>
                    <a:lnTo>
                      <a:pt x="601" y="209"/>
                    </a:lnTo>
                    <a:lnTo>
                      <a:pt x="601" y="210"/>
                    </a:lnTo>
                    <a:lnTo>
                      <a:pt x="600" y="211"/>
                    </a:lnTo>
                    <a:lnTo>
                      <a:pt x="600" y="212"/>
                    </a:lnTo>
                    <a:lnTo>
                      <a:pt x="599" y="212"/>
                    </a:lnTo>
                    <a:lnTo>
                      <a:pt x="599" y="213"/>
                    </a:lnTo>
                    <a:lnTo>
                      <a:pt x="598" y="213"/>
                    </a:lnTo>
                    <a:lnTo>
                      <a:pt x="598" y="214"/>
                    </a:lnTo>
                    <a:lnTo>
                      <a:pt x="597" y="214"/>
                    </a:lnTo>
                    <a:lnTo>
                      <a:pt x="597" y="215"/>
                    </a:lnTo>
                    <a:lnTo>
                      <a:pt x="597" y="216"/>
                    </a:lnTo>
                    <a:lnTo>
                      <a:pt x="596" y="216"/>
                    </a:lnTo>
                    <a:lnTo>
                      <a:pt x="596" y="217"/>
                    </a:lnTo>
                    <a:lnTo>
                      <a:pt x="596" y="218"/>
                    </a:lnTo>
                    <a:lnTo>
                      <a:pt x="596" y="219"/>
                    </a:lnTo>
                    <a:lnTo>
                      <a:pt x="595" y="219"/>
                    </a:lnTo>
                    <a:lnTo>
                      <a:pt x="595" y="220"/>
                    </a:lnTo>
                    <a:lnTo>
                      <a:pt x="595" y="221"/>
                    </a:lnTo>
                    <a:lnTo>
                      <a:pt x="595" y="222"/>
                    </a:lnTo>
                    <a:lnTo>
                      <a:pt x="596" y="222"/>
                    </a:lnTo>
                    <a:lnTo>
                      <a:pt x="596" y="223"/>
                    </a:lnTo>
                    <a:lnTo>
                      <a:pt x="596" y="224"/>
                    </a:lnTo>
                    <a:lnTo>
                      <a:pt x="596" y="225"/>
                    </a:lnTo>
                    <a:lnTo>
                      <a:pt x="597" y="225"/>
                    </a:lnTo>
                    <a:lnTo>
                      <a:pt x="597" y="226"/>
                    </a:lnTo>
                    <a:lnTo>
                      <a:pt x="598" y="226"/>
                    </a:lnTo>
                    <a:lnTo>
                      <a:pt x="598" y="227"/>
                    </a:lnTo>
                    <a:lnTo>
                      <a:pt x="599" y="228"/>
                    </a:lnTo>
                    <a:lnTo>
                      <a:pt x="600" y="228"/>
                    </a:lnTo>
                    <a:lnTo>
                      <a:pt x="600" y="229"/>
                    </a:lnTo>
                    <a:lnTo>
                      <a:pt x="601" y="230"/>
                    </a:lnTo>
                    <a:lnTo>
                      <a:pt x="602" y="230"/>
                    </a:lnTo>
                    <a:lnTo>
                      <a:pt x="602" y="231"/>
                    </a:lnTo>
                    <a:lnTo>
                      <a:pt x="603" y="231"/>
                    </a:lnTo>
                    <a:lnTo>
                      <a:pt x="604" y="232"/>
                    </a:lnTo>
                    <a:lnTo>
                      <a:pt x="605" y="232"/>
                    </a:lnTo>
                    <a:lnTo>
                      <a:pt x="605" y="233"/>
                    </a:lnTo>
                    <a:lnTo>
                      <a:pt x="606" y="233"/>
                    </a:lnTo>
                    <a:lnTo>
                      <a:pt x="606" y="234"/>
                    </a:lnTo>
                    <a:lnTo>
                      <a:pt x="607" y="234"/>
                    </a:lnTo>
                    <a:lnTo>
                      <a:pt x="608" y="235"/>
                    </a:lnTo>
                    <a:lnTo>
                      <a:pt x="609" y="235"/>
                    </a:lnTo>
                    <a:lnTo>
                      <a:pt x="610" y="235"/>
                    </a:lnTo>
                    <a:lnTo>
                      <a:pt x="636" y="225"/>
                    </a:lnTo>
                    <a:lnTo>
                      <a:pt x="641" y="349"/>
                    </a:lnTo>
                    <a:lnTo>
                      <a:pt x="639" y="348"/>
                    </a:lnTo>
                    <a:lnTo>
                      <a:pt x="638" y="348"/>
                    </a:lnTo>
                    <a:lnTo>
                      <a:pt x="638" y="347"/>
                    </a:lnTo>
                    <a:lnTo>
                      <a:pt x="637" y="347"/>
                    </a:lnTo>
                    <a:lnTo>
                      <a:pt x="636" y="347"/>
                    </a:lnTo>
                    <a:lnTo>
                      <a:pt x="635" y="346"/>
                    </a:lnTo>
                    <a:lnTo>
                      <a:pt x="634" y="346"/>
                    </a:lnTo>
                    <a:lnTo>
                      <a:pt x="633" y="346"/>
                    </a:lnTo>
                    <a:lnTo>
                      <a:pt x="633" y="345"/>
                    </a:lnTo>
                    <a:lnTo>
                      <a:pt x="632" y="345"/>
                    </a:lnTo>
                    <a:lnTo>
                      <a:pt x="631" y="345"/>
                    </a:lnTo>
                    <a:lnTo>
                      <a:pt x="630" y="345"/>
                    </a:lnTo>
                    <a:lnTo>
                      <a:pt x="629" y="345"/>
                    </a:lnTo>
                    <a:lnTo>
                      <a:pt x="628" y="345"/>
                    </a:lnTo>
                    <a:lnTo>
                      <a:pt x="627" y="345"/>
                    </a:lnTo>
                    <a:lnTo>
                      <a:pt x="626" y="345"/>
                    </a:lnTo>
                    <a:lnTo>
                      <a:pt x="626" y="346"/>
                    </a:lnTo>
                    <a:lnTo>
                      <a:pt x="625" y="346"/>
                    </a:lnTo>
                    <a:lnTo>
                      <a:pt x="624" y="347"/>
                    </a:lnTo>
                    <a:lnTo>
                      <a:pt x="624" y="348"/>
                    </a:lnTo>
                    <a:lnTo>
                      <a:pt x="623" y="348"/>
                    </a:lnTo>
                    <a:lnTo>
                      <a:pt x="623" y="349"/>
                    </a:lnTo>
                    <a:lnTo>
                      <a:pt x="623" y="350"/>
                    </a:lnTo>
                    <a:lnTo>
                      <a:pt x="622" y="350"/>
                    </a:lnTo>
                    <a:lnTo>
                      <a:pt x="622" y="351"/>
                    </a:lnTo>
                    <a:lnTo>
                      <a:pt x="622" y="352"/>
                    </a:lnTo>
                    <a:lnTo>
                      <a:pt x="622" y="353"/>
                    </a:lnTo>
                    <a:lnTo>
                      <a:pt x="622" y="354"/>
                    </a:lnTo>
                    <a:lnTo>
                      <a:pt x="622" y="355"/>
                    </a:lnTo>
                    <a:lnTo>
                      <a:pt x="623" y="355"/>
                    </a:lnTo>
                    <a:lnTo>
                      <a:pt x="623" y="356"/>
                    </a:lnTo>
                    <a:lnTo>
                      <a:pt x="623" y="357"/>
                    </a:lnTo>
                    <a:lnTo>
                      <a:pt x="623" y="358"/>
                    </a:lnTo>
                    <a:lnTo>
                      <a:pt x="623" y="359"/>
                    </a:lnTo>
                    <a:lnTo>
                      <a:pt x="624" y="359"/>
                    </a:lnTo>
                    <a:lnTo>
                      <a:pt x="624" y="360"/>
                    </a:lnTo>
                    <a:lnTo>
                      <a:pt x="624" y="361"/>
                    </a:lnTo>
                    <a:lnTo>
                      <a:pt x="625" y="362"/>
                    </a:lnTo>
                    <a:lnTo>
                      <a:pt x="599" y="376"/>
                    </a:lnTo>
                    <a:lnTo>
                      <a:pt x="526" y="375"/>
                    </a:lnTo>
                    <a:lnTo>
                      <a:pt x="516" y="388"/>
                    </a:lnTo>
                    <a:lnTo>
                      <a:pt x="455" y="390"/>
                    </a:lnTo>
                    <a:lnTo>
                      <a:pt x="413" y="416"/>
                    </a:lnTo>
                    <a:lnTo>
                      <a:pt x="393" y="430"/>
                    </a:lnTo>
                    <a:lnTo>
                      <a:pt x="340" y="457"/>
                    </a:lnTo>
                    <a:lnTo>
                      <a:pt x="323" y="457"/>
                    </a:lnTo>
                    <a:lnTo>
                      <a:pt x="306" y="497"/>
                    </a:lnTo>
                    <a:lnTo>
                      <a:pt x="305" y="497"/>
                    </a:lnTo>
                    <a:lnTo>
                      <a:pt x="304" y="497"/>
                    </a:lnTo>
                    <a:lnTo>
                      <a:pt x="303" y="497"/>
                    </a:lnTo>
                    <a:lnTo>
                      <a:pt x="302" y="497"/>
                    </a:lnTo>
                    <a:lnTo>
                      <a:pt x="302" y="498"/>
                    </a:lnTo>
                    <a:lnTo>
                      <a:pt x="301" y="498"/>
                    </a:lnTo>
                    <a:lnTo>
                      <a:pt x="300" y="498"/>
                    </a:lnTo>
                    <a:lnTo>
                      <a:pt x="300" y="499"/>
                    </a:lnTo>
                    <a:lnTo>
                      <a:pt x="299" y="499"/>
                    </a:lnTo>
                    <a:lnTo>
                      <a:pt x="298" y="499"/>
                    </a:lnTo>
                    <a:lnTo>
                      <a:pt x="297" y="499"/>
                    </a:lnTo>
                    <a:lnTo>
                      <a:pt x="297" y="500"/>
                    </a:lnTo>
                    <a:lnTo>
                      <a:pt x="296" y="500"/>
                    </a:lnTo>
                    <a:lnTo>
                      <a:pt x="295" y="500"/>
                    </a:lnTo>
                    <a:lnTo>
                      <a:pt x="295" y="501"/>
                    </a:lnTo>
                    <a:lnTo>
                      <a:pt x="294" y="501"/>
                    </a:lnTo>
                    <a:lnTo>
                      <a:pt x="293" y="501"/>
                    </a:lnTo>
                    <a:lnTo>
                      <a:pt x="292" y="501"/>
                    </a:lnTo>
                    <a:lnTo>
                      <a:pt x="292" y="502"/>
                    </a:lnTo>
                    <a:lnTo>
                      <a:pt x="291" y="502"/>
                    </a:lnTo>
                    <a:lnTo>
                      <a:pt x="290" y="503"/>
                    </a:lnTo>
                    <a:lnTo>
                      <a:pt x="290" y="504"/>
                    </a:lnTo>
                    <a:lnTo>
                      <a:pt x="289" y="504"/>
                    </a:lnTo>
                    <a:lnTo>
                      <a:pt x="288" y="505"/>
                    </a:lnTo>
                    <a:lnTo>
                      <a:pt x="287" y="506"/>
                    </a:lnTo>
                    <a:lnTo>
                      <a:pt x="286" y="506"/>
                    </a:lnTo>
                    <a:lnTo>
                      <a:pt x="285" y="507"/>
                    </a:lnTo>
                    <a:lnTo>
                      <a:pt x="284" y="507"/>
                    </a:lnTo>
                    <a:lnTo>
                      <a:pt x="284" y="508"/>
                    </a:lnTo>
                    <a:lnTo>
                      <a:pt x="284" y="509"/>
                    </a:lnTo>
                    <a:lnTo>
                      <a:pt x="284" y="510"/>
                    </a:lnTo>
                    <a:lnTo>
                      <a:pt x="283" y="510"/>
                    </a:lnTo>
                    <a:lnTo>
                      <a:pt x="283" y="511"/>
                    </a:lnTo>
                    <a:lnTo>
                      <a:pt x="282" y="511"/>
                    </a:lnTo>
                    <a:lnTo>
                      <a:pt x="281" y="512"/>
                    </a:lnTo>
                    <a:lnTo>
                      <a:pt x="281" y="513"/>
                    </a:lnTo>
                    <a:lnTo>
                      <a:pt x="280" y="514"/>
                    </a:lnTo>
                    <a:lnTo>
                      <a:pt x="280" y="515"/>
                    </a:lnTo>
                    <a:lnTo>
                      <a:pt x="279" y="516"/>
                    </a:lnTo>
                    <a:lnTo>
                      <a:pt x="279" y="517"/>
                    </a:lnTo>
                    <a:lnTo>
                      <a:pt x="279" y="518"/>
                    </a:lnTo>
                    <a:lnTo>
                      <a:pt x="279" y="519"/>
                    </a:lnTo>
                    <a:lnTo>
                      <a:pt x="279" y="520"/>
                    </a:lnTo>
                    <a:lnTo>
                      <a:pt x="278" y="520"/>
                    </a:lnTo>
                    <a:lnTo>
                      <a:pt x="278" y="521"/>
                    </a:lnTo>
                    <a:lnTo>
                      <a:pt x="278" y="522"/>
                    </a:lnTo>
                    <a:lnTo>
                      <a:pt x="278" y="523"/>
                    </a:lnTo>
                    <a:lnTo>
                      <a:pt x="277" y="524"/>
                    </a:lnTo>
                    <a:lnTo>
                      <a:pt x="277" y="525"/>
                    </a:lnTo>
                    <a:lnTo>
                      <a:pt x="277" y="526"/>
                    </a:lnTo>
                    <a:lnTo>
                      <a:pt x="277" y="527"/>
                    </a:lnTo>
                    <a:lnTo>
                      <a:pt x="277" y="528"/>
                    </a:lnTo>
                    <a:lnTo>
                      <a:pt x="277" y="529"/>
                    </a:lnTo>
                    <a:lnTo>
                      <a:pt x="277" y="530"/>
                    </a:lnTo>
                    <a:lnTo>
                      <a:pt x="277" y="531"/>
                    </a:lnTo>
                    <a:lnTo>
                      <a:pt x="277" y="532"/>
                    </a:lnTo>
                    <a:lnTo>
                      <a:pt x="269" y="547"/>
                    </a:lnTo>
                    <a:lnTo>
                      <a:pt x="269" y="570"/>
                    </a:lnTo>
                    <a:lnTo>
                      <a:pt x="249" y="567"/>
                    </a:lnTo>
                    <a:lnTo>
                      <a:pt x="248" y="566"/>
                    </a:lnTo>
                    <a:lnTo>
                      <a:pt x="247" y="566"/>
                    </a:lnTo>
                    <a:lnTo>
                      <a:pt x="246" y="566"/>
                    </a:lnTo>
                    <a:lnTo>
                      <a:pt x="245" y="566"/>
                    </a:lnTo>
                    <a:lnTo>
                      <a:pt x="244" y="566"/>
                    </a:lnTo>
                    <a:lnTo>
                      <a:pt x="243" y="566"/>
                    </a:lnTo>
                    <a:lnTo>
                      <a:pt x="242" y="566"/>
                    </a:lnTo>
                    <a:lnTo>
                      <a:pt x="241" y="566"/>
                    </a:lnTo>
                    <a:lnTo>
                      <a:pt x="241" y="567"/>
                    </a:lnTo>
                    <a:lnTo>
                      <a:pt x="240" y="567"/>
                    </a:lnTo>
                    <a:lnTo>
                      <a:pt x="239" y="567"/>
                    </a:lnTo>
                    <a:lnTo>
                      <a:pt x="239" y="568"/>
                    </a:lnTo>
                    <a:lnTo>
                      <a:pt x="238" y="568"/>
                    </a:lnTo>
                    <a:lnTo>
                      <a:pt x="237" y="568"/>
                    </a:lnTo>
                    <a:lnTo>
                      <a:pt x="236" y="568"/>
                    </a:lnTo>
                    <a:lnTo>
                      <a:pt x="236" y="569"/>
                    </a:lnTo>
                    <a:lnTo>
                      <a:pt x="236" y="570"/>
                    </a:lnTo>
                    <a:lnTo>
                      <a:pt x="236" y="571"/>
                    </a:lnTo>
                    <a:lnTo>
                      <a:pt x="235" y="571"/>
                    </a:lnTo>
                    <a:lnTo>
                      <a:pt x="235" y="572"/>
                    </a:lnTo>
                    <a:lnTo>
                      <a:pt x="235" y="573"/>
                    </a:lnTo>
                    <a:lnTo>
                      <a:pt x="235" y="574"/>
                    </a:lnTo>
                    <a:lnTo>
                      <a:pt x="234" y="574"/>
                    </a:lnTo>
                    <a:lnTo>
                      <a:pt x="234" y="575"/>
                    </a:lnTo>
                    <a:lnTo>
                      <a:pt x="234" y="576"/>
                    </a:lnTo>
                    <a:lnTo>
                      <a:pt x="234" y="577"/>
                    </a:lnTo>
                    <a:lnTo>
                      <a:pt x="234" y="578"/>
                    </a:lnTo>
                    <a:lnTo>
                      <a:pt x="234" y="579"/>
                    </a:lnTo>
                    <a:lnTo>
                      <a:pt x="226" y="558"/>
                    </a:lnTo>
                    <a:lnTo>
                      <a:pt x="217" y="563"/>
                    </a:lnTo>
                    <a:lnTo>
                      <a:pt x="212" y="572"/>
                    </a:lnTo>
                    <a:lnTo>
                      <a:pt x="199" y="584"/>
                    </a:lnTo>
                    <a:lnTo>
                      <a:pt x="183" y="578"/>
                    </a:lnTo>
                    <a:lnTo>
                      <a:pt x="174" y="565"/>
                    </a:lnTo>
                    <a:lnTo>
                      <a:pt x="156" y="580"/>
                    </a:lnTo>
                    <a:lnTo>
                      <a:pt x="149" y="565"/>
                    </a:lnTo>
                    <a:lnTo>
                      <a:pt x="141" y="549"/>
                    </a:lnTo>
                    <a:lnTo>
                      <a:pt x="145" y="546"/>
                    </a:lnTo>
                    <a:lnTo>
                      <a:pt x="125" y="549"/>
                    </a:lnTo>
                    <a:lnTo>
                      <a:pt x="141" y="529"/>
                    </a:lnTo>
                    <a:lnTo>
                      <a:pt x="132" y="525"/>
                    </a:lnTo>
                    <a:lnTo>
                      <a:pt x="124" y="522"/>
                    </a:lnTo>
                    <a:lnTo>
                      <a:pt x="123" y="490"/>
                    </a:lnTo>
                    <a:lnTo>
                      <a:pt x="107" y="490"/>
                    </a:lnTo>
                    <a:lnTo>
                      <a:pt x="103" y="480"/>
                    </a:lnTo>
                    <a:lnTo>
                      <a:pt x="104" y="494"/>
                    </a:lnTo>
                    <a:lnTo>
                      <a:pt x="91" y="508"/>
                    </a:lnTo>
                    <a:lnTo>
                      <a:pt x="65" y="494"/>
                    </a:lnTo>
                    <a:lnTo>
                      <a:pt x="51" y="515"/>
                    </a:lnTo>
                    <a:lnTo>
                      <a:pt x="44" y="499"/>
                    </a:lnTo>
                    <a:lnTo>
                      <a:pt x="43" y="499"/>
                    </a:lnTo>
                    <a:lnTo>
                      <a:pt x="43" y="500"/>
                    </a:lnTo>
                    <a:lnTo>
                      <a:pt x="42" y="500"/>
                    </a:lnTo>
                    <a:lnTo>
                      <a:pt x="42" y="501"/>
                    </a:lnTo>
                    <a:lnTo>
                      <a:pt x="41" y="501"/>
                    </a:lnTo>
                    <a:lnTo>
                      <a:pt x="40" y="501"/>
                    </a:lnTo>
                    <a:lnTo>
                      <a:pt x="40" y="502"/>
                    </a:lnTo>
                    <a:lnTo>
                      <a:pt x="39" y="502"/>
                    </a:lnTo>
                    <a:lnTo>
                      <a:pt x="38" y="503"/>
                    </a:lnTo>
                    <a:lnTo>
                      <a:pt x="38" y="504"/>
                    </a:lnTo>
                    <a:lnTo>
                      <a:pt x="37" y="504"/>
                    </a:lnTo>
                    <a:lnTo>
                      <a:pt x="37" y="505"/>
                    </a:lnTo>
                    <a:lnTo>
                      <a:pt x="36" y="505"/>
                    </a:lnTo>
                    <a:lnTo>
                      <a:pt x="36" y="506"/>
                    </a:lnTo>
                    <a:lnTo>
                      <a:pt x="35" y="506"/>
                    </a:lnTo>
                    <a:lnTo>
                      <a:pt x="34" y="506"/>
                    </a:lnTo>
                    <a:lnTo>
                      <a:pt x="33" y="506"/>
                    </a:lnTo>
                    <a:lnTo>
                      <a:pt x="32" y="507"/>
                    </a:lnTo>
                    <a:lnTo>
                      <a:pt x="31" y="507"/>
                    </a:lnTo>
                    <a:lnTo>
                      <a:pt x="31" y="508"/>
                    </a:lnTo>
                    <a:lnTo>
                      <a:pt x="30" y="508"/>
                    </a:lnTo>
                    <a:lnTo>
                      <a:pt x="29" y="508"/>
                    </a:lnTo>
                    <a:lnTo>
                      <a:pt x="28" y="508"/>
                    </a:lnTo>
                    <a:lnTo>
                      <a:pt x="28" y="507"/>
                    </a:lnTo>
                    <a:lnTo>
                      <a:pt x="27" y="507"/>
                    </a:lnTo>
                    <a:lnTo>
                      <a:pt x="27" y="506"/>
                    </a:lnTo>
                    <a:lnTo>
                      <a:pt x="26" y="506"/>
                    </a:lnTo>
                    <a:lnTo>
                      <a:pt x="26" y="505"/>
                    </a:lnTo>
                    <a:lnTo>
                      <a:pt x="26" y="504"/>
                    </a:lnTo>
                    <a:lnTo>
                      <a:pt x="26" y="503"/>
                    </a:lnTo>
                    <a:lnTo>
                      <a:pt x="25" y="502"/>
                    </a:lnTo>
                    <a:lnTo>
                      <a:pt x="25" y="501"/>
                    </a:lnTo>
                    <a:lnTo>
                      <a:pt x="25" y="500"/>
                    </a:lnTo>
                    <a:lnTo>
                      <a:pt x="26" y="500"/>
                    </a:lnTo>
                    <a:lnTo>
                      <a:pt x="26" y="499"/>
                    </a:lnTo>
                    <a:lnTo>
                      <a:pt x="26" y="498"/>
                    </a:lnTo>
                    <a:lnTo>
                      <a:pt x="26" y="497"/>
                    </a:lnTo>
                    <a:lnTo>
                      <a:pt x="26" y="496"/>
                    </a:lnTo>
                    <a:lnTo>
                      <a:pt x="26" y="495"/>
                    </a:lnTo>
                    <a:lnTo>
                      <a:pt x="26" y="494"/>
                    </a:lnTo>
                    <a:lnTo>
                      <a:pt x="27" y="494"/>
                    </a:lnTo>
                    <a:lnTo>
                      <a:pt x="24" y="457"/>
                    </a:lnTo>
                    <a:lnTo>
                      <a:pt x="11" y="453"/>
                    </a:lnTo>
                    <a:lnTo>
                      <a:pt x="1" y="435"/>
                    </a:lnTo>
                    <a:lnTo>
                      <a:pt x="0" y="396"/>
                    </a:lnTo>
                    <a:lnTo>
                      <a:pt x="9" y="382"/>
                    </a:lnTo>
                    <a:lnTo>
                      <a:pt x="22" y="375"/>
                    </a:lnTo>
                    <a:lnTo>
                      <a:pt x="22" y="374"/>
                    </a:lnTo>
                    <a:lnTo>
                      <a:pt x="22" y="373"/>
                    </a:lnTo>
                    <a:lnTo>
                      <a:pt x="21" y="372"/>
                    </a:lnTo>
                    <a:lnTo>
                      <a:pt x="21" y="371"/>
                    </a:lnTo>
                    <a:lnTo>
                      <a:pt x="20" y="370"/>
                    </a:lnTo>
                    <a:lnTo>
                      <a:pt x="19" y="369"/>
                    </a:lnTo>
                    <a:lnTo>
                      <a:pt x="19" y="368"/>
                    </a:lnTo>
                    <a:lnTo>
                      <a:pt x="18" y="367"/>
                    </a:lnTo>
                    <a:lnTo>
                      <a:pt x="18" y="366"/>
                    </a:lnTo>
                    <a:lnTo>
                      <a:pt x="18" y="365"/>
                    </a:lnTo>
                    <a:lnTo>
                      <a:pt x="17" y="365"/>
                    </a:lnTo>
                    <a:lnTo>
                      <a:pt x="17" y="364"/>
                    </a:lnTo>
                    <a:lnTo>
                      <a:pt x="17" y="363"/>
                    </a:lnTo>
                    <a:lnTo>
                      <a:pt x="16" y="363"/>
                    </a:lnTo>
                    <a:lnTo>
                      <a:pt x="16" y="362"/>
                    </a:lnTo>
                    <a:lnTo>
                      <a:pt x="16" y="361"/>
                    </a:lnTo>
                    <a:lnTo>
                      <a:pt x="16" y="360"/>
                    </a:lnTo>
                    <a:lnTo>
                      <a:pt x="16" y="359"/>
                    </a:lnTo>
                    <a:lnTo>
                      <a:pt x="16" y="358"/>
                    </a:lnTo>
                    <a:lnTo>
                      <a:pt x="16" y="357"/>
                    </a:lnTo>
                    <a:lnTo>
                      <a:pt x="16" y="356"/>
                    </a:lnTo>
                    <a:lnTo>
                      <a:pt x="16" y="355"/>
                    </a:lnTo>
                    <a:lnTo>
                      <a:pt x="16" y="354"/>
                    </a:lnTo>
                    <a:lnTo>
                      <a:pt x="16" y="353"/>
                    </a:lnTo>
                    <a:lnTo>
                      <a:pt x="17" y="352"/>
                    </a:lnTo>
                    <a:lnTo>
                      <a:pt x="18" y="352"/>
                    </a:lnTo>
                    <a:lnTo>
                      <a:pt x="18" y="351"/>
                    </a:lnTo>
                    <a:lnTo>
                      <a:pt x="19" y="351"/>
                    </a:lnTo>
                    <a:lnTo>
                      <a:pt x="20" y="351"/>
                    </a:lnTo>
                    <a:lnTo>
                      <a:pt x="21" y="351"/>
                    </a:lnTo>
                    <a:lnTo>
                      <a:pt x="22" y="351"/>
                    </a:lnTo>
                    <a:lnTo>
                      <a:pt x="23" y="351"/>
                    </a:lnTo>
                    <a:lnTo>
                      <a:pt x="24" y="351"/>
                    </a:lnTo>
                    <a:lnTo>
                      <a:pt x="25" y="352"/>
                    </a:lnTo>
                    <a:lnTo>
                      <a:pt x="26" y="352"/>
                    </a:lnTo>
                    <a:lnTo>
                      <a:pt x="27" y="352"/>
                    </a:lnTo>
                    <a:lnTo>
                      <a:pt x="27" y="353"/>
                    </a:lnTo>
                    <a:lnTo>
                      <a:pt x="28" y="353"/>
                    </a:lnTo>
                    <a:lnTo>
                      <a:pt x="29" y="353"/>
                    </a:lnTo>
                    <a:lnTo>
                      <a:pt x="30" y="354"/>
                    </a:lnTo>
                    <a:lnTo>
                      <a:pt x="31" y="354"/>
                    </a:lnTo>
                    <a:lnTo>
                      <a:pt x="32" y="354"/>
                    </a:lnTo>
                    <a:lnTo>
                      <a:pt x="32" y="355"/>
                    </a:lnTo>
                    <a:lnTo>
                      <a:pt x="33" y="355"/>
                    </a:lnTo>
                    <a:lnTo>
                      <a:pt x="34" y="355"/>
                    </a:lnTo>
                    <a:lnTo>
                      <a:pt x="35" y="355"/>
                    </a:lnTo>
                    <a:lnTo>
                      <a:pt x="36" y="356"/>
                    </a:lnTo>
                    <a:lnTo>
                      <a:pt x="37" y="356"/>
                    </a:lnTo>
                    <a:lnTo>
                      <a:pt x="38" y="357"/>
                    </a:lnTo>
                    <a:lnTo>
                      <a:pt x="39" y="358"/>
                    </a:lnTo>
                    <a:lnTo>
                      <a:pt x="42" y="370"/>
                    </a:lnTo>
                    <a:lnTo>
                      <a:pt x="56" y="386"/>
                    </a:lnTo>
                    <a:lnTo>
                      <a:pt x="55" y="386"/>
                    </a:lnTo>
                    <a:lnTo>
                      <a:pt x="55" y="385"/>
                    </a:lnTo>
                    <a:lnTo>
                      <a:pt x="55" y="384"/>
                    </a:lnTo>
                    <a:lnTo>
                      <a:pt x="55" y="383"/>
                    </a:lnTo>
                    <a:lnTo>
                      <a:pt x="55" y="382"/>
                    </a:lnTo>
                    <a:lnTo>
                      <a:pt x="55" y="381"/>
                    </a:lnTo>
                    <a:lnTo>
                      <a:pt x="56" y="381"/>
                    </a:lnTo>
                    <a:lnTo>
                      <a:pt x="56" y="380"/>
                    </a:lnTo>
                    <a:lnTo>
                      <a:pt x="56" y="379"/>
                    </a:lnTo>
                    <a:lnTo>
                      <a:pt x="56" y="378"/>
                    </a:lnTo>
                    <a:lnTo>
                      <a:pt x="56" y="377"/>
                    </a:lnTo>
                    <a:lnTo>
                      <a:pt x="56" y="376"/>
                    </a:lnTo>
                    <a:lnTo>
                      <a:pt x="57" y="376"/>
                    </a:lnTo>
                    <a:lnTo>
                      <a:pt x="57" y="375"/>
                    </a:lnTo>
                    <a:lnTo>
                      <a:pt x="58" y="374"/>
                    </a:lnTo>
                    <a:lnTo>
                      <a:pt x="58" y="373"/>
                    </a:lnTo>
                    <a:lnTo>
                      <a:pt x="59" y="373"/>
                    </a:lnTo>
                    <a:lnTo>
                      <a:pt x="59" y="372"/>
                    </a:lnTo>
                    <a:lnTo>
                      <a:pt x="59" y="371"/>
                    </a:lnTo>
                    <a:lnTo>
                      <a:pt x="60" y="370"/>
                    </a:lnTo>
                    <a:lnTo>
                      <a:pt x="61" y="370"/>
                    </a:lnTo>
                    <a:lnTo>
                      <a:pt x="62" y="370"/>
                    </a:lnTo>
                    <a:lnTo>
                      <a:pt x="62" y="369"/>
                    </a:lnTo>
                    <a:lnTo>
                      <a:pt x="63" y="369"/>
                    </a:lnTo>
                    <a:lnTo>
                      <a:pt x="64" y="369"/>
                    </a:lnTo>
                    <a:lnTo>
                      <a:pt x="64" y="368"/>
                    </a:lnTo>
                    <a:lnTo>
                      <a:pt x="65" y="368"/>
                    </a:lnTo>
                    <a:lnTo>
                      <a:pt x="66" y="367"/>
                    </a:lnTo>
                    <a:lnTo>
                      <a:pt x="67" y="367"/>
                    </a:lnTo>
                    <a:lnTo>
                      <a:pt x="68" y="367"/>
                    </a:lnTo>
                    <a:lnTo>
                      <a:pt x="69" y="367"/>
                    </a:lnTo>
                    <a:lnTo>
                      <a:pt x="70" y="367"/>
                    </a:lnTo>
                    <a:lnTo>
                      <a:pt x="71" y="367"/>
                    </a:lnTo>
                    <a:lnTo>
                      <a:pt x="72" y="367"/>
                    </a:lnTo>
                    <a:lnTo>
                      <a:pt x="72" y="366"/>
                    </a:lnTo>
                    <a:lnTo>
                      <a:pt x="73" y="366"/>
                    </a:lnTo>
                    <a:lnTo>
                      <a:pt x="74" y="366"/>
                    </a:lnTo>
                    <a:lnTo>
                      <a:pt x="74" y="367"/>
                    </a:lnTo>
                    <a:lnTo>
                      <a:pt x="75" y="367"/>
                    </a:lnTo>
                    <a:lnTo>
                      <a:pt x="260" y="370"/>
                    </a:lnTo>
                    <a:lnTo>
                      <a:pt x="262" y="338"/>
                    </a:lnTo>
                    <a:lnTo>
                      <a:pt x="252" y="335"/>
                    </a:lnTo>
                    <a:lnTo>
                      <a:pt x="229" y="148"/>
                    </a:lnTo>
                    <a:lnTo>
                      <a:pt x="220" y="56"/>
                    </a:lnTo>
                    <a:lnTo>
                      <a:pt x="212" y="0"/>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3" name="Freeform 9"/>
              <p:cNvSpPr>
                <a:spLocks/>
              </p:cNvSpPr>
              <p:nvPr/>
            </p:nvSpPr>
            <p:spPr bwMode="auto">
              <a:xfrm>
                <a:off x="771" y="1506"/>
                <a:ext cx="686" cy="614"/>
              </a:xfrm>
              <a:custGeom>
                <a:avLst/>
                <a:gdLst>
                  <a:gd name="T0" fmla="*/ 52227 w 641"/>
                  <a:gd name="T1" fmla="*/ 5251 h 584"/>
                  <a:gd name="T2" fmla="*/ 52473 w 641"/>
                  <a:gd name="T3" fmla="*/ 5227 h 584"/>
                  <a:gd name="T4" fmla="*/ 52913 w 641"/>
                  <a:gd name="T5" fmla="*/ 5322 h 584"/>
                  <a:gd name="T6" fmla="*/ 52940 w 641"/>
                  <a:gd name="T7" fmla="*/ 5490 h 584"/>
                  <a:gd name="T8" fmla="*/ 52940 w 641"/>
                  <a:gd name="T9" fmla="*/ 5632 h 584"/>
                  <a:gd name="T10" fmla="*/ 52888 w 641"/>
                  <a:gd name="T11" fmla="*/ 5778 h 584"/>
                  <a:gd name="T12" fmla="*/ 52545 w 641"/>
                  <a:gd name="T13" fmla="*/ 5875 h 584"/>
                  <a:gd name="T14" fmla="*/ 52416 w 641"/>
                  <a:gd name="T15" fmla="*/ 6001 h 584"/>
                  <a:gd name="T16" fmla="*/ 52473 w 641"/>
                  <a:gd name="T17" fmla="*/ 6103 h 584"/>
                  <a:gd name="T18" fmla="*/ 52888 w 641"/>
                  <a:gd name="T19" fmla="*/ 6225 h 584"/>
                  <a:gd name="T20" fmla="*/ 53303 w 641"/>
                  <a:gd name="T21" fmla="*/ 6353 h 584"/>
                  <a:gd name="T22" fmla="*/ 53657 w 641"/>
                  <a:gd name="T23" fmla="*/ 6406 h 584"/>
                  <a:gd name="T24" fmla="*/ 56157 w 641"/>
                  <a:gd name="T25" fmla="*/ 9528 h 584"/>
                  <a:gd name="T26" fmla="*/ 55664 w 641"/>
                  <a:gd name="T27" fmla="*/ 9480 h 584"/>
                  <a:gd name="T28" fmla="*/ 55220 w 641"/>
                  <a:gd name="T29" fmla="*/ 9447 h 584"/>
                  <a:gd name="T30" fmla="*/ 54877 w 641"/>
                  <a:gd name="T31" fmla="*/ 9528 h 584"/>
                  <a:gd name="T32" fmla="*/ 54822 w 641"/>
                  <a:gd name="T33" fmla="*/ 9682 h 584"/>
                  <a:gd name="T34" fmla="*/ 54877 w 641"/>
                  <a:gd name="T35" fmla="*/ 9749 h 584"/>
                  <a:gd name="T36" fmla="*/ 46239 w 641"/>
                  <a:gd name="T37" fmla="*/ 10205 h 584"/>
                  <a:gd name="T38" fmla="*/ 26847 w 641"/>
                  <a:gd name="T39" fmla="*/ 13577 h 584"/>
                  <a:gd name="T40" fmla="*/ 26592 w 641"/>
                  <a:gd name="T41" fmla="*/ 13578 h 584"/>
                  <a:gd name="T42" fmla="*/ 26161 w 641"/>
                  <a:gd name="T43" fmla="*/ 13603 h 584"/>
                  <a:gd name="T44" fmla="*/ 25632 w 641"/>
                  <a:gd name="T45" fmla="*/ 13664 h 584"/>
                  <a:gd name="T46" fmla="*/ 25383 w 641"/>
                  <a:gd name="T47" fmla="*/ 13781 h 584"/>
                  <a:gd name="T48" fmla="*/ 24933 w 641"/>
                  <a:gd name="T49" fmla="*/ 13871 h 584"/>
                  <a:gd name="T50" fmla="*/ 24848 w 641"/>
                  <a:gd name="T51" fmla="*/ 13986 h 584"/>
                  <a:gd name="T52" fmla="*/ 24555 w 641"/>
                  <a:gd name="T53" fmla="*/ 14154 h 584"/>
                  <a:gd name="T54" fmla="*/ 24459 w 641"/>
                  <a:gd name="T55" fmla="*/ 14274 h 584"/>
                  <a:gd name="T56" fmla="*/ 24310 w 641"/>
                  <a:gd name="T57" fmla="*/ 14459 h 584"/>
                  <a:gd name="T58" fmla="*/ 21893 w 641"/>
                  <a:gd name="T59" fmla="*/ 15459 h 584"/>
                  <a:gd name="T60" fmla="*/ 21356 w 641"/>
                  <a:gd name="T61" fmla="*/ 15457 h 584"/>
                  <a:gd name="T62" fmla="*/ 20912 w 641"/>
                  <a:gd name="T63" fmla="*/ 15511 h 584"/>
                  <a:gd name="T64" fmla="*/ 20708 w 641"/>
                  <a:gd name="T65" fmla="*/ 15583 h 584"/>
                  <a:gd name="T66" fmla="*/ 20622 w 641"/>
                  <a:gd name="T67" fmla="*/ 15733 h 584"/>
                  <a:gd name="T68" fmla="*/ 17491 w 641"/>
                  <a:gd name="T69" fmla="*/ 15979 h 584"/>
                  <a:gd name="T70" fmla="*/ 11007 w 641"/>
                  <a:gd name="T71" fmla="*/ 14973 h 584"/>
                  <a:gd name="T72" fmla="*/ 9136 w 641"/>
                  <a:gd name="T73" fmla="*/ 13467 h 584"/>
                  <a:gd name="T74" fmla="*/ 3718 w 641"/>
                  <a:gd name="T75" fmla="*/ 13603 h 584"/>
                  <a:gd name="T76" fmla="*/ 3433 w 641"/>
                  <a:gd name="T77" fmla="*/ 13749 h 584"/>
                  <a:gd name="T78" fmla="*/ 3033 w 641"/>
                  <a:gd name="T79" fmla="*/ 13796 h 584"/>
                  <a:gd name="T80" fmla="*/ 2648 w 641"/>
                  <a:gd name="T81" fmla="*/ 13844 h 584"/>
                  <a:gd name="T82" fmla="*/ 2312 w 641"/>
                  <a:gd name="T83" fmla="*/ 13796 h 584"/>
                  <a:gd name="T84" fmla="*/ 2160 w 641"/>
                  <a:gd name="T85" fmla="*/ 13664 h 584"/>
                  <a:gd name="T86" fmla="*/ 2285 w 641"/>
                  <a:gd name="T87" fmla="*/ 13538 h 584"/>
                  <a:gd name="T88" fmla="*/ 1 w 641"/>
                  <a:gd name="T89" fmla="*/ 11859 h 584"/>
                  <a:gd name="T90" fmla="*/ 1864 w 641"/>
                  <a:gd name="T91" fmla="*/ 10072 h 584"/>
                  <a:gd name="T92" fmla="*/ 1521 w 641"/>
                  <a:gd name="T93" fmla="*/ 9971 h 584"/>
                  <a:gd name="T94" fmla="*/ 1328 w 641"/>
                  <a:gd name="T95" fmla="*/ 9771 h 584"/>
                  <a:gd name="T96" fmla="*/ 1328 w 641"/>
                  <a:gd name="T97" fmla="*/ 9685 h 584"/>
                  <a:gd name="T98" fmla="*/ 1628 w 641"/>
                  <a:gd name="T99" fmla="*/ 9563 h 584"/>
                  <a:gd name="T100" fmla="*/ 2160 w 641"/>
                  <a:gd name="T101" fmla="*/ 9575 h 584"/>
                  <a:gd name="T102" fmla="*/ 2617 w 641"/>
                  <a:gd name="T103" fmla="*/ 9682 h 584"/>
                  <a:gd name="T104" fmla="*/ 3208 w 641"/>
                  <a:gd name="T105" fmla="*/ 9698 h 584"/>
                  <a:gd name="T106" fmla="*/ 4819 w 641"/>
                  <a:gd name="T107" fmla="*/ 10540 h 584"/>
                  <a:gd name="T108" fmla="*/ 4877 w 641"/>
                  <a:gd name="T109" fmla="*/ 10412 h 584"/>
                  <a:gd name="T110" fmla="*/ 5030 w 641"/>
                  <a:gd name="T111" fmla="*/ 10205 h 584"/>
                  <a:gd name="T112" fmla="*/ 5383 w 641"/>
                  <a:gd name="T113" fmla="*/ 10067 h 584"/>
                  <a:gd name="T114" fmla="*/ 5761 w 641"/>
                  <a:gd name="T115" fmla="*/ 10053 h 584"/>
                  <a:gd name="T116" fmla="*/ 6297 w 641"/>
                  <a:gd name="T117" fmla="*/ 10025 h 584"/>
                  <a:gd name="T118" fmla="*/ 22855 w 641"/>
                  <a:gd name="T119" fmla="*/ 10067 h 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41"/>
                  <a:gd name="T181" fmla="*/ 0 h 584"/>
                  <a:gd name="T182" fmla="*/ 641 w 641"/>
                  <a:gd name="T183" fmla="*/ 584 h 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41" h="584">
                    <a:moveTo>
                      <a:pt x="212" y="0"/>
                    </a:moveTo>
                    <a:lnTo>
                      <a:pt x="279" y="0"/>
                    </a:lnTo>
                    <a:lnTo>
                      <a:pt x="523" y="149"/>
                    </a:lnTo>
                    <a:lnTo>
                      <a:pt x="519" y="159"/>
                    </a:lnTo>
                    <a:lnTo>
                      <a:pt x="548" y="180"/>
                    </a:lnTo>
                    <a:lnTo>
                      <a:pt x="569" y="191"/>
                    </a:lnTo>
                    <a:lnTo>
                      <a:pt x="592" y="194"/>
                    </a:lnTo>
                    <a:lnTo>
                      <a:pt x="592" y="193"/>
                    </a:lnTo>
                    <a:lnTo>
                      <a:pt x="593" y="193"/>
                    </a:lnTo>
                    <a:lnTo>
                      <a:pt x="594" y="193"/>
                    </a:lnTo>
                    <a:lnTo>
                      <a:pt x="595" y="193"/>
                    </a:lnTo>
                    <a:lnTo>
                      <a:pt x="596" y="192"/>
                    </a:lnTo>
                    <a:lnTo>
                      <a:pt x="597" y="192"/>
                    </a:lnTo>
                    <a:lnTo>
                      <a:pt x="597" y="193"/>
                    </a:lnTo>
                    <a:lnTo>
                      <a:pt x="598" y="193"/>
                    </a:lnTo>
                    <a:lnTo>
                      <a:pt x="599" y="193"/>
                    </a:lnTo>
                    <a:lnTo>
                      <a:pt x="600" y="193"/>
                    </a:lnTo>
                    <a:lnTo>
                      <a:pt x="601" y="194"/>
                    </a:lnTo>
                    <a:lnTo>
                      <a:pt x="601" y="195"/>
                    </a:lnTo>
                    <a:lnTo>
                      <a:pt x="601" y="196"/>
                    </a:lnTo>
                    <a:lnTo>
                      <a:pt x="601" y="197"/>
                    </a:lnTo>
                    <a:lnTo>
                      <a:pt x="601" y="198"/>
                    </a:lnTo>
                    <a:lnTo>
                      <a:pt x="602" y="199"/>
                    </a:lnTo>
                    <a:lnTo>
                      <a:pt x="602" y="200"/>
                    </a:lnTo>
                    <a:lnTo>
                      <a:pt x="602" y="201"/>
                    </a:lnTo>
                    <a:lnTo>
                      <a:pt x="602" y="202"/>
                    </a:lnTo>
                    <a:lnTo>
                      <a:pt x="602" y="203"/>
                    </a:lnTo>
                    <a:lnTo>
                      <a:pt x="602" y="204"/>
                    </a:lnTo>
                    <a:lnTo>
                      <a:pt x="602" y="205"/>
                    </a:lnTo>
                    <a:lnTo>
                      <a:pt x="602" y="206"/>
                    </a:lnTo>
                    <a:lnTo>
                      <a:pt x="602" y="207"/>
                    </a:lnTo>
                    <a:lnTo>
                      <a:pt x="602" y="208"/>
                    </a:lnTo>
                    <a:lnTo>
                      <a:pt x="602" y="209"/>
                    </a:lnTo>
                    <a:lnTo>
                      <a:pt x="601" y="209"/>
                    </a:lnTo>
                    <a:lnTo>
                      <a:pt x="601" y="210"/>
                    </a:lnTo>
                    <a:lnTo>
                      <a:pt x="600" y="211"/>
                    </a:lnTo>
                    <a:lnTo>
                      <a:pt x="600" y="212"/>
                    </a:lnTo>
                    <a:lnTo>
                      <a:pt x="599" y="212"/>
                    </a:lnTo>
                    <a:lnTo>
                      <a:pt x="599" y="213"/>
                    </a:lnTo>
                    <a:lnTo>
                      <a:pt x="598" y="213"/>
                    </a:lnTo>
                    <a:lnTo>
                      <a:pt x="598" y="214"/>
                    </a:lnTo>
                    <a:lnTo>
                      <a:pt x="597" y="214"/>
                    </a:lnTo>
                    <a:lnTo>
                      <a:pt x="597" y="215"/>
                    </a:lnTo>
                    <a:lnTo>
                      <a:pt x="597" y="216"/>
                    </a:lnTo>
                    <a:lnTo>
                      <a:pt x="596" y="216"/>
                    </a:lnTo>
                    <a:lnTo>
                      <a:pt x="596" y="217"/>
                    </a:lnTo>
                    <a:lnTo>
                      <a:pt x="596" y="218"/>
                    </a:lnTo>
                    <a:lnTo>
                      <a:pt x="596" y="219"/>
                    </a:lnTo>
                    <a:lnTo>
                      <a:pt x="595" y="219"/>
                    </a:lnTo>
                    <a:lnTo>
                      <a:pt x="595" y="220"/>
                    </a:lnTo>
                    <a:lnTo>
                      <a:pt x="595" y="221"/>
                    </a:lnTo>
                    <a:lnTo>
                      <a:pt x="595" y="222"/>
                    </a:lnTo>
                    <a:lnTo>
                      <a:pt x="596" y="222"/>
                    </a:lnTo>
                    <a:lnTo>
                      <a:pt x="596" y="223"/>
                    </a:lnTo>
                    <a:lnTo>
                      <a:pt x="596" y="224"/>
                    </a:lnTo>
                    <a:lnTo>
                      <a:pt x="596" y="225"/>
                    </a:lnTo>
                    <a:lnTo>
                      <a:pt x="597" y="225"/>
                    </a:lnTo>
                    <a:lnTo>
                      <a:pt x="597" y="226"/>
                    </a:lnTo>
                    <a:lnTo>
                      <a:pt x="598" y="226"/>
                    </a:lnTo>
                    <a:lnTo>
                      <a:pt x="598" y="227"/>
                    </a:lnTo>
                    <a:lnTo>
                      <a:pt x="599" y="228"/>
                    </a:lnTo>
                    <a:lnTo>
                      <a:pt x="600" y="228"/>
                    </a:lnTo>
                    <a:lnTo>
                      <a:pt x="600" y="229"/>
                    </a:lnTo>
                    <a:lnTo>
                      <a:pt x="601" y="230"/>
                    </a:lnTo>
                    <a:lnTo>
                      <a:pt x="602" y="230"/>
                    </a:lnTo>
                    <a:lnTo>
                      <a:pt x="602" y="231"/>
                    </a:lnTo>
                    <a:lnTo>
                      <a:pt x="603" y="231"/>
                    </a:lnTo>
                    <a:lnTo>
                      <a:pt x="604" y="232"/>
                    </a:lnTo>
                    <a:lnTo>
                      <a:pt x="605" y="232"/>
                    </a:lnTo>
                    <a:lnTo>
                      <a:pt x="605" y="233"/>
                    </a:lnTo>
                    <a:lnTo>
                      <a:pt x="606" y="233"/>
                    </a:lnTo>
                    <a:lnTo>
                      <a:pt x="606" y="234"/>
                    </a:lnTo>
                    <a:lnTo>
                      <a:pt x="607" y="234"/>
                    </a:lnTo>
                    <a:lnTo>
                      <a:pt x="608" y="235"/>
                    </a:lnTo>
                    <a:lnTo>
                      <a:pt x="609" y="235"/>
                    </a:lnTo>
                    <a:lnTo>
                      <a:pt x="610" y="235"/>
                    </a:lnTo>
                    <a:lnTo>
                      <a:pt x="636" y="225"/>
                    </a:lnTo>
                    <a:lnTo>
                      <a:pt x="641" y="349"/>
                    </a:lnTo>
                    <a:lnTo>
                      <a:pt x="639" y="348"/>
                    </a:lnTo>
                    <a:lnTo>
                      <a:pt x="638" y="348"/>
                    </a:lnTo>
                    <a:lnTo>
                      <a:pt x="638" y="347"/>
                    </a:lnTo>
                    <a:lnTo>
                      <a:pt x="637" y="347"/>
                    </a:lnTo>
                    <a:lnTo>
                      <a:pt x="636" y="347"/>
                    </a:lnTo>
                    <a:lnTo>
                      <a:pt x="635" y="346"/>
                    </a:lnTo>
                    <a:lnTo>
                      <a:pt x="634" y="346"/>
                    </a:lnTo>
                    <a:lnTo>
                      <a:pt x="633" y="346"/>
                    </a:lnTo>
                    <a:lnTo>
                      <a:pt x="633" y="345"/>
                    </a:lnTo>
                    <a:lnTo>
                      <a:pt x="632" y="345"/>
                    </a:lnTo>
                    <a:lnTo>
                      <a:pt x="631" y="345"/>
                    </a:lnTo>
                    <a:lnTo>
                      <a:pt x="630" y="345"/>
                    </a:lnTo>
                    <a:lnTo>
                      <a:pt x="629" y="345"/>
                    </a:lnTo>
                    <a:lnTo>
                      <a:pt x="628" y="345"/>
                    </a:lnTo>
                    <a:lnTo>
                      <a:pt x="627" y="345"/>
                    </a:lnTo>
                    <a:lnTo>
                      <a:pt x="626" y="345"/>
                    </a:lnTo>
                    <a:lnTo>
                      <a:pt x="626" y="346"/>
                    </a:lnTo>
                    <a:lnTo>
                      <a:pt x="625" y="346"/>
                    </a:lnTo>
                    <a:lnTo>
                      <a:pt x="624" y="347"/>
                    </a:lnTo>
                    <a:lnTo>
                      <a:pt x="624" y="348"/>
                    </a:lnTo>
                    <a:lnTo>
                      <a:pt x="623" y="348"/>
                    </a:lnTo>
                    <a:lnTo>
                      <a:pt x="623" y="349"/>
                    </a:lnTo>
                    <a:lnTo>
                      <a:pt x="623" y="350"/>
                    </a:lnTo>
                    <a:lnTo>
                      <a:pt x="622" y="350"/>
                    </a:lnTo>
                    <a:lnTo>
                      <a:pt x="622" y="351"/>
                    </a:lnTo>
                    <a:lnTo>
                      <a:pt x="622" y="352"/>
                    </a:lnTo>
                    <a:lnTo>
                      <a:pt x="622" y="353"/>
                    </a:lnTo>
                    <a:lnTo>
                      <a:pt x="622" y="354"/>
                    </a:lnTo>
                    <a:lnTo>
                      <a:pt x="622" y="355"/>
                    </a:lnTo>
                    <a:lnTo>
                      <a:pt x="623" y="355"/>
                    </a:lnTo>
                    <a:lnTo>
                      <a:pt x="623" y="356"/>
                    </a:lnTo>
                    <a:lnTo>
                      <a:pt x="623" y="357"/>
                    </a:lnTo>
                    <a:lnTo>
                      <a:pt x="623" y="358"/>
                    </a:lnTo>
                    <a:lnTo>
                      <a:pt x="623" y="359"/>
                    </a:lnTo>
                    <a:lnTo>
                      <a:pt x="624" y="359"/>
                    </a:lnTo>
                    <a:lnTo>
                      <a:pt x="624" y="360"/>
                    </a:lnTo>
                    <a:lnTo>
                      <a:pt x="624" y="361"/>
                    </a:lnTo>
                    <a:lnTo>
                      <a:pt x="625" y="362"/>
                    </a:lnTo>
                    <a:lnTo>
                      <a:pt x="599" y="376"/>
                    </a:lnTo>
                    <a:lnTo>
                      <a:pt x="526" y="375"/>
                    </a:lnTo>
                    <a:lnTo>
                      <a:pt x="516" y="388"/>
                    </a:lnTo>
                    <a:lnTo>
                      <a:pt x="455" y="390"/>
                    </a:lnTo>
                    <a:lnTo>
                      <a:pt x="413" y="416"/>
                    </a:lnTo>
                    <a:lnTo>
                      <a:pt x="393" y="430"/>
                    </a:lnTo>
                    <a:lnTo>
                      <a:pt x="340" y="457"/>
                    </a:lnTo>
                    <a:lnTo>
                      <a:pt x="323" y="457"/>
                    </a:lnTo>
                    <a:lnTo>
                      <a:pt x="306" y="497"/>
                    </a:lnTo>
                    <a:lnTo>
                      <a:pt x="305" y="497"/>
                    </a:lnTo>
                    <a:lnTo>
                      <a:pt x="304" y="497"/>
                    </a:lnTo>
                    <a:lnTo>
                      <a:pt x="303" y="497"/>
                    </a:lnTo>
                    <a:lnTo>
                      <a:pt x="302" y="497"/>
                    </a:lnTo>
                    <a:lnTo>
                      <a:pt x="302" y="498"/>
                    </a:lnTo>
                    <a:lnTo>
                      <a:pt x="301" y="498"/>
                    </a:lnTo>
                    <a:lnTo>
                      <a:pt x="300" y="498"/>
                    </a:lnTo>
                    <a:lnTo>
                      <a:pt x="300" y="499"/>
                    </a:lnTo>
                    <a:lnTo>
                      <a:pt x="299" y="499"/>
                    </a:lnTo>
                    <a:lnTo>
                      <a:pt x="298" y="499"/>
                    </a:lnTo>
                    <a:lnTo>
                      <a:pt x="297" y="499"/>
                    </a:lnTo>
                    <a:lnTo>
                      <a:pt x="297" y="500"/>
                    </a:lnTo>
                    <a:lnTo>
                      <a:pt x="296" y="500"/>
                    </a:lnTo>
                    <a:lnTo>
                      <a:pt x="295" y="500"/>
                    </a:lnTo>
                    <a:lnTo>
                      <a:pt x="295" y="501"/>
                    </a:lnTo>
                    <a:lnTo>
                      <a:pt x="294" y="501"/>
                    </a:lnTo>
                    <a:lnTo>
                      <a:pt x="293" y="501"/>
                    </a:lnTo>
                    <a:lnTo>
                      <a:pt x="292" y="501"/>
                    </a:lnTo>
                    <a:lnTo>
                      <a:pt x="292" y="502"/>
                    </a:lnTo>
                    <a:lnTo>
                      <a:pt x="291" y="502"/>
                    </a:lnTo>
                    <a:lnTo>
                      <a:pt x="290" y="503"/>
                    </a:lnTo>
                    <a:lnTo>
                      <a:pt x="290" y="504"/>
                    </a:lnTo>
                    <a:lnTo>
                      <a:pt x="289" y="504"/>
                    </a:lnTo>
                    <a:lnTo>
                      <a:pt x="288" y="505"/>
                    </a:lnTo>
                    <a:lnTo>
                      <a:pt x="287" y="506"/>
                    </a:lnTo>
                    <a:lnTo>
                      <a:pt x="286" y="506"/>
                    </a:lnTo>
                    <a:lnTo>
                      <a:pt x="285" y="507"/>
                    </a:lnTo>
                    <a:lnTo>
                      <a:pt x="284" y="507"/>
                    </a:lnTo>
                    <a:lnTo>
                      <a:pt x="284" y="508"/>
                    </a:lnTo>
                    <a:lnTo>
                      <a:pt x="284" y="509"/>
                    </a:lnTo>
                    <a:lnTo>
                      <a:pt x="284" y="510"/>
                    </a:lnTo>
                    <a:lnTo>
                      <a:pt x="283" y="510"/>
                    </a:lnTo>
                    <a:lnTo>
                      <a:pt x="283" y="511"/>
                    </a:lnTo>
                    <a:lnTo>
                      <a:pt x="282" y="511"/>
                    </a:lnTo>
                    <a:lnTo>
                      <a:pt x="281" y="512"/>
                    </a:lnTo>
                    <a:lnTo>
                      <a:pt x="281" y="513"/>
                    </a:lnTo>
                    <a:lnTo>
                      <a:pt x="280" y="514"/>
                    </a:lnTo>
                    <a:lnTo>
                      <a:pt x="280" y="515"/>
                    </a:lnTo>
                    <a:lnTo>
                      <a:pt x="279" y="516"/>
                    </a:lnTo>
                    <a:lnTo>
                      <a:pt x="279" y="517"/>
                    </a:lnTo>
                    <a:lnTo>
                      <a:pt x="279" y="518"/>
                    </a:lnTo>
                    <a:lnTo>
                      <a:pt x="279" y="519"/>
                    </a:lnTo>
                    <a:lnTo>
                      <a:pt x="279" y="520"/>
                    </a:lnTo>
                    <a:lnTo>
                      <a:pt x="278" y="520"/>
                    </a:lnTo>
                    <a:lnTo>
                      <a:pt x="278" y="521"/>
                    </a:lnTo>
                    <a:lnTo>
                      <a:pt x="278" y="522"/>
                    </a:lnTo>
                    <a:lnTo>
                      <a:pt x="278" y="523"/>
                    </a:lnTo>
                    <a:lnTo>
                      <a:pt x="277" y="524"/>
                    </a:lnTo>
                    <a:lnTo>
                      <a:pt x="277" y="525"/>
                    </a:lnTo>
                    <a:lnTo>
                      <a:pt x="277" y="526"/>
                    </a:lnTo>
                    <a:lnTo>
                      <a:pt x="277" y="527"/>
                    </a:lnTo>
                    <a:lnTo>
                      <a:pt x="277" y="528"/>
                    </a:lnTo>
                    <a:lnTo>
                      <a:pt x="277" y="529"/>
                    </a:lnTo>
                    <a:lnTo>
                      <a:pt x="277" y="530"/>
                    </a:lnTo>
                    <a:lnTo>
                      <a:pt x="277" y="531"/>
                    </a:lnTo>
                    <a:lnTo>
                      <a:pt x="277" y="532"/>
                    </a:lnTo>
                    <a:lnTo>
                      <a:pt x="269" y="547"/>
                    </a:lnTo>
                    <a:lnTo>
                      <a:pt x="269" y="570"/>
                    </a:lnTo>
                    <a:lnTo>
                      <a:pt x="249" y="567"/>
                    </a:lnTo>
                    <a:lnTo>
                      <a:pt x="248" y="566"/>
                    </a:lnTo>
                    <a:lnTo>
                      <a:pt x="247" y="566"/>
                    </a:lnTo>
                    <a:lnTo>
                      <a:pt x="246" y="566"/>
                    </a:lnTo>
                    <a:lnTo>
                      <a:pt x="245" y="566"/>
                    </a:lnTo>
                    <a:lnTo>
                      <a:pt x="244" y="566"/>
                    </a:lnTo>
                    <a:lnTo>
                      <a:pt x="243" y="566"/>
                    </a:lnTo>
                    <a:lnTo>
                      <a:pt x="242" y="566"/>
                    </a:lnTo>
                    <a:lnTo>
                      <a:pt x="241" y="566"/>
                    </a:lnTo>
                    <a:lnTo>
                      <a:pt x="241" y="567"/>
                    </a:lnTo>
                    <a:lnTo>
                      <a:pt x="240" y="567"/>
                    </a:lnTo>
                    <a:lnTo>
                      <a:pt x="239" y="567"/>
                    </a:lnTo>
                    <a:lnTo>
                      <a:pt x="239" y="568"/>
                    </a:lnTo>
                    <a:lnTo>
                      <a:pt x="238" y="568"/>
                    </a:lnTo>
                    <a:lnTo>
                      <a:pt x="237" y="568"/>
                    </a:lnTo>
                    <a:lnTo>
                      <a:pt x="236" y="568"/>
                    </a:lnTo>
                    <a:lnTo>
                      <a:pt x="236" y="569"/>
                    </a:lnTo>
                    <a:lnTo>
                      <a:pt x="236" y="570"/>
                    </a:lnTo>
                    <a:lnTo>
                      <a:pt x="236" y="571"/>
                    </a:lnTo>
                    <a:lnTo>
                      <a:pt x="235" y="571"/>
                    </a:lnTo>
                    <a:lnTo>
                      <a:pt x="235" y="572"/>
                    </a:lnTo>
                    <a:lnTo>
                      <a:pt x="235" y="573"/>
                    </a:lnTo>
                    <a:lnTo>
                      <a:pt x="235" y="574"/>
                    </a:lnTo>
                    <a:lnTo>
                      <a:pt x="234" y="574"/>
                    </a:lnTo>
                    <a:lnTo>
                      <a:pt x="234" y="575"/>
                    </a:lnTo>
                    <a:lnTo>
                      <a:pt x="234" y="576"/>
                    </a:lnTo>
                    <a:lnTo>
                      <a:pt x="234" y="577"/>
                    </a:lnTo>
                    <a:lnTo>
                      <a:pt x="234" y="578"/>
                    </a:lnTo>
                    <a:lnTo>
                      <a:pt x="234" y="579"/>
                    </a:lnTo>
                    <a:lnTo>
                      <a:pt x="226" y="558"/>
                    </a:lnTo>
                    <a:lnTo>
                      <a:pt x="217" y="563"/>
                    </a:lnTo>
                    <a:lnTo>
                      <a:pt x="212" y="572"/>
                    </a:lnTo>
                    <a:lnTo>
                      <a:pt x="199" y="584"/>
                    </a:lnTo>
                    <a:lnTo>
                      <a:pt x="183" y="578"/>
                    </a:lnTo>
                    <a:lnTo>
                      <a:pt x="174" y="565"/>
                    </a:lnTo>
                    <a:lnTo>
                      <a:pt x="156" y="580"/>
                    </a:lnTo>
                    <a:lnTo>
                      <a:pt x="149" y="565"/>
                    </a:lnTo>
                    <a:lnTo>
                      <a:pt x="141" y="549"/>
                    </a:lnTo>
                    <a:lnTo>
                      <a:pt x="145" y="546"/>
                    </a:lnTo>
                    <a:lnTo>
                      <a:pt x="125" y="549"/>
                    </a:lnTo>
                    <a:lnTo>
                      <a:pt x="141" y="529"/>
                    </a:lnTo>
                    <a:lnTo>
                      <a:pt x="132" y="525"/>
                    </a:lnTo>
                    <a:lnTo>
                      <a:pt x="124" y="522"/>
                    </a:lnTo>
                    <a:lnTo>
                      <a:pt x="123" y="490"/>
                    </a:lnTo>
                    <a:lnTo>
                      <a:pt x="107" y="490"/>
                    </a:lnTo>
                    <a:lnTo>
                      <a:pt x="103" y="480"/>
                    </a:lnTo>
                    <a:lnTo>
                      <a:pt x="104" y="494"/>
                    </a:lnTo>
                    <a:lnTo>
                      <a:pt x="91" y="508"/>
                    </a:lnTo>
                    <a:lnTo>
                      <a:pt x="65" y="494"/>
                    </a:lnTo>
                    <a:lnTo>
                      <a:pt x="51" y="515"/>
                    </a:lnTo>
                    <a:lnTo>
                      <a:pt x="44" y="499"/>
                    </a:lnTo>
                    <a:lnTo>
                      <a:pt x="43" y="499"/>
                    </a:lnTo>
                    <a:lnTo>
                      <a:pt x="43" y="500"/>
                    </a:lnTo>
                    <a:lnTo>
                      <a:pt x="42" y="500"/>
                    </a:lnTo>
                    <a:lnTo>
                      <a:pt x="42" y="501"/>
                    </a:lnTo>
                    <a:lnTo>
                      <a:pt x="41" y="501"/>
                    </a:lnTo>
                    <a:lnTo>
                      <a:pt x="40" y="501"/>
                    </a:lnTo>
                    <a:lnTo>
                      <a:pt x="40" y="502"/>
                    </a:lnTo>
                    <a:lnTo>
                      <a:pt x="39" y="502"/>
                    </a:lnTo>
                    <a:lnTo>
                      <a:pt x="38" y="503"/>
                    </a:lnTo>
                    <a:lnTo>
                      <a:pt x="38" y="504"/>
                    </a:lnTo>
                    <a:lnTo>
                      <a:pt x="37" y="504"/>
                    </a:lnTo>
                    <a:lnTo>
                      <a:pt x="37" y="505"/>
                    </a:lnTo>
                    <a:lnTo>
                      <a:pt x="36" y="505"/>
                    </a:lnTo>
                    <a:lnTo>
                      <a:pt x="36" y="506"/>
                    </a:lnTo>
                    <a:lnTo>
                      <a:pt x="35" y="506"/>
                    </a:lnTo>
                    <a:lnTo>
                      <a:pt x="34" y="506"/>
                    </a:lnTo>
                    <a:lnTo>
                      <a:pt x="33" y="506"/>
                    </a:lnTo>
                    <a:lnTo>
                      <a:pt x="32" y="507"/>
                    </a:lnTo>
                    <a:lnTo>
                      <a:pt x="31" y="507"/>
                    </a:lnTo>
                    <a:lnTo>
                      <a:pt x="31" y="508"/>
                    </a:lnTo>
                    <a:lnTo>
                      <a:pt x="30" y="508"/>
                    </a:lnTo>
                    <a:lnTo>
                      <a:pt x="29" y="508"/>
                    </a:lnTo>
                    <a:lnTo>
                      <a:pt x="28" y="508"/>
                    </a:lnTo>
                    <a:lnTo>
                      <a:pt x="28" y="507"/>
                    </a:lnTo>
                    <a:lnTo>
                      <a:pt x="27" y="507"/>
                    </a:lnTo>
                    <a:lnTo>
                      <a:pt x="27" y="506"/>
                    </a:lnTo>
                    <a:lnTo>
                      <a:pt x="26" y="506"/>
                    </a:lnTo>
                    <a:lnTo>
                      <a:pt x="26" y="505"/>
                    </a:lnTo>
                    <a:lnTo>
                      <a:pt x="26" y="504"/>
                    </a:lnTo>
                    <a:lnTo>
                      <a:pt x="26" y="503"/>
                    </a:lnTo>
                    <a:lnTo>
                      <a:pt x="25" y="502"/>
                    </a:lnTo>
                    <a:lnTo>
                      <a:pt x="25" y="501"/>
                    </a:lnTo>
                    <a:lnTo>
                      <a:pt x="25" y="500"/>
                    </a:lnTo>
                    <a:lnTo>
                      <a:pt x="26" y="500"/>
                    </a:lnTo>
                    <a:lnTo>
                      <a:pt x="26" y="499"/>
                    </a:lnTo>
                    <a:lnTo>
                      <a:pt x="26" y="498"/>
                    </a:lnTo>
                    <a:lnTo>
                      <a:pt x="26" y="497"/>
                    </a:lnTo>
                    <a:lnTo>
                      <a:pt x="26" y="496"/>
                    </a:lnTo>
                    <a:lnTo>
                      <a:pt x="26" y="495"/>
                    </a:lnTo>
                    <a:lnTo>
                      <a:pt x="26" y="494"/>
                    </a:lnTo>
                    <a:lnTo>
                      <a:pt x="27" y="494"/>
                    </a:lnTo>
                    <a:lnTo>
                      <a:pt x="24" y="457"/>
                    </a:lnTo>
                    <a:lnTo>
                      <a:pt x="11" y="453"/>
                    </a:lnTo>
                    <a:lnTo>
                      <a:pt x="1" y="435"/>
                    </a:lnTo>
                    <a:lnTo>
                      <a:pt x="0" y="396"/>
                    </a:lnTo>
                    <a:lnTo>
                      <a:pt x="9" y="382"/>
                    </a:lnTo>
                    <a:lnTo>
                      <a:pt x="22" y="375"/>
                    </a:lnTo>
                    <a:lnTo>
                      <a:pt x="22" y="374"/>
                    </a:lnTo>
                    <a:lnTo>
                      <a:pt x="22" y="373"/>
                    </a:lnTo>
                    <a:lnTo>
                      <a:pt x="21" y="372"/>
                    </a:lnTo>
                    <a:lnTo>
                      <a:pt x="21" y="371"/>
                    </a:lnTo>
                    <a:lnTo>
                      <a:pt x="20" y="370"/>
                    </a:lnTo>
                    <a:lnTo>
                      <a:pt x="19" y="369"/>
                    </a:lnTo>
                    <a:lnTo>
                      <a:pt x="19" y="368"/>
                    </a:lnTo>
                    <a:lnTo>
                      <a:pt x="18" y="367"/>
                    </a:lnTo>
                    <a:lnTo>
                      <a:pt x="18" y="366"/>
                    </a:lnTo>
                    <a:lnTo>
                      <a:pt x="18" y="365"/>
                    </a:lnTo>
                    <a:lnTo>
                      <a:pt x="17" y="365"/>
                    </a:lnTo>
                    <a:lnTo>
                      <a:pt x="17" y="364"/>
                    </a:lnTo>
                    <a:lnTo>
                      <a:pt x="17" y="363"/>
                    </a:lnTo>
                    <a:lnTo>
                      <a:pt x="16" y="363"/>
                    </a:lnTo>
                    <a:lnTo>
                      <a:pt x="16" y="362"/>
                    </a:lnTo>
                    <a:lnTo>
                      <a:pt x="16" y="361"/>
                    </a:lnTo>
                    <a:lnTo>
                      <a:pt x="16" y="360"/>
                    </a:lnTo>
                    <a:lnTo>
                      <a:pt x="16" y="359"/>
                    </a:lnTo>
                    <a:lnTo>
                      <a:pt x="16" y="358"/>
                    </a:lnTo>
                    <a:lnTo>
                      <a:pt x="16" y="357"/>
                    </a:lnTo>
                    <a:lnTo>
                      <a:pt x="16" y="356"/>
                    </a:lnTo>
                    <a:lnTo>
                      <a:pt x="16" y="355"/>
                    </a:lnTo>
                    <a:lnTo>
                      <a:pt x="16" y="354"/>
                    </a:lnTo>
                    <a:lnTo>
                      <a:pt x="16" y="353"/>
                    </a:lnTo>
                    <a:lnTo>
                      <a:pt x="17" y="352"/>
                    </a:lnTo>
                    <a:lnTo>
                      <a:pt x="18" y="352"/>
                    </a:lnTo>
                    <a:lnTo>
                      <a:pt x="18" y="351"/>
                    </a:lnTo>
                    <a:lnTo>
                      <a:pt x="19" y="351"/>
                    </a:lnTo>
                    <a:lnTo>
                      <a:pt x="20" y="351"/>
                    </a:lnTo>
                    <a:lnTo>
                      <a:pt x="21" y="351"/>
                    </a:lnTo>
                    <a:lnTo>
                      <a:pt x="22" y="351"/>
                    </a:lnTo>
                    <a:lnTo>
                      <a:pt x="23" y="351"/>
                    </a:lnTo>
                    <a:lnTo>
                      <a:pt x="24" y="351"/>
                    </a:lnTo>
                    <a:lnTo>
                      <a:pt x="25" y="352"/>
                    </a:lnTo>
                    <a:lnTo>
                      <a:pt x="26" y="352"/>
                    </a:lnTo>
                    <a:lnTo>
                      <a:pt x="27" y="352"/>
                    </a:lnTo>
                    <a:lnTo>
                      <a:pt x="27" y="353"/>
                    </a:lnTo>
                    <a:lnTo>
                      <a:pt x="28" y="353"/>
                    </a:lnTo>
                    <a:lnTo>
                      <a:pt x="29" y="353"/>
                    </a:lnTo>
                    <a:lnTo>
                      <a:pt x="30" y="354"/>
                    </a:lnTo>
                    <a:lnTo>
                      <a:pt x="31" y="354"/>
                    </a:lnTo>
                    <a:lnTo>
                      <a:pt x="32" y="354"/>
                    </a:lnTo>
                    <a:lnTo>
                      <a:pt x="32" y="355"/>
                    </a:lnTo>
                    <a:lnTo>
                      <a:pt x="33" y="355"/>
                    </a:lnTo>
                    <a:lnTo>
                      <a:pt x="34" y="355"/>
                    </a:lnTo>
                    <a:lnTo>
                      <a:pt x="35" y="355"/>
                    </a:lnTo>
                    <a:lnTo>
                      <a:pt x="36" y="356"/>
                    </a:lnTo>
                    <a:lnTo>
                      <a:pt x="37" y="356"/>
                    </a:lnTo>
                    <a:lnTo>
                      <a:pt x="38" y="357"/>
                    </a:lnTo>
                    <a:lnTo>
                      <a:pt x="39" y="358"/>
                    </a:lnTo>
                    <a:lnTo>
                      <a:pt x="42" y="370"/>
                    </a:lnTo>
                    <a:lnTo>
                      <a:pt x="56" y="386"/>
                    </a:lnTo>
                    <a:lnTo>
                      <a:pt x="55" y="386"/>
                    </a:lnTo>
                    <a:lnTo>
                      <a:pt x="55" y="385"/>
                    </a:lnTo>
                    <a:lnTo>
                      <a:pt x="55" y="384"/>
                    </a:lnTo>
                    <a:lnTo>
                      <a:pt x="55" y="383"/>
                    </a:lnTo>
                    <a:lnTo>
                      <a:pt x="55" y="382"/>
                    </a:lnTo>
                    <a:lnTo>
                      <a:pt x="55" y="381"/>
                    </a:lnTo>
                    <a:lnTo>
                      <a:pt x="56" y="381"/>
                    </a:lnTo>
                    <a:lnTo>
                      <a:pt x="56" y="380"/>
                    </a:lnTo>
                    <a:lnTo>
                      <a:pt x="56" y="379"/>
                    </a:lnTo>
                    <a:lnTo>
                      <a:pt x="56" y="378"/>
                    </a:lnTo>
                    <a:lnTo>
                      <a:pt x="56" y="377"/>
                    </a:lnTo>
                    <a:lnTo>
                      <a:pt x="56" y="376"/>
                    </a:lnTo>
                    <a:lnTo>
                      <a:pt x="57" y="376"/>
                    </a:lnTo>
                    <a:lnTo>
                      <a:pt x="57" y="375"/>
                    </a:lnTo>
                    <a:lnTo>
                      <a:pt x="58" y="374"/>
                    </a:lnTo>
                    <a:lnTo>
                      <a:pt x="58" y="373"/>
                    </a:lnTo>
                    <a:lnTo>
                      <a:pt x="59" y="373"/>
                    </a:lnTo>
                    <a:lnTo>
                      <a:pt x="59" y="372"/>
                    </a:lnTo>
                    <a:lnTo>
                      <a:pt x="59" y="371"/>
                    </a:lnTo>
                    <a:lnTo>
                      <a:pt x="60" y="370"/>
                    </a:lnTo>
                    <a:lnTo>
                      <a:pt x="61" y="370"/>
                    </a:lnTo>
                    <a:lnTo>
                      <a:pt x="62" y="370"/>
                    </a:lnTo>
                    <a:lnTo>
                      <a:pt x="62" y="369"/>
                    </a:lnTo>
                    <a:lnTo>
                      <a:pt x="63" y="369"/>
                    </a:lnTo>
                    <a:lnTo>
                      <a:pt x="64" y="369"/>
                    </a:lnTo>
                    <a:lnTo>
                      <a:pt x="64" y="368"/>
                    </a:lnTo>
                    <a:lnTo>
                      <a:pt x="65" y="368"/>
                    </a:lnTo>
                    <a:lnTo>
                      <a:pt x="66" y="367"/>
                    </a:lnTo>
                    <a:lnTo>
                      <a:pt x="67" y="367"/>
                    </a:lnTo>
                    <a:lnTo>
                      <a:pt x="68" y="367"/>
                    </a:lnTo>
                    <a:lnTo>
                      <a:pt x="69" y="367"/>
                    </a:lnTo>
                    <a:lnTo>
                      <a:pt x="70" y="367"/>
                    </a:lnTo>
                    <a:lnTo>
                      <a:pt x="71" y="367"/>
                    </a:lnTo>
                    <a:lnTo>
                      <a:pt x="72" y="367"/>
                    </a:lnTo>
                    <a:lnTo>
                      <a:pt x="72" y="366"/>
                    </a:lnTo>
                    <a:lnTo>
                      <a:pt x="73" y="366"/>
                    </a:lnTo>
                    <a:lnTo>
                      <a:pt x="74" y="366"/>
                    </a:lnTo>
                    <a:lnTo>
                      <a:pt x="74" y="367"/>
                    </a:lnTo>
                    <a:lnTo>
                      <a:pt x="75" y="367"/>
                    </a:lnTo>
                    <a:lnTo>
                      <a:pt x="260" y="370"/>
                    </a:lnTo>
                    <a:lnTo>
                      <a:pt x="262" y="338"/>
                    </a:lnTo>
                    <a:lnTo>
                      <a:pt x="252" y="335"/>
                    </a:lnTo>
                    <a:lnTo>
                      <a:pt x="229" y="148"/>
                    </a:lnTo>
                    <a:lnTo>
                      <a:pt x="220" y="56"/>
                    </a:lnTo>
                    <a:lnTo>
                      <a:pt x="212" y="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pic>
            <p:nvPicPr>
              <p:cNvPr id="214"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7" y="2907"/>
                <a:ext cx="73"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7" y="2907"/>
                <a:ext cx="73"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6" name="Freeform 12"/>
              <p:cNvSpPr>
                <a:spLocks/>
              </p:cNvSpPr>
              <p:nvPr/>
            </p:nvSpPr>
            <p:spPr bwMode="auto">
              <a:xfrm>
                <a:off x="2683" y="2913"/>
                <a:ext cx="55" cy="195"/>
              </a:xfrm>
              <a:custGeom>
                <a:avLst/>
                <a:gdLst>
                  <a:gd name="T0" fmla="*/ 0 w 52"/>
                  <a:gd name="T1" fmla="*/ 10 h 186"/>
                  <a:gd name="T2" fmla="*/ 5 w 52"/>
                  <a:gd name="T3" fmla="*/ 0 h 186"/>
                  <a:gd name="T4" fmla="*/ 877 w 52"/>
                  <a:gd name="T5" fmla="*/ 10 h 186"/>
                  <a:gd name="T6" fmla="*/ 1113 w 52"/>
                  <a:gd name="T7" fmla="*/ 570 h 186"/>
                  <a:gd name="T8" fmla="*/ 1300 w 52"/>
                  <a:gd name="T9" fmla="*/ 1004 h 186"/>
                  <a:gd name="T10" fmla="*/ 1300 w 52"/>
                  <a:gd name="T11" fmla="*/ 1334 h 186"/>
                  <a:gd name="T12" fmla="*/ 1558 w 52"/>
                  <a:gd name="T13" fmla="*/ 1473 h 186"/>
                  <a:gd name="T14" fmla="*/ 1743 w 52"/>
                  <a:gd name="T15" fmla="*/ 1708 h 186"/>
                  <a:gd name="T16" fmla="*/ 1375 w 52"/>
                  <a:gd name="T17" fmla="*/ 2245 h 186"/>
                  <a:gd name="T18" fmla="*/ 1300 w 52"/>
                  <a:gd name="T19" fmla="*/ 2596 h 186"/>
                  <a:gd name="T20" fmla="*/ 1375 w 52"/>
                  <a:gd name="T21" fmla="*/ 2980 h 186"/>
                  <a:gd name="T22" fmla="*/ 1454 w 52"/>
                  <a:gd name="T23" fmla="*/ 3275 h 186"/>
                  <a:gd name="T24" fmla="*/ 1473 w 52"/>
                  <a:gd name="T25" fmla="*/ 3435 h 186"/>
                  <a:gd name="T26" fmla="*/ 1473 w 52"/>
                  <a:gd name="T27" fmla="*/ 3615 h 186"/>
                  <a:gd name="T28" fmla="*/ 1743 w 52"/>
                  <a:gd name="T29" fmla="*/ 3646 h 186"/>
                  <a:gd name="T30" fmla="*/ 2107 w 52"/>
                  <a:gd name="T31" fmla="*/ 4113 h 186"/>
                  <a:gd name="T32" fmla="*/ 2036 w 52"/>
                  <a:gd name="T33" fmla="*/ 4196 h 186"/>
                  <a:gd name="T34" fmla="*/ 1820 w 52"/>
                  <a:gd name="T35" fmla="*/ 4007 h 186"/>
                  <a:gd name="T36" fmla="*/ 1558 w 52"/>
                  <a:gd name="T37" fmla="*/ 3923 h 186"/>
                  <a:gd name="T38" fmla="*/ 1375 w 52"/>
                  <a:gd name="T39" fmla="*/ 4007 h 186"/>
                  <a:gd name="T40" fmla="*/ 1177 w 52"/>
                  <a:gd name="T41" fmla="*/ 4007 h 186"/>
                  <a:gd name="T42" fmla="*/ 1099 w 52"/>
                  <a:gd name="T43" fmla="*/ 3956 h 186"/>
                  <a:gd name="T44" fmla="*/ 1099 w 52"/>
                  <a:gd name="T45" fmla="*/ 3790 h 186"/>
                  <a:gd name="T46" fmla="*/ 1099 w 52"/>
                  <a:gd name="T47" fmla="*/ 3641 h 186"/>
                  <a:gd name="T48" fmla="*/ 829 w 52"/>
                  <a:gd name="T49" fmla="*/ 3473 h 186"/>
                  <a:gd name="T50" fmla="*/ 663 w 52"/>
                  <a:gd name="T51" fmla="*/ 3276 h 186"/>
                  <a:gd name="T52" fmla="*/ 627 w 52"/>
                  <a:gd name="T53" fmla="*/ 3098 h 186"/>
                  <a:gd name="T54" fmla="*/ 4 w 52"/>
                  <a:gd name="T55" fmla="*/ 2362 h 186"/>
                  <a:gd name="T56" fmla="*/ 5 w 52"/>
                  <a:gd name="T57" fmla="*/ 2226 h 186"/>
                  <a:gd name="T58" fmla="*/ 474 w 52"/>
                  <a:gd name="T59" fmla="*/ 2025 h 186"/>
                  <a:gd name="T60" fmla="*/ 561 w 52"/>
                  <a:gd name="T61" fmla="*/ 1272 h 186"/>
                  <a:gd name="T62" fmla="*/ 561 w 52"/>
                  <a:gd name="T63" fmla="*/ 826 h 186"/>
                  <a:gd name="T64" fmla="*/ 474 w 52"/>
                  <a:gd name="T65" fmla="*/ 570 h 186"/>
                  <a:gd name="T66" fmla="*/ 5 w 52"/>
                  <a:gd name="T67" fmla="*/ 495 h 18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
                  <a:gd name="T103" fmla="*/ 0 h 186"/>
                  <a:gd name="T104" fmla="*/ 52 w 52"/>
                  <a:gd name="T105" fmla="*/ 186 h 18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 h="186">
                    <a:moveTo>
                      <a:pt x="0" y="14"/>
                    </a:moveTo>
                    <a:lnTo>
                      <a:pt x="0" y="10"/>
                    </a:lnTo>
                    <a:lnTo>
                      <a:pt x="1" y="4"/>
                    </a:lnTo>
                    <a:lnTo>
                      <a:pt x="5" y="0"/>
                    </a:lnTo>
                    <a:lnTo>
                      <a:pt x="14" y="1"/>
                    </a:lnTo>
                    <a:lnTo>
                      <a:pt x="22" y="10"/>
                    </a:lnTo>
                    <a:lnTo>
                      <a:pt x="24" y="14"/>
                    </a:lnTo>
                    <a:lnTo>
                      <a:pt x="27" y="26"/>
                    </a:lnTo>
                    <a:lnTo>
                      <a:pt x="29" y="39"/>
                    </a:lnTo>
                    <a:lnTo>
                      <a:pt x="32" y="45"/>
                    </a:lnTo>
                    <a:lnTo>
                      <a:pt x="31" y="58"/>
                    </a:lnTo>
                    <a:lnTo>
                      <a:pt x="32" y="59"/>
                    </a:lnTo>
                    <a:lnTo>
                      <a:pt x="36" y="64"/>
                    </a:lnTo>
                    <a:lnTo>
                      <a:pt x="39" y="66"/>
                    </a:lnTo>
                    <a:lnTo>
                      <a:pt x="43" y="73"/>
                    </a:lnTo>
                    <a:lnTo>
                      <a:pt x="43" y="76"/>
                    </a:lnTo>
                    <a:lnTo>
                      <a:pt x="40" y="88"/>
                    </a:lnTo>
                    <a:lnTo>
                      <a:pt x="34" y="99"/>
                    </a:lnTo>
                    <a:lnTo>
                      <a:pt x="32" y="110"/>
                    </a:lnTo>
                    <a:lnTo>
                      <a:pt x="32" y="115"/>
                    </a:lnTo>
                    <a:lnTo>
                      <a:pt x="34" y="120"/>
                    </a:lnTo>
                    <a:lnTo>
                      <a:pt x="34" y="131"/>
                    </a:lnTo>
                    <a:lnTo>
                      <a:pt x="36" y="137"/>
                    </a:lnTo>
                    <a:lnTo>
                      <a:pt x="36" y="144"/>
                    </a:lnTo>
                    <a:lnTo>
                      <a:pt x="37" y="151"/>
                    </a:lnTo>
                    <a:lnTo>
                      <a:pt x="37" y="152"/>
                    </a:lnTo>
                    <a:lnTo>
                      <a:pt x="37" y="157"/>
                    </a:lnTo>
                    <a:lnTo>
                      <a:pt x="37" y="160"/>
                    </a:lnTo>
                    <a:lnTo>
                      <a:pt x="39" y="161"/>
                    </a:lnTo>
                    <a:lnTo>
                      <a:pt x="43" y="162"/>
                    </a:lnTo>
                    <a:lnTo>
                      <a:pt x="44" y="164"/>
                    </a:lnTo>
                    <a:lnTo>
                      <a:pt x="52" y="180"/>
                    </a:lnTo>
                    <a:lnTo>
                      <a:pt x="52" y="185"/>
                    </a:lnTo>
                    <a:lnTo>
                      <a:pt x="50" y="186"/>
                    </a:lnTo>
                    <a:lnTo>
                      <a:pt x="49" y="185"/>
                    </a:lnTo>
                    <a:lnTo>
                      <a:pt x="44" y="178"/>
                    </a:lnTo>
                    <a:lnTo>
                      <a:pt x="41" y="178"/>
                    </a:lnTo>
                    <a:lnTo>
                      <a:pt x="39" y="172"/>
                    </a:lnTo>
                    <a:lnTo>
                      <a:pt x="37" y="172"/>
                    </a:lnTo>
                    <a:lnTo>
                      <a:pt x="34" y="178"/>
                    </a:lnTo>
                    <a:lnTo>
                      <a:pt x="32" y="178"/>
                    </a:lnTo>
                    <a:lnTo>
                      <a:pt x="29" y="178"/>
                    </a:lnTo>
                    <a:lnTo>
                      <a:pt x="27" y="178"/>
                    </a:lnTo>
                    <a:lnTo>
                      <a:pt x="26" y="174"/>
                    </a:lnTo>
                    <a:lnTo>
                      <a:pt x="26" y="171"/>
                    </a:lnTo>
                    <a:lnTo>
                      <a:pt x="26" y="168"/>
                    </a:lnTo>
                    <a:lnTo>
                      <a:pt x="26" y="163"/>
                    </a:lnTo>
                    <a:lnTo>
                      <a:pt x="26" y="161"/>
                    </a:lnTo>
                    <a:lnTo>
                      <a:pt x="26" y="158"/>
                    </a:lnTo>
                    <a:lnTo>
                      <a:pt x="21" y="154"/>
                    </a:lnTo>
                    <a:lnTo>
                      <a:pt x="19" y="152"/>
                    </a:lnTo>
                    <a:lnTo>
                      <a:pt x="17" y="145"/>
                    </a:lnTo>
                    <a:lnTo>
                      <a:pt x="17" y="136"/>
                    </a:lnTo>
                    <a:lnTo>
                      <a:pt x="16" y="136"/>
                    </a:lnTo>
                    <a:lnTo>
                      <a:pt x="12" y="120"/>
                    </a:lnTo>
                    <a:lnTo>
                      <a:pt x="4" y="105"/>
                    </a:lnTo>
                    <a:lnTo>
                      <a:pt x="4" y="101"/>
                    </a:lnTo>
                    <a:lnTo>
                      <a:pt x="5" y="98"/>
                    </a:lnTo>
                    <a:lnTo>
                      <a:pt x="8" y="93"/>
                    </a:lnTo>
                    <a:lnTo>
                      <a:pt x="11" y="89"/>
                    </a:lnTo>
                    <a:lnTo>
                      <a:pt x="15" y="81"/>
                    </a:lnTo>
                    <a:lnTo>
                      <a:pt x="14" y="56"/>
                    </a:lnTo>
                    <a:lnTo>
                      <a:pt x="11" y="40"/>
                    </a:lnTo>
                    <a:lnTo>
                      <a:pt x="14" y="36"/>
                    </a:lnTo>
                    <a:lnTo>
                      <a:pt x="14" y="32"/>
                    </a:lnTo>
                    <a:lnTo>
                      <a:pt x="11" y="26"/>
                    </a:lnTo>
                    <a:lnTo>
                      <a:pt x="7" y="25"/>
                    </a:lnTo>
                    <a:lnTo>
                      <a:pt x="5" y="23"/>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7" name="Freeform 13"/>
              <p:cNvSpPr>
                <a:spLocks/>
              </p:cNvSpPr>
              <p:nvPr/>
            </p:nvSpPr>
            <p:spPr bwMode="auto">
              <a:xfrm>
                <a:off x="2683" y="2913"/>
                <a:ext cx="55" cy="195"/>
              </a:xfrm>
              <a:custGeom>
                <a:avLst/>
                <a:gdLst>
                  <a:gd name="T0" fmla="*/ 0 w 52"/>
                  <a:gd name="T1" fmla="*/ 10 h 186"/>
                  <a:gd name="T2" fmla="*/ 5 w 52"/>
                  <a:gd name="T3" fmla="*/ 0 h 186"/>
                  <a:gd name="T4" fmla="*/ 877 w 52"/>
                  <a:gd name="T5" fmla="*/ 10 h 186"/>
                  <a:gd name="T6" fmla="*/ 1113 w 52"/>
                  <a:gd name="T7" fmla="*/ 570 h 186"/>
                  <a:gd name="T8" fmla="*/ 1300 w 52"/>
                  <a:gd name="T9" fmla="*/ 1004 h 186"/>
                  <a:gd name="T10" fmla="*/ 1300 w 52"/>
                  <a:gd name="T11" fmla="*/ 1334 h 186"/>
                  <a:gd name="T12" fmla="*/ 1558 w 52"/>
                  <a:gd name="T13" fmla="*/ 1473 h 186"/>
                  <a:gd name="T14" fmla="*/ 1743 w 52"/>
                  <a:gd name="T15" fmla="*/ 1708 h 186"/>
                  <a:gd name="T16" fmla="*/ 1375 w 52"/>
                  <a:gd name="T17" fmla="*/ 2245 h 186"/>
                  <a:gd name="T18" fmla="*/ 1300 w 52"/>
                  <a:gd name="T19" fmla="*/ 2596 h 186"/>
                  <a:gd name="T20" fmla="*/ 1375 w 52"/>
                  <a:gd name="T21" fmla="*/ 2980 h 186"/>
                  <a:gd name="T22" fmla="*/ 1454 w 52"/>
                  <a:gd name="T23" fmla="*/ 3275 h 186"/>
                  <a:gd name="T24" fmla="*/ 1473 w 52"/>
                  <a:gd name="T25" fmla="*/ 3435 h 186"/>
                  <a:gd name="T26" fmla="*/ 1473 w 52"/>
                  <a:gd name="T27" fmla="*/ 3615 h 186"/>
                  <a:gd name="T28" fmla="*/ 1743 w 52"/>
                  <a:gd name="T29" fmla="*/ 3646 h 186"/>
                  <a:gd name="T30" fmla="*/ 2107 w 52"/>
                  <a:gd name="T31" fmla="*/ 4113 h 186"/>
                  <a:gd name="T32" fmla="*/ 2036 w 52"/>
                  <a:gd name="T33" fmla="*/ 4196 h 186"/>
                  <a:gd name="T34" fmla="*/ 1820 w 52"/>
                  <a:gd name="T35" fmla="*/ 4007 h 186"/>
                  <a:gd name="T36" fmla="*/ 1558 w 52"/>
                  <a:gd name="T37" fmla="*/ 3923 h 186"/>
                  <a:gd name="T38" fmla="*/ 1375 w 52"/>
                  <a:gd name="T39" fmla="*/ 4007 h 186"/>
                  <a:gd name="T40" fmla="*/ 1177 w 52"/>
                  <a:gd name="T41" fmla="*/ 4007 h 186"/>
                  <a:gd name="T42" fmla="*/ 1099 w 52"/>
                  <a:gd name="T43" fmla="*/ 3956 h 186"/>
                  <a:gd name="T44" fmla="*/ 1099 w 52"/>
                  <a:gd name="T45" fmla="*/ 3790 h 186"/>
                  <a:gd name="T46" fmla="*/ 1099 w 52"/>
                  <a:gd name="T47" fmla="*/ 3641 h 186"/>
                  <a:gd name="T48" fmla="*/ 829 w 52"/>
                  <a:gd name="T49" fmla="*/ 3473 h 186"/>
                  <a:gd name="T50" fmla="*/ 663 w 52"/>
                  <a:gd name="T51" fmla="*/ 3276 h 186"/>
                  <a:gd name="T52" fmla="*/ 627 w 52"/>
                  <a:gd name="T53" fmla="*/ 3098 h 186"/>
                  <a:gd name="T54" fmla="*/ 4 w 52"/>
                  <a:gd name="T55" fmla="*/ 2362 h 186"/>
                  <a:gd name="T56" fmla="*/ 5 w 52"/>
                  <a:gd name="T57" fmla="*/ 2226 h 186"/>
                  <a:gd name="T58" fmla="*/ 474 w 52"/>
                  <a:gd name="T59" fmla="*/ 2025 h 186"/>
                  <a:gd name="T60" fmla="*/ 561 w 52"/>
                  <a:gd name="T61" fmla="*/ 1272 h 186"/>
                  <a:gd name="T62" fmla="*/ 561 w 52"/>
                  <a:gd name="T63" fmla="*/ 826 h 186"/>
                  <a:gd name="T64" fmla="*/ 474 w 52"/>
                  <a:gd name="T65" fmla="*/ 570 h 186"/>
                  <a:gd name="T66" fmla="*/ 5 w 52"/>
                  <a:gd name="T67" fmla="*/ 495 h 18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
                  <a:gd name="T103" fmla="*/ 0 h 186"/>
                  <a:gd name="T104" fmla="*/ 52 w 52"/>
                  <a:gd name="T105" fmla="*/ 186 h 18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 h="186">
                    <a:moveTo>
                      <a:pt x="0" y="14"/>
                    </a:moveTo>
                    <a:lnTo>
                      <a:pt x="0" y="10"/>
                    </a:lnTo>
                    <a:lnTo>
                      <a:pt x="1" y="4"/>
                    </a:lnTo>
                    <a:lnTo>
                      <a:pt x="5" y="0"/>
                    </a:lnTo>
                    <a:lnTo>
                      <a:pt x="14" y="1"/>
                    </a:lnTo>
                    <a:lnTo>
                      <a:pt x="22" y="10"/>
                    </a:lnTo>
                    <a:lnTo>
                      <a:pt x="24" y="14"/>
                    </a:lnTo>
                    <a:lnTo>
                      <a:pt x="27" y="26"/>
                    </a:lnTo>
                    <a:lnTo>
                      <a:pt x="29" y="39"/>
                    </a:lnTo>
                    <a:lnTo>
                      <a:pt x="32" y="45"/>
                    </a:lnTo>
                    <a:lnTo>
                      <a:pt x="31" y="58"/>
                    </a:lnTo>
                    <a:lnTo>
                      <a:pt x="32" y="59"/>
                    </a:lnTo>
                    <a:lnTo>
                      <a:pt x="36" y="64"/>
                    </a:lnTo>
                    <a:lnTo>
                      <a:pt x="39" y="66"/>
                    </a:lnTo>
                    <a:lnTo>
                      <a:pt x="43" y="73"/>
                    </a:lnTo>
                    <a:lnTo>
                      <a:pt x="43" y="76"/>
                    </a:lnTo>
                    <a:lnTo>
                      <a:pt x="40" y="88"/>
                    </a:lnTo>
                    <a:lnTo>
                      <a:pt x="34" y="99"/>
                    </a:lnTo>
                    <a:lnTo>
                      <a:pt x="32" y="110"/>
                    </a:lnTo>
                    <a:lnTo>
                      <a:pt x="32" y="115"/>
                    </a:lnTo>
                    <a:lnTo>
                      <a:pt x="34" y="120"/>
                    </a:lnTo>
                    <a:lnTo>
                      <a:pt x="34" y="131"/>
                    </a:lnTo>
                    <a:lnTo>
                      <a:pt x="36" y="137"/>
                    </a:lnTo>
                    <a:lnTo>
                      <a:pt x="36" y="144"/>
                    </a:lnTo>
                    <a:lnTo>
                      <a:pt x="37" y="151"/>
                    </a:lnTo>
                    <a:lnTo>
                      <a:pt x="37" y="152"/>
                    </a:lnTo>
                    <a:lnTo>
                      <a:pt x="37" y="157"/>
                    </a:lnTo>
                    <a:lnTo>
                      <a:pt x="37" y="160"/>
                    </a:lnTo>
                    <a:lnTo>
                      <a:pt x="39" y="161"/>
                    </a:lnTo>
                    <a:lnTo>
                      <a:pt x="43" y="162"/>
                    </a:lnTo>
                    <a:lnTo>
                      <a:pt x="44" y="164"/>
                    </a:lnTo>
                    <a:lnTo>
                      <a:pt x="52" y="180"/>
                    </a:lnTo>
                    <a:lnTo>
                      <a:pt x="52" y="185"/>
                    </a:lnTo>
                    <a:lnTo>
                      <a:pt x="50" y="186"/>
                    </a:lnTo>
                    <a:lnTo>
                      <a:pt x="49" y="185"/>
                    </a:lnTo>
                    <a:lnTo>
                      <a:pt x="44" y="178"/>
                    </a:lnTo>
                    <a:lnTo>
                      <a:pt x="41" y="178"/>
                    </a:lnTo>
                    <a:lnTo>
                      <a:pt x="39" y="172"/>
                    </a:lnTo>
                    <a:lnTo>
                      <a:pt x="37" y="172"/>
                    </a:lnTo>
                    <a:lnTo>
                      <a:pt x="34" y="178"/>
                    </a:lnTo>
                    <a:lnTo>
                      <a:pt x="32" y="178"/>
                    </a:lnTo>
                    <a:lnTo>
                      <a:pt x="29" y="178"/>
                    </a:lnTo>
                    <a:lnTo>
                      <a:pt x="27" y="178"/>
                    </a:lnTo>
                    <a:lnTo>
                      <a:pt x="26" y="174"/>
                    </a:lnTo>
                    <a:lnTo>
                      <a:pt x="26" y="171"/>
                    </a:lnTo>
                    <a:lnTo>
                      <a:pt x="26" y="168"/>
                    </a:lnTo>
                    <a:lnTo>
                      <a:pt x="26" y="163"/>
                    </a:lnTo>
                    <a:lnTo>
                      <a:pt x="26" y="161"/>
                    </a:lnTo>
                    <a:lnTo>
                      <a:pt x="26" y="158"/>
                    </a:lnTo>
                    <a:lnTo>
                      <a:pt x="21" y="154"/>
                    </a:lnTo>
                    <a:lnTo>
                      <a:pt x="19" y="152"/>
                    </a:lnTo>
                    <a:lnTo>
                      <a:pt x="17" y="145"/>
                    </a:lnTo>
                    <a:lnTo>
                      <a:pt x="17" y="136"/>
                    </a:lnTo>
                    <a:lnTo>
                      <a:pt x="16" y="136"/>
                    </a:lnTo>
                    <a:lnTo>
                      <a:pt x="12" y="120"/>
                    </a:lnTo>
                    <a:lnTo>
                      <a:pt x="4" y="105"/>
                    </a:lnTo>
                    <a:lnTo>
                      <a:pt x="4" y="101"/>
                    </a:lnTo>
                    <a:lnTo>
                      <a:pt x="5" y="98"/>
                    </a:lnTo>
                    <a:lnTo>
                      <a:pt x="8" y="93"/>
                    </a:lnTo>
                    <a:lnTo>
                      <a:pt x="11" y="89"/>
                    </a:lnTo>
                    <a:lnTo>
                      <a:pt x="15" y="81"/>
                    </a:lnTo>
                    <a:lnTo>
                      <a:pt x="14" y="56"/>
                    </a:lnTo>
                    <a:lnTo>
                      <a:pt x="11" y="40"/>
                    </a:lnTo>
                    <a:lnTo>
                      <a:pt x="14" y="36"/>
                    </a:lnTo>
                    <a:lnTo>
                      <a:pt x="14" y="32"/>
                    </a:lnTo>
                    <a:lnTo>
                      <a:pt x="11" y="26"/>
                    </a:lnTo>
                    <a:lnTo>
                      <a:pt x="7" y="25"/>
                    </a:lnTo>
                    <a:lnTo>
                      <a:pt x="5" y="23"/>
                    </a:lnTo>
                    <a:lnTo>
                      <a:pt x="0" y="14"/>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pic>
            <p:nvPicPr>
              <p:cNvPr id="218" name="Picture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89" y="2504"/>
                <a:ext cx="150" cy="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9"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89" y="2504"/>
                <a:ext cx="150" cy="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0" name="Freeform 16"/>
              <p:cNvSpPr>
                <a:spLocks/>
              </p:cNvSpPr>
              <p:nvPr/>
            </p:nvSpPr>
            <p:spPr bwMode="auto">
              <a:xfrm>
                <a:off x="2595" y="2509"/>
                <a:ext cx="126" cy="132"/>
              </a:xfrm>
              <a:custGeom>
                <a:avLst/>
                <a:gdLst>
                  <a:gd name="T0" fmla="*/ 6563 w 118"/>
                  <a:gd name="T1" fmla="*/ 5 h 125"/>
                  <a:gd name="T2" fmla="*/ 6631 w 118"/>
                  <a:gd name="T3" fmla="*/ 525 h 125"/>
                  <a:gd name="T4" fmla="*/ 7081 w 118"/>
                  <a:gd name="T5" fmla="*/ 1012 h 125"/>
                  <a:gd name="T6" fmla="*/ 7787 w 118"/>
                  <a:gd name="T7" fmla="*/ 859 h 125"/>
                  <a:gd name="T8" fmla="*/ 9071 w 118"/>
                  <a:gd name="T9" fmla="*/ 770 h 125"/>
                  <a:gd name="T10" fmla="*/ 8203 w 118"/>
                  <a:gd name="T11" fmla="*/ 1102 h 125"/>
                  <a:gd name="T12" fmla="*/ 7134 w 118"/>
                  <a:gd name="T13" fmla="*/ 1229 h 125"/>
                  <a:gd name="T14" fmla="*/ 7483 w 118"/>
                  <a:gd name="T15" fmla="*/ 1811 h 125"/>
                  <a:gd name="T16" fmla="*/ 6631 w 118"/>
                  <a:gd name="T17" fmla="*/ 2119 h 125"/>
                  <a:gd name="T18" fmla="*/ 6631 w 118"/>
                  <a:gd name="T19" fmla="*/ 2377 h 125"/>
                  <a:gd name="T20" fmla="*/ 6257 w 118"/>
                  <a:gd name="T21" fmla="*/ 2534 h 125"/>
                  <a:gd name="T22" fmla="*/ 5860 w 118"/>
                  <a:gd name="T23" fmla="*/ 2651 h 125"/>
                  <a:gd name="T24" fmla="*/ 5488 w 118"/>
                  <a:gd name="T25" fmla="*/ 2984 h 125"/>
                  <a:gd name="T26" fmla="*/ 5049 w 118"/>
                  <a:gd name="T27" fmla="*/ 3104 h 125"/>
                  <a:gd name="T28" fmla="*/ 4728 w 118"/>
                  <a:gd name="T29" fmla="*/ 3297 h 125"/>
                  <a:gd name="T30" fmla="*/ 5049 w 118"/>
                  <a:gd name="T31" fmla="*/ 3477 h 125"/>
                  <a:gd name="T32" fmla="*/ 5860 w 118"/>
                  <a:gd name="T33" fmla="*/ 3547 h 125"/>
                  <a:gd name="T34" fmla="*/ 5391 w 118"/>
                  <a:gd name="T35" fmla="*/ 3878 h 125"/>
                  <a:gd name="T36" fmla="*/ 4608 w 118"/>
                  <a:gd name="T37" fmla="*/ 3918 h 125"/>
                  <a:gd name="T38" fmla="*/ 3784 w 118"/>
                  <a:gd name="T39" fmla="*/ 3956 h 125"/>
                  <a:gd name="T40" fmla="*/ 3703 w 118"/>
                  <a:gd name="T41" fmla="*/ 4369 h 125"/>
                  <a:gd name="T42" fmla="*/ 3190 w 118"/>
                  <a:gd name="T43" fmla="*/ 4077 h 125"/>
                  <a:gd name="T44" fmla="*/ 2668 w 118"/>
                  <a:gd name="T45" fmla="*/ 4100 h 125"/>
                  <a:gd name="T46" fmla="*/ 1800 w 118"/>
                  <a:gd name="T47" fmla="*/ 3746 h 125"/>
                  <a:gd name="T48" fmla="*/ 1215 w 118"/>
                  <a:gd name="T49" fmla="*/ 3801 h 125"/>
                  <a:gd name="T50" fmla="*/ 935 w 118"/>
                  <a:gd name="T51" fmla="*/ 4077 h 125"/>
                  <a:gd name="T52" fmla="*/ 5 w 118"/>
                  <a:gd name="T53" fmla="*/ 4330 h 125"/>
                  <a:gd name="T54" fmla="*/ 3 w 118"/>
                  <a:gd name="T55" fmla="*/ 3918 h 125"/>
                  <a:gd name="T56" fmla="*/ 1 w 118"/>
                  <a:gd name="T57" fmla="*/ 2799 h 125"/>
                  <a:gd name="T58" fmla="*/ 4 w 118"/>
                  <a:gd name="T59" fmla="*/ 2007 h 125"/>
                  <a:gd name="T60" fmla="*/ 0 w 118"/>
                  <a:gd name="T61" fmla="*/ 1705 h 125"/>
                  <a:gd name="T62" fmla="*/ 7 w 118"/>
                  <a:gd name="T63" fmla="*/ 770 h 125"/>
                  <a:gd name="T64" fmla="*/ 1066 w 118"/>
                  <a:gd name="T65" fmla="*/ 585 h 125"/>
                  <a:gd name="T66" fmla="*/ 1922 w 118"/>
                  <a:gd name="T67" fmla="*/ 400 h 125"/>
                  <a:gd name="T68" fmla="*/ 2499 w 118"/>
                  <a:gd name="T69" fmla="*/ 400 h 125"/>
                  <a:gd name="T70" fmla="*/ 2849 w 118"/>
                  <a:gd name="T71" fmla="*/ 7 h 125"/>
                  <a:gd name="T72" fmla="*/ 3884 w 118"/>
                  <a:gd name="T73" fmla="*/ 422 h 125"/>
                  <a:gd name="T74" fmla="*/ 4805 w 118"/>
                  <a:gd name="T75" fmla="*/ 4 h 125"/>
                  <a:gd name="T76" fmla="*/ 5860 w 118"/>
                  <a:gd name="T77" fmla="*/ 4 h 12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8"/>
                  <a:gd name="T118" fmla="*/ 0 h 125"/>
                  <a:gd name="T119" fmla="*/ 118 w 118"/>
                  <a:gd name="T120" fmla="*/ 125 h 12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8" h="125">
                    <a:moveTo>
                      <a:pt x="78" y="4"/>
                    </a:moveTo>
                    <a:lnTo>
                      <a:pt x="85" y="5"/>
                    </a:lnTo>
                    <a:lnTo>
                      <a:pt x="87" y="4"/>
                    </a:lnTo>
                    <a:lnTo>
                      <a:pt x="87" y="15"/>
                    </a:lnTo>
                    <a:lnTo>
                      <a:pt x="91" y="21"/>
                    </a:lnTo>
                    <a:lnTo>
                      <a:pt x="93" y="27"/>
                    </a:lnTo>
                    <a:lnTo>
                      <a:pt x="98" y="25"/>
                    </a:lnTo>
                    <a:lnTo>
                      <a:pt x="103" y="24"/>
                    </a:lnTo>
                    <a:lnTo>
                      <a:pt x="110" y="22"/>
                    </a:lnTo>
                    <a:lnTo>
                      <a:pt x="118" y="22"/>
                    </a:lnTo>
                    <a:lnTo>
                      <a:pt x="118" y="25"/>
                    </a:lnTo>
                    <a:lnTo>
                      <a:pt x="109" y="30"/>
                    </a:lnTo>
                    <a:lnTo>
                      <a:pt x="103" y="34"/>
                    </a:lnTo>
                    <a:lnTo>
                      <a:pt x="95" y="34"/>
                    </a:lnTo>
                    <a:lnTo>
                      <a:pt x="90" y="44"/>
                    </a:lnTo>
                    <a:lnTo>
                      <a:pt x="97" y="50"/>
                    </a:lnTo>
                    <a:lnTo>
                      <a:pt x="88" y="53"/>
                    </a:lnTo>
                    <a:lnTo>
                      <a:pt x="87" y="58"/>
                    </a:lnTo>
                    <a:lnTo>
                      <a:pt x="88" y="62"/>
                    </a:lnTo>
                    <a:lnTo>
                      <a:pt x="87" y="65"/>
                    </a:lnTo>
                    <a:lnTo>
                      <a:pt x="84" y="63"/>
                    </a:lnTo>
                    <a:lnTo>
                      <a:pt x="83" y="70"/>
                    </a:lnTo>
                    <a:lnTo>
                      <a:pt x="78" y="70"/>
                    </a:lnTo>
                    <a:lnTo>
                      <a:pt x="78" y="73"/>
                    </a:lnTo>
                    <a:lnTo>
                      <a:pt x="75" y="78"/>
                    </a:lnTo>
                    <a:lnTo>
                      <a:pt x="73" y="82"/>
                    </a:lnTo>
                    <a:lnTo>
                      <a:pt x="70" y="82"/>
                    </a:lnTo>
                    <a:lnTo>
                      <a:pt x="66" y="84"/>
                    </a:lnTo>
                    <a:lnTo>
                      <a:pt x="70" y="86"/>
                    </a:lnTo>
                    <a:lnTo>
                      <a:pt x="62" y="91"/>
                    </a:lnTo>
                    <a:lnTo>
                      <a:pt x="61" y="93"/>
                    </a:lnTo>
                    <a:lnTo>
                      <a:pt x="66" y="95"/>
                    </a:lnTo>
                    <a:lnTo>
                      <a:pt x="76" y="95"/>
                    </a:lnTo>
                    <a:lnTo>
                      <a:pt x="78" y="98"/>
                    </a:lnTo>
                    <a:lnTo>
                      <a:pt x="78" y="99"/>
                    </a:lnTo>
                    <a:lnTo>
                      <a:pt x="70" y="106"/>
                    </a:lnTo>
                    <a:lnTo>
                      <a:pt x="65" y="108"/>
                    </a:lnTo>
                    <a:lnTo>
                      <a:pt x="61" y="108"/>
                    </a:lnTo>
                    <a:lnTo>
                      <a:pt x="53" y="108"/>
                    </a:lnTo>
                    <a:lnTo>
                      <a:pt x="50" y="109"/>
                    </a:lnTo>
                    <a:lnTo>
                      <a:pt x="49" y="116"/>
                    </a:lnTo>
                    <a:lnTo>
                      <a:pt x="49" y="120"/>
                    </a:lnTo>
                    <a:lnTo>
                      <a:pt x="44" y="125"/>
                    </a:lnTo>
                    <a:lnTo>
                      <a:pt x="42" y="111"/>
                    </a:lnTo>
                    <a:lnTo>
                      <a:pt x="39" y="110"/>
                    </a:lnTo>
                    <a:lnTo>
                      <a:pt x="35" y="113"/>
                    </a:lnTo>
                    <a:lnTo>
                      <a:pt x="30" y="110"/>
                    </a:lnTo>
                    <a:lnTo>
                      <a:pt x="23" y="103"/>
                    </a:lnTo>
                    <a:lnTo>
                      <a:pt x="20" y="99"/>
                    </a:lnTo>
                    <a:lnTo>
                      <a:pt x="17" y="104"/>
                    </a:lnTo>
                    <a:lnTo>
                      <a:pt x="18" y="111"/>
                    </a:lnTo>
                    <a:lnTo>
                      <a:pt x="13" y="111"/>
                    </a:lnTo>
                    <a:lnTo>
                      <a:pt x="11" y="116"/>
                    </a:lnTo>
                    <a:lnTo>
                      <a:pt x="5" y="119"/>
                    </a:lnTo>
                    <a:lnTo>
                      <a:pt x="1" y="113"/>
                    </a:lnTo>
                    <a:lnTo>
                      <a:pt x="3" y="108"/>
                    </a:lnTo>
                    <a:lnTo>
                      <a:pt x="0" y="92"/>
                    </a:lnTo>
                    <a:lnTo>
                      <a:pt x="1" y="77"/>
                    </a:lnTo>
                    <a:lnTo>
                      <a:pt x="3" y="68"/>
                    </a:lnTo>
                    <a:lnTo>
                      <a:pt x="4" y="55"/>
                    </a:lnTo>
                    <a:lnTo>
                      <a:pt x="3" y="50"/>
                    </a:lnTo>
                    <a:lnTo>
                      <a:pt x="0" y="46"/>
                    </a:lnTo>
                    <a:lnTo>
                      <a:pt x="8" y="27"/>
                    </a:lnTo>
                    <a:lnTo>
                      <a:pt x="7" y="22"/>
                    </a:lnTo>
                    <a:lnTo>
                      <a:pt x="7" y="19"/>
                    </a:lnTo>
                    <a:lnTo>
                      <a:pt x="15" y="17"/>
                    </a:lnTo>
                    <a:lnTo>
                      <a:pt x="22" y="15"/>
                    </a:lnTo>
                    <a:lnTo>
                      <a:pt x="25" y="10"/>
                    </a:lnTo>
                    <a:lnTo>
                      <a:pt x="29" y="11"/>
                    </a:lnTo>
                    <a:lnTo>
                      <a:pt x="33" y="10"/>
                    </a:lnTo>
                    <a:lnTo>
                      <a:pt x="34" y="5"/>
                    </a:lnTo>
                    <a:lnTo>
                      <a:pt x="37" y="7"/>
                    </a:lnTo>
                    <a:lnTo>
                      <a:pt x="45" y="9"/>
                    </a:lnTo>
                    <a:lnTo>
                      <a:pt x="51" y="11"/>
                    </a:lnTo>
                    <a:lnTo>
                      <a:pt x="59" y="0"/>
                    </a:lnTo>
                    <a:lnTo>
                      <a:pt x="63" y="4"/>
                    </a:lnTo>
                    <a:lnTo>
                      <a:pt x="73" y="7"/>
                    </a:lnTo>
                    <a:lnTo>
                      <a:pt x="78"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1" name="Freeform 17"/>
              <p:cNvSpPr>
                <a:spLocks/>
              </p:cNvSpPr>
              <p:nvPr/>
            </p:nvSpPr>
            <p:spPr bwMode="auto">
              <a:xfrm>
                <a:off x="2595" y="2509"/>
                <a:ext cx="126" cy="132"/>
              </a:xfrm>
              <a:custGeom>
                <a:avLst/>
                <a:gdLst>
                  <a:gd name="T0" fmla="*/ 6563 w 118"/>
                  <a:gd name="T1" fmla="*/ 5 h 125"/>
                  <a:gd name="T2" fmla="*/ 6631 w 118"/>
                  <a:gd name="T3" fmla="*/ 525 h 125"/>
                  <a:gd name="T4" fmla="*/ 7081 w 118"/>
                  <a:gd name="T5" fmla="*/ 1012 h 125"/>
                  <a:gd name="T6" fmla="*/ 7787 w 118"/>
                  <a:gd name="T7" fmla="*/ 859 h 125"/>
                  <a:gd name="T8" fmla="*/ 9071 w 118"/>
                  <a:gd name="T9" fmla="*/ 770 h 125"/>
                  <a:gd name="T10" fmla="*/ 8203 w 118"/>
                  <a:gd name="T11" fmla="*/ 1102 h 125"/>
                  <a:gd name="T12" fmla="*/ 7134 w 118"/>
                  <a:gd name="T13" fmla="*/ 1229 h 125"/>
                  <a:gd name="T14" fmla="*/ 7483 w 118"/>
                  <a:gd name="T15" fmla="*/ 1811 h 125"/>
                  <a:gd name="T16" fmla="*/ 6631 w 118"/>
                  <a:gd name="T17" fmla="*/ 2119 h 125"/>
                  <a:gd name="T18" fmla="*/ 6631 w 118"/>
                  <a:gd name="T19" fmla="*/ 2377 h 125"/>
                  <a:gd name="T20" fmla="*/ 6257 w 118"/>
                  <a:gd name="T21" fmla="*/ 2534 h 125"/>
                  <a:gd name="T22" fmla="*/ 5860 w 118"/>
                  <a:gd name="T23" fmla="*/ 2651 h 125"/>
                  <a:gd name="T24" fmla="*/ 5488 w 118"/>
                  <a:gd name="T25" fmla="*/ 2984 h 125"/>
                  <a:gd name="T26" fmla="*/ 5049 w 118"/>
                  <a:gd name="T27" fmla="*/ 3104 h 125"/>
                  <a:gd name="T28" fmla="*/ 4728 w 118"/>
                  <a:gd name="T29" fmla="*/ 3297 h 125"/>
                  <a:gd name="T30" fmla="*/ 5049 w 118"/>
                  <a:gd name="T31" fmla="*/ 3477 h 125"/>
                  <a:gd name="T32" fmla="*/ 5860 w 118"/>
                  <a:gd name="T33" fmla="*/ 3547 h 125"/>
                  <a:gd name="T34" fmla="*/ 5391 w 118"/>
                  <a:gd name="T35" fmla="*/ 3878 h 125"/>
                  <a:gd name="T36" fmla="*/ 4608 w 118"/>
                  <a:gd name="T37" fmla="*/ 3918 h 125"/>
                  <a:gd name="T38" fmla="*/ 3784 w 118"/>
                  <a:gd name="T39" fmla="*/ 3956 h 125"/>
                  <a:gd name="T40" fmla="*/ 3703 w 118"/>
                  <a:gd name="T41" fmla="*/ 4369 h 125"/>
                  <a:gd name="T42" fmla="*/ 3190 w 118"/>
                  <a:gd name="T43" fmla="*/ 4077 h 125"/>
                  <a:gd name="T44" fmla="*/ 2668 w 118"/>
                  <a:gd name="T45" fmla="*/ 4100 h 125"/>
                  <a:gd name="T46" fmla="*/ 1800 w 118"/>
                  <a:gd name="T47" fmla="*/ 3746 h 125"/>
                  <a:gd name="T48" fmla="*/ 1215 w 118"/>
                  <a:gd name="T49" fmla="*/ 3801 h 125"/>
                  <a:gd name="T50" fmla="*/ 935 w 118"/>
                  <a:gd name="T51" fmla="*/ 4077 h 125"/>
                  <a:gd name="T52" fmla="*/ 5 w 118"/>
                  <a:gd name="T53" fmla="*/ 4330 h 125"/>
                  <a:gd name="T54" fmla="*/ 3 w 118"/>
                  <a:gd name="T55" fmla="*/ 3918 h 125"/>
                  <a:gd name="T56" fmla="*/ 1 w 118"/>
                  <a:gd name="T57" fmla="*/ 2799 h 125"/>
                  <a:gd name="T58" fmla="*/ 4 w 118"/>
                  <a:gd name="T59" fmla="*/ 2007 h 125"/>
                  <a:gd name="T60" fmla="*/ 0 w 118"/>
                  <a:gd name="T61" fmla="*/ 1705 h 125"/>
                  <a:gd name="T62" fmla="*/ 7 w 118"/>
                  <a:gd name="T63" fmla="*/ 770 h 125"/>
                  <a:gd name="T64" fmla="*/ 1066 w 118"/>
                  <a:gd name="T65" fmla="*/ 585 h 125"/>
                  <a:gd name="T66" fmla="*/ 1922 w 118"/>
                  <a:gd name="T67" fmla="*/ 400 h 125"/>
                  <a:gd name="T68" fmla="*/ 2499 w 118"/>
                  <a:gd name="T69" fmla="*/ 400 h 125"/>
                  <a:gd name="T70" fmla="*/ 2849 w 118"/>
                  <a:gd name="T71" fmla="*/ 7 h 125"/>
                  <a:gd name="T72" fmla="*/ 3884 w 118"/>
                  <a:gd name="T73" fmla="*/ 422 h 125"/>
                  <a:gd name="T74" fmla="*/ 4805 w 118"/>
                  <a:gd name="T75" fmla="*/ 4 h 125"/>
                  <a:gd name="T76" fmla="*/ 5860 w 118"/>
                  <a:gd name="T77" fmla="*/ 4 h 12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8"/>
                  <a:gd name="T118" fmla="*/ 0 h 125"/>
                  <a:gd name="T119" fmla="*/ 118 w 118"/>
                  <a:gd name="T120" fmla="*/ 125 h 12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8" h="125">
                    <a:moveTo>
                      <a:pt x="78" y="4"/>
                    </a:moveTo>
                    <a:lnTo>
                      <a:pt x="85" y="5"/>
                    </a:lnTo>
                    <a:lnTo>
                      <a:pt x="87" y="4"/>
                    </a:lnTo>
                    <a:lnTo>
                      <a:pt x="87" y="15"/>
                    </a:lnTo>
                    <a:lnTo>
                      <a:pt x="91" y="21"/>
                    </a:lnTo>
                    <a:lnTo>
                      <a:pt x="93" y="27"/>
                    </a:lnTo>
                    <a:lnTo>
                      <a:pt x="98" y="25"/>
                    </a:lnTo>
                    <a:lnTo>
                      <a:pt x="103" y="24"/>
                    </a:lnTo>
                    <a:lnTo>
                      <a:pt x="110" y="22"/>
                    </a:lnTo>
                    <a:lnTo>
                      <a:pt x="118" y="22"/>
                    </a:lnTo>
                    <a:lnTo>
                      <a:pt x="118" y="25"/>
                    </a:lnTo>
                    <a:lnTo>
                      <a:pt x="109" y="30"/>
                    </a:lnTo>
                    <a:lnTo>
                      <a:pt x="103" y="34"/>
                    </a:lnTo>
                    <a:lnTo>
                      <a:pt x="95" y="34"/>
                    </a:lnTo>
                    <a:lnTo>
                      <a:pt x="90" y="44"/>
                    </a:lnTo>
                    <a:lnTo>
                      <a:pt x="97" y="50"/>
                    </a:lnTo>
                    <a:lnTo>
                      <a:pt x="88" y="53"/>
                    </a:lnTo>
                    <a:lnTo>
                      <a:pt x="87" y="58"/>
                    </a:lnTo>
                    <a:lnTo>
                      <a:pt x="88" y="62"/>
                    </a:lnTo>
                    <a:lnTo>
                      <a:pt x="87" y="65"/>
                    </a:lnTo>
                    <a:lnTo>
                      <a:pt x="84" y="63"/>
                    </a:lnTo>
                    <a:lnTo>
                      <a:pt x="83" y="70"/>
                    </a:lnTo>
                    <a:lnTo>
                      <a:pt x="78" y="70"/>
                    </a:lnTo>
                    <a:lnTo>
                      <a:pt x="78" y="73"/>
                    </a:lnTo>
                    <a:lnTo>
                      <a:pt x="75" y="78"/>
                    </a:lnTo>
                    <a:lnTo>
                      <a:pt x="73" y="82"/>
                    </a:lnTo>
                    <a:lnTo>
                      <a:pt x="70" y="82"/>
                    </a:lnTo>
                    <a:lnTo>
                      <a:pt x="66" y="84"/>
                    </a:lnTo>
                    <a:lnTo>
                      <a:pt x="70" y="86"/>
                    </a:lnTo>
                    <a:lnTo>
                      <a:pt x="62" y="91"/>
                    </a:lnTo>
                    <a:lnTo>
                      <a:pt x="61" y="93"/>
                    </a:lnTo>
                    <a:lnTo>
                      <a:pt x="66" y="95"/>
                    </a:lnTo>
                    <a:lnTo>
                      <a:pt x="76" y="95"/>
                    </a:lnTo>
                    <a:lnTo>
                      <a:pt x="78" y="98"/>
                    </a:lnTo>
                    <a:lnTo>
                      <a:pt x="78" y="99"/>
                    </a:lnTo>
                    <a:lnTo>
                      <a:pt x="70" y="106"/>
                    </a:lnTo>
                    <a:lnTo>
                      <a:pt x="65" y="108"/>
                    </a:lnTo>
                    <a:lnTo>
                      <a:pt x="61" y="108"/>
                    </a:lnTo>
                    <a:lnTo>
                      <a:pt x="53" y="108"/>
                    </a:lnTo>
                    <a:lnTo>
                      <a:pt x="50" y="109"/>
                    </a:lnTo>
                    <a:lnTo>
                      <a:pt x="49" y="116"/>
                    </a:lnTo>
                    <a:lnTo>
                      <a:pt x="49" y="120"/>
                    </a:lnTo>
                    <a:lnTo>
                      <a:pt x="44" y="125"/>
                    </a:lnTo>
                    <a:lnTo>
                      <a:pt x="42" y="111"/>
                    </a:lnTo>
                    <a:lnTo>
                      <a:pt x="39" y="110"/>
                    </a:lnTo>
                    <a:lnTo>
                      <a:pt x="35" y="113"/>
                    </a:lnTo>
                    <a:lnTo>
                      <a:pt x="30" y="110"/>
                    </a:lnTo>
                    <a:lnTo>
                      <a:pt x="23" y="103"/>
                    </a:lnTo>
                    <a:lnTo>
                      <a:pt x="20" y="99"/>
                    </a:lnTo>
                    <a:lnTo>
                      <a:pt x="17" y="104"/>
                    </a:lnTo>
                    <a:lnTo>
                      <a:pt x="18" y="111"/>
                    </a:lnTo>
                    <a:lnTo>
                      <a:pt x="13" y="111"/>
                    </a:lnTo>
                    <a:lnTo>
                      <a:pt x="11" y="116"/>
                    </a:lnTo>
                    <a:lnTo>
                      <a:pt x="5" y="119"/>
                    </a:lnTo>
                    <a:lnTo>
                      <a:pt x="1" y="113"/>
                    </a:lnTo>
                    <a:lnTo>
                      <a:pt x="3" y="108"/>
                    </a:lnTo>
                    <a:lnTo>
                      <a:pt x="0" y="92"/>
                    </a:lnTo>
                    <a:lnTo>
                      <a:pt x="1" y="77"/>
                    </a:lnTo>
                    <a:lnTo>
                      <a:pt x="3" y="68"/>
                    </a:lnTo>
                    <a:lnTo>
                      <a:pt x="4" y="55"/>
                    </a:lnTo>
                    <a:lnTo>
                      <a:pt x="3" y="50"/>
                    </a:lnTo>
                    <a:lnTo>
                      <a:pt x="0" y="46"/>
                    </a:lnTo>
                    <a:lnTo>
                      <a:pt x="8" y="27"/>
                    </a:lnTo>
                    <a:lnTo>
                      <a:pt x="7" y="22"/>
                    </a:lnTo>
                    <a:lnTo>
                      <a:pt x="7" y="19"/>
                    </a:lnTo>
                    <a:lnTo>
                      <a:pt x="15" y="17"/>
                    </a:lnTo>
                    <a:lnTo>
                      <a:pt x="22" y="15"/>
                    </a:lnTo>
                    <a:lnTo>
                      <a:pt x="25" y="10"/>
                    </a:lnTo>
                    <a:lnTo>
                      <a:pt x="29" y="11"/>
                    </a:lnTo>
                    <a:lnTo>
                      <a:pt x="33" y="10"/>
                    </a:lnTo>
                    <a:lnTo>
                      <a:pt x="34" y="5"/>
                    </a:lnTo>
                    <a:lnTo>
                      <a:pt x="37" y="7"/>
                    </a:lnTo>
                    <a:lnTo>
                      <a:pt x="45" y="9"/>
                    </a:lnTo>
                    <a:lnTo>
                      <a:pt x="51" y="11"/>
                    </a:lnTo>
                    <a:lnTo>
                      <a:pt x="59" y="0"/>
                    </a:lnTo>
                    <a:lnTo>
                      <a:pt x="63" y="4"/>
                    </a:lnTo>
                    <a:lnTo>
                      <a:pt x="73" y="7"/>
                    </a:lnTo>
                    <a:lnTo>
                      <a:pt x="78" y="4"/>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pic>
            <p:nvPicPr>
              <p:cNvPr id="222" name="Picture 1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12" y="1935"/>
                <a:ext cx="105" cy="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3"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12" y="1935"/>
                <a:ext cx="105" cy="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4" name="Freeform 20"/>
              <p:cNvSpPr>
                <a:spLocks/>
              </p:cNvSpPr>
              <p:nvPr/>
            </p:nvSpPr>
            <p:spPr bwMode="auto">
              <a:xfrm>
                <a:off x="1818" y="1940"/>
                <a:ext cx="85" cy="75"/>
              </a:xfrm>
              <a:custGeom>
                <a:avLst/>
                <a:gdLst>
                  <a:gd name="T0" fmla="*/ 4153 w 80"/>
                  <a:gd name="T1" fmla="*/ 1914 h 71"/>
                  <a:gd name="T2" fmla="*/ 3865 w 80"/>
                  <a:gd name="T3" fmla="*/ 2136 h 71"/>
                  <a:gd name="T4" fmla="*/ 3230 w 80"/>
                  <a:gd name="T5" fmla="*/ 2272 h 71"/>
                  <a:gd name="T6" fmla="*/ 3033 w 80"/>
                  <a:gd name="T7" fmla="*/ 2272 h 71"/>
                  <a:gd name="T8" fmla="*/ 2687 w 80"/>
                  <a:gd name="T9" fmla="*/ 2272 h 71"/>
                  <a:gd name="T10" fmla="*/ 2380 w 80"/>
                  <a:gd name="T11" fmla="*/ 2659 h 71"/>
                  <a:gd name="T12" fmla="*/ 2161 w 80"/>
                  <a:gd name="T13" fmla="*/ 2659 h 71"/>
                  <a:gd name="T14" fmla="*/ 1758 w 80"/>
                  <a:gd name="T15" fmla="*/ 2432 h 71"/>
                  <a:gd name="T16" fmla="*/ 1501 w 80"/>
                  <a:gd name="T17" fmla="*/ 1914 h 71"/>
                  <a:gd name="T18" fmla="*/ 1380 w 80"/>
                  <a:gd name="T19" fmla="*/ 1635 h 71"/>
                  <a:gd name="T20" fmla="*/ 800 w 80"/>
                  <a:gd name="T21" fmla="*/ 1537 h 71"/>
                  <a:gd name="T22" fmla="*/ 591 w 80"/>
                  <a:gd name="T23" fmla="*/ 1243 h 71"/>
                  <a:gd name="T24" fmla="*/ 7 w 80"/>
                  <a:gd name="T25" fmla="*/ 1106 h 71"/>
                  <a:gd name="T26" fmla="*/ 5 w 80"/>
                  <a:gd name="T27" fmla="*/ 714 h 71"/>
                  <a:gd name="T28" fmla="*/ 2 w 80"/>
                  <a:gd name="T29" fmla="*/ 606 h 71"/>
                  <a:gd name="T30" fmla="*/ 0 w 80"/>
                  <a:gd name="T31" fmla="*/ 514 h 71"/>
                  <a:gd name="T32" fmla="*/ 0 w 80"/>
                  <a:gd name="T33" fmla="*/ 413 h 71"/>
                  <a:gd name="T34" fmla="*/ 3 w 80"/>
                  <a:gd name="T35" fmla="*/ 5 h 71"/>
                  <a:gd name="T36" fmla="*/ 7 w 80"/>
                  <a:gd name="T37" fmla="*/ 4 h 71"/>
                  <a:gd name="T38" fmla="*/ 591 w 80"/>
                  <a:gd name="T39" fmla="*/ 2 h 71"/>
                  <a:gd name="T40" fmla="*/ 753 w 80"/>
                  <a:gd name="T41" fmla="*/ 0 h 71"/>
                  <a:gd name="T42" fmla="*/ 1380 w 80"/>
                  <a:gd name="T43" fmla="*/ 4 h 71"/>
                  <a:gd name="T44" fmla="*/ 1558 w 80"/>
                  <a:gd name="T45" fmla="*/ 7 h 71"/>
                  <a:gd name="T46" fmla="*/ 1758 w 80"/>
                  <a:gd name="T47" fmla="*/ 413 h 71"/>
                  <a:gd name="T48" fmla="*/ 2034 w 80"/>
                  <a:gd name="T49" fmla="*/ 543 h 71"/>
                  <a:gd name="T50" fmla="*/ 2161 w 80"/>
                  <a:gd name="T51" fmla="*/ 1114 h 71"/>
                  <a:gd name="T52" fmla="*/ 2856 w 80"/>
                  <a:gd name="T53" fmla="*/ 1177 h 71"/>
                  <a:gd name="T54" fmla="*/ 3230 w 80"/>
                  <a:gd name="T55" fmla="*/ 1114 h 71"/>
                  <a:gd name="T56" fmla="*/ 3511 w 80"/>
                  <a:gd name="T57" fmla="*/ 1243 h 71"/>
                  <a:gd name="T58" fmla="*/ 3865 w 80"/>
                  <a:gd name="T59" fmla="*/ 1243 h 71"/>
                  <a:gd name="T60" fmla="*/ 4111 w 80"/>
                  <a:gd name="T61" fmla="*/ 1243 h 71"/>
                  <a:gd name="T62" fmla="*/ 4374 w 80"/>
                  <a:gd name="T63" fmla="*/ 1635 h 71"/>
                  <a:gd name="T64" fmla="*/ 4364 w 80"/>
                  <a:gd name="T65" fmla="*/ 1727 h 71"/>
                  <a:gd name="T66" fmla="*/ 4153 w 80"/>
                  <a:gd name="T67" fmla="*/ 1914 h 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0"/>
                  <a:gd name="T103" fmla="*/ 0 h 71"/>
                  <a:gd name="T104" fmla="*/ 80 w 80"/>
                  <a:gd name="T105" fmla="*/ 71 h 7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0" h="71">
                    <a:moveTo>
                      <a:pt x="76" y="51"/>
                    </a:moveTo>
                    <a:lnTo>
                      <a:pt x="69" y="57"/>
                    </a:lnTo>
                    <a:lnTo>
                      <a:pt x="59" y="61"/>
                    </a:lnTo>
                    <a:lnTo>
                      <a:pt x="54" y="61"/>
                    </a:lnTo>
                    <a:lnTo>
                      <a:pt x="48" y="61"/>
                    </a:lnTo>
                    <a:lnTo>
                      <a:pt x="42" y="71"/>
                    </a:lnTo>
                    <a:lnTo>
                      <a:pt x="39" y="71"/>
                    </a:lnTo>
                    <a:lnTo>
                      <a:pt x="32" y="66"/>
                    </a:lnTo>
                    <a:lnTo>
                      <a:pt x="27" y="51"/>
                    </a:lnTo>
                    <a:lnTo>
                      <a:pt x="24" y="44"/>
                    </a:lnTo>
                    <a:lnTo>
                      <a:pt x="15" y="41"/>
                    </a:lnTo>
                    <a:lnTo>
                      <a:pt x="10" y="34"/>
                    </a:lnTo>
                    <a:lnTo>
                      <a:pt x="7" y="29"/>
                    </a:lnTo>
                    <a:lnTo>
                      <a:pt x="5" y="20"/>
                    </a:lnTo>
                    <a:lnTo>
                      <a:pt x="2" y="17"/>
                    </a:lnTo>
                    <a:lnTo>
                      <a:pt x="0" y="14"/>
                    </a:lnTo>
                    <a:lnTo>
                      <a:pt x="0" y="10"/>
                    </a:lnTo>
                    <a:lnTo>
                      <a:pt x="3" y="5"/>
                    </a:lnTo>
                    <a:lnTo>
                      <a:pt x="7" y="4"/>
                    </a:lnTo>
                    <a:lnTo>
                      <a:pt x="10" y="2"/>
                    </a:lnTo>
                    <a:lnTo>
                      <a:pt x="14" y="0"/>
                    </a:lnTo>
                    <a:lnTo>
                      <a:pt x="24" y="4"/>
                    </a:lnTo>
                    <a:lnTo>
                      <a:pt x="28" y="7"/>
                    </a:lnTo>
                    <a:lnTo>
                      <a:pt x="32" y="10"/>
                    </a:lnTo>
                    <a:lnTo>
                      <a:pt x="37" y="15"/>
                    </a:lnTo>
                    <a:lnTo>
                      <a:pt x="39" y="30"/>
                    </a:lnTo>
                    <a:lnTo>
                      <a:pt x="52" y="32"/>
                    </a:lnTo>
                    <a:lnTo>
                      <a:pt x="59" y="30"/>
                    </a:lnTo>
                    <a:lnTo>
                      <a:pt x="64" y="34"/>
                    </a:lnTo>
                    <a:lnTo>
                      <a:pt x="69" y="34"/>
                    </a:lnTo>
                    <a:lnTo>
                      <a:pt x="74" y="34"/>
                    </a:lnTo>
                    <a:lnTo>
                      <a:pt x="80" y="44"/>
                    </a:lnTo>
                    <a:lnTo>
                      <a:pt x="78" y="46"/>
                    </a:lnTo>
                    <a:lnTo>
                      <a:pt x="76"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5" name="Freeform 21"/>
              <p:cNvSpPr>
                <a:spLocks/>
              </p:cNvSpPr>
              <p:nvPr/>
            </p:nvSpPr>
            <p:spPr bwMode="auto">
              <a:xfrm>
                <a:off x="1818" y="1940"/>
                <a:ext cx="85" cy="75"/>
              </a:xfrm>
              <a:custGeom>
                <a:avLst/>
                <a:gdLst>
                  <a:gd name="T0" fmla="*/ 4153 w 80"/>
                  <a:gd name="T1" fmla="*/ 1914 h 71"/>
                  <a:gd name="T2" fmla="*/ 3865 w 80"/>
                  <a:gd name="T3" fmla="*/ 2136 h 71"/>
                  <a:gd name="T4" fmla="*/ 3230 w 80"/>
                  <a:gd name="T5" fmla="*/ 2272 h 71"/>
                  <a:gd name="T6" fmla="*/ 3033 w 80"/>
                  <a:gd name="T7" fmla="*/ 2272 h 71"/>
                  <a:gd name="T8" fmla="*/ 2687 w 80"/>
                  <a:gd name="T9" fmla="*/ 2272 h 71"/>
                  <a:gd name="T10" fmla="*/ 2380 w 80"/>
                  <a:gd name="T11" fmla="*/ 2659 h 71"/>
                  <a:gd name="T12" fmla="*/ 2161 w 80"/>
                  <a:gd name="T13" fmla="*/ 2659 h 71"/>
                  <a:gd name="T14" fmla="*/ 1758 w 80"/>
                  <a:gd name="T15" fmla="*/ 2432 h 71"/>
                  <a:gd name="T16" fmla="*/ 1501 w 80"/>
                  <a:gd name="T17" fmla="*/ 1914 h 71"/>
                  <a:gd name="T18" fmla="*/ 1380 w 80"/>
                  <a:gd name="T19" fmla="*/ 1635 h 71"/>
                  <a:gd name="T20" fmla="*/ 800 w 80"/>
                  <a:gd name="T21" fmla="*/ 1537 h 71"/>
                  <a:gd name="T22" fmla="*/ 591 w 80"/>
                  <a:gd name="T23" fmla="*/ 1243 h 71"/>
                  <a:gd name="T24" fmla="*/ 7 w 80"/>
                  <a:gd name="T25" fmla="*/ 1106 h 71"/>
                  <a:gd name="T26" fmla="*/ 5 w 80"/>
                  <a:gd name="T27" fmla="*/ 714 h 71"/>
                  <a:gd name="T28" fmla="*/ 2 w 80"/>
                  <a:gd name="T29" fmla="*/ 606 h 71"/>
                  <a:gd name="T30" fmla="*/ 0 w 80"/>
                  <a:gd name="T31" fmla="*/ 514 h 71"/>
                  <a:gd name="T32" fmla="*/ 0 w 80"/>
                  <a:gd name="T33" fmla="*/ 413 h 71"/>
                  <a:gd name="T34" fmla="*/ 3 w 80"/>
                  <a:gd name="T35" fmla="*/ 5 h 71"/>
                  <a:gd name="T36" fmla="*/ 7 w 80"/>
                  <a:gd name="T37" fmla="*/ 4 h 71"/>
                  <a:gd name="T38" fmla="*/ 591 w 80"/>
                  <a:gd name="T39" fmla="*/ 2 h 71"/>
                  <a:gd name="T40" fmla="*/ 753 w 80"/>
                  <a:gd name="T41" fmla="*/ 0 h 71"/>
                  <a:gd name="T42" fmla="*/ 1380 w 80"/>
                  <a:gd name="T43" fmla="*/ 4 h 71"/>
                  <a:gd name="T44" fmla="*/ 1558 w 80"/>
                  <a:gd name="T45" fmla="*/ 7 h 71"/>
                  <a:gd name="T46" fmla="*/ 1758 w 80"/>
                  <a:gd name="T47" fmla="*/ 413 h 71"/>
                  <a:gd name="T48" fmla="*/ 2034 w 80"/>
                  <a:gd name="T49" fmla="*/ 543 h 71"/>
                  <a:gd name="T50" fmla="*/ 2161 w 80"/>
                  <a:gd name="T51" fmla="*/ 1114 h 71"/>
                  <a:gd name="T52" fmla="*/ 2856 w 80"/>
                  <a:gd name="T53" fmla="*/ 1177 h 71"/>
                  <a:gd name="T54" fmla="*/ 3230 w 80"/>
                  <a:gd name="T55" fmla="*/ 1114 h 71"/>
                  <a:gd name="T56" fmla="*/ 3511 w 80"/>
                  <a:gd name="T57" fmla="*/ 1243 h 71"/>
                  <a:gd name="T58" fmla="*/ 3865 w 80"/>
                  <a:gd name="T59" fmla="*/ 1243 h 71"/>
                  <a:gd name="T60" fmla="*/ 4111 w 80"/>
                  <a:gd name="T61" fmla="*/ 1243 h 71"/>
                  <a:gd name="T62" fmla="*/ 4374 w 80"/>
                  <a:gd name="T63" fmla="*/ 1635 h 71"/>
                  <a:gd name="T64" fmla="*/ 4364 w 80"/>
                  <a:gd name="T65" fmla="*/ 1727 h 71"/>
                  <a:gd name="T66" fmla="*/ 4153 w 80"/>
                  <a:gd name="T67" fmla="*/ 1914 h 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0"/>
                  <a:gd name="T103" fmla="*/ 0 h 71"/>
                  <a:gd name="T104" fmla="*/ 80 w 80"/>
                  <a:gd name="T105" fmla="*/ 71 h 7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0" h="71">
                    <a:moveTo>
                      <a:pt x="76" y="51"/>
                    </a:moveTo>
                    <a:lnTo>
                      <a:pt x="69" y="57"/>
                    </a:lnTo>
                    <a:lnTo>
                      <a:pt x="59" y="61"/>
                    </a:lnTo>
                    <a:lnTo>
                      <a:pt x="54" y="61"/>
                    </a:lnTo>
                    <a:lnTo>
                      <a:pt x="48" y="61"/>
                    </a:lnTo>
                    <a:lnTo>
                      <a:pt x="42" y="71"/>
                    </a:lnTo>
                    <a:lnTo>
                      <a:pt x="39" y="71"/>
                    </a:lnTo>
                    <a:lnTo>
                      <a:pt x="32" y="66"/>
                    </a:lnTo>
                    <a:lnTo>
                      <a:pt x="27" y="51"/>
                    </a:lnTo>
                    <a:lnTo>
                      <a:pt x="24" y="44"/>
                    </a:lnTo>
                    <a:lnTo>
                      <a:pt x="15" y="41"/>
                    </a:lnTo>
                    <a:lnTo>
                      <a:pt x="10" y="34"/>
                    </a:lnTo>
                    <a:lnTo>
                      <a:pt x="7" y="29"/>
                    </a:lnTo>
                    <a:lnTo>
                      <a:pt x="5" y="20"/>
                    </a:lnTo>
                    <a:lnTo>
                      <a:pt x="2" y="17"/>
                    </a:lnTo>
                    <a:lnTo>
                      <a:pt x="0" y="14"/>
                    </a:lnTo>
                    <a:lnTo>
                      <a:pt x="0" y="10"/>
                    </a:lnTo>
                    <a:lnTo>
                      <a:pt x="3" y="5"/>
                    </a:lnTo>
                    <a:lnTo>
                      <a:pt x="7" y="4"/>
                    </a:lnTo>
                    <a:lnTo>
                      <a:pt x="10" y="2"/>
                    </a:lnTo>
                    <a:lnTo>
                      <a:pt x="14" y="0"/>
                    </a:lnTo>
                    <a:lnTo>
                      <a:pt x="24" y="4"/>
                    </a:lnTo>
                    <a:lnTo>
                      <a:pt x="28" y="7"/>
                    </a:lnTo>
                    <a:lnTo>
                      <a:pt x="32" y="10"/>
                    </a:lnTo>
                    <a:lnTo>
                      <a:pt x="37" y="15"/>
                    </a:lnTo>
                    <a:lnTo>
                      <a:pt x="39" y="30"/>
                    </a:lnTo>
                    <a:lnTo>
                      <a:pt x="52" y="32"/>
                    </a:lnTo>
                    <a:lnTo>
                      <a:pt x="59" y="30"/>
                    </a:lnTo>
                    <a:lnTo>
                      <a:pt x="64" y="34"/>
                    </a:lnTo>
                    <a:lnTo>
                      <a:pt x="69" y="34"/>
                    </a:lnTo>
                    <a:lnTo>
                      <a:pt x="74" y="34"/>
                    </a:lnTo>
                    <a:lnTo>
                      <a:pt x="80" y="44"/>
                    </a:lnTo>
                    <a:lnTo>
                      <a:pt x="78" y="46"/>
                    </a:lnTo>
                    <a:lnTo>
                      <a:pt x="76" y="51"/>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pic>
            <p:nvPicPr>
              <p:cNvPr id="226" name="Picture 2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36" y="2426"/>
                <a:ext cx="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7"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36" y="2426"/>
                <a:ext cx="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8" name="Freeform 24"/>
              <p:cNvSpPr>
                <a:spLocks/>
              </p:cNvSpPr>
              <p:nvPr/>
            </p:nvSpPr>
            <p:spPr bwMode="auto">
              <a:xfrm>
                <a:off x="2541" y="2432"/>
                <a:ext cx="38" cy="48"/>
              </a:xfrm>
              <a:custGeom>
                <a:avLst/>
                <a:gdLst>
                  <a:gd name="T0" fmla="*/ 4 w 35"/>
                  <a:gd name="T1" fmla="*/ 744 h 46"/>
                  <a:gd name="T2" fmla="*/ 3 w 35"/>
                  <a:gd name="T3" fmla="*/ 713 h 46"/>
                  <a:gd name="T4" fmla="*/ 3 w 35"/>
                  <a:gd name="T5" fmla="*/ 638 h 46"/>
                  <a:gd name="T6" fmla="*/ 1 w 35"/>
                  <a:gd name="T7" fmla="*/ 638 h 46"/>
                  <a:gd name="T8" fmla="*/ 0 w 35"/>
                  <a:gd name="T9" fmla="*/ 638 h 46"/>
                  <a:gd name="T10" fmla="*/ 0 w 35"/>
                  <a:gd name="T11" fmla="*/ 517 h 46"/>
                  <a:gd name="T12" fmla="*/ 3 w 35"/>
                  <a:gd name="T13" fmla="*/ 417 h 46"/>
                  <a:gd name="T14" fmla="*/ 2366 w 35"/>
                  <a:gd name="T15" fmla="*/ 297 h 46"/>
                  <a:gd name="T16" fmla="*/ 4961 w 35"/>
                  <a:gd name="T17" fmla="*/ 9 h 46"/>
                  <a:gd name="T18" fmla="*/ 6043 w 35"/>
                  <a:gd name="T19" fmla="*/ 4 h 46"/>
                  <a:gd name="T20" fmla="*/ 6893 w 35"/>
                  <a:gd name="T21" fmla="*/ 2 h 46"/>
                  <a:gd name="T22" fmla="*/ 7330 w 35"/>
                  <a:gd name="T23" fmla="*/ 0 h 46"/>
                  <a:gd name="T24" fmla="*/ 7734 w 35"/>
                  <a:gd name="T25" fmla="*/ 0 h 46"/>
                  <a:gd name="T26" fmla="*/ 7958 w 35"/>
                  <a:gd name="T27" fmla="*/ 2 h 46"/>
                  <a:gd name="T28" fmla="*/ 7958 w 35"/>
                  <a:gd name="T29" fmla="*/ 241 h 46"/>
                  <a:gd name="T30" fmla="*/ 7734 w 35"/>
                  <a:gd name="T31" fmla="*/ 297 h 46"/>
                  <a:gd name="T32" fmla="*/ 6893 w 35"/>
                  <a:gd name="T33" fmla="*/ 337 h 46"/>
                  <a:gd name="T34" fmla="*/ 5386 w 35"/>
                  <a:gd name="T35" fmla="*/ 400 h 46"/>
                  <a:gd name="T36" fmla="*/ 4569 w 35"/>
                  <a:gd name="T37" fmla="*/ 454 h 46"/>
                  <a:gd name="T38" fmla="*/ 2569 w 35"/>
                  <a:gd name="T39" fmla="*/ 638 h 46"/>
                  <a:gd name="T40" fmla="*/ 1849 w 35"/>
                  <a:gd name="T41" fmla="*/ 744 h 46"/>
                  <a:gd name="T42" fmla="*/ 4 w 35"/>
                  <a:gd name="T43" fmla="*/ 744 h 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
                  <a:gd name="T67" fmla="*/ 0 h 46"/>
                  <a:gd name="T68" fmla="*/ 35 w 35"/>
                  <a:gd name="T69" fmla="*/ 46 h 4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 h="46">
                    <a:moveTo>
                      <a:pt x="4" y="46"/>
                    </a:moveTo>
                    <a:lnTo>
                      <a:pt x="3" y="44"/>
                    </a:lnTo>
                    <a:lnTo>
                      <a:pt x="3" y="39"/>
                    </a:lnTo>
                    <a:lnTo>
                      <a:pt x="1" y="39"/>
                    </a:lnTo>
                    <a:lnTo>
                      <a:pt x="0" y="39"/>
                    </a:lnTo>
                    <a:lnTo>
                      <a:pt x="0" y="32"/>
                    </a:lnTo>
                    <a:lnTo>
                      <a:pt x="3" y="27"/>
                    </a:lnTo>
                    <a:lnTo>
                      <a:pt x="11" y="19"/>
                    </a:lnTo>
                    <a:lnTo>
                      <a:pt x="22" y="9"/>
                    </a:lnTo>
                    <a:lnTo>
                      <a:pt x="27" y="4"/>
                    </a:lnTo>
                    <a:lnTo>
                      <a:pt x="30" y="2"/>
                    </a:lnTo>
                    <a:lnTo>
                      <a:pt x="32" y="0"/>
                    </a:lnTo>
                    <a:lnTo>
                      <a:pt x="34" y="0"/>
                    </a:lnTo>
                    <a:lnTo>
                      <a:pt x="35" y="2"/>
                    </a:lnTo>
                    <a:lnTo>
                      <a:pt x="35" y="14"/>
                    </a:lnTo>
                    <a:lnTo>
                      <a:pt x="34" y="19"/>
                    </a:lnTo>
                    <a:lnTo>
                      <a:pt x="30" y="22"/>
                    </a:lnTo>
                    <a:lnTo>
                      <a:pt x="24" y="26"/>
                    </a:lnTo>
                    <a:lnTo>
                      <a:pt x="20" y="29"/>
                    </a:lnTo>
                    <a:lnTo>
                      <a:pt x="12" y="39"/>
                    </a:lnTo>
                    <a:lnTo>
                      <a:pt x="8" y="46"/>
                    </a:lnTo>
                    <a:lnTo>
                      <a:pt x="4"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9" name="Freeform 25"/>
              <p:cNvSpPr>
                <a:spLocks/>
              </p:cNvSpPr>
              <p:nvPr/>
            </p:nvSpPr>
            <p:spPr bwMode="auto">
              <a:xfrm>
                <a:off x="2541" y="2432"/>
                <a:ext cx="38" cy="48"/>
              </a:xfrm>
              <a:custGeom>
                <a:avLst/>
                <a:gdLst>
                  <a:gd name="T0" fmla="*/ 4 w 35"/>
                  <a:gd name="T1" fmla="*/ 744 h 46"/>
                  <a:gd name="T2" fmla="*/ 3 w 35"/>
                  <a:gd name="T3" fmla="*/ 713 h 46"/>
                  <a:gd name="T4" fmla="*/ 3 w 35"/>
                  <a:gd name="T5" fmla="*/ 638 h 46"/>
                  <a:gd name="T6" fmla="*/ 1 w 35"/>
                  <a:gd name="T7" fmla="*/ 638 h 46"/>
                  <a:gd name="T8" fmla="*/ 0 w 35"/>
                  <a:gd name="T9" fmla="*/ 638 h 46"/>
                  <a:gd name="T10" fmla="*/ 0 w 35"/>
                  <a:gd name="T11" fmla="*/ 517 h 46"/>
                  <a:gd name="T12" fmla="*/ 3 w 35"/>
                  <a:gd name="T13" fmla="*/ 417 h 46"/>
                  <a:gd name="T14" fmla="*/ 2366 w 35"/>
                  <a:gd name="T15" fmla="*/ 297 h 46"/>
                  <a:gd name="T16" fmla="*/ 4961 w 35"/>
                  <a:gd name="T17" fmla="*/ 9 h 46"/>
                  <a:gd name="T18" fmla="*/ 6043 w 35"/>
                  <a:gd name="T19" fmla="*/ 4 h 46"/>
                  <a:gd name="T20" fmla="*/ 6893 w 35"/>
                  <a:gd name="T21" fmla="*/ 2 h 46"/>
                  <a:gd name="T22" fmla="*/ 7330 w 35"/>
                  <a:gd name="T23" fmla="*/ 0 h 46"/>
                  <a:gd name="T24" fmla="*/ 7734 w 35"/>
                  <a:gd name="T25" fmla="*/ 0 h 46"/>
                  <a:gd name="T26" fmla="*/ 7958 w 35"/>
                  <a:gd name="T27" fmla="*/ 2 h 46"/>
                  <a:gd name="T28" fmla="*/ 7958 w 35"/>
                  <a:gd name="T29" fmla="*/ 241 h 46"/>
                  <a:gd name="T30" fmla="*/ 7734 w 35"/>
                  <a:gd name="T31" fmla="*/ 297 h 46"/>
                  <a:gd name="T32" fmla="*/ 6893 w 35"/>
                  <a:gd name="T33" fmla="*/ 337 h 46"/>
                  <a:gd name="T34" fmla="*/ 5386 w 35"/>
                  <a:gd name="T35" fmla="*/ 400 h 46"/>
                  <a:gd name="T36" fmla="*/ 4569 w 35"/>
                  <a:gd name="T37" fmla="*/ 454 h 46"/>
                  <a:gd name="T38" fmla="*/ 2569 w 35"/>
                  <a:gd name="T39" fmla="*/ 638 h 46"/>
                  <a:gd name="T40" fmla="*/ 1849 w 35"/>
                  <a:gd name="T41" fmla="*/ 744 h 46"/>
                  <a:gd name="T42" fmla="*/ 4 w 35"/>
                  <a:gd name="T43" fmla="*/ 744 h 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
                  <a:gd name="T67" fmla="*/ 0 h 46"/>
                  <a:gd name="T68" fmla="*/ 35 w 35"/>
                  <a:gd name="T69" fmla="*/ 46 h 4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 h="46">
                    <a:moveTo>
                      <a:pt x="4" y="46"/>
                    </a:moveTo>
                    <a:lnTo>
                      <a:pt x="3" y="44"/>
                    </a:lnTo>
                    <a:lnTo>
                      <a:pt x="3" y="39"/>
                    </a:lnTo>
                    <a:lnTo>
                      <a:pt x="1" y="39"/>
                    </a:lnTo>
                    <a:lnTo>
                      <a:pt x="0" y="39"/>
                    </a:lnTo>
                    <a:lnTo>
                      <a:pt x="0" y="32"/>
                    </a:lnTo>
                    <a:lnTo>
                      <a:pt x="3" y="27"/>
                    </a:lnTo>
                    <a:lnTo>
                      <a:pt x="11" y="19"/>
                    </a:lnTo>
                    <a:lnTo>
                      <a:pt x="22" y="9"/>
                    </a:lnTo>
                    <a:lnTo>
                      <a:pt x="27" y="4"/>
                    </a:lnTo>
                    <a:lnTo>
                      <a:pt x="30" y="2"/>
                    </a:lnTo>
                    <a:lnTo>
                      <a:pt x="32" y="0"/>
                    </a:lnTo>
                    <a:lnTo>
                      <a:pt x="34" y="0"/>
                    </a:lnTo>
                    <a:lnTo>
                      <a:pt x="35" y="2"/>
                    </a:lnTo>
                    <a:lnTo>
                      <a:pt x="35" y="14"/>
                    </a:lnTo>
                    <a:lnTo>
                      <a:pt x="34" y="19"/>
                    </a:lnTo>
                    <a:lnTo>
                      <a:pt x="30" y="22"/>
                    </a:lnTo>
                    <a:lnTo>
                      <a:pt x="24" y="26"/>
                    </a:lnTo>
                    <a:lnTo>
                      <a:pt x="20" y="29"/>
                    </a:lnTo>
                    <a:lnTo>
                      <a:pt x="12" y="39"/>
                    </a:lnTo>
                    <a:lnTo>
                      <a:pt x="8" y="46"/>
                    </a:lnTo>
                    <a:lnTo>
                      <a:pt x="4" y="46"/>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pic>
            <p:nvPicPr>
              <p:cNvPr id="230" name="Picture 2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480" y="2653"/>
                <a:ext cx="103"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1" name="Picture 2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480" y="2653"/>
                <a:ext cx="103"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2" name="Freeform 28"/>
              <p:cNvSpPr>
                <a:spLocks/>
              </p:cNvSpPr>
              <p:nvPr/>
            </p:nvSpPr>
            <p:spPr bwMode="auto">
              <a:xfrm>
                <a:off x="2486" y="2658"/>
                <a:ext cx="82" cy="220"/>
              </a:xfrm>
              <a:custGeom>
                <a:avLst/>
                <a:gdLst>
                  <a:gd name="T0" fmla="*/ 782 w 77"/>
                  <a:gd name="T1" fmla="*/ 894 h 209"/>
                  <a:gd name="T2" fmla="*/ 1006 w 77"/>
                  <a:gd name="T3" fmla="*/ 1043 h 209"/>
                  <a:gd name="T4" fmla="*/ 1294 w 77"/>
                  <a:gd name="T5" fmla="*/ 1156 h 209"/>
                  <a:gd name="T6" fmla="*/ 1215 w 77"/>
                  <a:gd name="T7" fmla="*/ 1573 h 209"/>
                  <a:gd name="T8" fmla="*/ 1294 w 77"/>
                  <a:gd name="T9" fmla="*/ 1929 h 209"/>
                  <a:gd name="T10" fmla="*/ 1467 w 77"/>
                  <a:gd name="T11" fmla="*/ 2000 h 209"/>
                  <a:gd name="T12" fmla="*/ 1743 w 77"/>
                  <a:gd name="T13" fmla="*/ 2105 h 209"/>
                  <a:gd name="T14" fmla="*/ 1663 w 77"/>
                  <a:gd name="T15" fmla="*/ 2373 h 209"/>
                  <a:gd name="T16" fmla="*/ 1771 w 77"/>
                  <a:gd name="T17" fmla="*/ 2677 h 209"/>
                  <a:gd name="T18" fmla="*/ 1886 w 77"/>
                  <a:gd name="T19" fmla="*/ 2949 h 209"/>
                  <a:gd name="T20" fmla="*/ 1856 w 77"/>
                  <a:gd name="T21" fmla="*/ 3066 h 209"/>
                  <a:gd name="T22" fmla="*/ 1562 w 77"/>
                  <a:gd name="T23" fmla="*/ 3174 h 209"/>
                  <a:gd name="T24" fmla="*/ 1743 w 77"/>
                  <a:gd name="T25" fmla="*/ 3459 h 209"/>
                  <a:gd name="T26" fmla="*/ 2750 w 77"/>
                  <a:gd name="T27" fmla="*/ 3759 h 209"/>
                  <a:gd name="T28" fmla="*/ 3538 w 77"/>
                  <a:gd name="T29" fmla="*/ 4102 h 209"/>
                  <a:gd name="T30" fmla="*/ 3538 w 77"/>
                  <a:gd name="T31" fmla="*/ 4247 h 209"/>
                  <a:gd name="T32" fmla="*/ 3538 w 77"/>
                  <a:gd name="T33" fmla="*/ 4615 h 209"/>
                  <a:gd name="T34" fmla="*/ 3836 w 77"/>
                  <a:gd name="T35" fmla="*/ 5036 h 209"/>
                  <a:gd name="T36" fmla="*/ 4205 w 77"/>
                  <a:gd name="T37" fmla="*/ 5301 h 209"/>
                  <a:gd name="T38" fmla="*/ 4350 w 77"/>
                  <a:gd name="T39" fmla="*/ 5558 h 209"/>
                  <a:gd name="T40" fmla="*/ 4907 w 77"/>
                  <a:gd name="T41" fmla="*/ 5964 h 209"/>
                  <a:gd name="T42" fmla="*/ 4552 w 77"/>
                  <a:gd name="T43" fmla="*/ 6183 h 209"/>
                  <a:gd name="T44" fmla="*/ 4013 w 77"/>
                  <a:gd name="T45" fmla="*/ 5964 h 209"/>
                  <a:gd name="T46" fmla="*/ 3768 w 77"/>
                  <a:gd name="T47" fmla="*/ 5964 h 209"/>
                  <a:gd name="T48" fmla="*/ 3538 w 77"/>
                  <a:gd name="T49" fmla="*/ 5964 h 209"/>
                  <a:gd name="T50" fmla="*/ 3538 w 77"/>
                  <a:gd name="T51" fmla="*/ 5739 h 209"/>
                  <a:gd name="T52" fmla="*/ 3538 w 77"/>
                  <a:gd name="T53" fmla="*/ 5655 h 209"/>
                  <a:gd name="T54" fmla="*/ 3364 w 77"/>
                  <a:gd name="T55" fmla="*/ 5474 h 209"/>
                  <a:gd name="T56" fmla="*/ 3119 w 77"/>
                  <a:gd name="T57" fmla="*/ 4706 h 209"/>
                  <a:gd name="T58" fmla="*/ 2708 w 77"/>
                  <a:gd name="T59" fmla="*/ 4471 h 209"/>
                  <a:gd name="T60" fmla="*/ 1977 w 77"/>
                  <a:gd name="T61" fmla="*/ 4412 h 209"/>
                  <a:gd name="T62" fmla="*/ 1467 w 77"/>
                  <a:gd name="T63" fmla="*/ 4165 h 209"/>
                  <a:gd name="T64" fmla="*/ 1071 w 77"/>
                  <a:gd name="T65" fmla="*/ 3981 h 209"/>
                  <a:gd name="T66" fmla="*/ 782 w 77"/>
                  <a:gd name="T67" fmla="*/ 3620 h 209"/>
                  <a:gd name="T68" fmla="*/ 647 w 77"/>
                  <a:gd name="T69" fmla="*/ 3459 h 209"/>
                  <a:gd name="T70" fmla="*/ 7 w 77"/>
                  <a:gd name="T71" fmla="*/ 3174 h 209"/>
                  <a:gd name="T72" fmla="*/ 608 w 77"/>
                  <a:gd name="T73" fmla="*/ 2864 h 209"/>
                  <a:gd name="T74" fmla="*/ 608 w 77"/>
                  <a:gd name="T75" fmla="*/ 2662 h 209"/>
                  <a:gd name="T76" fmla="*/ 4 w 77"/>
                  <a:gd name="T77" fmla="*/ 2373 h 209"/>
                  <a:gd name="T78" fmla="*/ 0 w 77"/>
                  <a:gd name="T79" fmla="*/ 2031 h 209"/>
                  <a:gd name="T80" fmla="*/ 1 w 77"/>
                  <a:gd name="T81" fmla="*/ 1656 h 209"/>
                  <a:gd name="T82" fmla="*/ 4 w 77"/>
                  <a:gd name="T83" fmla="*/ 1156 h 209"/>
                  <a:gd name="T84" fmla="*/ 3 w 77"/>
                  <a:gd name="T85" fmla="*/ 991 h 209"/>
                  <a:gd name="T86" fmla="*/ 1 w 77"/>
                  <a:gd name="T87" fmla="*/ 1027 h 209"/>
                  <a:gd name="T88" fmla="*/ 0 w 77"/>
                  <a:gd name="T89" fmla="*/ 941 h 209"/>
                  <a:gd name="T90" fmla="*/ 1 w 77"/>
                  <a:gd name="T91" fmla="*/ 681 h 209"/>
                  <a:gd name="T92" fmla="*/ 4 w 77"/>
                  <a:gd name="T93" fmla="*/ 388 h 209"/>
                  <a:gd name="T94" fmla="*/ 6 w 77"/>
                  <a:gd name="T95" fmla="*/ 6 h 209"/>
                  <a:gd name="T96" fmla="*/ 7 w 77"/>
                  <a:gd name="T97" fmla="*/ 0 h 209"/>
                  <a:gd name="T98" fmla="*/ 647 w 77"/>
                  <a:gd name="T99" fmla="*/ 3 h 209"/>
                  <a:gd name="T100" fmla="*/ 689 w 77"/>
                  <a:gd name="T101" fmla="*/ 9 h 209"/>
                  <a:gd name="T102" fmla="*/ 734 w 77"/>
                  <a:gd name="T103" fmla="*/ 452 h 209"/>
                  <a:gd name="T104" fmla="*/ 734 w 77"/>
                  <a:gd name="T105" fmla="*/ 681 h 209"/>
                  <a:gd name="T106" fmla="*/ 782 w 77"/>
                  <a:gd name="T107" fmla="*/ 894 h 20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7"/>
                  <a:gd name="T163" fmla="*/ 0 h 209"/>
                  <a:gd name="T164" fmla="*/ 77 w 77"/>
                  <a:gd name="T165" fmla="*/ 209 h 20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7" h="209">
                    <a:moveTo>
                      <a:pt x="13" y="30"/>
                    </a:moveTo>
                    <a:lnTo>
                      <a:pt x="17" y="36"/>
                    </a:lnTo>
                    <a:lnTo>
                      <a:pt x="21" y="40"/>
                    </a:lnTo>
                    <a:lnTo>
                      <a:pt x="20" y="54"/>
                    </a:lnTo>
                    <a:lnTo>
                      <a:pt x="21" y="65"/>
                    </a:lnTo>
                    <a:lnTo>
                      <a:pt x="23" y="67"/>
                    </a:lnTo>
                    <a:lnTo>
                      <a:pt x="27" y="71"/>
                    </a:lnTo>
                    <a:lnTo>
                      <a:pt x="26" y="81"/>
                    </a:lnTo>
                    <a:lnTo>
                      <a:pt x="28" y="91"/>
                    </a:lnTo>
                    <a:lnTo>
                      <a:pt x="30" y="100"/>
                    </a:lnTo>
                    <a:lnTo>
                      <a:pt x="29" y="104"/>
                    </a:lnTo>
                    <a:lnTo>
                      <a:pt x="24" y="107"/>
                    </a:lnTo>
                    <a:lnTo>
                      <a:pt x="27" y="118"/>
                    </a:lnTo>
                    <a:lnTo>
                      <a:pt x="43" y="126"/>
                    </a:lnTo>
                    <a:lnTo>
                      <a:pt x="55" y="139"/>
                    </a:lnTo>
                    <a:lnTo>
                      <a:pt x="55" y="145"/>
                    </a:lnTo>
                    <a:lnTo>
                      <a:pt x="55" y="155"/>
                    </a:lnTo>
                    <a:lnTo>
                      <a:pt x="61" y="171"/>
                    </a:lnTo>
                    <a:lnTo>
                      <a:pt x="66" y="180"/>
                    </a:lnTo>
                    <a:lnTo>
                      <a:pt x="69" y="188"/>
                    </a:lnTo>
                    <a:lnTo>
                      <a:pt x="77" y="201"/>
                    </a:lnTo>
                    <a:lnTo>
                      <a:pt x="71" y="209"/>
                    </a:lnTo>
                    <a:lnTo>
                      <a:pt x="63" y="201"/>
                    </a:lnTo>
                    <a:lnTo>
                      <a:pt x="59" y="201"/>
                    </a:lnTo>
                    <a:lnTo>
                      <a:pt x="55" y="201"/>
                    </a:lnTo>
                    <a:lnTo>
                      <a:pt x="55" y="194"/>
                    </a:lnTo>
                    <a:lnTo>
                      <a:pt x="55" y="190"/>
                    </a:lnTo>
                    <a:lnTo>
                      <a:pt x="53" y="186"/>
                    </a:lnTo>
                    <a:lnTo>
                      <a:pt x="49" y="161"/>
                    </a:lnTo>
                    <a:lnTo>
                      <a:pt x="42" y="153"/>
                    </a:lnTo>
                    <a:lnTo>
                      <a:pt x="31" y="149"/>
                    </a:lnTo>
                    <a:lnTo>
                      <a:pt x="23" y="140"/>
                    </a:lnTo>
                    <a:lnTo>
                      <a:pt x="18" y="135"/>
                    </a:lnTo>
                    <a:lnTo>
                      <a:pt x="13" y="123"/>
                    </a:lnTo>
                    <a:lnTo>
                      <a:pt x="10" y="118"/>
                    </a:lnTo>
                    <a:lnTo>
                      <a:pt x="7" y="107"/>
                    </a:lnTo>
                    <a:lnTo>
                      <a:pt x="9" y="97"/>
                    </a:lnTo>
                    <a:lnTo>
                      <a:pt x="9" y="90"/>
                    </a:lnTo>
                    <a:lnTo>
                      <a:pt x="4" y="81"/>
                    </a:lnTo>
                    <a:lnTo>
                      <a:pt x="0" y="68"/>
                    </a:lnTo>
                    <a:lnTo>
                      <a:pt x="1" y="57"/>
                    </a:lnTo>
                    <a:lnTo>
                      <a:pt x="4" y="40"/>
                    </a:lnTo>
                    <a:lnTo>
                      <a:pt x="3" y="34"/>
                    </a:lnTo>
                    <a:lnTo>
                      <a:pt x="1" y="35"/>
                    </a:lnTo>
                    <a:lnTo>
                      <a:pt x="0" y="32"/>
                    </a:lnTo>
                    <a:lnTo>
                      <a:pt x="1" y="24"/>
                    </a:lnTo>
                    <a:lnTo>
                      <a:pt x="4" y="13"/>
                    </a:lnTo>
                    <a:lnTo>
                      <a:pt x="6" y="6"/>
                    </a:lnTo>
                    <a:lnTo>
                      <a:pt x="7" y="0"/>
                    </a:lnTo>
                    <a:lnTo>
                      <a:pt x="10" y="3"/>
                    </a:lnTo>
                    <a:lnTo>
                      <a:pt x="11" y="9"/>
                    </a:lnTo>
                    <a:lnTo>
                      <a:pt x="12" y="16"/>
                    </a:lnTo>
                    <a:lnTo>
                      <a:pt x="12" y="24"/>
                    </a:lnTo>
                    <a:lnTo>
                      <a:pt x="1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3" name="Freeform 29"/>
              <p:cNvSpPr>
                <a:spLocks/>
              </p:cNvSpPr>
              <p:nvPr/>
            </p:nvSpPr>
            <p:spPr bwMode="auto">
              <a:xfrm>
                <a:off x="2486" y="2658"/>
                <a:ext cx="82" cy="220"/>
              </a:xfrm>
              <a:custGeom>
                <a:avLst/>
                <a:gdLst>
                  <a:gd name="T0" fmla="*/ 782 w 77"/>
                  <a:gd name="T1" fmla="*/ 894 h 209"/>
                  <a:gd name="T2" fmla="*/ 1006 w 77"/>
                  <a:gd name="T3" fmla="*/ 1043 h 209"/>
                  <a:gd name="T4" fmla="*/ 1294 w 77"/>
                  <a:gd name="T5" fmla="*/ 1156 h 209"/>
                  <a:gd name="T6" fmla="*/ 1215 w 77"/>
                  <a:gd name="T7" fmla="*/ 1573 h 209"/>
                  <a:gd name="T8" fmla="*/ 1294 w 77"/>
                  <a:gd name="T9" fmla="*/ 1929 h 209"/>
                  <a:gd name="T10" fmla="*/ 1467 w 77"/>
                  <a:gd name="T11" fmla="*/ 2000 h 209"/>
                  <a:gd name="T12" fmla="*/ 1743 w 77"/>
                  <a:gd name="T13" fmla="*/ 2105 h 209"/>
                  <a:gd name="T14" fmla="*/ 1663 w 77"/>
                  <a:gd name="T15" fmla="*/ 2373 h 209"/>
                  <a:gd name="T16" fmla="*/ 1771 w 77"/>
                  <a:gd name="T17" fmla="*/ 2677 h 209"/>
                  <a:gd name="T18" fmla="*/ 1886 w 77"/>
                  <a:gd name="T19" fmla="*/ 2949 h 209"/>
                  <a:gd name="T20" fmla="*/ 1856 w 77"/>
                  <a:gd name="T21" fmla="*/ 3066 h 209"/>
                  <a:gd name="T22" fmla="*/ 1562 w 77"/>
                  <a:gd name="T23" fmla="*/ 3174 h 209"/>
                  <a:gd name="T24" fmla="*/ 1743 w 77"/>
                  <a:gd name="T25" fmla="*/ 3459 h 209"/>
                  <a:gd name="T26" fmla="*/ 2750 w 77"/>
                  <a:gd name="T27" fmla="*/ 3759 h 209"/>
                  <a:gd name="T28" fmla="*/ 3538 w 77"/>
                  <a:gd name="T29" fmla="*/ 4102 h 209"/>
                  <a:gd name="T30" fmla="*/ 3538 w 77"/>
                  <a:gd name="T31" fmla="*/ 4247 h 209"/>
                  <a:gd name="T32" fmla="*/ 3538 w 77"/>
                  <a:gd name="T33" fmla="*/ 4615 h 209"/>
                  <a:gd name="T34" fmla="*/ 3836 w 77"/>
                  <a:gd name="T35" fmla="*/ 5036 h 209"/>
                  <a:gd name="T36" fmla="*/ 4205 w 77"/>
                  <a:gd name="T37" fmla="*/ 5301 h 209"/>
                  <a:gd name="T38" fmla="*/ 4350 w 77"/>
                  <a:gd name="T39" fmla="*/ 5558 h 209"/>
                  <a:gd name="T40" fmla="*/ 4907 w 77"/>
                  <a:gd name="T41" fmla="*/ 5964 h 209"/>
                  <a:gd name="T42" fmla="*/ 4552 w 77"/>
                  <a:gd name="T43" fmla="*/ 6183 h 209"/>
                  <a:gd name="T44" fmla="*/ 4013 w 77"/>
                  <a:gd name="T45" fmla="*/ 5964 h 209"/>
                  <a:gd name="T46" fmla="*/ 3768 w 77"/>
                  <a:gd name="T47" fmla="*/ 5964 h 209"/>
                  <a:gd name="T48" fmla="*/ 3538 w 77"/>
                  <a:gd name="T49" fmla="*/ 5964 h 209"/>
                  <a:gd name="T50" fmla="*/ 3538 w 77"/>
                  <a:gd name="T51" fmla="*/ 5739 h 209"/>
                  <a:gd name="T52" fmla="*/ 3538 w 77"/>
                  <a:gd name="T53" fmla="*/ 5655 h 209"/>
                  <a:gd name="T54" fmla="*/ 3364 w 77"/>
                  <a:gd name="T55" fmla="*/ 5474 h 209"/>
                  <a:gd name="T56" fmla="*/ 3119 w 77"/>
                  <a:gd name="T57" fmla="*/ 4706 h 209"/>
                  <a:gd name="T58" fmla="*/ 2708 w 77"/>
                  <a:gd name="T59" fmla="*/ 4471 h 209"/>
                  <a:gd name="T60" fmla="*/ 1977 w 77"/>
                  <a:gd name="T61" fmla="*/ 4412 h 209"/>
                  <a:gd name="T62" fmla="*/ 1467 w 77"/>
                  <a:gd name="T63" fmla="*/ 4165 h 209"/>
                  <a:gd name="T64" fmla="*/ 1071 w 77"/>
                  <a:gd name="T65" fmla="*/ 3981 h 209"/>
                  <a:gd name="T66" fmla="*/ 782 w 77"/>
                  <a:gd name="T67" fmla="*/ 3620 h 209"/>
                  <a:gd name="T68" fmla="*/ 647 w 77"/>
                  <a:gd name="T69" fmla="*/ 3459 h 209"/>
                  <a:gd name="T70" fmla="*/ 7 w 77"/>
                  <a:gd name="T71" fmla="*/ 3174 h 209"/>
                  <a:gd name="T72" fmla="*/ 608 w 77"/>
                  <a:gd name="T73" fmla="*/ 2864 h 209"/>
                  <a:gd name="T74" fmla="*/ 608 w 77"/>
                  <a:gd name="T75" fmla="*/ 2662 h 209"/>
                  <a:gd name="T76" fmla="*/ 4 w 77"/>
                  <a:gd name="T77" fmla="*/ 2373 h 209"/>
                  <a:gd name="T78" fmla="*/ 0 w 77"/>
                  <a:gd name="T79" fmla="*/ 2031 h 209"/>
                  <a:gd name="T80" fmla="*/ 1 w 77"/>
                  <a:gd name="T81" fmla="*/ 1656 h 209"/>
                  <a:gd name="T82" fmla="*/ 4 w 77"/>
                  <a:gd name="T83" fmla="*/ 1156 h 209"/>
                  <a:gd name="T84" fmla="*/ 3 w 77"/>
                  <a:gd name="T85" fmla="*/ 991 h 209"/>
                  <a:gd name="T86" fmla="*/ 1 w 77"/>
                  <a:gd name="T87" fmla="*/ 1027 h 209"/>
                  <a:gd name="T88" fmla="*/ 0 w 77"/>
                  <a:gd name="T89" fmla="*/ 941 h 209"/>
                  <a:gd name="T90" fmla="*/ 1 w 77"/>
                  <a:gd name="T91" fmla="*/ 681 h 209"/>
                  <a:gd name="T92" fmla="*/ 4 w 77"/>
                  <a:gd name="T93" fmla="*/ 388 h 209"/>
                  <a:gd name="T94" fmla="*/ 6 w 77"/>
                  <a:gd name="T95" fmla="*/ 6 h 209"/>
                  <a:gd name="T96" fmla="*/ 7 w 77"/>
                  <a:gd name="T97" fmla="*/ 0 h 209"/>
                  <a:gd name="T98" fmla="*/ 647 w 77"/>
                  <a:gd name="T99" fmla="*/ 3 h 209"/>
                  <a:gd name="T100" fmla="*/ 689 w 77"/>
                  <a:gd name="T101" fmla="*/ 9 h 209"/>
                  <a:gd name="T102" fmla="*/ 734 w 77"/>
                  <a:gd name="T103" fmla="*/ 452 h 209"/>
                  <a:gd name="T104" fmla="*/ 734 w 77"/>
                  <a:gd name="T105" fmla="*/ 681 h 209"/>
                  <a:gd name="T106" fmla="*/ 782 w 77"/>
                  <a:gd name="T107" fmla="*/ 894 h 20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7"/>
                  <a:gd name="T163" fmla="*/ 0 h 209"/>
                  <a:gd name="T164" fmla="*/ 77 w 77"/>
                  <a:gd name="T165" fmla="*/ 209 h 20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7" h="209">
                    <a:moveTo>
                      <a:pt x="13" y="30"/>
                    </a:moveTo>
                    <a:lnTo>
                      <a:pt x="17" y="36"/>
                    </a:lnTo>
                    <a:lnTo>
                      <a:pt x="21" y="40"/>
                    </a:lnTo>
                    <a:lnTo>
                      <a:pt x="20" y="54"/>
                    </a:lnTo>
                    <a:lnTo>
                      <a:pt x="21" y="65"/>
                    </a:lnTo>
                    <a:lnTo>
                      <a:pt x="23" y="67"/>
                    </a:lnTo>
                    <a:lnTo>
                      <a:pt x="27" y="71"/>
                    </a:lnTo>
                    <a:lnTo>
                      <a:pt x="26" y="81"/>
                    </a:lnTo>
                    <a:lnTo>
                      <a:pt x="28" y="91"/>
                    </a:lnTo>
                    <a:lnTo>
                      <a:pt x="30" y="100"/>
                    </a:lnTo>
                    <a:lnTo>
                      <a:pt x="29" y="104"/>
                    </a:lnTo>
                    <a:lnTo>
                      <a:pt x="24" y="107"/>
                    </a:lnTo>
                    <a:lnTo>
                      <a:pt x="27" y="118"/>
                    </a:lnTo>
                    <a:lnTo>
                      <a:pt x="43" y="126"/>
                    </a:lnTo>
                    <a:lnTo>
                      <a:pt x="55" y="139"/>
                    </a:lnTo>
                    <a:lnTo>
                      <a:pt x="55" y="145"/>
                    </a:lnTo>
                    <a:lnTo>
                      <a:pt x="55" y="155"/>
                    </a:lnTo>
                    <a:lnTo>
                      <a:pt x="61" y="171"/>
                    </a:lnTo>
                    <a:lnTo>
                      <a:pt x="66" y="180"/>
                    </a:lnTo>
                    <a:lnTo>
                      <a:pt x="69" y="188"/>
                    </a:lnTo>
                    <a:lnTo>
                      <a:pt x="77" y="201"/>
                    </a:lnTo>
                    <a:lnTo>
                      <a:pt x="71" y="209"/>
                    </a:lnTo>
                    <a:lnTo>
                      <a:pt x="63" y="201"/>
                    </a:lnTo>
                    <a:lnTo>
                      <a:pt x="59" y="201"/>
                    </a:lnTo>
                    <a:lnTo>
                      <a:pt x="55" y="201"/>
                    </a:lnTo>
                    <a:lnTo>
                      <a:pt x="55" y="194"/>
                    </a:lnTo>
                    <a:lnTo>
                      <a:pt x="55" y="190"/>
                    </a:lnTo>
                    <a:lnTo>
                      <a:pt x="53" y="186"/>
                    </a:lnTo>
                    <a:lnTo>
                      <a:pt x="49" y="161"/>
                    </a:lnTo>
                    <a:lnTo>
                      <a:pt x="42" y="153"/>
                    </a:lnTo>
                    <a:lnTo>
                      <a:pt x="31" y="149"/>
                    </a:lnTo>
                    <a:lnTo>
                      <a:pt x="23" y="140"/>
                    </a:lnTo>
                    <a:lnTo>
                      <a:pt x="18" y="135"/>
                    </a:lnTo>
                    <a:lnTo>
                      <a:pt x="13" y="123"/>
                    </a:lnTo>
                    <a:lnTo>
                      <a:pt x="10" y="118"/>
                    </a:lnTo>
                    <a:lnTo>
                      <a:pt x="7" y="107"/>
                    </a:lnTo>
                    <a:lnTo>
                      <a:pt x="9" y="97"/>
                    </a:lnTo>
                    <a:lnTo>
                      <a:pt x="9" y="90"/>
                    </a:lnTo>
                    <a:lnTo>
                      <a:pt x="4" y="81"/>
                    </a:lnTo>
                    <a:lnTo>
                      <a:pt x="0" y="68"/>
                    </a:lnTo>
                    <a:lnTo>
                      <a:pt x="1" y="57"/>
                    </a:lnTo>
                    <a:lnTo>
                      <a:pt x="4" y="40"/>
                    </a:lnTo>
                    <a:lnTo>
                      <a:pt x="3" y="34"/>
                    </a:lnTo>
                    <a:lnTo>
                      <a:pt x="1" y="35"/>
                    </a:lnTo>
                    <a:lnTo>
                      <a:pt x="0" y="32"/>
                    </a:lnTo>
                    <a:lnTo>
                      <a:pt x="1" y="24"/>
                    </a:lnTo>
                    <a:lnTo>
                      <a:pt x="4" y="13"/>
                    </a:lnTo>
                    <a:lnTo>
                      <a:pt x="6" y="6"/>
                    </a:lnTo>
                    <a:lnTo>
                      <a:pt x="7" y="0"/>
                    </a:lnTo>
                    <a:lnTo>
                      <a:pt x="10" y="3"/>
                    </a:lnTo>
                    <a:lnTo>
                      <a:pt x="11" y="9"/>
                    </a:lnTo>
                    <a:lnTo>
                      <a:pt x="12" y="16"/>
                    </a:lnTo>
                    <a:lnTo>
                      <a:pt x="12" y="24"/>
                    </a:lnTo>
                    <a:lnTo>
                      <a:pt x="13" y="3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pic>
            <p:nvPicPr>
              <p:cNvPr id="234" name="Picture 3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389" y="3188"/>
                <a:ext cx="96"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 name="Picture 3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389" y="3188"/>
                <a:ext cx="96"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6" name="Freeform 32"/>
              <p:cNvSpPr>
                <a:spLocks/>
              </p:cNvSpPr>
              <p:nvPr/>
            </p:nvSpPr>
            <p:spPr bwMode="auto">
              <a:xfrm>
                <a:off x="2396" y="3193"/>
                <a:ext cx="77" cy="54"/>
              </a:xfrm>
              <a:custGeom>
                <a:avLst/>
                <a:gdLst>
                  <a:gd name="T0" fmla="*/ 7 w 72"/>
                  <a:gd name="T1" fmla="*/ 2017 h 51"/>
                  <a:gd name="T2" fmla="*/ 3 w 72"/>
                  <a:gd name="T3" fmla="*/ 2204 h 51"/>
                  <a:gd name="T4" fmla="*/ 0 w 72"/>
                  <a:gd name="T5" fmla="*/ 2204 h 51"/>
                  <a:gd name="T6" fmla="*/ 3 w 72"/>
                  <a:gd name="T7" fmla="*/ 1905 h 51"/>
                  <a:gd name="T8" fmla="*/ 6 w 72"/>
                  <a:gd name="T9" fmla="*/ 1797 h 51"/>
                  <a:gd name="T10" fmla="*/ 761 w 72"/>
                  <a:gd name="T11" fmla="*/ 1605 h 51"/>
                  <a:gd name="T12" fmla="*/ 761 w 72"/>
                  <a:gd name="T13" fmla="*/ 1514 h 51"/>
                  <a:gd name="T14" fmla="*/ 871 w 72"/>
                  <a:gd name="T15" fmla="*/ 1351 h 51"/>
                  <a:gd name="T16" fmla="*/ 1393 w 72"/>
                  <a:gd name="T17" fmla="*/ 1076 h 51"/>
                  <a:gd name="T18" fmla="*/ 1822 w 72"/>
                  <a:gd name="T19" fmla="*/ 682 h 51"/>
                  <a:gd name="T20" fmla="*/ 2084 w 72"/>
                  <a:gd name="T21" fmla="*/ 608 h 51"/>
                  <a:gd name="T22" fmla="*/ 2237 w 72"/>
                  <a:gd name="T23" fmla="*/ 512 h 51"/>
                  <a:gd name="T24" fmla="*/ 2237 w 72"/>
                  <a:gd name="T25" fmla="*/ 484 h 51"/>
                  <a:gd name="T26" fmla="*/ 2558 w 72"/>
                  <a:gd name="T27" fmla="*/ 457 h 51"/>
                  <a:gd name="T28" fmla="*/ 3129 w 72"/>
                  <a:gd name="T29" fmla="*/ 484 h 51"/>
                  <a:gd name="T30" fmla="*/ 3441 w 72"/>
                  <a:gd name="T31" fmla="*/ 4 h 51"/>
                  <a:gd name="T32" fmla="*/ 3578 w 72"/>
                  <a:gd name="T33" fmla="*/ 4 h 51"/>
                  <a:gd name="T34" fmla="*/ 3680 w 72"/>
                  <a:gd name="T35" fmla="*/ 2 h 51"/>
                  <a:gd name="T36" fmla="*/ 4081 w 72"/>
                  <a:gd name="T37" fmla="*/ 0 h 51"/>
                  <a:gd name="T38" fmla="*/ 4814 w 72"/>
                  <a:gd name="T39" fmla="*/ 1 h 51"/>
                  <a:gd name="T40" fmla="*/ 5178 w 72"/>
                  <a:gd name="T41" fmla="*/ 1 h 51"/>
                  <a:gd name="T42" fmla="*/ 5888 w 72"/>
                  <a:gd name="T43" fmla="*/ 5 h 51"/>
                  <a:gd name="T44" fmla="*/ 6105 w 72"/>
                  <a:gd name="T45" fmla="*/ 8 h 51"/>
                  <a:gd name="T46" fmla="*/ 5725 w 72"/>
                  <a:gd name="T47" fmla="*/ 457 h 51"/>
                  <a:gd name="T48" fmla="*/ 5506 w 72"/>
                  <a:gd name="T49" fmla="*/ 512 h 51"/>
                  <a:gd name="T50" fmla="*/ 5353 w 72"/>
                  <a:gd name="T51" fmla="*/ 512 h 51"/>
                  <a:gd name="T52" fmla="*/ 4842 w 72"/>
                  <a:gd name="T53" fmla="*/ 457 h 51"/>
                  <a:gd name="T54" fmla="*/ 4528 w 72"/>
                  <a:gd name="T55" fmla="*/ 432 h 51"/>
                  <a:gd name="T56" fmla="*/ 4501 w 72"/>
                  <a:gd name="T57" fmla="*/ 457 h 51"/>
                  <a:gd name="T58" fmla="*/ 4376 w 72"/>
                  <a:gd name="T59" fmla="*/ 512 h 51"/>
                  <a:gd name="T60" fmla="*/ 4209 w 72"/>
                  <a:gd name="T61" fmla="*/ 574 h 51"/>
                  <a:gd name="T62" fmla="*/ 4081 w 72"/>
                  <a:gd name="T63" fmla="*/ 512 h 51"/>
                  <a:gd name="T64" fmla="*/ 3936 w 72"/>
                  <a:gd name="T65" fmla="*/ 512 h 51"/>
                  <a:gd name="T66" fmla="*/ 3680 w 72"/>
                  <a:gd name="T67" fmla="*/ 574 h 51"/>
                  <a:gd name="T68" fmla="*/ 3441 w 72"/>
                  <a:gd name="T69" fmla="*/ 608 h 51"/>
                  <a:gd name="T70" fmla="*/ 3218 w 72"/>
                  <a:gd name="T71" fmla="*/ 682 h 51"/>
                  <a:gd name="T72" fmla="*/ 3218 w 72"/>
                  <a:gd name="T73" fmla="*/ 764 h 51"/>
                  <a:gd name="T74" fmla="*/ 3218 w 72"/>
                  <a:gd name="T75" fmla="*/ 857 h 51"/>
                  <a:gd name="T76" fmla="*/ 3129 w 72"/>
                  <a:gd name="T77" fmla="*/ 907 h 51"/>
                  <a:gd name="T78" fmla="*/ 2926 w 72"/>
                  <a:gd name="T79" fmla="*/ 857 h 51"/>
                  <a:gd name="T80" fmla="*/ 2550 w 72"/>
                  <a:gd name="T81" fmla="*/ 1016 h 51"/>
                  <a:gd name="T82" fmla="*/ 2384 w 72"/>
                  <a:gd name="T83" fmla="*/ 1076 h 51"/>
                  <a:gd name="T84" fmla="*/ 2237 w 72"/>
                  <a:gd name="T85" fmla="*/ 1206 h 51"/>
                  <a:gd name="T86" fmla="*/ 2084 w 72"/>
                  <a:gd name="T87" fmla="*/ 1276 h 51"/>
                  <a:gd name="T88" fmla="*/ 1822 w 72"/>
                  <a:gd name="T89" fmla="*/ 1352 h 51"/>
                  <a:gd name="T90" fmla="*/ 1490 w 72"/>
                  <a:gd name="T91" fmla="*/ 1516 h 51"/>
                  <a:gd name="T92" fmla="*/ 1218 w 72"/>
                  <a:gd name="T93" fmla="*/ 1605 h 51"/>
                  <a:gd name="T94" fmla="*/ 1139 w 72"/>
                  <a:gd name="T95" fmla="*/ 1797 h 51"/>
                  <a:gd name="T96" fmla="*/ 871 w 72"/>
                  <a:gd name="T97" fmla="*/ 1797 h 51"/>
                  <a:gd name="T98" fmla="*/ 7 w 72"/>
                  <a:gd name="T99" fmla="*/ 2017 h 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2"/>
                  <a:gd name="T151" fmla="*/ 0 h 51"/>
                  <a:gd name="T152" fmla="*/ 72 w 72"/>
                  <a:gd name="T153" fmla="*/ 51 h 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2" h="51">
                    <a:moveTo>
                      <a:pt x="7" y="47"/>
                    </a:moveTo>
                    <a:lnTo>
                      <a:pt x="3" y="51"/>
                    </a:lnTo>
                    <a:lnTo>
                      <a:pt x="0" y="51"/>
                    </a:lnTo>
                    <a:lnTo>
                      <a:pt x="3" y="44"/>
                    </a:lnTo>
                    <a:lnTo>
                      <a:pt x="6" y="41"/>
                    </a:lnTo>
                    <a:lnTo>
                      <a:pt x="8" y="38"/>
                    </a:lnTo>
                    <a:lnTo>
                      <a:pt x="8" y="35"/>
                    </a:lnTo>
                    <a:lnTo>
                      <a:pt x="10" y="31"/>
                    </a:lnTo>
                    <a:lnTo>
                      <a:pt x="17" y="25"/>
                    </a:lnTo>
                    <a:lnTo>
                      <a:pt x="21" y="17"/>
                    </a:lnTo>
                    <a:lnTo>
                      <a:pt x="24" y="15"/>
                    </a:lnTo>
                    <a:lnTo>
                      <a:pt x="27" y="12"/>
                    </a:lnTo>
                    <a:lnTo>
                      <a:pt x="27" y="11"/>
                    </a:lnTo>
                    <a:lnTo>
                      <a:pt x="31" y="10"/>
                    </a:lnTo>
                    <a:lnTo>
                      <a:pt x="37" y="11"/>
                    </a:lnTo>
                    <a:lnTo>
                      <a:pt x="41" y="4"/>
                    </a:lnTo>
                    <a:lnTo>
                      <a:pt x="43" y="4"/>
                    </a:lnTo>
                    <a:lnTo>
                      <a:pt x="44" y="2"/>
                    </a:lnTo>
                    <a:lnTo>
                      <a:pt x="48" y="0"/>
                    </a:lnTo>
                    <a:lnTo>
                      <a:pt x="57" y="1"/>
                    </a:lnTo>
                    <a:lnTo>
                      <a:pt x="62" y="1"/>
                    </a:lnTo>
                    <a:lnTo>
                      <a:pt x="70" y="5"/>
                    </a:lnTo>
                    <a:lnTo>
                      <a:pt x="72" y="8"/>
                    </a:lnTo>
                    <a:lnTo>
                      <a:pt x="68" y="10"/>
                    </a:lnTo>
                    <a:lnTo>
                      <a:pt x="65" y="12"/>
                    </a:lnTo>
                    <a:lnTo>
                      <a:pt x="64" y="12"/>
                    </a:lnTo>
                    <a:lnTo>
                      <a:pt x="58" y="10"/>
                    </a:lnTo>
                    <a:lnTo>
                      <a:pt x="54" y="9"/>
                    </a:lnTo>
                    <a:lnTo>
                      <a:pt x="53" y="10"/>
                    </a:lnTo>
                    <a:lnTo>
                      <a:pt x="52" y="12"/>
                    </a:lnTo>
                    <a:lnTo>
                      <a:pt x="50" y="14"/>
                    </a:lnTo>
                    <a:lnTo>
                      <a:pt x="48" y="12"/>
                    </a:lnTo>
                    <a:lnTo>
                      <a:pt x="47" y="12"/>
                    </a:lnTo>
                    <a:lnTo>
                      <a:pt x="44" y="14"/>
                    </a:lnTo>
                    <a:lnTo>
                      <a:pt x="41" y="15"/>
                    </a:lnTo>
                    <a:lnTo>
                      <a:pt x="38" y="17"/>
                    </a:lnTo>
                    <a:lnTo>
                      <a:pt x="38" y="19"/>
                    </a:lnTo>
                    <a:lnTo>
                      <a:pt x="38" y="21"/>
                    </a:lnTo>
                    <a:lnTo>
                      <a:pt x="37" y="22"/>
                    </a:lnTo>
                    <a:lnTo>
                      <a:pt x="35" y="21"/>
                    </a:lnTo>
                    <a:lnTo>
                      <a:pt x="30" y="24"/>
                    </a:lnTo>
                    <a:lnTo>
                      <a:pt x="28" y="25"/>
                    </a:lnTo>
                    <a:lnTo>
                      <a:pt x="27" y="28"/>
                    </a:lnTo>
                    <a:lnTo>
                      <a:pt x="24" y="29"/>
                    </a:lnTo>
                    <a:lnTo>
                      <a:pt x="21" y="32"/>
                    </a:lnTo>
                    <a:lnTo>
                      <a:pt x="18" y="36"/>
                    </a:lnTo>
                    <a:lnTo>
                      <a:pt x="15" y="38"/>
                    </a:lnTo>
                    <a:lnTo>
                      <a:pt x="14" y="41"/>
                    </a:lnTo>
                    <a:lnTo>
                      <a:pt x="10" y="41"/>
                    </a:lnTo>
                    <a:lnTo>
                      <a:pt x="7"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7" name="Freeform 33"/>
              <p:cNvSpPr>
                <a:spLocks/>
              </p:cNvSpPr>
              <p:nvPr/>
            </p:nvSpPr>
            <p:spPr bwMode="auto">
              <a:xfrm>
                <a:off x="2396" y="3193"/>
                <a:ext cx="77" cy="54"/>
              </a:xfrm>
              <a:custGeom>
                <a:avLst/>
                <a:gdLst>
                  <a:gd name="T0" fmla="*/ 7 w 72"/>
                  <a:gd name="T1" fmla="*/ 2017 h 51"/>
                  <a:gd name="T2" fmla="*/ 3 w 72"/>
                  <a:gd name="T3" fmla="*/ 2204 h 51"/>
                  <a:gd name="T4" fmla="*/ 0 w 72"/>
                  <a:gd name="T5" fmla="*/ 2204 h 51"/>
                  <a:gd name="T6" fmla="*/ 3 w 72"/>
                  <a:gd name="T7" fmla="*/ 1905 h 51"/>
                  <a:gd name="T8" fmla="*/ 6 w 72"/>
                  <a:gd name="T9" fmla="*/ 1797 h 51"/>
                  <a:gd name="T10" fmla="*/ 761 w 72"/>
                  <a:gd name="T11" fmla="*/ 1605 h 51"/>
                  <a:gd name="T12" fmla="*/ 761 w 72"/>
                  <a:gd name="T13" fmla="*/ 1514 h 51"/>
                  <a:gd name="T14" fmla="*/ 871 w 72"/>
                  <a:gd name="T15" fmla="*/ 1351 h 51"/>
                  <a:gd name="T16" fmla="*/ 1393 w 72"/>
                  <a:gd name="T17" fmla="*/ 1076 h 51"/>
                  <a:gd name="T18" fmla="*/ 1822 w 72"/>
                  <a:gd name="T19" fmla="*/ 682 h 51"/>
                  <a:gd name="T20" fmla="*/ 2084 w 72"/>
                  <a:gd name="T21" fmla="*/ 608 h 51"/>
                  <a:gd name="T22" fmla="*/ 2237 w 72"/>
                  <a:gd name="T23" fmla="*/ 512 h 51"/>
                  <a:gd name="T24" fmla="*/ 2237 w 72"/>
                  <a:gd name="T25" fmla="*/ 484 h 51"/>
                  <a:gd name="T26" fmla="*/ 2558 w 72"/>
                  <a:gd name="T27" fmla="*/ 457 h 51"/>
                  <a:gd name="T28" fmla="*/ 3129 w 72"/>
                  <a:gd name="T29" fmla="*/ 484 h 51"/>
                  <a:gd name="T30" fmla="*/ 3441 w 72"/>
                  <a:gd name="T31" fmla="*/ 4 h 51"/>
                  <a:gd name="T32" fmla="*/ 3578 w 72"/>
                  <a:gd name="T33" fmla="*/ 4 h 51"/>
                  <a:gd name="T34" fmla="*/ 3680 w 72"/>
                  <a:gd name="T35" fmla="*/ 2 h 51"/>
                  <a:gd name="T36" fmla="*/ 4081 w 72"/>
                  <a:gd name="T37" fmla="*/ 0 h 51"/>
                  <a:gd name="T38" fmla="*/ 4814 w 72"/>
                  <a:gd name="T39" fmla="*/ 1 h 51"/>
                  <a:gd name="T40" fmla="*/ 5178 w 72"/>
                  <a:gd name="T41" fmla="*/ 1 h 51"/>
                  <a:gd name="T42" fmla="*/ 5888 w 72"/>
                  <a:gd name="T43" fmla="*/ 5 h 51"/>
                  <a:gd name="T44" fmla="*/ 6105 w 72"/>
                  <a:gd name="T45" fmla="*/ 8 h 51"/>
                  <a:gd name="T46" fmla="*/ 5725 w 72"/>
                  <a:gd name="T47" fmla="*/ 457 h 51"/>
                  <a:gd name="T48" fmla="*/ 5506 w 72"/>
                  <a:gd name="T49" fmla="*/ 512 h 51"/>
                  <a:gd name="T50" fmla="*/ 5353 w 72"/>
                  <a:gd name="T51" fmla="*/ 512 h 51"/>
                  <a:gd name="T52" fmla="*/ 4842 w 72"/>
                  <a:gd name="T53" fmla="*/ 457 h 51"/>
                  <a:gd name="T54" fmla="*/ 4528 w 72"/>
                  <a:gd name="T55" fmla="*/ 432 h 51"/>
                  <a:gd name="T56" fmla="*/ 4501 w 72"/>
                  <a:gd name="T57" fmla="*/ 457 h 51"/>
                  <a:gd name="T58" fmla="*/ 4376 w 72"/>
                  <a:gd name="T59" fmla="*/ 512 h 51"/>
                  <a:gd name="T60" fmla="*/ 4209 w 72"/>
                  <a:gd name="T61" fmla="*/ 574 h 51"/>
                  <a:gd name="T62" fmla="*/ 4081 w 72"/>
                  <a:gd name="T63" fmla="*/ 512 h 51"/>
                  <a:gd name="T64" fmla="*/ 3936 w 72"/>
                  <a:gd name="T65" fmla="*/ 512 h 51"/>
                  <a:gd name="T66" fmla="*/ 3680 w 72"/>
                  <a:gd name="T67" fmla="*/ 574 h 51"/>
                  <a:gd name="T68" fmla="*/ 3441 w 72"/>
                  <a:gd name="T69" fmla="*/ 608 h 51"/>
                  <a:gd name="T70" fmla="*/ 3218 w 72"/>
                  <a:gd name="T71" fmla="*/ 682 h 51"/>
                  <a:gd name="T72" fmla="*/ 3218 w 72"/>
                  <a:gd name="T73" fmla="*/ 764 h 51"/>
                  <a:gd name="T74" fmla="*/ 3218 w 72"/>
                  <a:gd name="T75" fmla="*/ 857 h 51"/>
                  <a:gd name="T76" fmla="*/ 3129 w 72"/>
                  <a:gd name="T77" fmla="*/ 907 h 51"/>
                  <a:gd name="T78" fmla="*/ 2926 w 72"/>
                  <a:gd name="T79" fmla="*/ 857 h 51"/>
                  <a:gd name="T80" fmla="*/ 2550 w 72"/>
                  <a:gd name="T81" fmla="*/ 1016 h 51"/>
                  <a:gd name="T82" fmla="*/ 2384 w 72"/>
                  <a:gd name="T83" fmla="*/ 1076 h 51"/>
                  <a:gd name="T84" fmla="*/ 2237 w 72"/>
                  <a:gd name="T85" fmla="*/ 1206 h 51"/>
                  <a:gd name="T86" fmla="*/ 2084 w 72"/>
                  <a:gd name="T87" fmla="*/ 1276 h 51"/>
                  <a:gd name="T88" fmla="*/ 1822 w 72"/>
                  <a:gd name="T89" fmla="*/ 1352 h 51"/>
                  <a:gd name="T90" fmla="*/ 1490 w 72"/>
                  <a:gd name="T91" fmla="*/ 1516 h 51"/>
                  <a:gd name="T92" fmla="*/ 1218 w 72"/>
                  <a:gd name="T93" fmla="*/ 1605 h 51"/>
                  <a:gd name="T94" fmla="*/ 1139 w 72"/>
                  <a:gd name="T95" fmla="*/ 1797 h 51"/>
                  <a:gd name="T96" fmla="*/ 871 w 72"/>
                  <a:gd name="T97" fmla="*/ 1797 h 51"/>
                  <a:gd name="T98" fmla="*/ 7 w 72"/>
                  <a:gd name="T99" fmla="*/ 2017 h 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2"/>
                  <a:gd name="T151" fmla="*/ 0 h 51"/>
                  <a:gd name="T152" fmla="*/ 72 w 72"/>
                  <a:gd name="T153" fmla="*/ 51 h 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2" h="51">
                    <a:moveTo>
                      <a:pt x="7" y="47"/>
                    </a:moveTo>
                    <a:lnTo>
                      <a:pt x="3" y="51"/>
                    </a:lnTo>
                    <a:lnTo>
                      <a:pt x="0" y="51"/>
                    </a:lnTo>
                    <a:lnTo>
                      <a:pt x="3" y="44"/>
                    </a:lnTo>
                    <a:lnTo>
                      <a:pt x="6" y="41"/>
                    </a:lnTo>
                    <a:lnTo>
                      <a:pt x="8" y="38"/>
                    </a:lnTo>
                    <a:lnTo>
                      <a:pt x="8" y="35"/>
                    </a:lnTo>
                    <a:lnTo>
                      <a:pt x="10" y="31"/>
                    </a:lnTo>
                    <a:lnTo>
                      <a:pt x="17" y="25"/>
                    </a:lnTo>
                    <a:lnTo>
                      <a:pt x="21" y="17"/>
                    </a:lnTo>
                    <a:lnTo>
                      <a:pt x="24" y="15"/>
                    </a:lnTo>
                    <a:lnTo>
                      <a:pt x="27" y="12"/>
                    </a:lnTo>
                    <a:lnTo>
                      <a:pt x="27" y="11"/>
                    </a:lnTo>
                    <a:lnTo>
                      <a:pt x="31" y="10"/>
                    </a:lnTo>
                    <a:lnTo>
                      <a:pt x="37" y="11"/>
                    </a:lnTo>
                    <a:lnTo>
                      <a:pt x="41" y="4"/>
                    </a:lnTo>
                    <a:lnTo>
                      <a:pt x="43" y="4"/>
                    </a:lnTo>
                    <a:lnTo>
                      <a:pt x="44" y="2"/>
                    </a:lnTo>
                    <a:lnTo>
                      <a:pt x="48" y="0"/>
                    </a:lnTo>
                    <a:lnTo>
                      <a:pt x="57" y="1"/>
                    </a:lnTo>
                    <a:lnTo>
                      <a:pt x="62" y="1"/>
                    </a:lnTo>
                    <a:lnTo>
                      <a:pt x="70" y="5"/>
                    </a:lnTo>
                    <a:lnTo>
                      <a:pt x="72" y="8"/>
                    </a:lnTo>
                    <a:lnTo>
                      <a:pt x="68" y="10"/>
                    </a:lnTo>
                    <a:lnTo>
                      <a:pt x="65" y="12"/>
                    </a:lnTo>
                    <a:lnTo>
                      <a:pt x="64" y="12"/>
                    </a:lnTo>
                    <a:lnTo>
                      <a:pt x="58" y="10"/>
                    </a:lnTo>
                    <a:lnTo>
                      <a:pt x="54" y="9"/>
                    </a:lnTo>
                    <a:lnTo>
                      <a:pt x="53" y="10"/>
                    </a:lnTo>
                    <a:lnTo>
                      <a:pt x="52" y="12"/>
                    </a:lnTo>
                    <a:lnTo>
                      <a:pt x="50" y="14"/>
                    </a:lnTo>
                    <a:lnTo>
                      <a:pt x="48" y="12"/>
                    </a:lnTo>
                    <a:lnTo>
                      <a:pt x="47" y="12"/>
                    </a:lnTo>
                    <a:lnTo>
                      <a:pt x="44" y="14"/>
                    </a:lnTo>
                    <a:lnTo>
                      <a:pt x="41" y="15"/>
                    </a:lnTo>
                    <a:lnTo>
                      <a:pt x="38" y="17"/>
                    </a:lnTo>
                    <a:lnTo>
                      <a:pt x="38" y="19"/>
                    </a:lnTo>
                    <a:lnTo>
                      <a:pt x="38" y="21"/>
                    </a:lnTo>
                    <a:lnTo>
                      <a:pt x="37" y="22"/>
                    </a:lnTo>
                    <a:lnTo>
                      <a:pt x="35" y="21"/>
                    </a:lnTo>
                    <a:lnTo>
                      <a:pt x="30" y="24"/>
                    </a:lnTo>
                    <a:lnTo>
                      <a:pt x="28" y="25"/>
                    </a:lnTo>
                    <a:lnTo>
                      <a:pt x="27" y="28"/>
                    </a:lnTo>
                    <a:lnTo>
                      <a:pt x="24" y="29"/>
                    </a:lnTo>
                    <a:lnTo>
                      <a:pt x="21" y="32"/>
                    </a:lnTo>
                    <a:lnTo>
                      <a:pt x="18" y="36"/>
                    </a:lnTo>
                    <a:lnTo>
                      <a:pt x="15" y="38"/>
                    </a:lnTo>
                    <a:lnTo>
                      <a:pt x="14" y="41"/>
                    </a:lnTo>
                    <a:lnTo>
                      <a:pt x="10" y="41"/>
                    </a:lnTo>
                    <a:lnTo>
                      <a:pt x="7" y="47"/>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38" name="Freeform 34"/>
              <p:cNvSpPr>
                <a:spLocks/>
              </p:cNvSpPr>
              <p:nvPr/>
            </p:nvSpPr>
            <p:spPr bwMode="auto">
              <a:xfrm>
                <a:off x="1832" y="1575"/>
                <a:ext cx="443" cy="645"/>
              </a:xfrm>
              <a:custGeom>
                <a:avLst/>
                <a:gdLst>
                  <a:gd name="T0" fmla="*/ 36134 w 414"/>
                  <a:gd name="T1" fmla="*/ 3850 h 614"/>
                  <a:gd name="T2" fmla="*/ 36134 w 414"/>
                  <a:gd name="T3" fmla="*/ 6647 h 614"/>
                  <a:gd name="T4" fmla="*/ 33769 w 414"/>
                  <a:gd name="T5" fmla="*/ 7578 h 614"/>
                  <a:gd name="T6" fmla="*/ 32489 w 414"/>
                  <a:gd name="T7" fmla="*/ 7627 h 614"/>
                  <a:gd name="T8" fmla="*/ 31901 w 414"/>
                  <a:gd name="T9" fmla="*/ 8238 h 614"/>
                  <a:gd name="T10" fmla="*/ 30243 w 414"/>
                  <a:gd name="T11" fmla="*/ 9021 h 614"/>
                  <a:gd name="T12" fmla="*/ 30237 w 414"/>
                  <a:gd name="T13" fmla="*/ 9275 h 614"/>
                  <a:gd name="T14" fmla="*/ 29492 w 414"/>
                  <a:gd name="T15" fmla="*/ 9647 h 614"/>
                  <a:gd name="T16" fmla="*/ 28912 w 414"/>
                  <a:gd name="T17" fmla="*/ 10235 h 614"/>
                  <a:gd name="T18" fmla="*/ 29146 w 414"/>
                  <a:gd name="T19" fmla="*/ 10603 h 614"/>
                  <a:gd name="T20" fmla="*/ 30243 w 414"/>
                  <a:gd name="T21" fmla="*/ 10768 h 614"/>
                  <a:gd name="T22" fmla="*/ 31241 w 414"/>
                  <a:gd name="T23" fmla="*/ 11700 h 614"/>
                  <a:gd name="T24" fmla="*/ 32038 w 414"/>
                  <a:gd name="T25" fmla="*/ 12061 h 614"/>
                  <a:gd name="T26" fmla="*/ 30937 w 414"/>
                  <a:gd name="T27" fmla="*/ 12266 h 614"/>
                  <a:gd name="T28" fmla="*/ 29146 w 414"/>
                  <a:gd name="T29" fmla="*/ 12401 h 614"/>
                  <a:gd name="T30" fmla="*/ 28284 w 414"/>
                  <a:gd name="T31" fmla="*/ 12996 h 614"/>
                  <a:gd name="T32" fmla="*/ 27243 w 414"/>
                  <a:gd name="T33" fmla="*/ 13248 h 614"/>
                  <a:gd name="T34" fmla="*/ 25757 w 414"/>
                  <a:gd name="T35" fmla="*/ 13768 h 614"/>
                  <a:gd name="T36" fmla="*/ 24437 w 414"/>
                  <a:gd name="T37" fmla="*/ 13917 h 614"/>
                  <a:gd name="T38" fmla="*/ 23461 w 414"/>
                  <a:gd name="T39" fmla="*/ 14166 h 614"/>
                  <a:gd name="T40" fmla="*/ 22389 w 414"/>
                  <a:gd name="T41" fmla="*/ 14187 h 614"/>
                  <a:gd name="T42" fmla="*/ 20245 w 414"/>
                  <a:gd name="T43" fmla="*/ 14197 h 614"/>
                  <a:gd name="T44" fmla="*/ 18902 w 414"/>
                  <a:gd name="T45" fmla="*/ 14341 h 614"/>
                  <a:gd name="T46" fmla="*/ 19073 w 414"/>
                  <a:gd name="T47" fmla="*/ 14551 h 614"/>
                  <a:gd name="T48" fmla="*/ 18902 w 414"/>
                  <a:gd name="T49" fmla="*/ 14814 h 614"/>
                  <a:gd name="T50" fmla="*/ 18273 w 414"/>
                  <a:gd name="T51" fmla="*/ 15065 h 614"/>
                  <a:gd name="T52" fmla="*/ 17824 w 414"/>
                  <a:gd name="T53" fmla="*/ 15205 h 614"/>
                  <a:gd name="T54" fmla="*/ 15363 w 414"/>
                  <a:gd name="T55" fmla="*/ 15286 h 614"/>
                  <a:gd name="T56" fmla="*/ 13230 w 414"/>
                  <a:gd name="T57" fmla="*/ 15508 h 614"/>
                  <a:gd name="T58" fmla="*/ 12264 w 414"/>
                  <a:gd name="T59" fmla="*/ 15629 h 614"/>
                  <a:gd name="T60" fmla="*/ 11459 w 414"/>
                  <a:gd name="T61" fmla="*/ 15562 h 614"/>
                  <a:gd name="T62" fmla="*/ 10843 w 414"/>
                  <a:gd name="T63" fmla="*/ 15437 h 614"/>
                  <a:gd name="T64" fmla="*/ 10371 w 414"/>
                  <a:gd name="T65" fmla="*/ 15467 h 614"/>
                  <a:gd name="T66" fmla="*/ 8814 w 414"/>
                  <a:gd name="T67" fmla="*/ 15826 h 614"/>
                  <a:gd name="T68" fmla="*/ 7809 w 414"/>
                  <a:gd name="T69" fmla="*/ 15724 h 614"/>
                  <a:gd name="T70" fmla="*/ 6667 w 414"/>
                  <a:gd name="T71" fmla="*/ 15867 h 614"/>
                  <a:gd name="T72" fmla="*/ 6309 w 414"/>
                  <a:gd name="T73" fmla="*/ 15437 h 614"/>
                  <a:gd name="T74" fmla="*/ 5086 w 414"/>
                  <a:gd name="T75" fmla="*/ 14463 h 614"/>
                  <a:gd name="T76" fmla="*/ 3431 w 414"/>
                  <a:gd name="T77" fmla="*/ 14308 h 614"/>
                  <a:gd name="T78" fmla="*/ 2286 w 414"/>
                  <a:gd name="T79" fmla="*/ 13691 h 614"/>
                  <a:gd name="T80" fmla="*/ 2800 w 414"/>
                  <a:gd name="T81" fmla="*/ 13317 h 614"/>
                  <a:gd name="T82" fmla="*/ 4812 w 414"/>
                  <a:gd name="T83" fmla="*/ 13299 h 614"/>
                  <a:gd name="T84" fmla="*/ 6573 w 414"/>
                  <a:gd name="T85" fmla="*/ 13299 h 614"/>
                  <a:gd name="T86" fmla="*/ 5365 w 414"/>
                  <a:gd name="T87" fmla="*/ 12670 h 614"/>
                  <a:gd name="T88" fmla="*/ 4812 w 414"/>
                  <a:gd name="T89" fmla="*/ 11886 h 614"/>
                  <a:gd name="T90" fmla="*/ 4812 w 414"/>
                  <a:gd name="T91" fmla="*/ 11238 h 614"/>
                  <a:gd name="T92" fmla="*/ 4203 w 414"/>
                  <a:gd name="T93" fmla="*/ 10542 h 614"/>
                  <a:gd name="T94" fmla="*/ 5741 w 414"/>
                  <a:gd name="T95" fmla="*/ 10250 h 614"/>
                  <a:gd name="T96" fmla="*/ 5488 w 414"/>
                  <a:gd name="T97" fmla="*/ 9760 h 614"/>
                  <a:gd name="T98" fmla="*/ 4186 w 414"/>
                  <a:gd name="T99" fmla="*/ 9743 h 614"/>
                  <a:gd name="T100" fmla="*/ 2136 w 414"/>
                  <a:gd name="T101" fmla="*/ 9291 h 614"/>
                  <a:gd name="T102" fmla="*/ 1009 w 414"/>
                  <a:gd name="T103" fmla="*/ 9091 h 614"/>
                  <a:gd name="T104" fmla="*/ 3 w 414"/>
                  <a:gd name="T105" fmla="*/ 8688 h 614"/>
                  <a:gd name="T106" fmla="*/ 1009 w 414"/>
                  <a:gd name="T107" fmla="*/ 8365 h 614"/>
                  <a:gd name="T108" fmla="*/ 6723 w 414"/>
                  <a:gd name="T109" fmla="*/ 6358 h 614"/>
                  <a:gd name="T110" fmla="*/ 8814 w 414"/>
                  <a:gd name="T111" fmla="*/ 2891 h 614"/>
                  <a:gd name="T112" fmla="*/ 6667 w 414"/>
                  <a:gd name="T113" fmla="*/ 2483 h 614"/>
                  <a:gd name="T114" fmla="*/ 5896 w 414"/>
                  <a:gd name="T115" fmla="*/ 2048 h 614"/>
                  <a:gd name="T116" fmla="*/ 5488 w 414"/>
                  <a:gd name="T117" fmla="*/ 1759 h 614"/>
                  <a:gd name="T118" fmla="*/ 8941 w 414"/>
                  <a:gd name="T119" fmla="*/ 0 h 614"/>
                  <a:gd name="T120" fmla="*/ 15363 w 414"/>
                  <a:gd name="T121" fmla="*/ 882 h 614"/>
                  <a:gd name="T122" fmla="*/ 23980 w 414"/>
                  <a:gd name="T123" fmla="*/ 2119 h 614"/>
                  <a:gd name="T124" fmla="*/ 32531 w 414"/>
                  <a:gd name="T125" fmla="*/ 3408 h 6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14"/>
                  <a:gd name="T190" fmla="*/ 0 h 614"/>
                  <a:gd name="T191" fmla="*/ 414 w 414"/>
                  <a:gd name="T192" fmla="*/ 614 h 6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14" h="614">
                    <a:moveTo>
                      <a:pt x="374" y="132"/>
                    </a:moveTo>
                    <a:lnTo>
                      <a:pt x="407" y="148"/>
                    </a:lnTo>
                    <a:lnTo>
                      <a:pt x="414" y="149"/>
                    </a:lnTo>
                    <a:lnTo>
                      <a:pt x="414" y="185"/>
                    </a:lnTo>
                    <a:lnTo>
                      <a:pt x="414" y="222"/>
                    </a:lnTo>
                    <a:lnTo>
                      <a:pt x="414" y="258"/>
                    </a:lnTo>
                    <a:lnTo>
                      <a:pt x="412" y="292"/>
                    </a:lnTo>
                    <a:lnTo>
                      <a:pt x="409" y="293"/>
                    </a:lnTo>
                    <a:lnTo>
                      <a:pt x="387" y="293"/>
                    </a:lnTo>
                    <a:lnTo>
                      <a:pt x="381" y="294"/>
                    </a:lnTo>
                    <a:lnTo>
                      <a:pt x="372" y="294"/>
                    </a:lnTo>
                    <a:lnTo>
                      <a:pt x="372" y="296"/>
                    </a:lnTo>
                    <a:lnTo>
                      <a:pt x="369" y="302"/>
                    </a:lnTo>
                    <a:lnTo>
                      <a:pt x="369" y="310"/>
                    </a:lnTo>
                    <a:lnTo>
                      <a:pt x="366" y="317"/>
                    </a:lnTo>
                    <a:lnTo>
                      <a:pt x="358" y="329"/>
                    </a:lnTo>
                    <a:lnTo>
                      <a:pt x="346" y="341"/>
                    </a:lnTo>
                    <a:lnTo>
                      <a:pt x="346" y="349"/>
                    </a:lnTo>
                    <a:lnTo>
                      <a:pt x="348" y="356"/>
                    </a:lnTo>
                    <a:lnTo>
                      <a:pt x="346" y="358"/>
                    </a:lnTo>
                    <a:lnTo>
                      <a:pt x="345" y="359"/>
                    </a:lnTo>
                    <a:lnTo>
                      <a:pt x="339" y="362"/>
                    </a:lnTo>
                    <a:lnTo>
                      <a:pt x="339" y="365"/>
                    </a:lnTo>
                    <a:lnTo>
                      <a:pt x="338" y="373"/>
                    </a:lnTo>
                    <a:lnTo>
                      <a:pt x="338" y="382"/>
                    </a:lnTo>
                    <a:lnTo>
                      <a:pt x="335" y="389"/>
                    </a:lnTo>
                    <a:lnTo>
                      <a:pt x="331" y="396"/>
                    </a:lnTo>
                    <a:lnTo>
                      <a:pt x="329" y="399"/>
                    </a:lnTo>
                    <a:lnTo>
                      <a:pt x="329" y="411"/>
                    </a:lnTo>
                    <a:lnTo>
                      <a:pt x="333" y="411"/>
                    </a:lnTo>
                    <a:lnTo>
                      <a:pt x="336" y="409"/>
                    </a:lnTo>
                    <a:lnTo>
                      <a:pt x="348" y="408"/>
                    </a:lnTo>
                    <a:lnTo>
                      <a:pt x="346" y="418"/>
                    </a:lnTo>
                    <a:lnTo>
                      <a:pt x="350" y="429"/>
                    </a:lnTo>
                    <a:lnTo>
                      <a:pt x="358" y="453"/>
                    </a:lnTo>
                    <a:lnTo>
                      <a:pt x="359" y="454"/>
                    </a:lnTo>
                    <a:lnTo>
                      <a:pt x="364" y="456"/>
                    </a:lnTo>
                    <a:lnTo>
                      <a:pt x="366" y="460"/>
                    </a:lnTo>
                    <a:lnTo>
                      <a:pt x="367" y="466"/>
                    </a:lnTo>
                    <a:lnTo>
                      <a:pt x="368" y="471"/>
                    </a:lnTo>
                    <a:lnTo>
                      <a:pt x="361" y="475"/>
                    </a:lnTo>
                    <a:lnTo>
                      <a:pt x="354" y="476"/>
                    </a:lnTo>
                    <a:lnTo>
                      <a:pt x="348" y="478"/>
                    </a:lnTo>
                    <a:lnTo>
                      <a:pt x="338" y="479"/>
                    </a:lnTo>
                    <a:lnTo>
                      <a:pt x="333" y="480"/>
                    </a:lnTo>
                    <a:lnTo>
                      <a:pt x="328" y="485"/>
                    </a:lnTo>
                    <a:lnTo>
                      <a:pt x="324" y="493"/>
                    </a:lnTo>
                    <a:lnTo>
                      <a:pt x="324" y="503"/>
                    </a:lnTo>
                    <a:lnTo>
                      <a:pt x="320" y="505"/>
                    </a:lnTo>
                    <a:lnTo>
                      <a:pt x="316" y="511"/>
                    </a:lnTo>
                    <a:lnTo>
                      <a:pt x="312" y="513"/>
                    </a:lnTo>
                    <a:lnTo>
                      <a:pt x="310" y="514"/>
                    </a:lnTo>
                    <a:lnTo>
                      <a:pt x="298" y="524"/>
                    </a:lnTo>
                    <a:lnTo>
                      <a:pt x="295" y="533"/>
                    </a:lnTo>
                    <a:lnTo>
                      <a:pt x="293" y="535"/>
                    </a:lnTo>
                    <a:lnTo>
                      <a:pt x="285" y="539"/>
                    </a:lnTo>
                    <a:lnTo>
                      <a:pt x="280" y="539"/>
                    </a:lnTo>
                    <a:lnTo>
                      <a:pt x="276" y="545"/>
                    </a:lnTo>
                    <a:lnTo>
                      <a:pt x="275" y="546"/>
                    </a:lnTo>
                    <a:lnTo>
                      <a:pt x="269" y="549"/>
                    </a:lnTo>
                    <a:lnTo>
                      <a:pt x="265" y="548"/>
                    </a:lnTo>
                    <a:lnTo>
                      <a:pt x="260" y="548"/>
                    </a:lnTo>
                    <a:lnTo>
                      <a:pt x="256" y="550"/>
                    </a:lnTo>
                    <a:lnTo>
                      <a:pt x="249" y="550"/>
                    </a:lnTo>
                    <a:lnTo>
                      <a:pt x="247" y="551"/>
                    </a:lnTo>
                    <a:lnTo>
                      <a:pt x="233" y="551"/>
                    </a:lnTo>
                    <a:lnTo>
                      <a:pt x="225" y="552"/>
                    </a:lnTo>
                    <a:lnTo>
                      <a:pt x="218" y="555"/>
                    </a:lnTo>
                    <a:lnTo>
                      <a:pt x="217" y="555"/>
                    </a:lnTo>
                    <a:lnTo>
                      <a:pt x="216" y="559"/>
                    </a:lnTo>
                    <a:lnTo>
                      <a:pt x="216" y="561"/>
                    </a:lnTo>
                    <a:lnTo>
                      <a:pt x="219" y="564"/>
                    </a:lnTo>
                    <a:lnTo>
                      <a:pt x="221" y="569"/>
                    </a:lnTo>
                    <a:lnTo>
                      <a:pt x="221" y="572"/>
                    </a:lnTo>
                    <a:lnTo>
                      <a:pt x="217" y="574"/>
                    </a:lnTo>
                    <a:lnTo>
                      <a:pt x="215" y="580"/>
                    </a:lnTo>
                    <a:lnTo>
                      <a:pt x="211" y="582"/>
                    </a:lnTo>
                    <a:lnTo>
                      <a:pt x="208" y="583"/>
                    </a:lnTo>
                    <a:lnTo>
                      <a:pt x="207" y="584"/>
                    </a:lnTo>
                    <a:lnTo>
                      <a:pt x="205" y="589"/>
                    </a:lnTo>
                    <a:lnTo>
                      <a:pt x="205" y="590"/>
                    </a:lnTo>
                    <a:lnTo>
                      <a:pt x="187" y="590"/>
                    </a:lnTo>
                    <a:lnTo>
                      <a:pt x="182" y="592"/>
                    </a:lnTo>
                    <a:lnTo>
                      <a:pt x="176" y="592"/>
                    </a:lnTo>
                    <a:lnTo>
                      <a:pt x="171" y="592"/>
                    </a:lnTo>
                    <a:lnTo>
                      <a:pt x="156" y="598"/>
                    </a:lnTo>
                    <a:lnTo>
                      <a:pt x="152" y="600"/>
                    </a:lnTo>
                    <a:lnTo>
                      <a:pt x="151" y="602"/>
                    </a:lnTo>
                    <a:lnTo>
                      <a:pt x="146" y="603"/>
                    </a:lnTo>
                    <a:lnTo>
                      <a:pt x="141" y="605"/>
                    </a:lnTo>
                    <a:lnTo>
                      <a:pt x="139" y="608"/>
                    </a:lnTo>
                    <a:lnTo>
                      <a:pt x="137" y="610"/>
                    </a:lnTo>
                    <a:lnTo>
                      <a:pt x="131" y="603"/>
                    </a:lnTo>
                    <a:lnTo>
                      <a:pt x="129" y="602"/>
                    </a:lnTo>
                    <a:lnTo>
                      <a:pt x="126" y="598"/>
                    </a:lnTo>
                    <a:lnTo>
                      <a:pt x="125" y="598"/>
                    </a:lnTo>
                    <a:lnTo>
                      <a:pt x="122" y="598"/>
                    </a:lnTo>
                    <a:lnTo>
                      <a:pt x="121" y="599"/>
                    </a:lnTo>
                    <a:lnTo>
                      <a:pt x="119" y="599"/>
                    </a:lnTo>
                    <a:lnTo>
                      <a:pt x="118" y="605"/>
                    </a:lnTo>
                    <a:lnTo>
                      <a:pt x="108" y="607"/>
                    </a:lnTo>
                    <a:lnTo>
                      <a:pt x="101" y="612"/>
                    </a:lnTo>
                    <a:lnTo>
                      <a:pt x="98" y="612"/>
                    </a:lnTo>
                    <a:lnTo>
                      <a:pt x="93" y="610"/>
                    </a:lnTo>
                    <a:lnTo>
                      <a:pt x="90" y="610"/>
                    </a:lnTo>
                    <a:lnTo>
                      <a:pt x="85" y="612"/>
                    </a:lnTo>
                    <a:lnTo>
                      <a:pt x="80" y="612"/>
                    </a:lnTo>
                    <a:lnTo>
                      <a:pt x="76" y="614"/>
                    </a:lnTo>
                    <a:lnTo>
                      <a:pt x="75" y="613"/>
                    </a:lnTo>
                    <a:lnTo>
                      <a:pt x="74" y="610"/>
                    </a:lnTo>
                    <a:lnTo>
                      <a:pt x="73" y="598"/>
                    </a:lnTo>
                    <a:lnTo>
                      <a:pt x="71" y="586"/>
                    </a:lnTo>
                    <a:lnTo>
                      <a:pt x="63" y="565"/>
                    </a:lnTo>
                    <a:lnTo>
                      <a:pt x="58" y="560"/>
                    </a:lnTo>
                    <a:lnTo>
                      <a:pt x="55" y="558"/>
                    </a:lnTo>
                    <a:lnTo>
                      <a:pt x="48" y="555"/>
                    </a:lnTo>
                    <a:lnTo>
                      <a:pt x="40" y="554"/>
                    </a:lnTo>
                    <a:lnTo>
                      <a:pt x="36" y="550"/>
                    </a:lnTo>
                    <a:lnTo>
                      <a:pt x="28" y="539"/>
                    </a:lnTo>
                    <a:lnTo>
                      <a:pt x="27" y="531"/>
                    </a:lnTo>
                    <a:lnTo>
                      <a:pt x="27" y="521"/>
                    </a:lnTo>
                    <a:lnTo>
                      <a:pt x="30" y="517"/>
                    </a:lnTo>
                    <a:lnTo>
                      <a:pt x="33" y="516"/>
                    </a:lnTo>
                    <a:lnTo>
                      <a:pt x="36" y="514"/>
                    </a:lnTo>
                    <a:lnTo>
                      <a:pt x="46" y="513"/>
                    </a:lnTo>
                    <a:lnTo>
                      <a:pt x="56" y="514"/>
                    </a:lnTo>
                    <a:lnTo>
                      <a:pt x="71" y="518"/>
                    </a:lnTo>
                    <a:lnTo>
                      <a:pt x="74" y="517"/>
                    </a:lnTo>
                    <a:lnTo>
                      <a:pt x="75" y="514"/>
                    </a:lnTo>
                    <a:lnTo>
                      <a:pt x="74" y="509"/>
                    </a:lnTo>
                    <a:lnTo>
                      <a:pt x="73" y="503"/>
                    </a:lnTo>
                    <a:lnTo>
                      <a:pt x="61" y="490"/>
                    </a:lnTo>
                    <a:lnTo>
                      <a:pt x="55" y="476"/>
                    </a:lnTo>
                    <a:lnTo>
                      <a:pt x="55" y="469"/>
                    </a:lnTo>
                    <a:lnTo>
                      <a:pt x="56" y="462"/>
                    </a:lnTo>
                    <a:lnTo>
                      <a:pt x="58" y="454"/>
                    </a:lnTo>
                    <a:lnTo>
                      <a:pt x="59" y="440"/>
                    </a:lnTo>
                    <a:lnTo>
                      <a:pt x="56" y="435"/>
                    </a:lnTo>
                    <a:lnTo>
                      <a:pt x="53" y="429"/>
                    </a:lnTo>
                    <a:lnTo>
                      <a:pt x="49" y="409"/>
                    </a:lnTo>
                    <a:lnTo>
                      <a:pt x="49" y="408"/>
                    </a:lnTo>
                    <a:lnTo>
                      <a:pt x="48" y="408"/>
                    </a:lnTo>
                    <a:lnTo>
                      <a:pt x="58" y="404"/>
                    </a:lnTo>
                    <a:lnTo>
                      <a:pt x="65" y="398"/>
                    </a:lnTo>
                    <a:lnTo>
                      <a:pt x="66" y="393"/>
                    </a:lnTo>
                    <a:lnTo>
                      <a:pt x="68" y="390"/>
                    </a:lnTo>
                    <a:lnTo>
                      <a:pt x="63" y="380"/>
                    </a:lnTo>
                    <a:lnTo>
                      <a:pt x="58" y="381"/>
                    </a:lnTo>
                    <a:lnTo>
                      <a:pt x="52" y="380"/>
                    </a:lnTo>
                    <a:lnTo>
                      <a:pt x="48" y="377"/>
                    </a:lnTo>
                    <a:lnTo>
                      <a:pt x="39" y="378"/>
                    </a:lnTo>
                    <a:lnTo>
                      <a:pt x="27" y="377"/>
                    </a:lnTo>
                    <a:lnTo>
                      <a:pt x="25" y="362"/>
                    </a:lnTo>
                    <a:lnTo>
                      <a:pt x="20" y="357"/>
                    </a:lnTo>
                    <a:lnTo>
                      <a:pt x="15" y="353"/>
                    </a:lnTo>
                    <a:lnTo>
                      <a:pt x="12" y="350"/>
                    </a:lnTo>
                    <a:lnTo>
                      <a:pt x="1" y="346"/>
                    </a:lnTo>
                    <a:lnTo>
                      <a:pt x="0" y="339"/>
                    </a:lnTo>
                    <a:lnTo>
                      <a:pt x="3" y="336"/>
                    </a:lnTo>
                    <a:lnTo>
                      <a:pt x="8" y="334"/>
                    </a:lnTo>
                    <a:lnTo>
                      <a:pt x="7" y="327"/>
                    </a:lnTo>
                    <a:lnTo>
                      <a:pt x="12" y="325"/>
                    </a:lnTo>
                    <a:lnTo>
                      <a:pt x="12" y="318"/>
                    </a:lnTo>
                    <a:lnTo>
                      <a:pt x="75" y="251"/>
                    </a:lnTo>
                    <a:lnTo>
                      <a:pt x="77" y="247"/>
                    </a:lnTo>
                    <a:lnTo>
                      <a:pt x="81" y="181"/>
                    </a:lnTo>
                    <a:lnTo>
                      <a:pt x="91" y="128"/>
                    </a:lnTo>
                    <a:lnTo>
                      <a:pt x="101" y="112"/>
                    </a:lnTo>
                    <a:lnTo>
                      <a:pt x="85" y="104"/>
                    </a:lnTo>
                    <a:lnTo>
                      <a:pt x="81" y="101"/>
                    </a:lnTo>
                    <a:lnTo>
                      <a:pt x="76" y="96"/>
                    </a:lnTo>
                    <a:lnTo>
                      <a:pt x="74" y="92"/>
                    </a:lnTo>
                    <a:lnTo>
                      <a:pt x="71" y="86"/>
                    </a:lnTo>
                    <a:lnTo>
                      <a:pt x="68" y="80"/>
                    </a:lnTo>
                    <a:lnTo>
                      <a:pt x="68" y="78"/>
                    </a:lnTo>
                    <a:lnTo>
                      <a:pt x="65" y="71"/>
                    </a:lnTo>
                    <a:lnTo>
                      <a:pt x="63" y="68"/>
                    </a:lnTo>
                    <a:lnTo>
                      <a:pt x="63" y="12"/>
                    </a:lnTo>
                    <a:lnTo>
                      <a:pt x="68" y="10"/>
                    </a:lnTo>
                    <a:lnTo>
                      <a:pt x="103" y="0"/>
                    </a:lnTo>
                    <a:lnTo>
                      <a:pt x="109" y="2"/>
                    </a:lnTo>
                    <a:lnTo>
                      <a:pt x="142" y="18"/>
                    </a:lnTo>
                    <a:lnTo>
                      <a:pt x="176" y="34"/>
                    </a:lnTo>
                    <a:lnTo>
                      <a:pt x="209" y="51"/>
                    </a:lnTo>
                    <a:lnTo>
                      <a:pt x="242" y="67"/>
                    </a:lnTo>
                    <a:lnTo>
                      <a:pt x="275" y="82"/>
                    </a:lnTo>
                    <a:lnTo>
                      <a:pt x="307" y="99"/>
                    </a:lnTo>
                    <a:lnTo>
                      <a:pt x="341" y="116"/>
                    </a:lnTo>
                    <a:lnTo>
                      <a:pt x="374" y="1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9" name="Freeform 35"/>
              <p:cNvSpPr>
                <a:spLocks/>
              </p:cNvSpPr>
              <p:nvPr/>
            </p:nvSpPr>
            <p:spPr bwMode="auto">
              <a:xfrm>
                <a:off x="1832" y="1575"/>
                <a:ext cx="443" cy="645"/>
              </a:xfrm>
              <a:custGeom>
                <a:avLst/>
                <a:gdLst>
                  <a:gd name="T0" fmla="*/ 36134 w 414"/>
                  <a:gd name="T1" fmla="*/ 3850 h 614"/>
                  <a:gd name="T2" fmla="*/ 36134 w 414"/>
                  <a:gd name="T3" fmla="*/ 6647 h 614"/>
                  <a:gd name="T4" fmla="*/ 33769 w 414"/>
                  <a:gd name="T5" fmla="*/ 7578 h 614"/>
                  <a:gd name="T6" fmla="*/ 32489 w 414"/>
                  <a:gd name="T7" fmla="*/ 7627 h 614"/>
                  <a:gd name="T8" fmla="*/ 31901 w 414"/>
                  <a:gd name="T9" fmla="*/ 8238 h 614"/>
                  <a:gd name="T10" fmla="*/ 30243 w 414"/>
                  <a:gd name="T11" fmla="*/ 9021 h 614"/>
                  <a:gd name="T12" fmla="*/ 30237 w 414"/>
                  <a:gd name="T13" fmla="*/ 9275 h 614"/>
                  <a:gd name="T14" fmla="*/ 29492 w 414"/>
                  <a:gd name="T15" fmla="*/ 9647 h 614"/>
                  <a:gd name="T16" fmla="*/ 28912 w 414"/>
                  <a:gd name="T17" fmla="*/ 10235 h 614"/>
                  <a:gd name="T18" fmla="*/ 29146 w 414"/>
                  <a:gd name="T19" fmla="*/ 10603 h 614"/>
                  <a:gd name="T20" fmla="*/ 30243 w 414"/>
                  <a:gd name="T21" fmla="*/ 10768 h 614"/>
                  <a:gd name="T22" fmla="*/ 31241 w 414"/>
                  <a:gd name="T23" fmla="*/ 11700 h 614"/>
                  <a:gd name="T24" fmla="*/ 32038 w 414"/>
                  <a:gd name="T25" fmla="*/ 12061 h 614"/>
                  <a:gd name="T26" fmla="*/ 30937 w 414"/>
                  <a:gd name="T27" fmla="*/ 12266 h 614"/>
                  <a:gd name="T28" fmla="*/ 29146 w 414"/>
                  <a:gd name="T29" fmla="*/ 12401 h 614"/>
                  <a:gd name="T30" fmla="*/ 28284 w 414"/>
                  <a:gd name="T31" fmla="*/ 12996 h 614"/>
                  <a:gd name="T32" fmla="*/ 27243 w 414"/>
                  <a:gd name="T33" fmla="*/ 13248 h 614"/>
                  <a:gd name="T34" fmla="*/ 25757 w 414"/>
                  <a:gd name="T35" fmla="*/ 13768 h 614"/>
                  <a:gd name="T36" fmla="*/ 24437 w 414"/>
                  <a:gd name="T37" fmla="*/ 13917 h 614"/>
                  <a:gd name="T38" fmla="*/ 23461 w 414"/>
                  <a:gd name="T39" fmla="*/ 14166 h 614"/>
                  <a:gd name="T40" fmla="*/ 22389 w 414"/>
                  <a:gd name="T41" fmla="*/ 14187 h 614"/>
                  <a:gd name="T42" fmla="*/ 20245 w 414"/>
                  <a:gd name="T43" fmla="*/ 14197 h 614"/>
                  <a:gd name="T44" fmla="*/ 18902 w 414"/>
                  <a:gd name="T45" fmla="*/ 14341 h 614"/>
                  <a:gd name="T46" fmla="*/ 19073 w 414"/>
                  <a:gd name="T47" fmla="*/ 14551 h 614"/>
                  <a:gd name="T48" fmla="*/ 18902 w 414"/>
                  <a:gd name="T49" fmla="*/ 14814 h 614"/>
                  <a:gd name="T50" fmla="*/ 18273 w 414"/>
                  <a:gd name="T51" fmla="*/ 15065 h 614"/>
                  <a:gd name="T52" fmla="*/ 17824 w 414"/>
                  <a:gd name="T53" fmla="*/ 15205 h 614"/>
                  <a:gd name="T54" fmla="*/ 15363 w 414"/>
                  <a:gd name="T55" fmla="*/ 15286 h 614"/>
                  <a:gd name="T56" fmla="*/ 13230 w 414"/>
                  <a:gd name="T57" fmla="*/ 15508 h 614"/>
                  <a:gd name="T58" fmla="*/ 12264 w 414"/>
                  <a:gd name="T59" fmla="*/ 15629 h 614"/>
                  <a:gd name="T60" fmla="*/ 11459 w 414"/>
                  <a:gd name="T61" fmla="*/ 15562 h 614"/>
                  <a:gd name="T62" fmla="*/ 10843 w 414"/>
                  <a:gd name="T63" fmla="*/ 15437 h 614"/>
                  <a:gd name="T64" fmla="*/ 10371 w 414"/>
                  <a:gd name="T65" fmla="*/ 15467 h 614"/>
                  <a:gd name="T66" fmla="*/ 8814 w 414"/>
                  <a:gd name="T67" fmla="*/ 15826 h 614"/>
                  <a:gd name="T68" fmla="*/ 7809 w 414"/>
                  <a:gd name="T69" fmla="*/ 15724 h 614"/>
                  <a:gd name="T70" fmla="*/ 6667 w 414"/>
                  <a:gd name="T71" fmla="*/ 15867 h 614"/>
                  <a:gd name="T72" fmla="*/ 6309 w 414"/>
                  <a:gd name="T73" fmla="*/ 15437 h 614"/>
                  <a:gd name="T74" fmla="*/ 5086 w 414"/>
                  <a:gd name="T75" fmla="*/ 14463 h 614"/>
                  <a:gd name="T76" fmla="*/ 3431 w 414"/>
                  <a:gd name="T77" fmla="*/ 14308 h 614"/>
                  <a:gd name="T78" fmla="*/ 2286 w 414"/>
                  <a:gd name="T79" fmla="*/ 13691 h 614"/>
                  <a:gd name="T80" fmla="*/ 2800 w 414"/>
                  <a:gd name="T81" fmla="*/ 13317 h 614"/>
                  <a:gd name="T82" fmla="*/ 4812 w 414"/>
                  <a:gd name="T83" fmla="*/ 13299 h 614"/>
                  <a:gd name="T84" fmla="*/ 6573 w 414"/>
                  <a:gd name="T85" fmla="*/ 13299 h 614"/>
                  <a:gd name="T86" fmla="*/ 5365 w 414"/>
                  <a:gd name="T87" fmla="*/ 12670 h 614"/>
                  <a:gd name="T88" fmla="*/ 4812 w 414"/>
                  <a:gd name="T89" fmla="*/ 11886 h 614"/>
                  <a:gd name="T90" fmla="*/ 4812 w 414"/>
                  <a:gd name="T91" fmla="*/ 11238 h 614"/>
                  <a:gd name="T92" fmla="*/ 4203 w 414"/>
                  <a:gd name="T93" fmla="*/ 10542 h 614"/>
                  <a:gd name="T94" fmla="*/ 5741 w 414"/>
                  <a:gd name="T95" fmla="*/ 10250 h 614"/>
                  <a:gd name="T96" fmla="*/ 5488 w 414"/>
                  <a:gd name="T97" fmla="*/ 9760 h 614"/>
                  <a:gd name="T98" fmla="*/ 4186 w 414"/>
                  <a:gd name="T99" fmla="*/ 9743 h 614"/>
                  <a:gd name="T100" fmla="*/ 2136 w 414"/>
                  <a:gd name="T101" fmla="*/ 9291 h 614"/>
                  <a:gd name="T102" fmla="*/ 1009 w 414"/>
                  <a:gd name="T103" fmla="*/ 9091 h 614"/>
                  <a:gd name="T104" fmla="*/ 3 w 414"/>
                  <a:gd name="T105" fmla="*/ 8688 h 614"/>
                  <a:gd name="T106" fmla="*/ 1009 w 414"/>
                  <a:gd name="T107" fmla="*/ 8365 h 614"/>
                  <a:gd name="T108" fmla="*/ 6723 w 414"/>
                  <a:gd name="T109" fmla="*/ 6358 h 614"/>
                  <a:gd name="T110" fmla="*/ 8814 w 414"/>
                  <a:gd name="T111" fmla="*/ 2891 h 614"/>
                  <a:gd name="T112" fmla="*/ 6667 w 414"/>
                  <a:gd name="T113" fmla="*/ 2483 h 614"/>
                  <a:gd name="T114" fmla="*/ 5896 w 414"/>
                  <a:gd name="T115" fmla="*/ 2048 h 614"/>
                  <a:gd name="T116" fmla="*/ 5488 w 414"/>
                  <a:gd name="T117" fmla="*/ 1759 h 614"/>
                  <a:gd name="T118" fmla="*/ 8941 w 414"/>
                  <a:gd name="T119" fmla="*/ 0 h 614"/>
                  <a:gd name="T120" fmla="*/ 15363 w 414"/>
                  <a:gd name="T121" fmla="*/ 882 h 614"/>
                  <a:gd name="T122" fmla="*/ 23980 w 414"/>
                  <a:gd name="T123" fmla="*/ 2119 h 614"/>
                  <a:gd name="T124" fmla="*/ 32531 w 414"/>
                  <a:gd name="T125" fmla="*/ 3408 h 6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14"/>
                  <a:gd name="T190" fmla="*/ 0 h 614"/>
                  <a:gd name="T191" fmla="*/ 414 w 414"/>
                  <a:gd name="T192" fmla="*/ 614 h 6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14" h="614">
                    <a:moveTo>
                      <a:pt x="374" y="132"/>
                    </a:moveTo>
                    <a:lnTo>
                      <a:pt x="407" y="148"/>
                    </a:lnTo>
                    <a:lnTo>
                      <a:pt x="414" y="149"/>
                    </a:lnTo>
                    <a:lnTo>
                      <a:pt x="414" y="185"/>
                    </a:lnTo>
                    <a:lnTo>
                      <a:pt x="414" y="222"/>
                    </a:lnTo>
                    <a:lnTo>
                      <a:pt x="414" y="258"/>
                    </a:lnTo>
                    <a:lnTo>
                      <a:pt x="412" y="292"/>
                    </a:lnTo>
                    <a:lnTo>
                      <a:pt x="409" y="293"/>
                    </a:lnTo>
                    <a:lnTo>
                      <a:pt x="387" y="293"/>
                    </a:lnTo>
                    <a:lnTo>
                      <a:pt x="381" y="294"/>
                    </a:lnTo>
                    <a:lnTo>
                      <a:pt x="372" y="294"/>
                    </a:lnTo>
                    <a:lnTo>
                      <a:pt x="372" y="296"/>
                    </a:lnTo>
                    <a:lnTo>
                      <a:pt x="369" y="302"/>
                    </a:lnTo>
                    <a:lnTo>
                      <a:pt x="369" y="310"/>
                    </a:lnTo>
                    <a:lnTo>
                      <a:pt x="366" y="317"/>
                    </a:lnTo>
                    <a:lnTo>
                      <a:pt x="358" y="329"/>
                    </a:lnTo>
                    <a:lnTo>
                      <a:pt x="346" y="341"/>
                    </a:lnTo>
                    <a:lnTo>
                      <a:pt x="346" y="349"/>
                    </a:lnTo>
                    <a:lnTo>
                      <a:pt x="348" y="356"/>
                    </a:lnTo>
                    <a:lnTo>
                      <a:pt x="346" y="358"/>
                    </a:lnTo>
                    <a:lnTo>
                      <a:pt x="345" y="359"/>
                    </a:lnTo>
                    <a:lnTo>
                      <a:pt x="339" y="362"/>
                    </a:lnTo>
                    <a:lnTo>
                      <a:pt x="339" y="365"/>
                    </a:lnTo>
                    <a:lnTo>
                      <a:pt x="338" y="373"/>
                    </a:lnTo>
                    <a:lnTo>
                      <a:pt x="338" y="382"/>
                    </a:lnTo>
                    <a:lnTo>
                      <a:pt x="335" y="389"/>
                    </a:lnTo>
                    <a:lnTo>
                      <a:pt x="331" y="396"/>
                    </a:lnTo>
                    <a:lnTo>
                      <a:pt x="329" y="399"/>
                    </a:lnTo>
                    <a:lnTo>
                      <a:pt x="329" y="411"/>
                    </a:lnTo>
                    <a:lnTo>
                      <a:pt x="333" y="411"/>
                    </a:lnTo>
                    <a:lnTo>
                      <a:pt x="336" y="409"/>
                    </a:lnTo>
                    <a:lnTo>
                      <a:pt x="348" y="408"/>
                    </a:lnTo>
                    <a:lnTo>
                      <a:pt x="346" y="418"/>
                    </a:lnTo>
                    <a:lnTo>
                      <a:pt x="350" y="429"/>
                    </a:lnTo>
                    <a:lnTo>
                      <a:pt x="358" y="453"/>
                    </a:lnTo>
                    <a:lnTo>
                      <a:pt x="359" y="454"/>
                    </a:lnTo>
                    <a:lnTo>
                      <a:pt x="364" y="456"/>
                    </a:lnTo>
                    <a:lnTo>
                      <a:pt x="366" y="460"/>
                    </a:lnTo>
                    <a:lnTo>
                      <a:pt x="367" y="466"/>
                    </a:lnTo>
                    <a:lnTo>
                      <a:pt x="368" y="471"/>
                    </a:lnTo>
                    <a:lnTo>
                      <a:pt x="361" y="475"/>
                    </a:lnTo>
                    <a:lnTo>
                      <a:pt x="354" y="476"/>
                    </a:lnTo>
                    <a:lnTo>
                      <a:pt x="348" y="478"/>
                    </a:lnTo>
                    <a:lnTo>
                      <a:pt x="338" y="479"/>
                    </a:lnTo>
                    <a:lnTo>
                      <a:pt x="333" y="480"/>
                    </a:lnTo>
                    <a:lnTo>
                      <a:pt x="328" y="485"/>
                    </a:lnTo>
                    <a:lnTo>
                      <a:pt x="324" y="493"/>
                    </a:lnTo>
                    <a:lnTo>
                      <a:pt x="324" y="503"/>
                    </a:lnTo>
                    <a:lnTo>
                      <a:pt x="320" y="505"/>
                    </a:lnTo>
                    <a:lnTo>
                      <a:pt x="316" y="511"/>
                    </a:lnTo>
                    <a:lnTo>
                      <a:pt x="312" y="513"/>
                    </a:lnTo>
                    <a:lnTo>
                      <a:pt x="310" y="514"/>
                    </a:lnTo>
                    <a:lnTo>
                      <a:pt x="298" y="524"/>
                    </a:lnTo>
                    <a:lnTo>
                      <a:pt x="295" y="533"/>
                    </a:lnTo>
                    <a:lnTo>
                      <a:pt x="293" y="535"/>
                    </a:lnTo>
                    <a:lnTo>
                      <a:pt x="285" y="539"/>
                    </a:lnTo>
                    <a:lnTo>
                      <a:pt x="280" y="539"/>
                    </a:lnTo>
                    <a:lnTo>
                      <a:pt x="276" y="545"/>
                    </a:lnTo>
                    <a:lnTo>
                      <a:pt x="275" y="546"/>
                    </a:lnTo>
                    <a:lnTo>
                      <a:pt x="269" y="549"/>
                    </a:lnTo>
                    <a:lnTo>
                      <a:pt x="265" y="548"/>
                    </a:lnTo>
                    <a:lnTo>
                      <a:pt x="260" y="548"/>
                    </a:lnTo>
                    <a:lnTo>
                      <a:pt x="256" y="550"/>
                    </a:lnTo>
                    <a:lnTo>
                      <a:pt x="249" y="550"/>
                    </a:lnTo>
                    <a:lnTo>
                      <a:pt x="247" y="551"/>
                    </a:lnTo>
                    <a:lnTo>
                      <a:pt x="233" y="551"/>
                    </a:lnTo>
                    <a:lnTo>
                      <a:pt x="225" y="552"/>
                    </a:lnTo>
                    <a:lnTo>
                      <a:pt x="218" y="555"/>
                    </a:lnTo>
                    <a:lnTo>
                      <a:pt x="217" y="555"/>
                    </a:lnTo>
                    <a:lnTo>
                      <a:pt x="216" y="559"/>
                    </a:lnTo>
                    <a:lnTo>
                      <a:pt x="216" y="561"/>
                    </a:lnTo>
                    <a:lnTo>
                      <a:pt x="219" y="564"/>
                    </a:lnTo>
                    <a:lnTo>
                      <a:pt x="221" y="569"/>
                    </a:lnTo>
                    <a:lnTo>
                      <a:pt x="221" y="572"/>
                    </a:lnTo>
                    <a:lnTo>
                      <a:pt x="217" y="574"/>
                    </a:lnTo>
                    <a:lnTo>
                      <a:pt x="215" y="580"/>
                    </a:lnTo>
                    <a:lnTo>
                      <a:pt x="211" y="582"/>
                    </a:lnTo>
                    <a:lnTo>
                      <a:pt x="208" y="583"/>
                    </a:lnTo>
                    <a:lnTo>
                      <a:pt x="207" y="584"/>
                    </a:lnTo>
                    <a:lnTo>
                      <a:pt x="205" y="589"/>
                    </a:lnTo>
                    <a:lnTo>
                      <a:pt x="205" y="590"/>
                    </a:lnTo>
                    <a:lnTo>
                      <a:pt x="187" y="590"/>
                    </a:lnTo>
                    <a:lnTo>
                      <a:pt x="182" y="592"/>
                    </a:lnTo>
                    <a:lnTo>
                      <a:pt x="176" y="592"/>
                    </a:lnTo>
                    <a:lnTo>
                      <a:pt x="171" y="592"/>
                    </a:lnTo>
                    <a:lnTo>
                      <a:pt x="156" y="598"/>
                    </a:lnTo>
                    <a:lnTo>
                      <a:pt x="152" y="600"/>
                    </a:lnTo>
                    <a:lnTo>
                      <a:pt x="151" y="602"/>
                    </a:lnTo>
                    <a:lnTo>
                      <a:pt x="146" y="603"/>
                    </a:lnTo>
                    <a:lnTo>
                      <a:pt x="141" y="605"/>
                    </a:lnTo>
                    <a:lnTo>
                      <a:pt x="139" y="608"/>
                    </a:lnTo>
                    <a:lnTo>
                      <a:pt x="137" y="610"/>
                    </a:lnTo>
                    <a:lnTo>
                      <a:pt x="131" y="603"/>
                    </a:lnTo>
                    <a:lnTo>
                      <a:pt x="129" y="602"/>
                    </a:lnTo>
                    <a:lnTo>
                      <a:pt x="126" y="598"/>
                    </a:lnTo>
                    <a:lnTo>
                      <a:pt x="125" y="598"/>
                    </a:lnTo>
                    <a:lnTo>
                      <a:pt x="122" y="598"/>
                    </a:lnTo>
                    <a:lnTo>
                      <a:pt x="121" y="599"/>
                    </a:lnTo>
                    <a:lnTo>
                      <a:pt x="119" y="599"/>
                    </a:lnTo>
                    <a:lnTo>
                      <a:pt x="118" y="605"/>
                    </a:lnTo>
                    <a:lnTo>
                      <a:pt x="108" y="607"/>
                    </a:lnTo>
                    <a:lnTo>
                      <a:pt x="101" y="612"/>
                    </a:lnTo>
                    <a:lnTo>
                      <a:pt x="98" y="612"/>
                    </a:lnTo>
                    <a:lnTo>
                      <a:pt x="93" y="610"/>
                    </a:lnTo>
                    <a:lnTo>
                      <a:pt x="90" y="610"/>
                    </a:lnTo>
                    <a:lnTo>
                      <a:pt x="85" y="612"/>
                    </a:lnTo>
                    <a:lnTo>
                      <a:pt x="80" y="612"/>
                    </a:lnTo>
                    <a:lnTo>
                      <a:pt x="76" y="614"/>
                    </a:lnTo>
                    <a:lnTo>
                      <a:pt x="75" y="613"/>
                    </a:lnTo>
                    <a:lnTo>
                      <a:pt x="74" y="610"/>
                    </a:lnTo>
                    <a:lnTo>
                      <a:pt x="73" y="598"/>
                    </a:lnTo>
                    <a:lnTo>
                      <a:pt x="71" y="586"/>
                    </a:lnTo>
                    <a:lnTo>
                      <a:pt x="63" y="565"/>
                    </a:lnTo>
                    <a:lnTo>
                      <a:pt x="58" y="560"/>
                    </a:lnTo>
                    <a:lnTo>
                      <a:pt x="55" y="558"/>
                    </a:lnTo>
                    <a:lnTo>
                      <a:pt x="48" y="555"/>
                    </a:lnTo>
                    <a:lnTo>
                      <a:pt x="40" y="554"/>
                    </a:lnTo>
                    <a:lnTo>
                      <a:pt x="36" y="550"/>
                    </a:lnTo>
                    <a:lnTo>
                      <a:pt x="28" y="539"/>
                    </a:lnTo>
                    <a:lnTo>
                      <a:pt x="27" y="531"/>
                    </a:lnTo>
                    <a:lnTo>
                      <a:pt x="27" y="521"/>
                    </a:lnTo>
                    <a:lnTo>
                      <a:pt x="30" y="517"/>
                    </a:lnTo>
                    <a:lnTo>
                      <a:pt x="33" y="516"/>
                    </a:lnTo>
                    <a:lnTo>
                      <a:pt x="36" y="514"/>
                    </a:lnTo>
                    <a:lnTo>
                      <a:pt x="46" y="513"/>
                    </a:lnTo>
                    <a:lnTo>
                      <a:pt x="56" y="514"/>
                    </a:lnTo>
                    <a:lnTo>
                      <a:pt x="71" y="518"/>
                    </a:lnTo>
                    <a:lnTo>
                      <a:pt x="74" y="517"/>
                    </a:lnTo>
                    <a:lnTo>
                      <a:pt x="75" y="514"/>
                    </a:lnTo>
                    <a:lnTo>
                      <a:pt x="74" y="509"/>
                    </a:lnTo>
                    <a:lnTo>
                      <a:pt x="73" y="503"/>
                    </a:lnTo>
                    <a:lnTo>
                      <a:pt x="61" y="490"/>
                    </a:lnTo>
                    <a:lnTo>
                      <a:pt x="55" y="476"/>
                    </a:lnTo>
                    <a:lnTo>
                      <a:pt x="55" y="469"/>
                    </a:lnTo>
                    <a:lnTo>
                      <a:pt x="56" y="462"/>
                    </a:lnTo>
                    <a:lnTo>
                      <a:pt x="58" y="454"/>
                    </a:lnTo>
                    <a:lnTo>
                      <a:pt x="59" y="440"/>
                    </a:lnTo>
                    <a:lnTo>
                      <a:pt x="56" y="435"/>
                    </a:lnTo>
                    <a:lnTo>
                      <a:pt x="53" y="429"/>
                    </a:lnTo>
                    <a:lnTo>
                      <a:pt x="49" y="409"/>
                    </a:lnTo>
                    <a:lnTo>
                      <a:pt x="49" y="408"/>
                    </a:lnTo>
                    <a:lnTo>
                      <a:pt x="48" y="408"/>
                    </a:lnTo>
                    <a:lnTo>
                      <a:pt x="58" y="404"/>
                    </a:lnTo>
                    <a:lnTo>
                      <a:pt x="65" y="398"/>
                    </a:lnTo>
                    <a:lnTo>
                      <a:pt x="66" y="393"/>
                    </a:lnTo>
                    <a:lnTo>
                      <a:pt x="68" y="390"/>
                    </a:lnTo>
                    <a:lnTo>
                      <a:pt x="63" y="380"/>
                    </a:lnTo>
                    <a:lnTo>
                      <a:pt x="58" y="381"/>
                    </a:lnTo>
                    <a:lnTo>
                      <a:pt x="52" y="380"/>
                    </a:lnTo>
                    <a:lnTo>
                      <a:pt x="48" y="377"/>
                    </a:lnTo>
                    <a:lnTo>
                      <a:pt x="39" y="378"/>
                    </a:lnTo>
                    <a:lnTo>
                      <a:pt x="27" y="377"/>
                    </a:lnTo>
                    <a:lnTo>
                      <a:pt x="25" y="362"/>
                    </a:lnTo>
                    <a:lnTo>
                      <a:pt x="20" y="357"/>
                    </a:lnTo>
                    <a:lnTo>
                      <a:pt x="15" y="353"/>
                    </a:lnTo>
                    <a:lnTo>
                      <a:pt x="12" y="350"/>
                    </a:lnTo>
                    <a:lnTo>
                      <a:pt x="1" y="346"/>
                    </a:lnTo>
                    <a:lnTo>
                      <a:pt x="0" y="339"/>
                    </a:lnTo>
                    <a:lnTo>
                      <a:pt x="3" y="336"/>
                    </a:lnTo>
                    <a:lnTo>
                      <a:pt x="8" y="334"/>
                    </a:lnTo>
                    <a:lnTo>
                      <a:pt x="7" y="327"/>
                    </a:lnTo>
                    <a:lnTo>
                      <a:pt x="12" y="325"/>
                    </a:lnTo>
                    <a:lnTo>
                      <a:pt x="12" y="318"/>
                    </a:lnTo>
                    <a:lnTo>
                      <a:pt x="75" y="251"/>
                    </a:lnTo>
                    <a:lnTo>
                      <a:pt x="77" y="247"/>
                    </a:lnTo>
                    <a:lnTo>
                      <a:pt x="81" y="181"/>
                    </a:lnTo>
                    <a:lnTo>
                      <a:pt x="91" y="128"/>
                    </a:lnTo>
                    <a:lnTo>
                      <a:pt x="101" y="112"/>
                    </a:lnTo>
                    <a:lnTo>
                      <a:pt x="85" y="104"/>
                    </a:lnTo>
                    <a:lnTo>
                      <a:pt x="81" y="101"/>
                    </a:lnTo>
                    <a:lnTo>
                      <a:pt x="76" y="96"/>
                    </a:lnTo>
                    <a:lnTo>
                      <a:pt x="74" y="92"/>
                    </a:lnTo>
                    <a:lnTo>
                      <a:pt x="71" y="86"/>
                    </a:lnTo>
                    <a:lnTo>
                      <a:pt x="68" y="80"/>
                    </a:lnTo>
                    <a:lnTo>
                      <a:pt x="68" y="78"/>
                    </a:lnTo>
                    <a:lnTo>
                      <a:pt x="65" y="71"/>
                    </a:lnTo>
                    <a:lnTo>
                      <a:pt x="63" y="68"/>
                    </a:lnTo>
                    <a:lnTo>
                      <a:pt x="63" y="12"/>
                    </a:lnTo>
                    <a:lnTo>
                      <a:pt x="68" y="10"/>
                    </a:lnTo>
                    <a:lnTo>
                      <a:pt x="103" y="0"/>
                    </a:lnTo>
                    <a:lnTo>
                      <a:pt x="109" y="2"/>
                    </a:lnTo>
                    <a:lnTo>
                      <a:pt x="142" y="18"/>
                    </a:lnTo>
                    <a:lnTo>
                      <a:pt x="176" y="34"/>
                    </a:lnTo>
                    <a:lnTo>
                      <a:pt x="209" y="51"/>
                    </a:lnTo>
                    <a:lnTo>
                      <a:pt x="242" y="67"/>
                    </a:lnTo>
                    <a:lnTo>
                      <a:pt x="275" y="82"/>
                    </a:lnTo>
                    <a:lnTo>
                      <a:pt x="307" y="99"/>
                    </a:lnTo>
                    <a:lnTo>
                      <a:pt x="341" y="116"/>
                    </a:lnTo>
                    <a:lnTo>
                      <a:pt x="374" y="132"/>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40" name="Freeform 36"/>
              <p:cNvSpPr>
                <a:spLocks/>
              </p:cNvSpPr>
              <p:nvPr/>
            </p:nvSpPr>
            <p:spPr bwMode="auto">
              <a:xfrm>
                <a:off x="549" y="1846"/>
                <a:ext cx="260" cy="175"/>
              </a:xfrm>
              <a:custGeom>
                <a:avLst/>
                <a:gdLst>
                  <a:gd name="T0" fmla="*/ 2603 w 243"/>
                  <a:gd name="T1" fmla="*/ 5307 h 166"/>
                  <a:gd name="T2" fmla="*/ 2980 w 243"/>
                  <a:gd name="T3" fmla="*/ 4415 h 166"/>
                  <a:gd name="T4" fmla="*/ 5974 w 243"/>
                  <a:gd name="T5" fmla="*/ 4125 h 166"/>
                  <a:gd name="T6" fmla="*/ 7794 w 243"/>
                  <a:gd name="T7" fmla="*/ 4005 h 166"/>
                  <a:gd name="T8" fmla="*/ 8805 w 243"/>
                  <a:gd name="T9" fmla="*/ 3993 h 166"/>
                  <a:gd name="T10" fmla="*/ 10685 w 243"/>
                  <a:gd name="T11" fmla="*/ 4222 h 166"/>
                  <a:gd name="T12" fmla="*/ 12347 w 243"/>
                  <a:gd name="T13" fmla="*/ 4188 h 166"/>
                  <a:gd name="T14" fmla="*/ 12538 w 243"/>
                  <a:gd name="T15" fmla="*/ 3865 h 166"/>
                  <a:gd name="T16" fmla="*/ 11747 w 243"/>
                  <a:gd name="T17" fmla="*/ 3865 h 166"/>
                  <a:gd name="T18" fmla="*/ 10080 w 243"/>
                  <a:gd name="T19" fmla="*/ 3769 h 166"/>
                  <a:gd name="T20" fmla="*/ 8608 w 243"/>
                  <a:gd name="T21" fmla="*/ 3575 h 166"/>
                  <a:gd name="T22" fmla="*/ 7317 w 243"/>
                  <a:gd name="T23" fmla="*/ 3575 h 166"/>
                  <a:gd name="T24" fmla="*/ 3192 w 243"/>
                  <a:gd name="T25" fmla="*/ 3815 h 166"/>
                  <a:gd name="T26" fmla="*/ 2436 w 243"/>
                  <a:gd name="T27" fmla="*/ 3089 h 166"/>
                  <a:gd name="T28" fmla="*/ 943 w 243"/>
                  <a:gd name="T29" fmla="*/ 2471 h 166"/>
                  <a:gd name="T30" fmla="*/ 1 w 243"/>
                  <a:gd name="T31" fmla="*/ 2471 h 166"/>
                  <a:gd name="T32" fmla="*/ 1080 w 243"/>
                  <a:gd name="T33" fmla="*/ 2233 h 166"/>
                  <a:gd name="T34" fmla="*/ 3411 w 243"/>
                  <a:gd name="T35" fmla="*/ 1189 h 166"/>
                  <a:gd name="T36" fmla="*/ 4053 w 243"/>
                  <a:gd name="T37" fmla="*/ 438 h 166"/>
                  <a:gd name="T38" fmla="*/ 5118 w 243"/>
                  <a:gd name="T39" fmla="*/ 4 h 166"/>
                  <a:gd name="T40" fmla="*/ 6718 w 243"/>
                  <a:gd name="T41" fmla="*/ 4 h 166"/>
                  <a:gd name="T42" fmla="*/ 8229 w 243"/>
                  <a:gd name="T43" fmla="*/ 0 h 166"/>
                  <a:gd name="T44" fmla="*/ 10261 w 243"/>
                  <a:gd name="T45" fmla="*/ 0 h 166"/>
                  <a:gd name="T46" fmla="*/ 11281 w 243"/>
                  <a:gd name="T47" fmla="*/ 4 h 166"/>
                  <a:gd name="T48" fmla="*/ 12796 w 243"/>
                  <a:gd name="T49" fmla="*/ 570 h 166"/>
                  <a:gd name="T50" fmla="*/ 13415 w 243"/>
                  <a:gd name="T51" fmla="*/ 570 h 166"/>
                  <a:gd name="T52" fmla="*/ 14649 w 243"/>
                  <a:gd name="T53" fmla="*/ 1189 h 166"/>
                  <a:gd name="T54" fmla="*/ 15124 w 243"/>
                  <a:gd name="T55" fmla="*/ 1469 h 166"/>
                  <a:gd name="T56" fmla="*/ 15818 w 243"/>
                  <a:gd name="T57" fmla="*/ 1633 h 166"/>
                  <a:gd name="T58" fmla="*/ 16155 w 243"/>
                  <a:gd name="T59" fmla="*/ 1820 h 166"/>
                  <a:gd name="T60" fmla="*/ 17155 w 243"/>
                  <a:gd name="T61" fmla="*/ 2017 h 166"/>
                  <a:gd name="T62" fmla="*/ 18247 w 243"/>
                  <a:gd name="T63" fmla="*/ 2354 h 166"/>
                  <a:gd name="T64" fmla="*/ 18263 w 243"/>
                  <a:gd name="T65" fmla="*/ 2779 h 166"/>
                  <a:gd name="T66" fmla="*/ 18772 w 243"/>
                  <a:gd name="T67" fmla="*/ 3026 h 166"/>
                  <a:gd name="T68" fmla="*/ 18833 w 243"/>
                  <a:gd name="T69" fmla="*/ 3545 h 166"/>
                  <a:gd name="T70" fmla="*/ 19364 w 243"/>
                  <a:gd name="T71" fmla="*/ 4075 h 166"/>
                  <a:gd name="T72" fmla="*/ 20085 w 243"/>
                  <a:gd name="T73" fmla="*/ 4075 h 166"/>
                  <a:gd name="T74" fmla="*/ 20542 w 243"/>
                  <a:gd name="T75" fmla="*/ 4349 h 166"/>
                  <a:gd name="T76" fmla="*/ 20732 w 243"/>
                  <a:gd name="T77" fmla="*/ 4692 h 166"/>
                  <a:gd name="T78" fmla="*/ 20732 w 243"/>
                  <a:gd name="T79" fmla="*/ 4932 h 166"/>
                  <a:gd name="T80" fmla="*/ 20908 w 243"/>
                  <a:gd name="T81" fmla="*/ 5236 h 166"/>
                  <a:gd name="T82" fmla="*/ 18858 w 243"/>
                  <a:gd name="T83" fmla="*/ 5307 h 166"/>
                  <a:gd name="T84" fmla="*/ 17545 w 243"/>
                  <a:gd name="T85" fmla="*/ 5408 h 166"/>
                  <a:gd name="T86" fmla="*/ 16155 w 243"/>
                  <a:gd name="T87" fmla="*/ 5236 h 166"/>
                  <a:gd name="T88" fmla="*/ 15124 w 243"/>
                  <a:gd name="T89" fmla="*/ 5236 h 166"/>
                  <a:gd name="T90" fmla="*/ 14005 w 243"/>
                  <a:gd name="T91" fmla="*/ 4991 h 166"/>
                  <a:gd name="T92" fmla="*/ 9854 w 243"/>
                  <a:gd name="T93" fmla="*/ 4932 h 166"/>
                  <a:gd name="T94" fmla="*/ 6269 w 243"/>
                  <a:gd name="T95" fmla="*/ 5236 h 166"/>
                  <a:gd name="T96" fmla="*/ 3188 w 243"/>
                  <a:gd name="T97" fmla="*/ 5408 h 16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43"/>
                  <a:gd name="T148" fmla="*/ 0 h 166"/>
                  <a:gd name="T149" fmla="*/ 243 w 243"/>
                  <a:gd name="T150" fmla="*/ 166 h 16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43" h="166">
                    <a:moveTo>
                      <a:pt x="36" y="166"/>
                    </a:moveTo>
                    <a:lnTo>
                      <a:pt x="33" y="164"/>
                    </a:lnTo>
                    <a:lnTo>
                      <a:pt x="32" y="163"/>
                    </a:lnTo>
                    <a:lnTo>
                      <a:pt x="30" y="163"/>
                    </a:lnTo>
                    <a:lnTo>
                      <a:pt x="32" y="163"/>
                    </a:lnTo>
                    <a:lnTo>
                      <a:pt x="30" y="161"/>
                    </a:lnTo>
                    <a:lnTo>
                      <a:pt x="30" y="140"/>
                    </a:lnTo>
                    <a:lnTo>
                      <a:pt x="34" y="135"/>
                    </a:lnTo>
                    <a:lnTo>
                      <a:pt x="61" y="133"/>
                    </a:lnTo>
                    <a:lnTo>
                      <a:pt x="68" y="133"/>
                    </a:lnTo>
                    <a:lnTo>
                      <a:pt x="68" y="131"/>
                    </a:lnTo>
                    <a:lnTo>
                      <a:pt x="69" y="126"/>
                    </a:lnTo>
                    <a:lnTo>
                      <a:pt x="73" y="125"/>
                    </a:lnTo>
                    <a:lnTo>
                      <a:pt x="75" y="126"/>
                    </a:lnTo>
                    <a:lnTo>
                      <a:pt x="84" y="125"/>
                    </a:lnTo>
                    <a:lnTo>
                      <a:pt x="90" y="123"/>
                    </a:lnTo>
                    <a:lnTo>
                      <a:pt x="92" y="119"/>
                    </a:lnTo>
                    <a:lnTo>
                      <a:pt x="95" y="119"/>
                    </a:lnTo>
                    <a:lnTo>
                      <a:pt x="99" y="119"/>
                    </a:lnTo>
                    <a:lnTo>
                      <a:pt x="102" y="122"/>
                    </a:lnTo>
                    <a:lnTo>
                      <a:pt x="107" y="123"/>
                    </a:lnTo>
                    <a:lnTo>
                      <a:pt x="113" y="128"/>
                    </a:lnTo>
                    <a:lnTo>
                      <a:pt x="117" y="128"/>
                    </a:lnTo>
                    <a:lnTo>
                      <a:pt x="123" y="130"/>
                    </a:lnTo>
                    <a:lnTo>
                      <a:pt x="129" y="130"/>
                    </a:lnTo>
                    <a:lnTo>
                      <a:pt x="132" y="131"/>
                    </a:lnTo>
                    <a:lnTo>
                      <a:pt x="136" y="130"/>
                    </a:lnTo>
                    <a:lnTo>
                      <a:pt x="143" y="128"/>
                    </a:lnTo>
                    <a:lnTo>
                      <a:pt x="147" y="125"/>
                    </a:lnTo>
                    <a:lnTo>
                      <a:pt x="147" y="122"/>
                    </a:lnTo>
                    <a:lnTo>
                      <a:pt x="147" y="119"/>
                    </a:lnTo>
                    <a:lnTo>
                      <a:pt x="145" y="119"/>
                    </a:lnTo>
                    <a:lnTo>
                      <a:pt x="143" y="119"/>
                    </a:lnTo>
                    <a:lnTo>
                      <a:pt x="140" y="118"/>
                    </a:lnTo>
                    <a:lnTo>
                      <a:pt x="138" y="118"/>
                    </a:lnTo>
                    <a:lnTo>
                      <a:pt x="136" y="119"/>
                    </a:lnTo>
                    <a:lnTo>
                      <a:pt x="128" y="122"/>
                    </a:lnTo>
                    <a:lnTo>
                      <a:pt x="123" y="122"/>
                    </a:lnTo>
                    <a:lnTo>
                      <a:pt x="120" y="119"/>
                    </a:lnTo>
                    <a:lnTo>
                      <a:pt x="117" y="115"/>
                    </a:lnTo>
                    <a:lnTo>
                      <a:pt x="116" y="115"/>
                    </a:lnTo>
                    <a:lnTo>
                      <a:pt x="107" y="115"/>
                    </a:lnTo>
                    <a:lnTo>
                      <a:pt x="103" y="109"/>
                    </a:lnTo>
                    <a:lnTo>
                      <a:pt x="99" y="109"/>
                    </a:lnTo>
                    <a:lnTo>
                      <a:pt x="97" y="108"/>
                    </a:lnTo>
                    <a:lnTo>
                      <a:pt x="92" y="109"/>
                    </a:lnTo>
                    <a:lnTo>
                      <a:pt x="89" y="109"/>
                    </a:lnTo>
                    <a:lnTo>
                      <a:pt x="85" y="109"/>
                    </a:lnTo>
                    <a:lnTo>
                      <a:pt x="81" y="113"/>
                    </a:lnTo>
                    <a:lnTo>
                      <a:pt x="78" y="118"/>
                    </a:lnTo>
                    <a:lnTo>
                      <a:pt x="39" y="118"/>
                    </a:lnTo>
                    <a:lnTo>
                      <a:pt x="37" y="118"/>
                    </a:lnTo>
                    <a:lnTo>
                      <a:pt x="35" y="113"/>
                    </a:lnTo>
                    <a:lnTo>
                      <a:pt x="30" y="108"/>
                    </a:lnTo>
                    <a:lnTo>
                      <a:pt x="30" y="99"/>
                    </a:lnTo>
                    <a:lnTo>
                      <a:pt x="29" y="96"/>
                    </a:lnTo>
                    <a:lnTo>
                      <a:pt x="24" y="93"/>
                    </a:lnTo>
                    <a:lnTo>
                      <a:pt x="20" y="86"/>
                    </a:lnTo>
                    <a:lnTo>
                      <a:pt x="14" y="80"/>
                    </a:lnTo>
                    <a:lnTo>
                      <a:pt x="11" y="75"/>
                    </a:lnTo>
                    <a:lnTo>
                      <a:pt x="8" y="75"/>
                    </a:lnTo>
                    <a:lnTo>
                      <a:pt x="6" y="75"/>
                    </a:lnTo>
                    <a:lnTo>
                      <a:pt x="3" y="78"/>
                    </a:lnTo>
                    <a:lnTo>
                      <a:pt x="1" y="75"/>
                    </a:lnTo>
                    <a:lnTo>
                      <a:pt x="0" y="72"/>
                    </a:lnTo>
                    <a:lnTo>
                      <a:pt x="1" y="72"/>
                    </a:lnTo>
                    <a:lnTo>
                      <a:pt x="4" y="72"/>
                    </a:lnTo>
                    <a:lnTo>
                      <a:pt x="13" y="68"/>
                    </a:lnTo>
                    <a:lnTo>
                      <a:pt x="23" y="61"/>
                    </a:lnTo>
                    <a:lnTo>
                      <a:pt x="26" y="57"/>
                    </a:lnTo>
                    <a:lnTo>
                      <a:pt x="29" y="51"/>
                    </a:lnTo>
                    <a:lnTo>
                      <a:pt x="39" y="37"/>
                    </a:lnTo>
                    <a:lnTo>
                      <a:pt x="41" y="34"/>
                    </a:lnTo>
                    <a:lnTo>
                      <a:pt x="41" y="21"/>
                    </a:lnTo>
                    <a:lnTo>
                      <a:pt x="44" y="19"/>
                    </a:lnTo>
                    <a:lnTo>
                      <a:pt x="47" y="14"/>
                    </a:lnTo>
                    <a:lnTo>
                      <a:pt x="49" y="5"/>
                    </a:lnTo>
                    <a:lnTo>
                      <a:pt x="52" y="5"/>
                    </a:lnTo>
                    <a:lnTo>
                      <a:pt x="54" y="4"/>
                    </a:lnTo>
                    <a:lnTo>
                      <a:pt x="59" y="4"/>
                    </a:lnTo>
                    <a:lnTo>
                      <a:pt x="65" y="4"/>
                    </a:lnTo>
                    <a:lnTo>
                      <a:pt x="72" y="7"/>
                    </a:lnTo>
                    <a:lnTo>
                      <a:pt x="78" y="5"/>
                    </a:lnTo>
                    <a:lnTo>
                      <a:pt x="78" y="4"/>
                    </a:lnTo>
                    <a:lnTo>
                      <a:pt x="87" y="2"/>
                    </a:lnTo>
                    <a:lnTo>
                      <a:pt x="92" y="4"/>
                    </a:lnTo>
                    <a:lnTo>
                      <a:pt x="94" y="2"/>
                    </a:lnTo>
                    <a:lnTo>
                      <a:pt x="95" y="0"/>
                    </a:lnTo>
                    <a:lnTo>
                      <a:pt x="99" y="0"/>
                    </a:lnTo>
                    <a:lnTo>
                      <a:pt x="103" y="0"/>
                    </a:lnTo>
                    <a:lnTo>
                      <a:pt x="107" y="0"/>
                    </a:lnTo>
                    <a:lnTo>
                      <a:pt x="119" y="0"/>
                    </a:lnTo>
                    <a:lnTo>
                      <a:pt x="120" y="2"/>
                    </a:lnTo>
                    <a:lnTo>
                      <a:pt x="123" y="0"/>
                    </a:lnTo>
                    <a:lnTo>
                      <a:pt x="125" y="4"/>
                    </a:lnTo>
                    <a:lnTo>
                      <a:pt x="129" y="4"/>
                    </a:lnTo>
                    <a:lnTo>
                      <a:pt x="137" y="10"/>
                    </a:lnTo>
                    <a:lnTo>
                      <a:pt x="138" y="15"/>
                    </a:lnTo>
                    <a:lnTo>
                      <a:pt x="143" y="19"/>
                    </a:lnTo>
                    <a:lnTo>
                      <a:pt x="147" y="19"/>
                    </a:lnTo>
                    <a:lnTo>
                      <a:pt x="150" y="18"/>
                    </a:lnTo>
                    <a:lnTo>
                      <a:pt x="150" y="20"/>
                    </a:lnTo>
                    <a:lnTo>
                      <a:pt x="152" y="21"/>
                    </a:lnTo>
                    <a:lnTo>
                      <a:pt x="155" y="19"/>
                    </a:lnTo>
                    <a:lnTo>
                      <a:pt x="158" y="19"/>
                    </a:lnTo>
                    <a:lnTo>
                      <a:pt x="164" y="28"/>
                    </a:lnTo>
                    <a:lnTo>
                      <a:pt x="168" y="35"/>
                    </a:lnTo>
                    <a:lnTo>
                      <a:pt x="168" y="37"/>
                    </a:lnTo>
                    <a:lnTo>
                      <a:pt x="171" y="40"/>
                    </a:lnTo>
                    <a:lnTo>
                      <a:pt x="173" y="41"/>
                    </a:lnTo>
                    <a:lnTo>
                      <a:pt x="174" y="44"/>
                    </a:lnTo>
                    <a:lnTo>
                      <a:pt x="175" y="45"/>
                    </a:lnTo>
                    <a:lnTo>
                      <a:pt x="177" y="44"/>
                    </a:lnTo>
                    <a:lnTo>
                      <a:pt x="178" y="44"/>
                    </a:lnTo>
                    <a:lnTo>
                      <a:pt x="180" y="48"/>
                    </a:lnTo>
                    <a:lnTo>
                      <a:pt x="181" y="50"/>
                    </a:lnTo>
                    <a:lnTo>
                      <a:pt x="184" y="52"/>
                    </a:lnTo>
                    <a:lnTo>
                      <a:pt x="180" y="53"/>
                    </a:lnTo>
                    <a:lnTo>
                      <a:pt x="185" y="55"/>
                    </a:lnTo>
                    <a:lnTo>
                      <a:pt x="186" y="57"/>
                    </a:lnTo>
                    <a:lnTo>
                      <a:pt x="188" y="58"/>
                    </a:lnTo>
                    <a:lnTo>
                      <a:pt x="191" y="58"/>
                    </a:lnTo>
                    <a:lnTo>
                      <a:pt x="195" y="61"/>
                    </a:lnTo>
                    <a:lnTo>
                      <a:pt x="198" y="62"/>
                    </a:lnTo>
                    <a:lnTo>
                      <a:pt x="198" y="67"/>
                    </a:lnTo>
                    <a:lnTo>
                      <a:pt x="200" y="68"/>
                    </a:lnTo>
                    <a:lnTo>
                      <a:pt x="205" y="68"/>
                    </a:lnTo>
                    <a:lnTo>
                      <a:pt x="209" y="72"/>
                    </a:lnTo>
                    <a:lnTo>
                      <a:pt x="212" y="75"/>
                    </a:lnTo>
                    <a:lnTo>
                      <a:pt x="212" y="77"/>
                    </a:lnTo>
                    <a:lnTo>
                      <a:pt x="209" y="82"/>
                    </a:lnTo>
                    <a:lnTo>
                      <a:pt x="210" y="86"/>
                    </a:lnTo>
                    <a:lnTo>
                      <a:pt x="212" y="86"/>
                    </a:lnTo>
                    <a:lnTo>
                      <a:pt x="212" y="89"/>
                    </a:lnTo>
                    <a:lnTo>
                      <a:pt x="213" y="89"/>
                    </a:lnTo>
                    <a:lnTo>
                      <a:pt x="216" y="92"/>
                    </a:lnTo>
                    <a:lnTo>
                      <a:pt x="217" y="96"/>
                    </a:lnTo>
                    <a:lnTo>
                      <a:pt x="217" y="100"/>
                    </a:lnTo>
                    <a:lnTo>
                      <a:pt x="218" y="104"/>
                    </a:lnTo>
                    <a:lnTo>
                      <a:pt x="218" y="108"/>
                    </a:lnTo>
                    <a:lnTo>
                      <a:pt x="216" y="112"/>
                    </a:lnTo>
                    <a:lnTo>
                      <a:pt x="215" y="114"/>
                    </a:lnTo>
                    <a:lnTo>
                      <a:pt x="220" y="121"/>
                    </a:lnTo>
                    <a:lnTo>
                      <a:pt x="222" y="125"/>
                    </a:lnTo>
                    <a:lnTo>
                      <a:pt x="224" y="126"/>
                    </a:lnTo>
                    <a:lnTo>
                      <a:pt x="226" y="126"/>
                    </a:lnTo>
                    <a:lnTo>
                      <a:pt x="228" y="125"/>
                    </a:lnTo>
                    <a:lnTo>
                      <a:pt x="231" y="125"/>
                    </a:lnTo>
                    <a:lnTo>
                      <a:pt x="231" y="128"/>
                    </a:lnTo>
                    <a:lnTo>
                      <a:pt x="234" y="130"/>
                    </a:lnTo>
                    <a:lnTo>
                      <a:pt x="234" y="133"/>
                    </a:lnTo>
                    <a:lnTo>
                      <a:pt x="236" y="133"/>
                    </a:lnTo>
                    <a:lnTo>
                      <a:pt x="238" y="136"/>
                    </a:lnTo>
                    <a:lnTo>
                      <a:pt x="241" y="140"/>
                    </a:lnTo>
                    <a:lnTo>
                      <a:pt x="241" y="143"/>
                    </a:lnTo>
                    <a:lnTo>
                      <a:pt x="239" y="144"/>
                    </a:lnTo>
                    <a:lnTo>
                      <a:pt x="239" y="145"/>
                    </a:lnTo>
                    <a:lnTo>
                      <a:pt x="241" y="146"/>
                    </a:lnTo>
                    <a:lnTo>
                      <a:pt x="241" y="150"/>
                    </a:lnTo>
                    <a:lnTo>
                      <a:pt x="239" y="151"/>
                    </a:lnTo>
                    <a:lnTo>
                      <a:pt x="239" y="157"/>
                    </a:lnTo>
                    <a:lnTo>
                      <a:pt x="243" y="160"/>
                    </a:lnTo>
                    <a:lnTo>
                      <a:pt x="243" y="161"/>
                    </a:lnTo>
                    <a:lnTo>
                      <a:pt x="241" y="161"/>
                    </a:lnTo>
                    <a:lnTo>
                      <a:pt x="234" y="161"/>
                    </a:lnTo>
                    <a:lnTo>
                      <a:pt x="229" y="163"/>
                    </a:lnTo>
                    <a:lnTo>
                      <a:pt x="226" y="164"/>
                    </a:lnTo>
                    <a:lnTo>
                      <a:pt x="219" y="163"/>
                    </a:lnTo>
                    <a:lnTo>
                      <a:pt x="217" y="163"/>
                    </a:lnTo>
                    <a:lnTo>
                      <a:pt x="212" y="163"/>
                    </a:lnTo>
                    <a:lnTo>
                      <a:pt x="207" y="166"/>
                    </a:lnTo>
                    <a:lnTo>
                      <a:pt x="202" y="166"/>
                    </a:lnTo>
                    <a:lnTo>
                      <a:pt x="198" y="163"/>
                    </a:lnTo>
                    <a:lnTo>
                      <a:pt x="196" y="164"/>
                    </a:lnTo>
                    <a:lnTo>
                      <a:pt x="191" y="161"/>
                    </a:lnTo>
                    <a:lnTo>
                      <a:pt x="186" y="161"/>
                    </a:lnTo>
                    <a:lnTo>
                      <a:pt x="181" y="158"/>
                    </a:lnTo>
                    <a:lnTo>
                      <a:pt x="180" y="158"/>
                    </a:lnTo>
                    <a:lnTo>
                      <a:pt x="180" y="161"/>
                    </a:lnTo>
                    <a:lnTo>
                      <a:pt x="175" y="161"/>
                    </a:lnTo>
                    <a:lnTo>
                      <a:pt x="175" y="156"/>
                    </a:lnTo>
                    <a:lnTo>
                      <a:pt x="173" y="154"/>
                    </a:lnTo>
                    <a:lnTo>
                      <a:pt x="168" y="153"/>
                    </a:lnTo>
                    <a:lnTo>
                      <a:pt x="162" y="154"/>
                    </a:lnTo>
                    <a:lnTo>
                      <a:pt x="160" y="151"/>
                    </a:lnTo>
                    <a:lnTo>
                      <a:pt x="150" y="151"/>
                    </a:lnTo>
                    <a:lnTo>
                      <a:pt x="114" y="151"/>
                    </a:lnTo>
                    <a:lnTo>
                      <a:pt x="113" y="151"/>
                    </a:lnTo>
                    <a:lnTo>
                      <a:pt x="95" y="151"/>
                    </a:lnTo>
                    <a:lnTo>
                      <a:pt x="87" y="155"/>
                    </a:lnTo>
                    <a:lnTo>
                      <a:pt x="78" y="160"/>
                    </a:lnTo>
                    <a:lnTo>
                      <a:pt x="72" y="161"/>
                    </a:lnTo>
                    <a:lnTo>
                      <a:pt x="52" y="161"/>
                    </a:lnTo>
                    <a:lnTo>
                      <a:pt x="49" y="161"/>
                    </a:lnTo>
                    <a:lnTo>
                      <a:pt x="41" y="166"/>
                    </a:lnTo>
                    <a:lnTo>
                      <a:pt x="36" y="166"/>
                    </a:lnTo>
                    <a:close/>
                  </a:path>
                </a:pathLst>
              </a:custGeom>
              <a:solidFill>
                <a:srgbClr val="95373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1" name="Freeform 37"/>
              <p:cNvSpPr>
                <a:spLocks/>
              </p:cNvSpPr>
              <p:nvPr/>
            </p:nvSpPr>
            <p:spPr bwMode="auto">
              <a:xfrm>
                <a:off x="549" y="1846"/>
                <a:ext cx="260" cy="175"/>
              </a:xfrm>
              <a:custGeom>
                <a:avLst/>
                <a:gdLst>
                  <a:gd name="T0" fmla="*/ 2603 w 243"/>
                  <a:gd name="T1" fmla="*/ 5307 h 166"/>
                  <a:gd name="T2" fmla="*/ 2980 w 243"/>
                  <a:gd name="T3" fmla="*/ 4415 h 166"/>
                  <a:gd name="T4" fmla="*/ 5974 w 243"/>
                  <a:gd name="T5" fmla="*/ 4125 h 166"/>
                  <a:gd name="T6" fmla="*/ 7794 w 243"/>
                  <a:gd name="T7" fmla="*/ 4005 h 166"/>
                  <a:gd name="T8" fmla="*/ 8805 w 243"/>
                  <a:gd name="T9" fmla="*/ 3993 h 166"/>
                  <a:gd name="T10" fmla="*/ 10685 w 243"/>
                  <a:gd name="T11" fmla="*/ 4222 h 166"/>
                  <a:gd name="T12" fmla="*/ 12347 w 243"/>
                  <a:gd name="T13" fmla="*/ 4188 h 166"/>
                  <a:gd name="T14" fmla="*/ 12538 w 243"/>
                  <a:gd name="T15" fmla="*/ 3865 h 166"/>
                  <a:gd name="T16" fmla="*/ 11747 w 243"/>
                  <a:gd name="T17" fmla="*/ 3865 h 166"/>
                  <a:gd name="T18" fmla="*/ 10080 w 243"/>
                  <a:gd name="T19" fmla="*/ 3769 h 166"/>
                  <a:gd name="T20" fmla="*/ 8608 w 243"/>
                  <a:gd name="T21" fmla="*/ 3575 h 166"/>
                  <a:gd name="T22" fmla="*/ 7317 w 243"/>
                  <a:gd name="T23" fmla="*/ 3575 h 166"/>
                  <a:gd name="T24" fmla="*/ 3192 w 243"/>
                  <a:gd name="T25" fmla="*/ 3815 h 166"/>
                  <a:gd name="T26" fmla="*/ 2436 w 243"/>
                  <a:gd name="T27" fmla="*/ 3089 h 166"/>
                  <a:gd name="T28" fmla="*/ 943 w 243"/>
                  <a:gd name="T29" fmla="*/ 2471 h 166"/>
                  <a:gd name="T30" fmla="*/ 1 w 243"/>
                  <a:gd name="T31" fmla="*/ 2471 h 166"/>
                  <a:gd name="T32" fmla="*/ 1080 w 243"/>
                  <a:gd name="T33" fmla="*/ 2233 h 166"/>
                  <a:gd name="T34" fmla="*/ 3411 w 243"/>
                  <a:gd name="T35" fmla="*/ 1189 h 166"/>
                  <a:gd name="T36" fmla="*/ 4053 w 243"/>
                  <a:gd name="T37" fmla="*/ 438 h 166"/>
                  <a:gd name="T38" fmla="*/ 5118 w 243"/>
                  <a:gd name="T39" fmla="*/ 4 h 166"/>
                  <a:gd name="T40" fmla="*/ 6718 w 243"/>
                  <a:gd name="T41" fmla="*/ 4 h 166"/>
                  <a:gd name="T42" fmla="*/ 8229 w 243"/>
                  <a:gd name="T43" fmla="*/ 0 h 166"/>
                  <a:gd name="T44" fmla="*/ 10261 w 243"/>
                  <a:gd name="T45" fmla="*/ 0 h 166"/>
                  <a:gd name="T46" fmla="*/ 11281 w 243"/>
                  <a:gd name="T47" fmla="*/ 4 h 166"/>
                  <a:gd name="T48" fmla="*/ 12796 w 243"/>
                  <a:gd name="T49" fmla="*/ 570 h 166"/>
                  <a:gd name="T50" fmla="*/ 13415 w 243"/>
                  <a:gd name="T51" fmla="*/ 570 h 166"/>
                  <a:gd name="T52" fmla="*/ 14649 w 243"/>
                  <a:gd name="T53" fmla="*/ 1189 h 166"/>
                  <a:gd name="T54" fmla="*/ 15124 w 243"/>
                  <a:gd name="T55" fmla="*/ 1469 h 166"/>
                  <a:gd name="T56" fmla="*/ 15818 w 243"/>
                  <a:gd name="T57" fmla="*/ 1633 h 166"/>
                  <a:gd name="T58" fmla="*/ 16155 w 243"/>
                  <a:gd name="T59" fmla="*/ 1820 h 166"/>
                  <a:gd name="T60" fmla="*/ 17155 w 243"/>
                  <a:gd name="T61" fmla="*/ 2017 h 166"/>
                  <a:gd name="T62" fmla="*/ 18247 w 243"/>
                  <a:gd name="T63" fmla="*/ 2354 h 166"/>
                  <a:gd name="T64" fmla="*/ 18263 w 243"/>
                  <a:gd name="T65" fmla="*/ 2779 h 166"/>
                  <a:gd name="T66" fmla="*/ 18772 w 243"/>
                  <a:gd name="T67" fmla="*/ 3026 h 166"/>
                  <a:gd name="T68" fmla="*/ 18833 w 243"/>
                  <a:gd name="T69" fmla="*/ 3545 h 166"/>
                  <a:gd name="T70" fmla="*/ 19364 w 243"/>
                  <a:gd name="T71" fmla="*/ 4075 h 166"/>
                  <a:gd name="T72" fmla="*/ 20085 w 243"/>
                  <a:gd name="T73" fmla="*/ 4075 h 166"/>
                  <a:gd name="T74" fmla="*/ 20542 w 243"/>
                  <a:gd name="T75" fmla="*/ 4349 h 166"/>
                  <a:gd name="T76" fmla="*/ 20732 w 243"/>
                  <a:gd name="T77" fmla="*/ 4692 h 166"/>
                  <a:gd name="T78" fmla="*/ 20732 w 243"/>
                  <a:gd name="T79" fmla="*/ 4932 h 166"/>
                  <a:gd name="T80" fmla="*/ 20908 w 243"/>
                  <a:gd name="T81" fmla="*/ 5236 h 166"/>
                  <a:gd name="T82" fmla="*/ 18858 w 243"/>
                  <a:gd name="T83" fmla="*/ 5307 h 166"/>
                  <a:gd name="T84" fmla="*/ 17545 w 243"/>
                  <a:gd name="T85" fmla="*/ 5408 h 166"/>
                  <a:gd name="T86" fmla="*/ 16155 w 243"/>
                  <a:gd name="T87" fmla="*/ 5236 h 166"/>
                  <a:gd name="T88" fmla="*/ 15124 w 243"/>
                  <a:gd name="T89" fmla="*/ 5236 h 166"/>
                  <a:gd name="T90" fmla="*/ 14005 w 243"/>
                  <a:gd name="T91" fmla="*/ 4991 h 166"/>
                  <a:gd name="T92" fmla="*/ 9854 w 243"/>
                  <a:gd name="T93" fmla="*/ 4932 h 166"/>
                  <a:gd name="T94" fmla="*/ 6269 w 243"/>
                  <a:gd name="T95" fmla="*/ 5236 h 166"/>
                  <a:gd name="T96" fmla="*/ 3188 w 243"/>
                  <a:gd name="T97" fmla="*/ 5408 h 16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43"/>
                  <a:gd name="T148" fmla="*/ 0 h 166"/>
                  <a:gd name="T149" fmla="*/ 243 w 243"/>
                  <a:gd name="T150" fmla="*/ 166 h 16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43" h="166">
                    <a:moveTo>
                      <a:pt x="36" y="166"/>
                    </a:moveTo>
                    <a:lnTo>
                      <a:pt x="33" y="164"/>
                    </a:lnTo>
                    <a:lnTo>
                      <a:pt x="32" y="163"/>
                    </a:lnTo>
                    <a:lnTo>
                      <a:pt x="30" y="163"/>
                    </a:lnTo>
                    <a:lnTo>
                      <a:pt x="32" y="163"/>
                    </a:lnTo>
                    <a:lnTo>
                      <a:pt x="30" y="161"/>
                    </a:lnTo>
                    <a:lnTo>
                      <a:pt x="30" y="140"/>
                    </a:lnTo>
                    <a:lnTo>
                      <a:pt x="34" y="135"/>
                    </a:lnTo>
                    <a:lnTo>
                      <a:pt x="61" y="133"/>
                    </a:lnTo>
                    <a:lnTo>
                      <a:pt x="68" y="133"/>
                    </a:lnTo>
                    <a:lnTo>
                      <a:pt x="68" y="131"/>
                    </a:lnTo>
                    <a:lnTo>
                      <a:pt x="69" y="126"/>
                    </a:lnTo>
                    <a:lnTo>
                      <a:pt x="73" y="125"/>
                    </a:lnTo>
                    <a:lnTo>
                      <a:pt x="75" y="126"/>
                    </a:lnTo>
                    <a:lnTo>
                      <a:pt x="84" y="125"/>
                    </a:lnTo>
                    <a:lnTo>
                      <a:pt x="90" y="123"/>
                    </a:lnTo>
                    <a:lnTo>
                      <a:pt x="92" y="119"/>
                    </a:lnTo>
                    <a:lnTo>
                      <a:pt x="95" y="119"/>
                    </a:lnTo>
                    <a:lnTo>
                      <a:pt x="99" y="119"/>
                    </a:lnTo>
                    <a:lnTo>
                      <a:pt x="102" y="122"/>
                    </a:lnTo>
                    <a:lnTo>
                      <a:pt x="107" y="123"/>
                    </a:lnTo>
                    <a:lnTo>
                      <a:pt x="113" y="128"/>
                    </a:lnTo>
                    <a:lnTo>
                      <a:pt x="117" y="128"/>
                    </a:lnTo>
                    <a:lnTo>
                      <a:pt x="123" y="130"/>
                    </a:lnTo>
                    <a:lnTo>
                      <a:pt x="129" y="130"/>
                    </a:lnTo>
                    <a:lnTo>
                      <a:pt x="132" y="131"/>
                    </a:lnTo>
                    <a:lnTo>
                      <a:pt x="136" y="130"/>
                    </a:lnTo>
                    <a:lnTo>
                      <a:pt x="143" y="128"/>
                    </a:lnTo>
                    <a:lnTo>
                      <a:pt x="147" y="125"/>
                    </a:lnTo>
                    <a:lnTo>
                      <a:pt x="147" y="122"/>
                    </a:lnTo>
                    <a:lnTo>
                      <a:pt x="147" y="119"/>
                    </a:lnTo>
                    <a:lnTo>
                      <a:pt x="145" y="119"/>
                    </a:lnTo>
                    <a:lnTo>
                      <a:pt x="143" y="119"/>
                    </a:lnTo>
                    <a:lnTo>
                      <a:pt x="140" y="118"/>
                    </a:lnTo>
                    <a:lnTo>
                      <a:pt x="138" y="118"/>
                    </a:lnTo>
                    <a:lnTo>
                      <a:pt x="136" y="119"/>
                    </a:lnTo>
                    <a:lnTo>
                      <a:pt x="128" y="122"/>
                    </a:lnTo>
                    <a:lnTo>
                      <a:pt x="123" y="122"/>
                    </a:lnTo>
                    <a:lnTo>
                      <a:pt x="120" y="119"/>
                    </a:lnTo>
                    <a:lnTo>
                      <a:pt x="117" y="115"/>
                    </a:lnTo>
                    <a:lnTo>
                      <a:pt x="116" y="115"/>
                    </a:lnTo>
                    <a:lnTo>
                      <a:pt x="107" y="115"/>
                    </a:lnTo>
                    <a:lnTo>
                      <a:pt x="103" y="109"/>
                    </a:lnTo>
                    <a:lnTo>
                      <a:pt x="99" y="109"/>
                    </a:lnTo>
                    <a:lnTo>
                      <a:pt x="97" y="108"/>
                    </a:lnTo>
                    <a:lnTo>
                      <a:pt x="92" y="109"/>
                    </a:lnTo>
                    <a:lnTo>
                      <a:pt x="89" y="109"/>
                    </a:lnTo>
                    <a:lnTo>
                      <a:pt x="85" y="109"/>
                    </a:lnTo>
                    <a:lnTo>
                      <a:pt x="81" y="113"/>
                    </a:lnTo>
                    <a:lnTo>
                      <a:pt x="78" y="118"/>
                    </a:lnTo>
                    <a:lnTo>
                      <a:pt x="39" y="118"/>
                    </a:lnTo>
                    <a:lnTo>
                      <a:pt x="37" y="118"/>
                    </a:lnTo>
                    <a:lnTo>
                      <a:pt x="35" y="113"/>
                    </a:lnTo>
                    <a:lnTo>
                      <a:pt x="30" y="108"/>
                    </a:lnTo>
                    <a:lnTo>
                      <a:pt x="30" y="99"/>
                    </a:lnTo>
                    <a:lnTo>
                      <a:pt x="29" y="96"/>
                    </a:lnTo>
                    <a:lnTo>
                      <a:pt x="24" y="93"/>
                    </a:lnTo>
                    <a:lnTo>
                      <a:pt x="20" y="86"/>
                    </a:lnTo>
                    <a:lnTo>
                      <a:pt x="14" y="80"/>
                    </a:lnTo>
                    <a:lnTo>
                      <a:pt x="11" y="75"/>
                    </a:lnTo>
                    <a:lnTo>
                      <a:pt x="8" y="75"/>
                    </a:lnTo>
                    <a:lnTo>
                      <a:pt x="6" y="75"/>
                    </a:lnTo>
                    <a:lnTo>
                      <a:pt x="3" y="78"/>
                    </a:lnTo>
                    <a:lnTo>
                      <a:pt x="1" y="75"/>
                    </a:lnTo>
                    <a:lnTo>
                      <a:pt x="0" y="72"/>
                    </a:lnTo>
                    <a:lnTo>
                      <a:pt x="1" y="72"/>
                    </a:lnTo>
                    <a:lnTo>
                      <a:pt x="4" y="72"/>
                    </a:lnTo>
                    <a:lnTo>
                      <a:pt x="13" y="68"/>
                    </a:lnTo>
                    <a:lnTo>
                      <a:pt x="23" y="61"/>
                    </a:lnTo>
                    <a:lnTo>
                      <a:pt x="26" y="57"/>
                    </a:lnTo>
                    <a:lnTo>
                      <a:pt x="29" y="51"/>
                    </a:lnTo>
                    <a:lnTo>
                      <a:pt x="39" y="37"/>
                    </a:lnTo>
                    <a:lnTo>
                      <a:pt x="41" y="34"/>
                    </a:lnTo>
                    <a:lnTo>
                      <a:pt x="41" y="21"/>
                    </a:lnTo>
                    <a:lnTo>
                      <a:pt x="44" y="19"/>
                    </a:lnTo>
                    <a:lnTo>
                      <a:pt x="47" y="14"/>
                    </a:lnTo>
                    <a:lnTo>
                      <a:pt x="49" y="5"/>
                    </a:lnTo>
                    <a:lnTo>
                      <a:pt x="52" y="5"/>
                    </a:lnTo>
                    <a:lnTo>
                      <a:pt x="54" y="4"/>
                    </a:lnTo>
                    <a:lnTo>
                      <a:pt x="59" y="4"/>
                    </a:lnTo>
                    <a:lnTo>
                      <a:pt x="65" y="4"/>
                    </a:lnTo>
                    <a:lnTo>
                      <a:pt x="72" y="7"/>
                    </a:lnTo>
                    <a:lnTo>
                      <a:pt x="78" y="5"/>
                    </a:lnTo>
                    <a:lnTo>
                      <a:pt x="78" y="4"/>
                    </a:lnTo>
                    <a:lnTo>
                      <a:pt x="87" y="2"/>
                    </a:lnTo>
                    <a:lnTo>
                      <a:pt x="92" y="4"/>
                    </a:lnTo>
                    <a:lnTo>
                      <a:pt x="94" y="2"/>
                    </a:lnTo>
                    <a:lnTo>
                      <a:pt x="95" y="0"/>
                    </a:lnTo>
                    <a:lnTo>
                      <a:pt x="99" y="0"/>
                    </a:lnTo>
                    <a:lnTo>
                      <a:pt x="103" y="0"/>
                    </a:lnTo>
                    <a:lnTo>
                      <a:pt x="107" y="0"/>
                    </a:lnTo>
                    <a:lnTo>
                      <a:pt x="119" y="0"/>
                    </a:lnTo>
                    <a:lnTo>
                      <a:pt x="120" y="2"/>
                    </a:lnTo>
                    <a:lnTo>
                      <a:pt x="123" y="0"/>
                    </a:lnTo>
                    <a:lnTo>
                      <a:pt x="125" y="4"/>
                    </a:lnTo>
                    <a:lnTo>
                      <a:pt x="129" y="4"/>
                    </a:lnTo>
                    <a:lnTo>
                      <a:pt x="137" y="10"/>
                    </a:lnTo>
                    <a:lnTo>
                      <a:pt x="138" y="15"/>
                    </a:lnTo>
                    <a:lnTo>
                      <a:pt x="143" y="19"/>
                    </a:lnTo>
                    <a:lnTo>
                      <a:pt x="147" y="19"/>
                    </a:lnTo>
                    <a:lnTo>
                      <a:pt x="150" y="18"/>
                    </a:lnTo>
                    <a:lnTo>
                      <a:pt x="150" y="20"/>
                    </a:lnTo>
                    <a:lnTo>
                      <a:pt x="152" y="21"/>
                    </a:lnTo>
                    <a:lnTo>
                      <a:pt x="155" y="19"/>
                    </a:lnTo>
                    <a:lnTo>
                      <a:pt x="158" y="19"/>
                    </a:lnTo>
                    <a:lnTo>
                      <a:pt x="164" y="28"/>
                    </a:lnTo>
                    <a:lnTo>
                      <a:pt x="168" y="35"/>
                    </a:lnTo>
                    <a:lnTo>
                      <a:pt x="168" y="37"/>
                    </a:lnTo>
                    <a:lnTo>
                      <a:pt x="171" y="40"/>
                    </a:lnTo>
                    <a:lnTo>
                      <a:pt x="173" y="41"/>
                    </a:lnTo>
                    <a:lnTo>
                      <a:pt x="174" y="44"/>
                    </a:lnTo>
                    <a:lnTo>
                      <a:pt x="175" y="45"/>
                    </a:lnTo>
                    <a:lnTo>
                      <a:pt x="177" y="44"/>
                    </a:lnTo>
                    <a:lnTo>
                      <a:pt x="178" y="44"/>
                    </a:lnTo>
                    <a:lnTo>
                      <a:pt x="180" y="48"/>
                    </a:lnTo>
                    <a:lnTo>
                      <a:pt x="181" y="50"/>
                    </a:lnTo>
                    <a:lnTo>
                      <a:pt x="184" y="52"/>
                    </a:lnTo>
                    <a:lnTo>
                      <a:pt x="180" y="53"/>
                    </a:lnTo>
                    <a:lnTo>
                      <a:pt x="185" y="55"/>
                    </a:lnTo>
                    <a:lnTo>
                      <a:pt x="186" y="57"/>
                    </a:lnTo>
                    <a:lnTo>
                      <a:pt x="188" y="58"/>
                    </a:lnTo>
                    <a:lnTo>
                      <a:pt x="191" y="58"/>
                    </a:lnTo>
                    <a:lnTo>
                      <a:pt x="195" y="61"/>
                    </a:lnTo>
                    <a:lnTo>
                      <a:pt x="198" y="62"/>
                    </a:lnTo>
                    <a:lnTo>
                      <a:pt x="198" y="67"/>
                    </a:lnTo>
                    <a:lnTo>
                      <a:pt x="200" y="68"/>
                    </a:lnTo>
                    <a:lnTo>
                      <a:pt x="205" y="68"/>
                    </a:lnTo>
                    <a:lnTo>
                      <a:pt x="209" y="72"/>
                    </a:lnTo>
                    <a:lnTo>
                      <a:pt x="212" y="75"/>
                    </a:lnTo>
                    <a:lnTo>
                      <a:pt x="212" y="77"/>
                    </a:lnTo>
                    <a:lnTo>
                      <a:pt x="209" y="82"/>
                    </a:lnTo>
                    <a:lnTo>
                      <a:pt x="210" y="86"/>
                    </a:lnTo>
                    <a:lnTo>
                      <a:pt x="212" y="86"/>
                    </a:lnTo>
                    <a:lnTo>
                      <a:pt x="212" y="89"/>
                    </a:lnTo>
                    <a:lnTo>
                      <a:pt x="213" y="89"/>
                    </a:lnTo>
                    <a:lnTo>
                      <a:pt x="216" y="92"/>
                    </a:lnTo>
                    <a:lnTo>
                      <a:pt x="217" y="96"/>
                    </a:lnTo>
                    <a:lnTo>
                      <a:pt x="217" y="100"/>
                    </a:lnTo>
                    <a:lnTo>
                      <a:pt x="218" y="104"/>
                    </a:lnTo>
                    <a:lnTo>
                      <a:pt x="218" y="108"/>
                    </a:lnTo>
                    <a:lnTo>
                      <a:pt x="216" y="112"/>
                    </a:lnTo>
                    <a:lnTo>
                      <a:pt x="215" y="114"/>
                    </a:lnTo>
                    <a:lnTo>
                      <a:pt x="220" y="121"/>
                    </a:lnTo>
                    <a:lnTo>
                      <a:pt x="222" y="125"/>
                    </a:lnTo>
                    <a:lnTo>
                      <a:pt x="224" y="126"/>
                    </a:lnTo>
                    <a:lnTo>
                      <a:pt x="226" y="126"/>
                    </a:lnTo>
                    <a:lnTo>
                      <a:pt x="228" y="125"/>
                    </a:lnTo>
                    <a:lnTo>
                      <a:pt x="231" y="125"/>
                    </a:lnTo>
                    <a:lnTo>
                      <a:pt x="231" y="128"/>
                    </a:lnTo>
                    <a:lnTo>
                      <a:pt x="234" y="130"/>
                    </a:lnTo>
                    <a:lnTo>
                      <a:pt x="234" y="133"/>
                    </a:lnTo>
                    <a:lnTo>
                      <a:pt x="236" y="133"/>
                    </a:lnTo>
                    <a:lnTo>
                      <a:pt x="238" y="136"/>
                    </a:lnTo>
                    <a:lnTo>
                      <a:pt x="241" y="140"/>
                    </a:lnTo>
                    <a:lnTo>
                      <a:pt x="241" y="143"/>
                    </a:lnTo>
                    <a:lnTo>
                      <a:pt x="239" y="144"/>
                    </a:lnTo>
                    <a:lnTo>
                      <a:pt x="239" y="145"/>
                    </a:lnTo>
                    <a:lnTo>
                      <a:pt x="241" y="146"/>
                    </a:lnTo>
                    <a:lnTo>
                      <a:pt x="241" y="150"/>
                    </a:lnTo>
                    <a:lnTo>
                      <a:pt x="239" y="151"/>
                    </a:lnTo>
                    <a:lnTo>
                      <a:pt x="239" y="157"/>
                    </a:lnTo>
                    <a:lnTo>
                      <a:pt x="243" y="160"/>
                    </a:lnTo>
                    <a:lnTo>
                      <a:pt x="243" y="161"/>
                    </a:lnTo>
                    <a:lnTo>
                      <a:pt x="241" y="161"/>
                    </a:lnTo>
                    <a:lnTo>
                      <a:pt x="234" y="161"/>
                    </a:lnTo>
                    <a:lnTo>
                      <a:pt x="229" y="163"/>
                    </a:lnTo>
                    <a:lnTo>
                      <a:pt x="226" y="164"/>
                    </a:lnTo>
                    <a:lnTo>
                      <a:pt x="219" y="163"/>
                    </a:lnTo>
                    <a:lnTo>
                      <a:pt x="217" y="163"/>
                    </a:lnTo>
                    <a:lnTo>
                      <a:pt x="212" y="163"/>
                    </a:lnTo>
                    <a:lnTo>
                      <a:pt x="207" y="166"/>
                    </a:lnTo>
                    <a:lnTo>
                      <a:pt x="202" y="166"/>
                    </a:lnTo>
                    <a:lnTo>
                      <a:pt x="198" y="163"/>
                    </a:lnTo>
                    <a:lnTo>
                      <a:pt x="196" y="164"/>
                    </a:lnTo>
                    <a:lnTo>
                      <a:pt x="191" y="161"/>
                    </a:lnTo>
                    <a:lnTo>
                      <a:pt x="186" y="161"/>
                    </a:lnTo>
                    <a:lnTo>
                      <a:pt x="181" y="158"/>
                    </a:lnTo>
                    <a:lnTo>
                      <a:pt x="180" y="158"/>
                    </a:lnTo>
                    <a:lnTo>
                      <a:pt x="180" y="161"/>
                    </a:lnTo>
                    <a:lnTo>
                      <a:pt x="175" y="161"/>
                    </a:lnTo>
                    <a:lnTo>
                      <a:pt x="175" y="156"/>
                    </a:lnTo>
                    <a:lnTo>
                      <a:pt x="173" y="154"/>
                    </a:lnTo>
                    <a:lnTo>
                      <a:pt x="168" y="153"/>
                    </a:lnTo>
                    <a:lnTo>
                      <a:pt x="162" y="154"/>
                    </a:lnTo>
                    <a:lnTo>
                      <a:pt x="160" y="151"/>
                    </a:lnTo>
                    <a:lnTo>
                      <a:pt x="150" y="151"/>
                    </a:lnTo>
                    <a:lnTo>
                      <a:pt x="114" y="151"/>
                    </a:lnTo>
                    <a:lnTo>
                      <a:pt x="113" y="151"/>
                    </a:lnTo>
                    <a:lnTo>
                      <a:pt x="95" y="151"/>
                    </a:lnTo>
                    <a:lnTo>
                      <a:pt x="87" y="155"/>
                    </a:lnTo>
                    <a:lnTo>
                      <a:pt x="78" y="160"/>
                    </a:lnTo>
                    <a:lnTo>
                      <a:pt x="72" y="161"/>
                    </a:lnTo>
                    <a:lnTo>
                      <a:pt x="52" y="161"/>
                    </a:lnTo>
                    <a:lnTo>
                      <a:pt x="49" y="161"/>
                    </a:lnTo>
                    <a:lnTo>
                      <a:pt x="41" y="166"/>
                    </a:lnTo>
                    <a:lnTo>
                      <a:pt x="36" y="166"/>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42" name="Freeform 38"/>
              <p:cNvSpPr>
                <a:spLocks/>
              </p:cNvSpPr>
              <p:nvPr/>
            </p:nvSpPr>
            <p:spPr bwMode="auto">
              <a:xfrm>
                <a:off x="2508" y="2562"/>
                <a:ext cx="450" cy="435"/>
              </a:xfrm>
              <a:custGeom>
                <a:avLst/>
                <a:gdLst>
                  <a:gd name="T0" fmla="*/ 35454 w 420"/>
                  <a:gd name="T1" fmla="*/ 3796 h 414"/>
                  <a:gd name="T2" fmla="*/ 33719 w 420"/>
                  <a:gd name="T3" fmla="*/ 5152 h 414"/>
                  <a:gd name="T4" fmla="*/ 35454 w 420"/>
                  <a:gd name="T5" fmla="*/ 5891 h 414"/>
                  <a:gd name="T6" fmla="*/ 36128 w 420"/>
                  <a:gd name="T7" fmla="*/ 6280 h 414"/>
                  <a:gd name="T8" fmla="*/ 35853 w 420"/>
                  <a:gd name="T9" fmla="*/ 6886 h 414"/>
                  <a:gd name="T10" fmla="*/ 35586 w 420"/>
                  <a:gd name="T11" fmla="*/ 7279 h 414"/>
                  <a:gd name="T12" fmla="*/ 36128 w 420"/>
                  <a:gd name="T13" fmla="*/ 7914 h 414"/>
                  <a:gd name="T14" fmla="*/ 36957 w 420"/>
                  <a:gd name="T15" fmla="*/ 8444 h 414"/>
                  <a:gd name="T16" fmla="*/ 37401 w 420"/>
                  <a:gd name="T17" fmla="*/ 8881 h 414"/>
                  <a:gd name="T18" fmla="*/ 38709 w 420"/>
                  <a:gd name="T19" fmla="*/ 9375 h 414"/>
                  <a:gd name="T20" fmla="*/ 39944 w 420"/>
                  <a:gd name="T21" fmla="*/ 9664 h 414"/>
                  <a:gd name="T22" fmla="*/ 37401 w 420"/>
                  <a:gd name="T23" fmla="*/ 10154 h 414"/>
                  <a:gd name="T24" fmla="*/ 32720 w 420"/>
                  <a:gd name="T25" fmla="*/ 10454 h 414"/>
                  <a:gd name="T26" fmla="*/ 29373 w 420"/>
                  <a:gd name="T27" fmla="*/ 10669 h 414"/>
                  <a:gd name="T28" fmla="*/ 25824 w 420"/>
                  <a:gd name="T29" fmla="*/ 10806 h 414"/>
                  <a:gd name="T30" fmla="*/ 24286 w 420"/>
                  <a:gd name="T31" fmla="*/ 10806 h 414"/>
                  <a:gd name="T32" fmla="*/ 22367 w 420"/>
                  <a:gd name="T33" fmla="*/ 10715 h 414"/>
                  <a:gd name="T34" fmla="*/ 19054 w 420"/>
                  <a:gd name="T35" fmla="*/ 10454 h 414"/>
                  <a:gd name="T36" fmla="*/ 18537 w 420"/>
                  <a:gd name="T37" fmla="*/ 9851 h 414"/>
                  <a:gd name="T38" fmla="*/ 17454 w 420"/>
                  <a:gd name="T39" fmla="*/ 8922 h 414"/>
                  <a:gd name="T40" fmla="*/ 15491 w 420"/>
                  <a:gd name="T41" fmla="*/ 8791 h 414"/>
                  <a:gd name="T42" fmla="*/ 14060 w 420"/>
                  <a:gd name="T43" fmla="*/ 8791 h 414"/>
                  <a:gd name="T44" fmla="*/ 12248 w 420"/>
                  <a:gd name="T45" fmla="*/ 8452 h 414"/>
                  <a:gd name="T46" fmla="*/ 10435 w 420"/>
                  <a:gd name="T47" fmla="*/ 8367 h 414"/>
                  <a:gd name="T48" fmla="*/ 6921 w 420"/>
                  <a:gd name="T49" fmla="*/ 7847 h 414"/>
                  <a:gd name="T50" fmla="*/ 4721 w 420"/>
                  <a:gd name="T51" fmla="*/ 7301 h 414"/>
                  <a:gd name="T52" fmla="*/ 3355 w 420"/>
                  <a:gd name="T53" fmla="*/ 6227 h 414"/>
                  <a:gd name="T54" fmla="*/ 4 w 420"/>
                  <a:gd name="T55" fmla="*/ 5218 h 414"/>
                  <a:gd name="T56" fmla="*/ 6 w 420"/>
                  <a:gd name="T57" fmla="*/ 4531 h 414"/>
                  <a:gd name="T58" fmla="*/ 0 w 420"/>
                  <a:gd name="T59" fmla="*/ 3796 h 414"/>
                  <a:gd name="T60" fmla="*/ 1931 w 420"/>
                  <a:gd name="T61" fmla="*/ 3273 h 414"/>
                  <a:gd name="T62" fmla="*/ 3985 w 420"/>
                  <a:gd name="T63" fmla="*/ 2374 h 414"/>
                  <a:gd name="T64" fmla="*/ 3838 w 420"/>
                  <a:gd name="T65" fmla="*/ 1929 h 414"/>
                  <a:gd name="T66" fmla="*/ 3240 w 420"/>
                  <a:gd name="T67" fmla="*/ 1663 h 414"/>
                  <a:gd name="T68" fmla="*/ 4575 w 420"/>
                  <a:gd name="T69" fmla="*/ 965 h 414"/>
                  <a:gd name="T70" fmla="*/ 3024 w 420"/>
                  <a:gd name="T71" fmla="*/ 1 h 414"/>
                  <a:gd name="T72" fmla="*/ 7918 w 420"/>
                  <a:gd name="T73" fmla="*/ 0 h 414"/>
                  <a:gd name="T74" fmla="*/ 7651 w 420"/>
                  <a:gd name="T75" fmla="*/ 1082 h 414"/>
                  <a:gd name="T76" fmla="*/ 8784 w 420"/>
                  <a:gd name="T77" fmla="*/ 1747 h 414"/>
                  <a:gd name="T78" fmla="*/ 9447 w 420"/>
                  <a:gd name="T79" fmla="*/ 1299 h 414"/>
                  <a:gd name="T80" fmla="*/ 11436 w 420"/>
                  <a:gd name="T81" fmla="*/ 1531 h 414"/>
                  <a:gd name="T82" fmla="*/ 12274 w 420"/>
                  <a:gd name="T83" fmla="*/ 1747 h 414"/>
                  <a:gd name="T84" fmla="*/ 13799 w 420"/>
                  <a:gd name="T85" fmla="*/ 1521 h 414"/>
                  <a:gd name="T86" fmla="*/ 14984 w 420"/>
                  <a:gd name="T87" fmla="*/ 1176 h 414"/>
                  <a:gd name="T88" fmla="*/ 14237 w 420"/>
                  <a:gd name="T89" fmla="*/ 933 h 414"/>
                  <a:gd name="T90" fmla="*/ 14870 w 420"/>
                  <a:gd name="T91" fmla="*/ 728 h 414"/>
                  <a:gd name="T92" fmla="*/ 15753 w 420"/>
                  <a:gd name="T93" fmla="*/ 347 h 414"/>
                  <a:gd name="T94" fmla="*/ 16140 w 420"/>
                  <a:gd name="T95" fmla="*/ 3 h 414"/>
                  <a:gd name="T96" fmla="*/ 29861 w 420"/>
                  <a:gd name="T97" fmla="*/ 227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20"/>
                  <a:gd name="T148" fmla="*/ 0 h 414"/>
                  <a:gd name="T149" fmla="*/ 420 w 42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20" h="414">
                    <a:moveTo>
                      <a:pt x="317" y="100"/>
                    </a:moveTo>
                    <a:lnTo>
                      <a:pt x="320" y="108"/>
                    </a:lnTo>
                    <a:lnTo>
                      <a:pt x="374" y="142"/>
                    </a:lnTo>
                    <a:lnTo>
                      <a:pt x="373" y="145"/>
                    </a:lnTo>
                    <a:lnTo>
                      <a:pt x="367" y="166"/>
                    </a:lnTo>
                    <a:lnTo>
                      <a:pt x="365" y="171"/>
                    </a:lnTo>
                    <a:lnTo>
                      <a:pt x="363" y="179"/>
                    </a:lnTo>
                    <a:lnTo>
                      <a:pt x="356" y="197"/>
                    </a:lnTo>
                    <a:lnTo>
                      <a:pt x="356" y="204"/>
                    </a:lnTo>
                    <a:lnTo>
                      <a:pt x="358" y="209"/>
                    </a:lnTo>
                    <a:lnTo>
                      <a:pt x="368" y="216"/>
                    </a:lnTo>
                    <a:lnTo>
                      <a:pt x="373" y="224"/>
                    </a:lnTo>
                    <a:lnTo>
                      <a:pt x="379" y="227"/>
                    </a:lnTo>
                    <a:lnTo>
                      <a:pt x="383" y="235"/>
                    </a:lnTo>
                    <a:lnTo>
                      <a:pt x="383" y="239"/>
                    </a:lnTo>
                    <a:lnTo>
                      <a:pt x="381" y="241"/>
                    </a:lnTo>
                    <a:lnTo>
                      <a:pt x="377" y="245"/>
                    </a:lnTo>
                    <a:lnTo>
                      <a:pt x="377" y="254"/>
                    </a:lnTo>
                    <a:lnTo>
                      <a:pt x="377" y="258"/>
                    </a:lnTo>
                    <a:lnTo>
                      <a:pt x="377" y="263"/>
                    </a:lnTo>
                    <a:lnTo>
                      <a:pt x="377" y="267"/>
                    </a:lnTo>
                    <a:lnTo>
                      <a:pt x="379" y="270"/>
                    </a:lnTo>
                    <a:lnTo>
                      <a:pt x="377" y="277"/>
                    </a:lnTo>
                    <a:lnTo>
                      <a:pt x="374" y="278"/>
                    </a:lnTo>
                    <a:lnTo>
                      <a:pt x="373" y="282"/>
                    </a:lnTo>
                    <a:lnTo>
                      <a:pt x="374" y="289"/>
                    </a:lnTo>
                    <a:lnTo>
                      <a:pt x="377" y="298"/>
                    </a:lnTo>
                    <a:lnTo>
                      <a:pt x="381" y="301"/>
                    </a:lnTo>
                    <a:lnTo>
                      <a:pt x="381" y="303"/>
                    </a:lnTo>
                    <a:lnTo>
                      <a:pt x="379" y="305"/>
                    </a:lnTo>
                    <a:lnTo>
                      <a:pt x="388" y="319"/>
                    </a:lnTo>
                    <a:lnTo>
                      <a:pt x="389" y="323"/>
                    </a:lnTo>
                    <a:lnTo>
                      <a:pt x="388" y="328"/>
                    </a:lnTo>
                    <a:lnTo>
                      <a:pt x="391" y="332"/>
                    </a:lnTo>
                    <a:lnTo>
                      <a:pt x="394" y="335"/>
                    </a:lnTo>
                    <a:lnTo>
                      <a:pt x="394" y="340"/>
                    </a:lnTo>
                    <a:lnTo>
                      <a:pt x="396" y="343"/>
                    </a:lnTo>
                    <a:lnTo>
                      <a:pt x="396" y="347"/>
                    </a:lnTo>
                    <a:lnTo>
                      <a:pt x="403" y="352"/>
                    </a:lnTo>
                    <a:lnTo>
                      <a:pt x="408" y="359"/>
                    </a:lnTo>
                    <a:lnTo>
                      <a:pt x="413" y="360"/>
                    </a:lnTo>
                    <a:lnTo>
                      <a:pt x="418" y="364"/>
                    </a:lnTo>
                    <a:lnTo>
                      <a:pt x="420" y="364"/>
                    </a:lnTo>
                    <a:lnTo>
                      <a:pt x="420" y="368"/>
                    </a:lnTo>
                    <a:lnTo>
                      <a:pt x="419" y="369"/>
                    </a:lnTo>
                    <a:lnTo>
                      <a:pt x="409" y="376"/>
                    </a:lnTo>
                    <a:lnTo>
                      <a:pt x="398" y="384"/>
                    </a:lnTo>
                    <a:lnTo>
                      <a:pt x="394" y="387"/>
                    </a:lnTo>
                    <a:lnTo>
                      <a:pt x="381" y="390"/>
                    </a:lnTo>
                    <a:lnTo>
                      <a:pt x="358" y="399"/>
                    </a:lnTo>
                    <a:lnTo>
                      <a:pt x="351" y="400"/>
                    </a:lnTo>
                    <a:lnTo>
                      <a:pt x="345" y="399"/>
                    </a:lnTo>
                    <a:lnTo>
                      <a:pt x="335" y="395"/>
                    </a:lnTo>
                    <a:lnTo>
                      <a:pt x="329" y="397"/>
                    </a:lnTo>
                    <a:lnTo>
                      <a:pt x="319" y="398"/>
                    </a:lnTo>
                    <a:lnTo>
                      <a:pt x="310" y="407"/>
                    </a:lnTo>
                    <a:lnTo>
                      <a:pt x="308" y="408"/>
                    </a:lnTo>
                    <a:lnTo>
                      <a:pt x="303" y="408"/>
                    </a:lnTo>
                    <a:lnTo>
                      <a:pt x="281" y="407"/>
                    </a:lnTo>
                    <a:lnTo>
                      <a:pt x="272" y="412"/>
                    </a:lnTo>
                    <a:lnTo>
                      <a:pt x="267" y="412"/>
                    </a:lnTo>
                    <a:lnTo>
                      <a:pt x="260" y="414"/>
                    </a:lnTo>
                    <a:lnTo>
                      <a:pt x="259" y="413"/>
                    </a:lnTo>
                    <a:lnTo>
                      <a:pt x="255" y="412"/>
                    </a:lnTo>
                    <a:lnTo>
                      <a:pt x="250" y="406"/>
                    </a:lnTo>
                    <a:lnTo>
                      <a:pt x="246" y="405"/>
                    </a:lnTo>
                    <a:lnTo>
                      <a:pt x="240" y="405"/>
                    </a:lnTo>
                    <a:lnTo>
                      <a:pt x="236" y="408"/>
                    </a:lnTo>
                    <a:lnTo>
                      <a:pt x="233" y="408"/>
                    </a:lnTo>
                    <a:lnTo>
                      <a:pt x="205" y="408"/>
                    </a:lnTo>
                    <a:lnTo>
                      <a:pt x="205" y="405"/>
                    </a:lnTo>
                    <a:lnTo>
                      <a:pt x="201" y="399"/>
                    </a:lnTo>
                    <a:lnTo>
                      <a:pt x="198" y="397"/>
                    </a:lnTo>
                    <a:lnTo>
                      <a:pt x="195" y="392"/>
                    </a:lnTo>
                    <a:lnTo>
                      <a:pt x="193" y="390"/>
                    </a:lnTo>
                    <a:lnTo>
                      <a:pt x="195" y="377"/>
                    </a:lnTo>
                    <a:lnTo>
                      <a:pt x="191" y="371"/>
                    </a:lnTo>
                    <a:lnTo>
                      <a:pt x="190" y="359"/>
                    </a:lnTo>
                    <a:lnTo>
                      <a:pt x="186" y="346"/>
                    </a:lnTo>
                    <a:lnTo>
                      <a:pt x="184" y="342"/>
                    </a:lnTo>
                    <a:lnTo>
                      <a:pt x="176" y="334"/>
                    </a:lnTo>
                    <a:lnTo>
                      <a:pt x="167" y="332"/>
                    </a:lnTo>
                    <a:lnTo>
                      <a:pt x="163" y="336"/>
                    </a:lnTo>
                    <a:lnTo>
                      <a:pt x="163" y="334"/>
                    </a:lnTo>
                    <a:lnTo>
                      <a:pt x="161" y="333"/>
                    </a:lnTo>
                    <a:lnTo>
                      <a:pt x="159" y="330"/>
                    </a:lnTo>
                    <a:lnTo>
                      <a:pt x="157" y="330"/>
                    </a:lnTo>
                    <a:lnTo>
                      <a:pt x="147" y="334"/>
                    </a:lnTo>
                    <a:lnTo>
                      <a:pt x="147" y="333"/>
                    </a:lnTo>
                    <a:lnTo>
                      <a:pt x="144" y="329"/>
                    </a:lnTo>
                    <a:lnTo>
                      <a:pt x="136" y="329"/>
                    </a:lnTo>
                    <a:lnTo>
                      <a:pt x="128" y="324"/>
                    </a:lnTo>
                    <a:lnTo>
                      <a:pt x="126" y="321"/>
                    </a:lnTo>
                    <a:lnTo>
                      <a:pt x="125" y="320"/>
                    </a:lnTo>
                    <a:lnTo>
                      <a:pt x="116" y="320"/>
                    </a:lnTo>
                    <a:lnTo>
                      <a:pt x="109" y="318"/>
                    </a:lnTo>
                    <a:lnTo>
                      <a:pt x="88" y="309"/>
                    </a:lnTo>
                    <a:lnTo>
                      <a:pt x="82" y="308"/>
                    </a:lnTo>
                    <a:lnTo>
                      <a:pt x="77" y="304"/>
                    </a:lnTo>
                    <a:lnTo>
                      <a:pt x="73" y="299"/>
                    </a:lnTo>
                    <a:lnTo>
                      <a:pt x="66" y="294"/>
                    </a:lnTo>
                    <a:lnTo>
                      <a:pt x="61" y="292"/>
                    </a:lnTo>
                    <a:lnTo>
                      <a:pt x="57" y="293"/>
                    </a:lnTo>
                    <a:lnTo>
                      <a:pt x="49" y="280"/>
                    </a:lnTo>
                    <a:lnTo>
                      <a:pt x="45" y="272"/>
                    </a:lnTo>
                    <a:lnTo>
                      <a:pt x="40" y="263"/>
                    </a:lnTo>
                    <a:lnTo>
                      <a:pt x="35" y="247"/>
                    </a:lnTo>
                    <a:lnTo>
                      <a:pt x="35" y="237"/>
                    </a:lnTo>
                    <a:lnTo>
                      <a:pt x="35" y="230"/>
                    </a:lnTo>
                    <a:lnTo>
                      <a:pt x="23" y="217"/>
                    </a:lnTo>
                    <a:lnTo>
                      <a:pt x="7" y="209"/>
                    </a:lnTo>
                    <a:lnTo>
                      <a:pt x="4" y="199"/>
                    </a:lnTo>
                    <a:lnTo>
                      <a:pt x="9" y="196"/>
                    </a:lnTo>
                    <a:lnTo>
                      <a:pt x="10" y="191"/>
                    </a:lnTo>
                    <a:lnTo>
                      <a:pt x="7" y="183"/>
                    </a:lnTo>
                    <a:lnTo>
                      <a:pt x="6" y="173"/>
                    </a:lnTo>
                    <a:lnTo>
                      <a:pt x="7" y="163"/>
                    </a:lnTo>
                    <a:lnTo>
                      <a:pt x="3" y="158"/>
                    </a:lnTo>
                    <a:lnTo>
                      <a:pt x="1" y="156"/>
                    </a:lnTo>
                    <a:lnTo>
                      <a:pt x="0" y="145"/>
                    </a:lnTo>
                    <a:lnTo>
                      <a:pt x="1" y="131"/>
                    </a:lnTo>
                    <a:lnTo>
                      <a:pt x="2" y="131"/>
                    </a:lnTo>
                    <a:lnTo>
                      <a:pt x="10" y="130"/>
                    </a:lnTo>
                    <a:lnTo>
                      <a:pt x="20" y="125"/>
                    </a:lnTo>
                    <a:lnTo>
                      <a:pt x="29" y="111"/>
                    </a:lnTo>
                    <a:lnTo>
                      <a:pt x="32" y="107"/>
                    </a:lnTo>
                    <a:lnTo>
                      <a:pt x="35" y="97"/>
                    </a:lnTo>
                    <a:lnTo>
                      <a:pt x="42" y="90"/>
                    </a:lnTo>
                    <a:lnTo>
                      <a:pt x="44" y="85"/>
                    </a:lnTo>
                    <a:lnTo>
                      <a:pt x="44" y="79"/>
                    </a:lnTo>
                    <a:lnTo>
                      <a:pt x="44" y="74"/>
                    </a:lnTo>
                    <a:lnTo>
                      <a:pt x="40" y="73"/>
                    </a:lnTo>
                    <a:lnTo>
                      <a:pt x="37" y="71"/>
                    </a:lnTo>
                    <a:lnTo>
                      <a:pt x="34" y="69"/>
                    </a:lnTo>
                    <a:lnTo>
                      <a:pt x="34" y="67"/>
                    </a:lnTo>
                    <a:lnTo>
                      <a:pt x="34" y="63"/>
                    </a:lnTo>
                    <a:lnTo>
                      <a:pt x="35" y="58"/>
                    </a:lnTo>
                    <a:lnTo>
                      <a:pt x="39" y="54"/>
                    </a:lnTo>
                    <a:lnTo>
                      <a:pt x="45" y="44"/>
                    </a:lnTo>
                    <a:lnTo>
                      <a:pt x="48" y="37"/>
                    </a:lnTo>
                    <a:lnTo>
                      <a:pt x="47" y="32"/>
                    </a:lnTo>
                    <a:lnTo>
                      <a:pt x="44" y="22"/>
                    </a:lnTo>
                    <a:lnTo>
                      <a:pt x="35" y="6"/>
                    </a:lnTo>
                    <a:lnTo>
                      <a:pt x="32" y="1"/>
                    </a:lnTo>
                    <a:lnTo>
                      <a:pt x="47" y="3"/>
                    </a:lnTo>
                    <a:lnTo>
                      <a:pt x="51" y="1"/>
                    </a:lnTo>
                    <a:lnTo>
                      <a:pt x="51" y="0"/>
                    </a:lnTo>
                    <a:lnTo>
                      <a:pt x="83" y="0"/>
                    </a:lnTo>
                    <a:lnTo>
                      <a:pt x="85" y="4"/>
                    </a:lnTo>
                    <a:lnTo>
                      <a:pt x="83" y="18"/>
                    </a:lnTo>
                    <a:lnTo>
                      <a:pt x="82" y="27"/>
                    </a:lnTo>
                    <a:lnTo>
                      <a:pt x="80" y="42"/>
                    </a:lnTo>
                    <a:lnTo>
                      <a:pt x="83" y="58"/>
                    </a:lnTo>
                    <a:lnTo>
                      <a:pt x="82" y="63"/>
                    </a:lnTo>
                    <a:lnTo>
                      <a:pt x="85" y="69"/>
                    </a:lnTo>
                    <a:lnTo>
                      <a:pt x="92" y="66"/>
                    </a:lnTo>
                    <a:lnTo>
                      <a:pt x="93" y="61"/>
                    </a:lnTo>
                    <a:lnTo>
                      <a:pt x="99" y="61"/>
                    </a:lnTo>
                    <a:lnTo>
                      <a:pt x="97" y="54"/>
                    </a:lnTo>
                    <a:lnTo>
                      <a:pt x="100" y="49"/>
                    </a:lnTo>
                    <a:lnTo>
                      <a:pt x="104" y="52"/>
                    </a:lnTo>
                    <a:lnTo>
                      <a:pt x="111" y="59"/>
                    </a:lnTo>
                    <a:lnTo>
                      <a:pt x="115" y="63"/>
                    </a:lnTo>
                    <a:lnTo>
                      <a:pt x="120" y="59"/>
                    </a:lnTo>
                    <a:lnTo>
                      <a:pt x="122" y="61"/>
                    </a:lnTo>
                    <a:lnTo>
                      <a:pt x="125" y="74"/>
                    </a:lnTo>
                    <a:lnTo>
                      <a:pt x="130" y="70"/>
                    </a:lnTo>
                    <a:lnTo>
                      <a:pt x="130" y="66"/>
                    </a:lnTo>
                    <a:lnTo>
                      <a:pt x="130" y="59"/>
                    </a:lnTo>
                    <a:lnTo>
                      <a:pt x="133" y="58"/>
                    </a:lnTo>
                    <a:lnTo>
                      <a:pt x="141" y="58"/>
                    </a:lnTo>
                    <a:lnTo>
                      <a:pt x="145" y="58"/>
                    </a:lnTo>
                    <a:lnTo>
                      <a:pt x="151" y="55"/>
                    </a:lnTo>
                    <a:lnTo>
                      <a:pt x="159" y="49"/>
                    </a:lnTo>
                    <a:lnTo>
                      <a:pt x="159" y="48"/>
                    </a:lnTo>
                    <a:lnTo>
                      <a:pt x="157" y="45"/>
                    </a:lnTo>
                    <a:lnTo>
                      <a:pt x="147" y="45"/>
                    </a:lnTo>
                    <a:lnTo>
                      <a:pt x="141" y="43"/>
                    </a:lnTo>
                    <a:lnTo>
                      <a:pt x="143" y="40"/>
                    </a:lnTo>
                    <a:lnTo>
                      <a:pt x="150" y="36"/>
                    </a:lnTo>
                    <a:lnTo>
                      <a:pt x="147" y="33"/>
                    </a:lnTo>
                    <a:lnTo>
                      <a:pt x="150" y="32"/>
                    </a:lnTo>
                    <a:lnTo>
                      <a:pt x="154" y="32"/>
                    </a:lnTo>
                    <a:lnTo>
                      <a:pt x="156" y="28"/>
                    </a:lnTo>
                    <a:lnTo>
                      <a:pt x="159" y="23"/>
                    </a:lnTo>
                    <a:lnTo>
                      <a:pt x="159" y="20"/>
                    </a:lnTo>
                    <a:lnTo>
                      <a:pt x="163" y="20"/>
                    </a:lnTo>
                    <a:lnTo>
                      <a:pt x="164" y="13"/>
                    </a:lnTo>
                    <a:lnTo>
                      <a:pt x="168" y="14"/>
                    </a:lnTo>
                    <a:lnTo>
                      <a:pt x="169" y="11"/>
                    </a:lnTo>
                    <a:lnTo>
                      <a:pt x="167" y="7"/>
                    </a:lnTo>
                    <a:lnTo>
                      <a:pt x="169" y="3"/>
                    </a:lnTo>
                    <a:lnTo>
                      <a:pt x="178" y="0"/>
                    </a:lnTo>
                    <a:lnTo>
                      <a:pt x="312" y="78"/>
                    </a:lnTo>
                    <a:lnTo>
                      <a:pt x="313" y="81"/>
                    </a:lnTo>
                    <a:lnTo>
                      <a:pt x="313" y="87"/>
                    </a:lnTo>
                    <a:lnTo>
                      <a:pt x="317" y="100"/>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3" name="Freeform 39"/>
              <p:cNvSpPr>
                <a:spLocks/>
              </p:cNvSpPr>
              <p:nvPr/>
            </p:nvSpPr>
            <p:spPr bwMode="auto">
              <a:xfrm>
                <a:off x="2508" y="2562"/>
                <a:ext cx="450" cy="435"/>
              </a:xfrm>
              <a:custGeom>
                <a:avLst/>
                <a:gdLst>
                  <a:gd name="T0" fmla="*/ 35454 w 420"/>
                  <a:gd name="T1" fmla="*/ 3796 h 414"/>
                  <a:gd name="T2" fmla="*/ 33719 w 420"/>
                  <a:gd name="T3" fmla="*/ 5152 h 414"/>
                  <a:gd name="T4" fmla="*/ 35454 w 420"/>
                  <a:gd name="T5" fmla="*/ 5891 h 414"/>
                  <a:gd name="T6" fmla="*/ 36128 w 420"/>
                  <a:gd name="T7" fmla="*/ 6280 h 414"/>
                  <a:gd name="T8" fmla="*/ 35853 w 420"/>
                  <a:gd name="T9" fmla="*/ 6886 h 414"/>
                  <a:gd name="T10" fmla="*/ 35586 w 420"/>
                  <a:gd name="T11" fmla="*/ 7279 h 414"/>
                  <a:gd name="T12" fmla="*/ 36128 w 420"/>
                  <a:gd name="T13" fmla="*/ 7914 h 414"/>
                  <a:gd name="T14" fmla="*/ 36957 w 420"/>
                  <a:gd name="T15" fmla="*/ 8444 h 414"/>
                  <a:gd name="T16" fmla="*/ 37401 w 420"/>
                  <a:gd name="T17" fmla="*/ 8881 h 414"/>
                  <a:gd name="T18" fmla="*/ 38709 w 420"/>
                  <a:gd name="T19" fmla="*/ 9375 h 414"/>
                  <a:gd name="T20" fmla="*/ 39944 w 420"/>
                  <a:gd name="T21" fmla="*/ 9664 h 414"/>
                  <a:gd name="T22" fmla="*/ 37401 w 420"/>
                  <a:gd name="T23" fmla="*/ 10154 h 414"/>
                  <a:gd name="T24" fmla="*/ 32720 w 420"/>
                  <a:gd name="T25" fmla="*/ 10454 h 414"/>
                  <a:gd name="T26" fmla="*/ 29373 w 420"/>
                  <a:gd name="T27" fmla="*/ 10669 h 414"/>
                  <a:gd name="T28" fmla="*/ 25824 w 420"/>
                  <a:gd name="T29" fmla="*/ 10806 h 414"/>
                  <a:gd name="T30" fmla="*/ 24286 w 420"/>
                  <a:gd name="T31" fmla="*/ 10806 h 414"/>
                  <a:gd name="T32" fmla="*/ 22367 w 420"/>
                  <a:gd name="T33" fmla="*/ 10715 h 414"/>
                  <a:gd name="T34" fmla="*/ 19054 w 420"/>
                  <a:gd name="T35" fmla="*/ 10454 h 414"/>
                  <a:gd name="T36" fmla="*/ 18537 w 420"/>
                  <a:gd name="T37" fmla="*/ 9851 h 414"/>
                  <a:gd name="T38" fmla="*/ 17454 w 420"/>
                  <a:gd name="T39" fmla="*/ 8922 h 414"/>
                  <a:gd name="T40" fmla="*/ 15491 w 420"/>
                  <a:gd name="T41" fmla="*/ 8791 h 414"/>
                  <a:gd name="T42" fmla="*/ 14060 w 420"/>
                  <a:gd name="T43" fmla="*/ 8791 h 414"/>
                  <a:gd name="T44" fmla="*/ 12248 w 420"/>
                  <a:gd name="T45" fmla="*/ 8452 h 414"/>
                  <a:gd name="T46" fmla="*/ 10435 w 420"/>
                  <a:gd name="T47" fmla="*/ 8367 h 414"/>
                  <a:gd name="T48" fmla="*/ 6921 w 420"/>
                  <a:gd name="T49" fmla="*/ 7847 h 414"/>
                  <a:gd name="T50" fmla="*/ 4721 w 420"/>
                  <a:gd name="T51" fmla="*/ 7301 h 414"/>
                  <a:gd name="T52" fmla="*/ 3355 w 420"/>
                  <a:gd name="T53" fmla="*/ 6227 h 414"/>
                  <a:gd name="T54" fmla="*/ 4 w 420"/>
                  <a:gd name="T55" fmla="*/ 5218 h 414"/>
                  <a:gd name="T56" fmla="*/ 6 w 420"/>
                  <a:gd name="T57" fmla="*/ 4531 h 414"/>
                  <a:gd name="T58" fmla="*/ 0 w 420"/>
                  <a:gd name="T59" fmla="*/ 3796 h 414"/>
                  <a:gd name="T60" fmla="*/ 1931 w 420"/>
                  <a:gd name="T61" fmla="*/ 3273 h 414"/>
                  <a:gd name="T62" fmla="*/ 3985 w 420"/>
                  <a:gd name="T63" fmla="*/ 2374 h 414"/>
                  <a:gd name="T64" fmla="*/ 3838 w 420"/>
                  <a:gd name="T65" fmla="*/ 1929 h 414"/>
                  <a:gd name="T66" fmla="*/ 3240 w 420"/>
                  <a:gd name="T67" fmla="*/ 1663 h 414"/>
                  <a:gd name="T68" fmla="*/ 4575 w 420"/>
                  <a:gd name="T69" fmla="*/ 965 h 414"/>
                  <a:gd name="T70" fmla="*/ 3024 w 420"/>
                  <a:gd name="T71" fmla="*/ 1 h 414"/>
                  <a:gd name="T72" fmla="*/ 7918 w 420"/>
                  <a:gd name="T73" fmla="*/ 0 h 414"/>
                  <a:gd name="T74" fmla="*/ 7651 w 420"/>
                  <a:gd name="T75" fmla="*/ 1082 h 414"/>
                  <a:gd name="T76" fmla="*/ 8784 w 420"/>
                  <a:gd name="T77" fmla="*/ 1747 h 414"/>
                  <a:gd name="T78" fmla="*/ 9447 w 420"/>
                  <a:gd name="T79" fmla="*/ 1299 h 414"/>
                  <a:gd name="T80" fmla="*/ 11436 w 420"/>
                  <a:gd name="T81" fmla="*/ 1531 h 414"/>
                  <a:gd name="T82" fmla="*/ 12274 w 420"/>
                  <a:gd name="T83" fmla="*/ 1747 h 414"/>
                  <a:gd name="T84" fmla="*/ 13799 w 420"/>
                  <a:gd name="T85" fmla="*/ 1521 h 414"/>
                  <a:gd name="T86" fmla="*/ 14984 w 420"/>
                  <a:gd name="T87" fmla="*/ 1176 h 414"/>
                  <a:gd name="T88" fmla="*/ 14237 w 420"/>
                  <a:gd name="T89" fmla="*/ 933 h 414"/>
                  <a:gd name="T90" fmla="*/ 14870 w 420"/>
                  <a:gd name="T91" fmla="*/ 728 h 414"/>
                  <a:gd name="T92" fmla="*/ 15753 w 420"/>
                  <a:gd name="T93" fmla="*/ 347 h 414"/>
                  <a:gd name="T94" fmla="*/ 16140 w 420"/>
                  <a:gd name="T95" fmla="*/ 3 h 414"/>
                  <a:gd name="T96" fmla="*/ 29861 w 420"/>
                  <a:gd name="T97" fmla="*/ 227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20"/>
                  <a:gd name="T148" fmla="*/ 0 h 414"/>
                  <a:gd name="T149" fmla="*/ 420 w 42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20" h="414">
                    <a:moveTo>
                      <a:pt x="317" y="100"/>
                    </a:moveTo>
                    <a:lnTo>
                      <a:pt x="320" y="108"/>
                    </a:lnTo>
                    <a:lnTo>
                      <a:pt x="374" y="142"/>
                    </a:lnTo>
                    <a:lnTo>
                      <a:pt x="373" y="145"/>
                    </a:lnTo>
                    <a:lnTo>
                      <a:pt x="367" y="166"/>
                    </a:lnTo>
                    <a:lnTo>
                      <a:pt x="365" y="171"/>
                    </a:lnTo>
                    <a:lnTo>
                      <a:pt x="363" y="179"/>
                    </a:lnTo>
                    <a:lnTo>
                      <a:pt x="356" y="197"/>
                    </a:lnTo>
                    <a:lnTo>
                      <a:pt x="356" y="204"/>
                    </a:lnTo>
                    <a:lnTo>
                      <a:pt x="358" y="209"/>
                    </a:lnTo>
                    <a:lnTo>
                      <a:pt x="368" y="216"/>
                    </a:lnTo>
                    <a:lnTo>
                      <a:pt x="373" y="224"/>
                    </a:lnTo>
                    <a:lnTo>
                      <a:pt x="379" y="227"/>
                    </a:lnTo>
                    <a:lnTo>
                      <a:pt x="383" y="235"/>
                    </a:lnTo>
                    <a:lnTo>
                      <a:pt x="383" y="239"/>
                    </a:lnTo>
                    <a:lnTo>
                      <a:pt x="381" y="241"/>
                    </a:lnTo>
                    <a:lnTo>
                      <a:pt x="377" y="245"/>
                    </a:lnTo>
                    <a:lnTo>
                      <a:pt x="377" y="254"/>
                    </a:lnTo>
                    <a:lnTo>
                      <a:pt x="377" y="258"/>
                    </a:lnTo>
                    <a:lnTo>
                      <a:pt x="377" y="263"/>
                    </a:lnTo>
                    <a:lnTo>
                      <a:pt x="377" y="267"/>
                    </a:lnTo>
                    <a:lnTo>
                      <a:pt x="379" y="270"/>
                    </a:lnTo>
                    <a:lnTo>
                      <a:pt x="377" y="277"/>
                    </a:lnTo>
                    <a:lnTo>
                      <a:pt x="374" y="278"/>
                    </a:lnTo>
                    <a:lnTo>
                      <a:pt x="373" y="282"/>
                    </a:lnTo>
                    <a:lnTo>
                      <a:pt x="374" y="289"/>
                    </a:lnTo>
                    <a:lnTo>
                      <a:pt x="377" y="298"/>
                    </a:lnTo>
                    <a:lnTo>
                      <a:pt x="381" y="301"/>
                    </a:lnTo>
                    <a:lnTo>
                      <a:pt x="381" y="303"/>
                    </a:lnTo>
                    <a:lnTo>
                      <a:pt x="379" y="305"/>
                    </a:lnTo>
                    <a:lnTo>
                      <a:pt x="388" y="319"/>
                    </a:lnTo>
                    <a:lnTo>
                      <a:pt x="389" y="323"/>
                    </a:lnTo>
                    <a:lnTo>
                      <a:pt x="388" y="328"/>
                    </a:lnTo>
                    <a:lnTo>
                      <a:pt x="391" y="332"/>
                    </a:lnTo>
                    <a:lnTo>
                      <a:pt x="394" y="335"/>
                    </a:lnTo>
                    <a:lnTo>
                      <a:pt x="394" y="340"/>
                    </a:lnTo>
                    <a:lnTo>
                      <a:pt x="396" y="343"/>
                    </a:lnTo>
                    <a:lnTo>
                      <a:pt x="396" y="347"/>
                    </a:lnTo>
                    <a:lnTo>
                      <a:pt x="403" y="352"/>
                    </a:lnTo>
                    <a:lnTo>
                      <a:pt x="408" y="359"/>
                    </a:lnTo>
                    <a:lnTo>
                      <a:pt x="413" y="360"/>
                    </a:lnTo>
                    <a:lnTo>
                      <a:pt x="418" y="364"/>
                    </a:lnTo>
                    <a:lnTo>
                      <a:pt x="420" y="364"/>
                    </a:lnTo>
                    <a:lnTo>
                      <a:pt x="420" y="368"/>
                    </a:lnTo>
                    <a:lnTo>
                      <a:pt x="419" y="369"/>
                    </a:lnTo>
                    <a:lnTo>
                      <a:pt x="409" y="376"/>
                    </a:lnTo>
                    <a:lnTo>
                      <a:pt x="398" y="384"/>
                    </a:lnTo>
                    <a:lnTo>
                      <a:pt x="394" y="387"/>
                    </a:lnTo>
                    <a:lnTo>
                      <a:pt x="381" y="390"/>
                    </a:lnTo>
                    <a:lnTo>
                      <a:pt x="358" y="399"/>
                    </a:lnTo>
                    <a:lnTo>
                      <a:pt x="351" y="400"/>
                    </a:lnTo>
                    <a:lnTo>
                      <a:pt x="345" y="399"/>
                    </a:lnTo>
                    <a:lnTo>
                      <a:pt x="335" y="395"/>
                    </a:lnTo>
                    <a:lnTo>
                      <a:pt x="329" y="397"/>
                    </a:lnTo>
                    <a:lnTo>
                      <a:pt x="319" y="398"/>
                    </a:lnTo>
                    <a:lnTo>
                      <a:pt x="310" y="407"/>
                    </a:lnTo>
                    <a:lnTo>
                      <a:pt x="308" y="408"/>
                    </a:lnTo>
                    <a:lnTo>
                      <a:pt x="303" y="408"/>
                    </a:lnTo>
                    <a:lnTo>
                      <a:pt x="281" y="407"/>
                    </a:lnTo>
                    <a:lnTo>
                      <a:pt x="272" y="412"/>
                    </a:lnTo>
                    <a:lnTo>
                      <a:pt x="267" y="412"/>
                    </a:lnTo>
                    <a:lnTo>
                      <a:pt x="260" y="414"/>
                    </a:lnTo>
                    <a:lnTo>
                      <a:pt x="259" y="413"/>
                    </a:lnTo>
                    <a:lnTo>
                      <a:pt x="255" y="412"/>
                    </a:lnTo>
                    <a:lnTo>
                      <a:pt x="250" y="406"/>
                    </a:lnTo>
                    <a:lnTo>
                      <a:pt x="246" y="405"/>
                    </a:lnTo>
                    <a:lnTo>
                      <a:pt x="240" y="405"/>
                    </a:lnTo>
                    <a:lnTo>
                      <a:pt x="236" y="408"/>
                    </a:lnTo>
                    <a:lnTo>
                      <a:pt x="233" y="408"/>
                    </a:lnTo>
                    <a:lnTo>
                      <a:pt x="205" y="408"/>
                    </a:lnTo>
                    <a:lnTo>
                      <a:pt x="205" y="405"/>
                    </a:lnTo>
                    <a:lnTo>
                      <a:pt x="201" y="399"/>
                    </a:lnTo>
                    <a:lnTo>
                      <a:pt x="198" y="397"/>
                    </a:lnTo>
                    <a:lnTo>
                      <a:pt x="195" y="392"/>
                    </a:lnTo>
                    <a:lnTo>
                      <a:pt x="193" y="390"/>
                    </a:lnTo>
                    <a:lnTo>
                      <a:pt x="195" y="377"/>
                    </a:lnTo>
                    <a:lnTo>
                      <a:pt x="191" y="371"/>
                    </a:lnTo>
                    <a:lnTo>
                      <a:pt x="190" y="359"/>
                    </a:lnTo>
                    <a:lnTo>
                      <a:pt x="186" y="346"/>
                    </a:lnTo>
                    <a:lnTo>
                      <a:pt x="184" y="342"/>
                    </a:lnTo>
                    <a:lnTo>
                      <a:pt x="176" y="334"/>
                    </a:lnTo>
                    <a:lnTo>
                      <a:pt x="167" y="332"/>
                    </a:lnTo>
                    <a:lnTo>
                      <a:pt x="163" y="336"/>
                    </a:lnTo>
                    <a:lnTo>
                      <a:pt x="163" y="334"/>
                    </a:lnTo>
                    <a:lnTo>
                      <a:pt x="161" y="333"/>
                    </a:lnTo>
                    <a:lnTo>
                      <a:pt x="159" y="330"/>
                    </a:lnTo>
                    <a:lnTo>
                      <a:pt x="157" y="330"/>
                    </a:lnTo>
                    <a:lnTo>
                      <a:pt x="147" y="334"/>
                    </a:lnTo>
                    <a:lnTo>
                      <a:pt x="147" y="333"/>
                    </a:lnTo>
                    <a:lnTo>
                      <a:pt x="144" y="329"/>
                    </a:lnTo>
                    <a:lnTo>
                      <a:pt x="136" y="329"/>
                    </a:lnTo>
                    <a:lnTo>
                      <a:pt x="128" y="324"/>
                    </a:lnTo>
                    <a:lnTo>
                      <a:pt x="126" y="321"/>
                    </a:lnTo>
                    <a:lnTo>
                      <a:pt x="125" y="320"/>
                    </a:lnTo>
                    <a:lnTo>
                      <a:pt x="116" y="320"/>
                    </a:lnTo>
                    <a:lnTo>
                      <a:pt x="109" y="318"/>
                    </a:lnTo>
                    <a:lnTo>
                      <a:pt x="88" y="309"/>
                    </a:lnTo>
                    <a:lnTo>
                      <a:pt x="82" y="308"/>
                    </a:lnTo>
                    <a:lnTo>
                      <a:pt x="77" y="304"/>
                    </a:lnTo>
                    <a:lnTo>
                      <a:pt x="73" y="299"/>
                    </a:lnTo>
                    <a:lnTo>
                      <a:pt x="66" y="294"/>
                    </a:lnTo>
                    <a:lnTo>
                      <a:pt x="61" y="292"/>
                    </a:lnTo>
                    <a:lnTo>
                      <a:pt x="57" y="293"/>
                    </a:lnTo>
                    <a:lnTo>
                      <a:pt x="49" y="280"/>
                    </a:lnTo>
                    <a:lnTo>
                      <a:pt x="45" y="272"/>
                    </a:lnTo>
                    <a:lnTo>
                      <a:pt x="40" y="263"/>
                    </a:lnTo>
                    <a:lnTo>
                      <a:pt x="35" y="247"/>
                    </a:lnTo>
                    <a:lnTo>
                      <a:pt x="35" y="237"/>
                    </a:lnTo>
                    <a:lnTo>
                      <a:pt x="35" y="230"/>
                    </a:lnTo>
                    <a:lnTo>
                      <a:pt x="23" y="217"/>
                    </a:lnTo>
                    <a:lnTo>
                      <a:pt x="7" y="209"/>
                    </a:lnTo>
                    <a:lnTo>
                      <a:pt x="4" y="199"/>
                    </a:lnTo>
                    <a:lnTo>
                      <a:pt x="9" y="196"/>
                    </a:lnTo>
                    <a:lnTo>
                      <a:pt x="10" y="191"/>
                    </a:lnTo>
                    <a:lnTo>
                      <a:pt x="7" y="183"/>
                    </a:lnTo>
                    <a:lnTo>
                      <a:pt x="6" y="173"/>
                    </a:lnTo>
                    <a:lnTo>
                      <a:pt x="7" y="163"/>
                    </a:lnTo>
                    <a:lnTo>
                      <a:pt x="3" y="158"/>
                    </a:lnTo>
                    <a:lnTo>
                      <a:pt x="1" y="156"/>
                    </a:lnTo>
                    <a:lnTo>
                      <a:pt x="0" y="145"/>
                    </a:lnTo>
                    <a:lnTo>
                      <a:pt x="1" y="131"/>
                    </a:lnTo>
                    <a:lnTo>
                      <a:pt x="2" y="131"/>
                    </a:lnTo>
                    <a:lnTo>
                      <a:pt x="10" y="130"/>
                    </a:lnTo>
                    <a:lnTo>
                      <a:pt x="20" y="125"/>
                    </a:lnTo>
                    <a:lnTo>
                      <a:pt x="29" y="111"/>
                    </a:lnTo>
                    <a:lnTo>
                      <a:pt x="32" y="107"/>
                    </a:lnTo>
                    <a:lnTo>
                      <a:pt x="35" y="97"/>
                    </a:lnTo>
                    <a:lnTo>
                      <a:pt x="42" y="90"/>
                    </a:lnTo>
                    <a:lnTo>
                      <a:pt x="44" y="85"/>
                    </a:lnTo>
                    <a:lnTo>
                      <a:pt x="44" y="79"/>
                    </a:lnTo>
                    <a:lnTo>
                      <a:pt x="44" y="74"/>
                    </a:lnTo>
                    <a:lnTo>
                      <a:pt x="40" y="73"/>
                    </a:lnTo>
                    <a:lnTo>
                      <a:pt x="37" y="71"/>
                    </a:lnTo>
                    <a:lnTo>
                      <a:pt x="34" y="69"/>
                    </a:lnTo>
                    <a:lnTo>
                      <a:pt x="34" y="67"/>
                    </a:lnTo>
                    <a:lnTo>
                      <a:pt x="34" y="63"/>
                    </a:lnTo>
                    <a:lnTo>
                      <a:pt x="35" y="58"/>
                    </a:lnTo>
                    <a:lnTo>
                      <a:pt x="39" y="54"/>
                    </a:lnTo>
                    <a:lnTo>
                      <a:pt x="45" y="44"/>
                    </a:lnTo>
                    <a:lnTo>
                      <a:pt x="48" y="37"/>
                    </a:lnTo>
                    <a:lnTo>
                      <a:pt x="47" y="32"/>
                    </a:lnTo>
                    <a:lnTo>
                      <a:pt x="44" y="22"/>
                    </a:lnTo>
                    <a:lnTo>
                      <a:pt x="35" y="6"/>
                    </a:lnTo>
                    <a:lnTo>
                      <a:pt x="32" y="1"/>
                    </a:lnTo>
                    <a:lnTo>
                      <a:pt x="47" y="3"/>
                    </a:lnTo>
                    <a:lnTo>
                      <a:pt x="51" y="1"/>
                    </a:lnTo>
                    <a:lnTo>
                      <a:pt x="51" y="0"/>
                    </a:lnTo>
                    <a:lnTo>
                      <a:pt x="83" y="0"/>
                    </a:lnTo>
                    <a:lnTo>
                      <a:pt x="85" y="4"/>
                    </a:lnTo>
                    <a:lnTo>
                      <a:pt x="83" y="18"/>
                    </a:lnTo>
                    <a:lnTo>
                      <a:pt x="82" y="27"/>
                    </a:lnTo>
                    <a:lnTo>
                      <a:pt x="80" y="42"/>
                    </a:lnTo>
                    <a:lnTo>
                      <a:pt x="83" y="58"/>
                    </a:lnTo>
                    <a:lnTo>
                      <a:pt x="82" y="63"/>
                    </a:lnTo>
                    <a:lnTo>
                      <a:pt x="85" y="69"/>
                    </a:lnTo>
                    <a:lnTo>
                      <a:pt x="92" y="66"/>
                    </a:lnTo>
                    <a:lnTo>
                      <a:pt x="93" y="61"/>
                    </a:lnTo>
                    <a:lnTo>
                      <a:pt x="99" y="61"/>
                    </a:lnTo>
                    <a:lnTo>
                      <a:pt x="97" y="54"/>
                    </a:lnTo>
                    <a:lnTo>
                      <a:pt x="100" y="49"/>
                    </a:lnTo>
                    <a:lnTo>
                      <a:pt x="104" y="52"/>
                    </a:lnTo>
                    <a:lnTo>
                      <a:pt x="111" y="59"/>
                    </a:lnTo>
                    <a:lnTo>
                      <a:pt x="115" y="63"/>
                    </a:lnTo>
                    <a:lnTo>
                      <a:pt x="120" y="59"/>
                    </a:lnTo>
                    <a:lnTo>
                      <a:pt x="122" y="61"/>
                    </a:lnTo>
                    <a:lnTo>
                      <a:pt x="125" y="74"/>
                    </a:lnTo>
                    <a:lnTo>
                      <a:pt x="130" y="70"/>
                    </a:lnTo>
                    <a:lnTo>
                      <a:pt x="130" y="66"/>
                    </a:lnTo>
                    <a:lnTo>
                      <a:pt x="130" y="59"/>
                    </a:lnTo>
                    <a:lnTo>
                      <a:pt x="133" y="58"/>
                    </a:lnTo>
                    <a:lnTo>
                      <a:pt x="141" y="58"/>
                    </a:lnTo>
                    <a:lnTo>
                      <a:pt x="145" y="58"/>
                    </a:lnTo>
                    <a:lnTo>
                      <a:pt x="151" y="55"/>
                    </a:lnTo>
                    <a:lnTo>
                      <a:pt x="159" y="49"/>
                    </a:lnTo>
                    <a:lnTo>
                      <a:pt x="159" y="48"/>
                    </a:lnTo>
                    <a:lnTo>
                      <a:pt x="157" y="45"/>
                    </a:lnTo>
                    <a:lnTo>
                      <a:pt x="147" y="45"/>
                    </a:lnTo>
                    <a:lnTo>
                      <a:pt x="141" y="43"/>
                    </a:lnTo>
                    <a:lnTo>
                      <a:pt x="143" y="40"/>
                    </a:lnTo>
                    <a:lnTo>
                      <a:pt x="150" y="36"/>
                    </a:lnTo>
                    <a:lnTo>
                      <a:pt x="147" y="33"/>
                    </a:lnTo>
                    <a:lnTo>
                      <a:pt x="150" y="32"/>
                    </a:lnTo>
                    <a:lnTo>
                      <a:pt x="154" y="32"/>
                    </a:lnTo>
                    <a:lnTo>
                      <a:pt x="156" y="28"/>
                    </a:lnTo>
                    <a:lnTo>
                      <a:pt x="159" y="23"/>
                    </a:lnTo>
                    <a:lnTo>
                      <a:pt x="159" y="20"/>
                    </a:lnTo>
                    <a:lnTo>
                      <a:pt x="163" y="20"/>
                    </a:lnTo>
                    <a:lnTo>
                      <a:pt x="164" y="13"/>
                    </a:lnTo>
                    <a:lnTo>
                      <a:pt x="168" y="14"/>
                    </a:lnTo>
                    <a:lnTo>
                      <a:pt x="169" y="11"/>
                    </a:lnTo>
                    <a:lnTo>
                      <a:pt x="167" y="7"/>
                    </a:lnTo>
                    <a:lnTo>
                      <a:pt x="169" y="3"/>
                    </a:lnTo>
                    <a:lnTo>
                      <a:pt x="178" y="0"/>
                    </a:lnTo>
                    <a:lnTo>
                      <a:pt x="312" y="78"/>
                    </a:lnTo>
                    <a:lnTo>
                      <a:pt x="313" y="81"/>
                    </a:lnTo>
                    <a:lnTo>
                      <a:pt x="313" y="87"/>
                    </a:lnTo>
                    <a:lnTo>
                      <a:pt x="317" y="10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44" name="Freeform 40"/>
              <p:cNvSpPr>
                <a:spLocks/>
              </p:cNvSpPr>
              <p:nvPr/>
            </p:nvSpPr>
            <p:spPr bwMode="auto">
              <a:xfrm>
                <a:off x="740" y="1067"/>
                <a:ext cx="495" cy="330"/>
              </a:xfrm>
              <a:custGeom>
                <a:avLst/>
                <a:gdLst>
                  <a:gd name="T0" fmla="*/ 0 w 463"/>
                  <a:gd name="T1" fmla="*/ 8375 h 314"/>
                  <a:gd name="T2" fmla="*/ 1392 w 463"/>
                  <a:gd name="T3" fmla="*/ 8073 h 314"/>
                  <a:gd name="T4" fmla="*/ 4959 w 463"/>
                  <a:gd name="T5" fmla="*/ 7674 h 314"/>
                  <a:gd name="T6" fmla="*/ 6469 w 463"/>
                  <a:gd name="T7" fmla="*/ 7310 h 314"/>
                  <a:gd name="T8" fmla="*/ 8379 w 463"/>
                  <a:gd name="T9" fmla="*/ 6917 h 314"/>
                  <a:gd name="T10" fmla="*/ 9648 w 463"/>
                  <a:gd name="T11" fmla="*/ 6443 h 314"/>
                  <a:gd name="T12" fmla="*/ 10363 w 463"/>
                  <a:gd name="T13" fmla="*/ 5669 h 314"/>
                  <a:gd name="T14" fmla="*/ 10239 w 463"/>
                  <a:gd name="T15" fmla="*/ 4757 h 314"/>
                  <a:gd name="T16" fmla="*/ 11184 w 463"/>
                  <a:gd name="T17" fmla="*/ 4098 h 314"/>
                  <a:gd name="T18" fmla="*/ 11823 w 463"/>
                  <a:gd name="T19" fmla="*/ 4003 h 314"/>
                  <a:gd name="T20" fmla="*/ 13514 w 463"/>
                  <a:gd name="T21" fmla="*/ 3041 h 314"/>
                  <a:gd name="T22" fmla="*/ 15611 w 463"/>
                  <a:gd name="T23" fmla="*/ 2560 h 314"/>
                  <a:gd name="T24" fmla="*/ 19449 w 463"/>
                  <a:gd name="T25" fmla="*/ 1997 h 314"/>
                  <a:gd name="T26" fmla="*/ 21136 w 463"/>
                  <a:gd name="T27" fmla="*/ 1378 h 314"/>
                  <a:gd name="T28" fmla="*/ 23027 w 463"/>
                  <a:gd name="T29" fmla="*/ 3 h 314"/>
                  <a:gd name="T30" fmla="*/ 25638 w 463"/>
                  <a:gd name="T31" fmla="*/ 449 h 314"/>
                  <a:gd name="T32" fmla="*/ 28938 w 463"/>
                  <a:gd name="T33" fmla="*/ 576 h 314"/>
                  <a:gd name="T34" fmla="*/ 31384 w 463"/>
                  <a:gd name="T35" fmla="*/ 605 h 314"/>
                  <a:gd name="T36" fmla="*/ 32581 w 463"/>
                  <a:gd name="T37" fmla="*/ 738 h 314"/>
                  <a:gd name="T38" fmla="*/ 33757 w 463"/>
                  <a:gd name="T39" fmla="*/ 776 h 314"/>
                  <a:gd name="T40" fmla="*/ 35041 w 463"/>
                  <a:gd name="T41" fmla="*/ 972 h 314"/>
                  <a:gd name="T42" fmla="*/ 35872 w 463"/>
                  <a:gd name="T43" fmla="*/ 1129 h 314"/>
                  <a:gd name="T44" fmla="*/ 35885 w 463"/>
                  <a:gd name="T45" fmla="*/ 1277 h 314"/>
                  <a:gd name="T46" fmla="*/ 36021 w 463"/>
                  <a:gd name="T47" fmla="*/ 1558 h 314"/>
                  <a:gd name="T48" fmla="*/ 36090 w 463"/>
                  <a:gd name="T49" fmla="*/ 1997 h 314"/>
                  <a:gd name="T50" fmla="*/ 36487 w 463"/>
                  <a:gd name="T51" fmla="*/ 2318 h 314"/>
                  <a:gd name="T52" fmla="*/ 36487 w 463"/>
                  <a:gd name="T53" fmla="*/ 2560 h 314"/>
                  <a:gd name="T54" fmla="*/ 36762 w 463"/>
                  <a:gd name="T55" fmla="*/ 2827 h 314"/>
                  <a:gd name="T56" fmla="*/ 37774 w 463"/>
                  <a:gd name="T57" fmla="*/ 3312 h 314"/>
                  <a:gd name="T58" fmla="*/ 37774 w 463"/>
                  <a:gd name="T59" fmla="*/ 3448 h 314"/>
                  <a:gd name="T60" fmla="*/ 37774 w 463"/>
                  <a:gd name="T61" fmla="*/ 3729 h 314"/>
                  <a:gd name="T62" fmla="*/ 37193 w 463"/>
                  <a:gd name="T63" fmla="*/ 3729 h 314"/>
                  <a:gd name="T64" fmla="*/ 35421 w 463"/>
                  <a:gd name="T65" fmla="*/ 3729 h 314"/>
                  <a:gd name="T66" fmla="*/ 32897 w 463"/>
                  <a:gd name="T67" fmla="*/ 3827 h 314"/>
                  <a:gd name="T68" fmla="*/ 32129 w 463"/>
                  <a:gd name="T69" fmla="*/ 3809 h 314"/>
                  <a:gd name="T70" fmla="*/ 32020 w 463"/>
                  <a:gd name="T71" fmla="*/ 4098 h 314"/>
                  <a:gd name="T72" fmla="*/ 30475 w 463"/>
                  <a:gd name="T73" fmla="*/ 4246 h 314"/>
                  <a:gd name="T74" fmla="*/ 29365 w 463"/>
                  <a:gd name="T75" fmla="*/ 4207 h 314"/>
                  <a:gd name="T76" fmla="*/ 29140 w 463"/>
                  <a:gd name="T77" fmla="*/ 4462 h 314"/>
                  <a:gd name="T78" fmla="*/ 29365 w 463"/>
                  <a:gd name="T79" fmla="*/ 4555 h 314"/>
                  <a:gd name="T80" fmla="*/ 29358 w 463"/>
                  <a:gd name="T81" fmla="*/ 4782 h 314"/>
                  <a:gd name="T82" fmla="*/ 29858 w 463"/>
                  <a:gd name="T83" fmla="*/ 4884 h 314"/>
                  <a:gd name="T84" fmla="*/ 28488 w 463"/>
                  <a:gd name="T85" fmla="*/ 5031 h 314"/>
                  <a:gd name="T86" fmla="*/ 25829 w 463"/>
                  <a:gd name="T87" fmla="*/ 5443 h 314"/>
                  <a:gd name="T88" fmla="*/ 24938 w 463"/>
                  <a:gd name="T89" fmla="*/ 5720 h 314"/>
                  <a:gd name="T90" fmla="*/ 24159 w 463"/>
                  <a:gd name="T91" fmla="*/ 6011 h 314"/>
                  <a:gd name="T92" fmla="*/ 21805 w 463"/>
                  <a:gd name="T93" fmla="*/ 6137 h 314"/>
                  <a:gd name="T94" fmla="*/ 20395 w 463"/>
                  <a:gd name="T95" fmla="*/ 6262 h 314"/>
                  <a:gd name="T96" fmla="*/ 19779 w 463"/>
                  <a:gd name="T97" fmla="*/ 6367 h 314"/>
                  <a:gd name="T98" fmla="*/ 18760 w 463"/>
                  <a:gd name="T99" fmla="*/ 6298 h 314"/>
                  <a:gd name="T100" fmla="*/ 17656 w 463"/>
                  <a:gd name="T101" fmla="*/ 6581 h 314"/>
                  <a:gd name="T102" fmla="*/ 15421 w 463"/>
                  <a:gd name="T103" fmla="*/ 6900 h 314"/>
                  <a:gd name="T104" fmla="*/ 11823 w 463"/>
                  <a:gd name="T105" fmla="*/ 8375 h 314"/>
                  <a:gd name="T106" fmla="*/ 4632 w 463"/>
                  <a:gd name="T107" fmla="*/ 8375 h 3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63"/>
                  <a:gd name="T163" fmla="*/ 0 h 314"/>
                  <a:gd name="T164" fmla="*/ 463 w 463"/>
                  <a:gd name="T165" fmla="*/ 314 h 31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63" h="314">
                    <a:moveTo>
                      <a:pt x="29" y="314"/>
                    </a:moveTo>
                    <a:lnTo>
                      <a:pt x="7" y="314"/>
                    </a:lnTo>
                    <a:lnTo>
                      <a:pt x="0" y="314"/>
                    </a:lnTo>
                    <a:lnTo>
                      <a:pt x="3" y="307"/>
                    </a:lnTo>
                    <a:lnTo>
                      <a:pt x="10" y="304"/>
                    </a:lnTo>
                    <a:lnTo>
                      <a:pt x="18" y="304"/>
                    </a:lnTo>
                    <a:lnTo>
                      <a:pt x="33" y="303"/>
                    </a:lnTo>
                    <a:lnTo>
                      <a:pt x="53" y="294"/>
                    </a:lnTo>
                    <a:lnTo>
                      <a:pt x="61" y="288"/>
                    </a:lnTo>
                    <a:lnTo>
                      <a:pt x="68" y="282"/>
                    </a:lnTo>
                    <a:lnTo>
                      <a:pt x="71" y="281"/>
                    </a:lnTo>
                    <a:lnTo>
                      <a:pt x="78" y="275"/>
                    </a:lnTo>
                    <a:lnTo>
                      <a:pt x="91" y="270"/>
                    </a:lnTo>
                    <a:lnTo>
                      <a:pt x="99" y="263"/>
                    </a:lnTo>
                    <a:lnTo>
                      <a:pt x="101" y="260"/>
                    </a:lnTo>
                    <a:lnTo>
                      <a:pt x="104" y="259"/>
                    </a:lnTo>
                    <a:lnTo>
                      <a:pt x="108" y="256"/>
                    </a:lnTo>
                    <a:lnTo>
                      <a:pt x="116" y="242"/>
                    </a:lnTo>
                    <a:lnTo>
                      <a:pt x="127" y="226"/>
                    </a:lnTo>
                    <a:lnTo>
                      <a:pt x="129" y="222"/>
                    </a:lnTo>
                    <a:lnTo>
                      <a:pt x="127" y="212"/>
                    </a:lnTo>
                    <a:lnTo>
                      <a:pt x="120" y="201"/>
                    </a:lnTo>
                    <a:lnTo>
                      <a:pt x="123" y="195"/>
                    </a:lnTo>
                    <a:lnTo>
                      <a:pt x="123" y="178"/>
                    </a:lnTo>
                    <a:lnTo>
                      <a:pt x="124" y="174"/>
                    </a:lnTo>
                    <a:lnTo>
                      <a:pt x="137" y="155"/>
                    </a:lnTo>
                    <a:lnTo>
                      <a:pt x="137" y="153"/>
                    </a:lnTo>
                    <a:lnTo>
                      <a:pt x="144" y="150"/>
                    </a:lnTo>
                    <a:lnTo>
                      <a:pt x="146" y="148"/>
                    </a:lnTo>
                    <a:lnTo>
                      <a:pt x="144" y="150"/>
                    </a:lnTo>
                    <a:lnTo>
                      <a:pt x="151" y="137"/>
                    </a:lnTo>
                    <a:lnTo>
                      <a:pt x="149" y="129"/>
                    </a:lnTo>
                    <a:lnTo>
                      <a:pt x="165" y="114"/>
                    </a:lnTo>
                    <a:lnTo>
                      <a:pt x="171" y="106"/>
                    </a:lnTo>
                    <a:lnTo>
                      <a:pt x="179" y="101"/>
                    </a:lnTo>
                    <a:lnTo>
                      <a:pt x="190" y="96"/>
                    </a:lnTo>
                    <a:lnTo>
                      <a:pt x="210" y="89"/>
                    </a:lnTo>
                    <a:lnTo>
                      <a:pt x="220" y="85"/>
                    </a:lnTo>
                    <a:lnTo>
                      <a:pt x="237" y="75"/>
                    </a:lnTo>
                    <a:lnTo>
                      <a:pt x="244" y="69"/>
                    </a:lnTo>
                    <a:lnTo>
                      <a:pt x="249" y="59"/>
                    </a:lnTo>
                    <a:lnTo>
                      <a:pt x="257" y="51"/>
                    </a:lnTo>
                    <a:lnTo>
                      <a:pt x="265" y="31"/>
                    </a:lnTo>
                    <a:lnTo>
                      <a:pt x="276" y="7"/>
                    </a:lnTo>
                    <a:lnTo>
                      <a:pt x="280" y="3"/>
                    </a:lnTo>
                    <a:lnTo>
                      <a:pt x="295" y="0"/>
                    </a:lnTo>
                    <a:lnTo>
                      <a:pt x="302" y="10"/>
                    </a:lnTo>
                    <a:lnTo>
                      <a:pt x="311" y="18"/>
                    </a:lnTo>
                    <a:lnTo>
                      <a:pt x="327" y="27"/>
                    </a:lnTo>
                    <a:lnTo>
                      <a:pt x="334" y="28"/>
                    </a:lnTo>
                    <a:lnTo>
                      <a:pt x="351" y="23"/>
                    </a:lnTo>
                    <a:lnTo>
                      <a:pt x="356" y="24"/>
                    </a:lnTo>
                    <a:lnTo>
                      <a:pt x="369" y="24"/>
                    </a:lnTo>
                    <a:lnTo>
                      <a:pt x="381" y="24"/>
                    </a:lnTo>
                    <a:lnTo>
                      <a:pt x="385" y="22"/>
                    </a:lnTo>
                    <a:lnTo>
                      <a:pt x="391" y="24"/>
                    </a:lnTo>
                    <a:lnTo>
                      <a:pt x="397" y="28"/>
                    </a:lnTo>
                    <a:lnTo>
                      <a:pt x="404" y="30"/>
                    </a:lnTo>
                    <a:lnTo>
                      <a:pt x="409" y="30"/>
                    </a:lnTo>
                    <a:lnTo>
                      <a:pt x="412" y="29"/>
                    </a:lnTo>
                    <a:lnTo>
                      <a:pt x="425" y="31"/>
                    </a:lnTo>
                    <a:lnTo>
                      <a:pt x="425" y="33"/>
                    </a:lnTo>
                    <a:lnTo>
                      <a:pt x="426" y="37"/>
                    </a:lnTo>
                    <a:lnTo>
                      <a:pt x="430" y="39"/>
                    </a:lnTo>
                    <a:lnTo>
                      <a:pt x="431" y="41"/>
                    </a:lnTo>
                    <a:lnTo>
                      <a:pt x="435" y="43"/>
                    </a:lnTo>
                    <a:lnTo>
                      <a:pt x="437" y="44"/>
                    </a:lnTo>
                    <a:lnTo>
                      <a:pt x="438" y="48"/>
                    </a:lnTo>
                    <a:lnTo>
                      <a:pt x="437" y="48"/>
                    </a:lnTo>
                    <a:lnTo>
                      <a:pt x="437" y="49"/>
                    </a:lnTo>
                    <a:lnTo>
                      <a:pt x="440" y="55"/>
                    </a:lnTo>
                    <a:lnTo>
                      <a:pt x="438" y="59"/>
                    </a:lnTo>
                    <a:lnTo>
                      <a:pt x="440" y="63"/>
                    </a:lnTo>
                    <a:lnTo>
                      <a:pt x="442" y="69"/>
                    </a:lnTo>
                    <a:lnTo>
                      <a:pt x="440" y="75"/>
                    </a:lnTo>
                    <a:lnTo>
                      <a:pt x="440" y="80"/>
                    </a:lnTo>
                    <a:lnTo>
                      <a:pt x="440" y="82"/>
                    </a:lnTo>
                    <a:lnTo>
                      <a:pt x="443" y="87"/>
                    </a:lnTo>
                    <a:lnTo>
                      <a:pt x="443" y="89"/>
                    </a:lnTo>
                    <a:lnTo>
                      <a:pt x="443" y="92"/>
                    </a:lnTo>
                    <a:lnTo>
                      <a:pt x="443" y="96"/>
                    </a:lnTo>
                    <a:lnTo>
                      <a:pt x="443" y="99"/>
                    </a:lnTo>
                    <a:lnTo>
                      <a:pt x="443" y="103"/>
                    </a:lnTo>
                    <a:lnTo>
                      <a:pt x="447" y="106"/>
                    </a:lnTo>
                    <a:lnTo>
                      <a:pt x="447" y="111"/>
                    </a:lnTo>
                    <a:lnTo>
                      <a:pt x="451" y="119"/>
                    </a:lnTo>
                    <a:lnTo>
                      <a:pt x="458" y="125"/>
                    </a:lnTo>
                    <a:lnTo>
                      <a:pt x="463" y="127"/>
                    </a:lnTo>
                    <a:lnTo>
                      <a:pt x="463" y="128"/>
                    </a:lnTo>
                    <a:lnTo>
                      <a:pt x="458" y="129"/>
                    </a:lnTo>
                    <a:lnTo>
                      <a:pt x="455" y="133"/>
                    </a:lnTo>
                    <a:lnTo>
                      <a:pt x="455" y="138"/>
                    </a:lnTo>
                    <a:lnTo>
                      <a:pt x="458" y="140"/>
                    </a:lnTo>
                    <a:lnTo>
                      <a:pt x="458" y="142"/>
                    </a:lnTo>
                    <a:lnTo>
                      <a:pt x="455" y="143"/>
                    </a:lnTo>
                    <a:lnTo>
                      <a:pt x="451" y="140"/>
                    </a:lnTo>
                    <a:lnTo>
                      <a:pt x="442" y="140"/>
                    </a:lnTo>
                    <a:lnTo>
                      <a:pt x="433" y="140"/>
                    </a:lnTo>
                    <a:lnTo>
                      <a:pt x="430" y="140"/>
                    </a:lnTo>
                    <a:lnTo>
                      <a:pt x="409" y="140"/>
                    </a:lnTo>
                    <a:lnTo>
                      <a:pt x="402" y="143"/>
                    </a:lnTo>
                    <a:lnTo>
                      <a:pt x="399" y="144"/>
                    </a:lnTo>
                    <a:lnTo>
                      <a:pt x="395" y="144"/>
                    </a:lnTo>
                    <a:lnTo>
                      <a:pt x="391" y="143"/>
                    </a:lnTo>
                    <a:lnTo>
                      <a:pt x="390" y="143"/>
                    </a:lnTo>
                    <a:lnTo>
                      <a:pt x="388" y="147"/>
                    </a:lnTo>
                    <a:lnTo>
                      <a:pt x="388" y="150"/>
                    </a:lnTo>
                    <a:lnTo>
                      <a:pt x="388" y="153"/>
                    </a:lnTo>
                    <a:lnTo>
                      <a:pt x="387" y="154"/>
                    </a:lnTo>
                    <a:lnTo>
                      <a:pt x="377" y="158"/>
                    </a:lnTo>
                    <a:lnTo>
                      <a:pt x="371" y="160"/>
                    </a:lnTo>
                    <a:lnTo>
                      <a:pt x="366" y="160"/>
                    </a:lnTo>
                    <a:lnTo>
                      <a:pt x="362" y="158"/>
                    </a:lnTo>
                    <a:lnTo>
                      <a:pt x="358" y="158"/>
                    </a:lnTo>
                    <a:lnTo>
                      <a:pt x="354" y="161"/>
                    </a:lnTo>
                    <a:lnTo>
                      <a:pt x="354" y="164"/>
                    </a:lnTo>
                    <a:lnTo>
                      <a:pt x="354" y="168"/>
                    </a:lnTo>
                    <a:lnTo>
                      <a:pt x="354" y="169"/>
                    </a:lnTo>
                    <a:lnTo>
                      <a:pt x="358" y="170"/>
                    </a:lnTo>
                    <a:lnTo>
                      <a:pt x="358" y="171"/>
                    </a:lnTo>
                    <a:lnTo>
                      <a:pt x="354" y="174"/>
                    </a:lnTo>
                    <a:lnTo>
                      <a:pt x="354" y="181"/>
                    </a:lnTo>
                    <a:lnTo>
                      <a:pt x="357" y="179"/>
                    </a:lnTo>
                    <a:lnTo>
                      <a:pt x="358" y="179"/>
                    </a:lnTo>
                    <a:lnTo>
                      <a:pt x="359" y="181"/>
                    </a:lnTo>
                    <a:lnTo>
                      <a:pt x="362" y="184"/>
                    </a:lnTo>
                    <a:lnTo>
                      <a:pt x="364" y="186"/>
                    </a:lnTo>
                    <a:lnTo>
                      <a:pt x="362" y="188"/>
                    </a:lnTo>
                    <a:lnTo>
                      <a:pt x="346" y="189"/>
                    </a:lnTo>
                    <a:lnTo>
                      <a:pt x="328" y="201"/>
                    </a:lnTo>
                    <a:lnTo>
                      <a:pt x="324" y="201"/>
                    </a:lnTo>
                    <a:lnTo>
                      <a:pt x="314" y="205"/>
                    </a:lnTo>
                    <a:lnTo>
                      <a:pt x="308" y="209"/>
                    </a:lnTo>
                    <a:lnTo>
                      <a:pt x="304" y="214"/>
                    </a:lnTo>
                    <a:lnTo>
                      <a:pt x="304" y="215"/>
                    </a:lnTo>
                    <a:lnTo>
                      <a:pt x="303" y="218"/>
                    </a:lnTo>
                    <a:lnTo>
                      <a:pt x="298" y="221"/>
                    </a:lnTo>
                    <a:lnTo>
                      <a:pt x="294" y="226"/>
                    </a:lnTo>
                    <a:lnTo>
                      <a:pt x="282" y="229"/>
                    </a:lnTo>
                    <a:lnTo>
                      <a:pt x="271" y="231"/>
                    </a:lnTo>
                    <a:lnTo>
                      <a:pt x="265" y="231"/>
                    </a:lnTo>
                    <a:lnTo>
                      <a:pt x="260" y="232"/>
                    </a:lnTo>
                    <a:lnTo>
                      <a:pt x="249" y="231"/>
                    </a:lnTo>
                    <a:lnTo>
                      <a:pt x="248" y="234"/>
                    </a:lnTo>
                    <a:lnTo>
                      <a:pt x="248" y="239"/>
                    </a:lnTo>
                    <a:lnTo>
                      <a:pt x="247" y="240"/>
                    </a:lnTo>
                    <a:lnTo>
                      <a:pt x="241" y="240"/>
                    </a:lnTo>
                    <a:lnTo>
                      <a:pt x="237" y="237"/>
                    </a:lnTo>
                    <a:lnTo>
                      <a:pt x="232" y="239"/>
                    </a:lnTo>
                    <a:lnTo>
                      <a:pt x="227" y="237"/>
                    </a:lnTo>
                    <a:lnTo>
                      <a:pt x="223" y="240"/>
                    </a:lnTo>
                    <a:lnTo>
                      <a:pt x="220" y="244"/>
                    </a:lnTo>
                    <a:lnTo>
                      <a:pt x="215" y="246"/>
                    </a:lnTo>
                    <a:lnTo>
                      <a:pt x="210" y="250"/>
                    </a:lnTo>
                    <a:lnTo>
                      <a:pt x="201" y="250"/>
                    </a:lnTo>
                    <a:lnTo>
                      <a:pt x="187" y="258"/>
                    </a:lnTo>
                    <a:lnTo>
                      <a:pt x="168" y="270"/>
                    </a:lnTo>
                    <a:lnTo>
                      <a:pt x="168" y="314"/>
                    </a:lnTo>
                    <a:lnTo>
                      <a:pt x="144" y="314"/>
                    </a:lnTo>
                    <a:lnTo>
                      <a:pt x="113" y="314"/>
                    </a:lnTo>
                    <a:lnTo>
                      <a:pt x="84" y="314"/>
                    </a:lnTo>
                    <a:lnTo>
                      <a:pt x="56" y="314"/>
                    </a:lnTo>
                    <a:lnTo>
                      <a:pt x="29" y="314"/>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5" name="Freeform 41"/>
              <p:cNvSpPr>
                <a:spLocks/>
              </p:cNvSpPr>
              <p:nvPr/>
            </p:nvSpPr>
            <p:spPr bwMode="auto">
              <a:xfrm>
                <a:off x="740" y="1067"/>
                <a:ext cx="495" cy="330"/>
              </a:xfrm>
              <a:custGeom>
                <a:avLst/>
                <a:gdLst>
                  <a:gd name="T0" fmla="*/ 0 w 463"/>
                  <a:gd name="T1" fmla="*/ 8375 h 314"/>
                  <a:gd name="T2" fmla="*/ 1392 w 463"/>
                  <a:gd name="T3" fmla="*/ 8073 h 314"/>
                  <a:gd name="T4" fmla="*/ 4959 w 463"/>
                  <a:gd name="T5" fmla="*/ 7674 h 314"/>
                  <a:gd name="T6" fmla="*/ 6469 w 463"/>
                  <a:gd name="T7" fmla="*/ 7310 h 314"/>
                  <a:gd name="T8" fmla="*/ 8379 w 463"/>
                  <a:gd name="T9" fmla="*/ 6917 h 314"/>
                  <a:gd name="T10" fmla="*/ 9648 w 463"/>
                  <a:gd name="T11" fmla="*/ 6443 h 314"/>
                  <a:gd name="T12" fmla="*/ 10363 w 463"/>
                  <a:gd name="T13" fmla="*/ 5669 h 314"/>
                  <a:gd name="T14" fmla="*/ 10239 w 463"/>
                  <a:gd name="T15" fmla="*/ 4757 h 314"/>
                  <a:gd name="T16" fmla="*/ 11184 w 463"/>
                  <a:gd name="T17" fmla="*/ 4098 h 314"/>
                  <a:gd name="T18" fmla="*/ 11823 w 463"/>
                  <a:gd name="T19" fmla="*/ 4003 h 314"/>
                  <a:gd name="T20" fmla="*/ 13514 w 463"/>
                  <a:gd name="T21" fmla="*/ 3041 h 314"/>
                  <a:gd name="T22" fmla="*/ 15611 w 463"/>
                  <a:gd name="T23" fmla="*/ 2560 h 314"/>
                  <a:gd name="T24" fmla="*/ 19449 w 463"/>
                  <a:gd name="T25" fmla="*/ 1997 h 314"/>
                  <a:gd name="T26" fmla="*/ 21136 w 463"/>
                  <a:gd name="T27" fmla="*/ 1378 h 314"/>
                  <a:gd name="T28" fmla="*/ 23027 w 463"/>
                  <a:gd name="T29" fmla="*/ 3 h 314"/>
                  <a:gd name="T30" fmla="*/ 25638 w 463"/>
                  <a:gd name="T31" fmla="*/ 449 h 314"/>
                  <a:gd name="T32" fmla="*/ 28938 w 463"/>
                  <a:gd name="T33" fmla="*/ 576 h 314"/>
                  <a:gd name="T34" fmla="*/ 31384 w 463"/>
                  <a:gd name="T35" fmla="*/ 605 h 314"/>
                  <a:gd name="T36" fmla="*/ 32581 w 463"/>
                  <a:gd name="T37" fmla="*/ 738 h 314"/>
                  <a:gd name="T38" fmla="*/ 33757 w 463"/>
                  <a:gd name="T39" fmla="*/ 776 h 314"/>
                  <a:gd name="T40" fmla="*/ 35041 w 463"/>
                  <a:gd name="T41" fmla="*/ 972 h 314"/>
                  <a:gd name="T42" fmla="*/ 35872 w 463"/>
                  <a:gd name="T43" fmla="*/ 1129 h 314"/>
                  <a:gd name="T44" fmla="*/ 35885 w 463"/>
                  <a:gd name="T45" fmla="*/ 1277 h 314"/>
                  <a:gd name="T46" fmla="*/ 36021 w 463"/>
                  <a:gd name="T47" fmla="*/ 1558 h 314"/>
                  <a:gd name="T48" fmla="*/ 36090 w 463"/>
                  <a:gd name="T49" fmla="*/ 1997 h 314"/>
                  <a:gd name="T50" fmla="*/ 36487 w 463"/>
                  <a:gd name="T51" fmla="*/ 2318 h 314"/>
                  <a:gd name="T52" fmla="*/ 36487 w 463"/>
                  <a:gd name="T53" fmla="*/ 2560 h 314"/>
                  <a:gd name="T54" fmla="*/ 36762 w 463"/>
                  <a:gd name="T55" fmla="*/ 2827 h 314"/>
                  <a:gd name="T56" fmla="*/ 37774 w 463"/>
                  <a:gd name="T57" fmla="*/ 3312 h 314"/>
                  <a:gd name="T58" fmla="*/ 37774 w 463"/>
                  <a:gd name="T59" fmla="*/ 3448 h 314"/>
                  <a:gd name="T60" fmla="*/ 37774 w 463"/>
                  <a:gd name="T61" fmla="*/ 3729 h 314"/>
                  <a:gd name="T62" fmla="*/ 37193 w 463"/>
                  <a:gd name="T63" fmla="*/ 3729 h 314"/>
                  <a:gd name="T64" fmla="*/ 35421 w 463"/>
                  <a:gd name="T65" fmla="*/ 3729 h 314"/>
                  <a:gd name="T66" fmla="*/ 32897 w 463"/>
                  <a:gd name="T67" fmla="*/ 3827 h 314"/>
                  <a:gd name="T68" fmla="*/ 32129 w 463"/>
                  <a:gd name="T69" fmla="*/ 3809 h 314"/>
                  <a:gd name="T70" fmla="*/ 32020 w 463"/>
                  <a:gd name="T71" fmla="*/ 4098 h 314"/>
                  <a:gd name="T72" fmla="*/ 30475 w 463"/>
                  <a:gd name="T73" fmla="*/ 4246 h 314"/>
                  <a:gd name="T74" fmla="*/ 29365 w 463"/>
                  <a:gd name="T75" fmla="*/ 4207 h 314"/>
                  <a:gd name="T76" fmla="*/ 29140 w 463"/>
                  <a:gd name="T77" fmla="*/ 4462 h 314"/>
                  <a:gd name="T78" fmla="*/ 29365 w 463"/>
                  <a:gd name="T79" fmla="*/ 4555 h 314"/>
                  <a:gd name="T80" fmla="*/ 29358 w 463"/>
                  <a:gd name="T81" fmla="*/ 4782 h 314"/>
                  <a:gd name="T82" fmla="*/ 29858 w 463"/>
                  <a:gd name="T83" fmla="*/ 4884 h 314"/>
                  <a:gd name="T84" fmla="*/ 28488 w 463"/>
                  <a:gd name="T85" fmla="*/ 5031 h 314"/>
                  <a:gd name="T86" fmla="*/ 25829 w 463"/>
                  <a:gd name="T87" fmla="*/ 5443 h 314"/>
                  <a:gd name="T88" fmla="*/ 24938 w 463"/>
                  <a:gd name="T89" fmla="*/ 5720 h 314"/>
                  <a:gd name="T90" fmla="*/ 24159 w 463"/>
                  <a:gd name="T91" fmla="*/ 6011 h 314"/>
                  <a:gd name="T92" fmla="*/ 21805 w 463"/>
                  <a:gd name="T93" fmla="*/ 6137 h 314"/>
                  <a:gd name="T94" fmla="*/ 20395 w 463"/>
                  <a:gd name="T95" fmla="*/ 6262 h 314"/>
                  <a:gd name="T96" fmla="*/ 19779 w 463"/>
                  <a:gd name="T97" fmla="*/ 6367 h 314"/>
                  <a:gd name="T98" fmla="*/ 18760 w 463"/>
                  <a:gd name="T99" fmla="*/ 6298 h 314"/>
                  <a:gd name="T100" fmla="*/ 17656 w 463"/>
                  <a:gd name="T101" fmla="*/ 6581 h 314"/>
                  <a:gd name="T102" fmla="*/ 15421 w 463"/>
                  <a:gd name="T103" fmla="*/ 6900 h 314"/>
                  <a:gd name="T104" fmla="*/ 11823 w 463"/>
                  <a:gd name="T105" fmla="*/ 8375 h 314"/>
                  <a:gd name="T106" fmla="*/ 4632 w 463"/>
                  <a:gd name="T107" fmla="*/ 8375 h 3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63"/>
                  <a:gd name="T163" fmla="*/ 0 h 314"/>
                  <a:gd name="T164" fmla="*/ 463 w 463"/>
                  <a:gd name="T165" fmla="*/ 314 h 31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63" h="314">
                    <a:moveTo>
                      <a:pt x="29" y="314"/>
                    </a:moveTo>
                    <a:lnTo>
                      <a:pt x="7" y="314"/>
                    </a:lnTo>
                    <a:lnTo>
                      <a:pt x="0" y="314"/>
                    </a:lnTo>
                    <a:lnTo>
                      <a:pt x="3" y="307"/>
                    </a:lnTo>
                    <a:lnTo>
                      <a:pt x="10" y="304"/>
                    </a:lnTo>
                    <a:lnTo>
                      <a:pt x="18" y="304"/>
                    </a:lnTo>
                    <a:lnTo>
                      <a:pt x="33" y="303"/>
                    </a:lnTo>
                    <a:lnTo>
                      <a:pt x="53" y="294"/>
                    </a:lnTo>
                    <a:lnTo>
                      <a:pt x="61" y="288"/>
                    </a:lnTo>
                    <a:lnTo>
                      <a:pt x="68" y="282"/>
                    </a:lnTo>
                    <a:lnTo>
                      <a:pt x="71" y="281"/>
                    </a:lnTo>
                    <a:lnTo>
                      <a:pt x="78" y="275"/>
                    </a:lnTo>
                    <a:lnTo>
                      <a:pt x="91" y="270"/>
                    </a:lnTo>
                    <a:lnTo>
                      <a:pt x="99" y="263"/>
                    </a:lnTo>
                    <a:lnTo>
                      <a:pt x="101" y="260"/>
                    </a:lnTo>
                    <a:lnTo>
                      <a:pt x="104" y="259"/>
                    </a:lnTo>
                    <a:lnTo>
                      <a:pt x="108" y="256"/>
                    </a:lnTo>
                    <a:lnTo>
                      <a:pt x="116" y="242"/>
                    </a:lnTo>
                    <a:lnTo>
                      <a:pt x="127" y="226"/>
                    </a:lnTo>
                    <a:lnTo>
                      <a:pt x="129" y="222"/>
                    </a:lnTo>
                    <a:lnTo>
                      <a:pt x="127" y="212"/>
                    </a:lnTo>
                    <a:lnTo>
                      <a:pt x="120" y="201"/>
                    </a:lnTo>
                    <a:lnTo>
                      <a:pt x="123" y="195"/>
                    </a:lnTo>
                    <a:lnTo>
                      <a:pt x="123" y="178"/>
                    </a:lnTo>
                    <a:lnTo>
                      <a:pt x="124" y="174"/>
                    </a:lnTo>
                    <a:lnTo>
                      <a:pt x="137" y="155"/>
                    </a:lnTo>
                    <a:lnTo>
                      <a:pt x="137" y="153"/>
                    </a:lnTo>
                    <a:lnTo>
                      <a:pt x="144" y="150"/>
                    </a:lnTo>
                    <a:lnTo>
                      <a:pt x="146" y="148"/>
                    </a:lnTo>
                    <a:lnTo>
                      <a:pt x="144" y="150"/>
                    </a:lnTo>
                    <a:lnTo>
                      <a:pt x="151" y="137"/>
                    </a:lnTo>
                    <a:lnTo>
                      <a:pt x="149" y="129"/>
                    </a:lnTo>
                    <a:lnTo>
                      <a:pt x="165" y="114"/>
                    </a:lnTo>
                    <a:lnTo>
                      <a:pt x="171" y="106"/>
                    </a:lnTo>
                    <a:lnTo>
                      <a:pt x="179" y="101"/>
                    </a:lnTo>
                    <a:lnTo>
                      <a:pt x="190" y="96"/>
                    </a:lnTo>
                    <a:lnTo>
                      <a:pt x="210" y="89"/>
                    </a:lnTo>
                    <a:lnTo>
                      <a:pt x="220" y="85"/>
                    </a:lnTo>
                    <a:lnTo>
                      <a:pt x="237" y="75"/>
                    </a:lnTo>
                    <a:lnTo>
                      <a:pt x="244" y="69"/>
                    </a:lnTo>
                    <a:lnTo>
                      <a:pt x="249" y="59"/>
                    </a:lnTo>
                    <a:lnTo>
                      <a:pt x="257" y="51"/>
                    </a:lnTo>
                    <a:lnTo>
                      <a:pt x="265" y="31"/>
                    </a:lnTo>
                    <a:lnTo>
                      <a:pt x="276" y="7"/>
                    </a:lnTo>
                    <a:lnTo>
                      <a:pt x="280" y="3"/>
                    </a:lnTo>
                    <a:lnTo>
                      <a:pt x="295" y="0"/>
                    </a:lnTo>
                    <a:lnTo>
                      <a:pt x="302" y="10"/>
                    </a:lnTo>
                    <a:lnTo>
                      <a:pt x="311" y="18"/>
                    </a:lnTo>
                    <a:lnTo>
                      <a:pt x="327" y="27"/>
                    </a:lnTo>
                    <a:lnTo>
                      <a:pt x="334" y="28"/>
                    </a:lnTo>
                    <a:lnTo>
                      <a:pt x="351" y="23"/>
                    </a:lnTo>
                    <a:lnTo>
                      <a:pt x="356" y="24"/>
                    </a:lnTo>
                    <a:lnTo>
                      <a:pt x="369" y="24"/>
                    </a:lnTo>
                    <a:lnTo>
                      <a:pt x="381" y="24"/>
                    </a:lnTo>
                    <a:lnTo>
                      <a:pt x="385" y="22"/>
                    </a:lnTo>
                    <a:lnTo>
                      <a:pt x="391" y="24"/>
                    </a:lnTo>
                    <a:lnTo>
                      <a:pt x="397" y="28"/>
                    </a:lnTo>
                    <a:lnTo>
                      <a:pt x="404" y="30"/>
                    </a:lnTo>
                    <a:lnTo>
                      <a:pt x="409" y="30"/>
                    </a:lnTo>
                    <a:lnTo>
                      <a:pt x="412" y="29"/>
                    </a:lnTo>
                    <a:lnTo>
                      <a:pt x="425" y="31"/>
                    </a:lnTo>
                    <a:lnTo>
                      <a:pt x="425" y="33"/>
                    </a:lnTo>
                    <a:lnTo>
                      <a:pt x="426" y="37"/>
                    </a:lnTo>
                    <a:lnTo>
                      <a:pt x="430" y="39"/>
                    </a:lnTo>
                    <a:lnTo>
                      <a:pt x="431" y="41"/>
                    </a:lnTo>
                    <a:lnTo>
                      <a:pt x="435" y="43"/>
                    </a:lnTo>
                    <a:lnTo>
                      <a:pt x="437" y="44"/>
                    </a:lnTo>
                    <a:lnTo>
                      <a:pt x="438" y="48"/>
                    </a:lnTo>
                    <a:lnTo>
                      <a:pt x="437" y="48"/>
                    </a:lnTo>
                    <a:lnTo>
                      <a:pt x="437" y="49"/>
                    </a:lnTo>
                    <a:lnTo>
                      <a:pt x="440" y="55"/>
                    </a:lnTo>
                    <a:lnTo>
                      <a:pt x="438" y="59"/>
                    </a:lnTo>
                    <a:lnTo>
                      <a:pt x="440" y="63"/>
                    </a:lnTo>
                    <a:lnTo>
                      <a:pt x="442" y="69"/>
                    </a:lnTo>
                    <a:lnTo>
                      <a:pt x="440" y="75"/>
                    </a:lnTo>
                    <a:lnTo>
                      <a:pt x="440" y="80"/>
                    </a:lnTo>
                    <a:lnTo>
                      <a:pt x="440" y="82"/>
                    </a:lnTo>
                    <a:lnTo>
                      <a:pt x="443" y="87"/>
                    </a:lnTo>
                    <a:lnTo>
                      <a:pt x="443" y="89"/>
                    </a:lnTo>
                    <a:lnTo>
                      <a:pt x="443" y="92"/>
                    </a:lnTo>
                    <a:lnTo>
                      <a:pt x="443" y="96"/>
                    </a:lnTo>
                    <a:lnTo>
                      <a:pt x="443" y="99"/>
                    </a:lnTo>
                    <a:lnTo>
                      <a:pt x="443" y="103"/>
                    </a:lnTo>
                    <a:lnTo>
                      <a:pt x="447" y="106"/>
                    </a:lnTo>
                    <a:lnTo>
                      <a:pt x="447" y="111"/>
                    </a:lnTo>
                    <a:lnTo>
                      <a:pt x="451" y="119"/>
                    </a:lnTo>
                    <a:lnTo>
                      <a:pt x="458" y="125"/>
                    </a:lnTo>
                    <a:lnTo>
                      <a:pt x="463" y="127"/>
                    </a:lnTo>
                    <a:lnTo>
                      <a:pt x="463" y="128"/>
                    </a:lnTo>
                    <a:lnTo>
                      <a:pt x="458" y="129"/>
                    </a:lnTo>
                    <a:lnTo>
                      <a:pt x="455" y="133"/>
                    </a:lnTo>
                    <a:lnTo>
                      <a:pt x="455" y="138"/>
                    </a:lnTo>
                    <a:lnTo>
                      <a:pt x="458" y="140"/>
                    </a:lnTo>
                    <a:lnTo>
                      <a:pt x="458" y="142"/>
                    </a:lnTo>
                    <a:lnTo>
                      <a:pt x="455" y="143"/>
                    </a:lnTo>
                    <a:lnTo>
                      <a:pt x="451" y="140"/>
                    </a:lnTo>
                    <a:lnTo>
                      <a:pt x="442" y="140"/>
                    </a:lnTo>
                    <a:lnTo>
                      <a:pt x="433" y="140"/>
                    </a:lnTo>
                    <a:lnTo>
                      <a:pt x="430" y="140"/>
                    </a:lnTo>
                    <a:lnTo>
                      <a:pt x="409" y="140"/>
                    </a:lnTo>
                    <a:lnTo>
                      <a:pt x="402" y="143"/>
                    </a:lnTo>
                    <a:lnTo>
                      <a:pt x="399" y="144"/>
                    </a:lnTo>
                    <a:lnTo>
                      <a:pt x="395" y="144"/>
                    </a:lnTo>
                    <a:lnTo>
                      <a:pt x="391" y="143"/>
                    </a:lnTo>
                    <a:lnTo>
                      <a:pt x="390" y="143"/>
                    </a:lnTo>
                    <a:lnTo>
                      <a:pt x="388" y="147"/>
                    </a:lnTo>
                    <a:lnTo>
                      <a:pt x="388" y="150"/>
                    </a:lnTo>
                    <a:lnTo>
                      <a:pt x="388" y="153"/>
                    </a:lnTo>
                    <a:lnTo>
                      <a:pt x="387" y="154"/>
                    </a:lnTo>
                    <a:lnTo>
                      <a:pt x="377" y="158"/>
                    </a:lnTo>
                    <a:lnTo>
                      <a:pt x="371" y="160"/>
                    </a:lnTo>
                    <a:lnTo>
                      <a:pt x="366" y="160"/>
                    </a:lnTo>
                    <a:lnTo>
                      <a:pt x="362" y="158"/>
                    </a:lnTo>
                    <a:lnTo>
                      <a:pt x="358" y="158"/>
                    </a:lnTo>
                    <a:lnTo>
                      <a:pt x="354" y="161"/>
                    </a:lnTo>
                    <a:lnTo>
                      <a:pt x="354" y="164"/>
                    </a:lnTo>
                    <a:lnTo>
                      <a:pt x="354" y="168"/>
                    </a:lnTo>
                    <a:lnTo>
                      <a:pt x="354" y="169"/>
                    </a:lnTo>
                    <a:lnTo>
                      <a:pt x="358" y="170"/>
                    </a:lnTo>
                    <a:lnTo>
                      <a:pt x="358" y="171"/>
                    </a:lnTo>
                    <a:lnTo>
                      <a:pt x="354" y="174"/>
                    </a:lnTo>
                    <a:lnTo>
                      <a:pt x="354" y="181"/>
                    </a:lnTo>
                    <a:lnTo>
                      <a:pt x="357" y="179"/>
                    </a:lnTo>
                    <a:lnTo>
                      <a:pt x="358" y="179"/>
                    </a:lnTo>
                    <a:lnTo>
                      <a:pt x="359" y="181"/>
                    </a:lnTo>
                    <a:lnTo>
                      <a:pt x="362" y="184"/>
                    </a:lnTo>
                    <a:lnTo>
                      <a:pt x="364" y="186"/>
                    </a:lnTo>
                    <a:lnTo>
                      <a:pt x="362" y="188"/>
                    </a:lnTo>
                    <a:lnTo>
                      <a:pt x="346" y="189"/>
                    </a:lnTo>
                    <a:lnTo>
                      <a:pt x="328" y="201"/>
                    </a:lnTo>
                    <a:lnTo>
                      <a:pt x="324" y="201"/>
                    </a:lnTo>
                    <a:lnTo>
                      <a:pt x="314" y="205"/>
                    </a:lnTo>
                    <a:lnTo>
                      <a:pt x="308" y="209"/>
                    </a:lnTo>
                    <a:lnTo>
                      <a:pt x="304" y="214"/>
                    </a:lnTo>
                    <a:lnTo>
                      <a:pt x="304" y="215"/>
                    </a:lnTo>
                    <a:lnTo>
                      <a:pt x="303" y="218"/>
                    </a:lnTo>
                    <a:lnTo>
                      <a:pt x="298" y="221"/>
                    </a:lnTo>
                    <a:lnTo>
                      <a:pt x="294" y="226"/>
                    </a:lnTo>
                    <a:lnTo>
                      <a:pt x="282" y="229"/>
                    </a:lnTo>
                    <a:lnTo>
                      <a:pt x="271" y="231"/>
                    </a:lnTo>
                    <a:lnTo>
                      <a:pt x="265" y="231"/>
                    </a:lnTo>
                    <a:lnTo>
                      <a:pt x="260" y="232"/>
                    </a:lnTo>
                    <a:lnTo>
                      <a:pt x="249" y="231"/>
                    </a:lnTo>
                    <a:lnTo>
                      <a:pt x="248" y="234"/>
                    </a:lnTo>
                    <a:lnTo>
                      <a:pt x="248" y="239"/>
                    </a:lnTo>
                    <a:lnTo>
                      <a:pt x="247" y="240"/>
                    </a:lnTo>
                    <a:lnTo>
                      <a:pt x="241" y="240"/>
                    </a:lnTo>
                    <a:lnTo>
                      <a:pt x="237" y="237"/>
                    </a:lnTo>
                    <a:lnTo>
                      <a:pt x="232" y="239"/>
                    </a:lnTo>
                    <a:lnTo>
                      <a:pt x="227" y="237"/>
                    </a:lnTo>
                    <a:lnTo>
                      <a:pt x="223" y="240"/>
                    </a:lnTo>
                    <a:lnTo>
                      <a:pt x="220" y="244"/>
                    </a:lnTo>
                    <a:lnTo>
                      <a:pt x="215" y="246"/>
                    </a:lnTo>
                    <a:lnTo>
                      <a:pt x="210" y="250"/>
                    </a:lnTo>
                    <a:lnTo>
                      <a:pt x="201" y="250"/>
                    </a:lnTo>
                    <a:lnTo>
                      <a:pt x="187" y="258"/>
                    </a:lnTo>
                    <a:lnTo>
                      <a:pt x="168" y="270"/>
                    </a:lnTo>
                    <a:lnTo>
                      <a:pt x="168" y="314"/>
                    </a:lnTo>
                    <a:lnTo>
                      <a:pt x="144" y="314"/>
                    </a:lnTo>
                    <a:lnTo>
                      <a:pt x="113" y="314"/>
                    </a:lnTo>
                    <a:lnTo>
                      <a:pt x="84" y="314"/>
                    </a:lnTo>
                    <a:lnTo>
                      <a:pt x="56" y="314"/>
                    </a:lnTo>
                    <a:lnTo>
                      <a:pt x="29" y="314"/>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46" name="Freeform 42"/>
              <p:cNvSpPr>
                <a:spLocks/>
              </p:cNvSpPr>
              <p:nvPr/>
            </p:nvSpPr>
            <p:spPr bwMode="auto">
              <a:xfrm>
                <a:off x="581" y="1961"/>
                <a:ext cx="126" cy="33"/>
              </a:xfrm>
              <a:custGeom>
                <a:avLst/>
                <a:gdLst>
                  <a:gd name="T0" fmla="*/ 4059 w 117"/>
                  <a:gd name="T1" fmla="*/ 1531 h 31"/>
                  <a:gd name="T2" fmla="*/ 5 w 117"/>
                  <a:gd name="T3" fmla="*/ 1630 h 31"/>
                  <a:gd name="T4" fmla="*/ 1 w 117"/>
                  <a:gd name="T5" fmla="*/ 1883 h 31"/>
                  <a:gd name="T6" fmla="*/ 0 w 117"/>
                  <a:gd name="T7" fmla="*/ 1883 h 31"/>
                  <a:gd name="T8" fmla="*/ 0 w 117"/>
                  <a:gd name="T9" fmla="*/ 1769 h 31"/>
                  <a:gd name="T10" fmla="*/ 0 w 117"/>
                  <a:gd name="T11" fmla="*/ 1351 h 31"/>
                  <a:gd name="T12" fmla="*/ 0 w 117"/>
                  <a:gd name="T13" fmla="*/ 1052 h 31"/>
                  <a:gd name="T14" fmla="*/ 1 w 117"/>
                  <a:gd name="T15" fmla="*/ 988 h 31"/>
                  <a:gd name="T16" fmla="*/ 4 w 117"/>
                  <a:gd name="T17" fmla="*/ 819 h 31"/>
                  <a:gd name="T18" fmla="*/ 5 w 117"/>
                  <a:gd name="T19" fmla="*/ 819 h 31"/>
                  <a:gd name="T20" fmla="*/ 1134 w 117"/>
                  <a:gd name="T21" fmla="*/ 819 h 31"/>
                  <a:gd name="T22" fmla="*/ 1134 w 117"/>
                  <a:gd name="T23" fmla="*/ 678 h 31"/>
                  <a:gd name="T24" fmla="*/ 1134 w 117"/>
                  <a:gd name="T25" fmla="*/ 598 h 31"/>
                  <a:gd name="T26" fmla="*/ 1315 w 117"/>
                  <a:gd name="T27" fmla="*/ 598 h 31"/>
                  <a:gd name="T28" fmla="*/ 6331 w 117"/>
                  <a:gd name="T29" fmla="*/ 598 h 31"/>
                  <a:gd name="T30" fmla="*/ 6818 w 117"/>
                  <a:gd name="T31" fmla="*/ 5 h 31"/>
                  <a:gd name="T32" fmla="*/ 7342 w 117"/>
                  <a:gd name="T33" fmla="*/ 1 h 31"/>
                  <a:gd name="T34" fmla="*/ 7901 w 117"/>
                  <a:gd name="T35" fmla="*/ 1 h 31"/>
                  <a:gd name="T36" fmla="*/ 8490 w 117"/>
                  <a:gd name="T37" fmla="*/ 0 h 31"/>
                  <a:gd name="T38" fmla="*/ 9025 w 117"/>
                  <a:gd name="T39" fmla="*/ 0 h 31"/>
                  <a:gd name="T40" fmla="*/ 9170 w 117"/>
                  <a:gd name="T41" fmla="*/ 1 h 31"/>
                  <a:gd name="T42" fmla="*/ 9846 w 117"/>
                  <a:gd name="T43" fmla="*/ 1 h 31"/>
                  <a:gd name="T44" fmla="*/ 10193 w 117"/>
                  <a:gd name="T45" fmla="*/ 7 h 31"/>
                  <a:gd name="T46" fmla="*/ 11446 w 117"/>
                  <a:gd name="T47" fmla="*/ 7 h 31"/>
                  <a:gd name="T48" fmla="*/ 11673 w 117"/>
                  <a:gd name="T49" fmla="*/ 7 h 31"/>
                  <a:gd name="T50" fmla="*/ 12139 w 117"/>
                  <a:gd name="T51" fmla="*/ 678 h 31"/>
                  <a:gd name="T52" fmla="*/ 12326 w 117"/>
                  <a:gd name="T53" fmla="*/ 819 h 31"/>
                  <a:gd name="T54" fmla="*/ 13091 w 117"/>
                  <a:gd name="T55" fmla="*/ 819 h 31"/>
                  <a:gd name="T56" fmla="*/ 14098 w 117"/>
                  <a:gd name="T57" fmla="*/ 637 h 31"/>
                  <a:gd name="T58" fmla="*/ 14295 w 117"/>
                  <a:gd name="T59" fmla="*/ 598 h 31"/>
                  <a:gd name="T60" fmla="*/ 14579 w 117"/>
                  <a:gd name="T61" fmla="*/ 598 h 31"/>
                  <a:gd name="T62" fmla="*/ 15180 w 117"/>
                  <a:gd name="T63" fmla="*/ 637 h 31"/>
                  <a:gd name="T64" fmla="*/ 15359 w 117"/>
                  <a:gd name="T65" fmla="*/ 637 h 31"/>
                  <a:gd name="T66" fmla="*/ 15405 w 117"/>
                  <a:gd name="T67" fmla="*/ 637 h 31"/>
                  <a:gd name="T68" fmla="*/ 15405 w 117"/>
                  <a:gd name="T69" fmla="*/ 819 h 31"/>
                  <a:gd name="T70" fmla="*/ 15405 w 117"/>
                  <a:gd name="T71" fmla="*/ 928 h 31"/>
                  <a:gd name="T72" fmla="*/ 15180 w 117"/>
                  <a:gd name="T73" fmla="*/ 1120 h 31"/>
                  <a:gd name="T74" fmla="*/ 14098 w 117"/>
                  <a:gd name="T75" fmla="*/ 1269 h 31"/>
                  <a:gd name="T76" fmla="*/ 13538 w 117"/>
                  <a:gd name="T77" fmla="*/ 1351 h 31"/>
                  <a:gd name="T78" fmla="*/ 13243 w 117"/>
                  <a:gd name="T79" fmla="*/ 1269 h 31"/>
                  <a:gd name="T80" fmla="*/ 12326 w 117"/>
                  <a:gd name="T81" fmla="*/ 1269 h 31"/>
                  <a:gd name="T82" fmla="*/ 11673 w 117"/>
                  <a:gd name="T83" fmla="*/ 1120 h 31"/>
                  <a:gd name="T84" fmla="*/ 10977 w 117"/>
                  <a:gd name="T85" fmla="*/ 1120 h 31"/>
                  <a:gd name="T86" fmla="*/ 10193 w 117"/>
                  <a:gd name="T87" fmla="*/ 872 h 31"/>
                  <a:gd name="T88" fmla="*/ 9719 w 117"/>
                  <a:gd name="T89" fmla="*/ 819 h 31"/>
                  <a:gd name="T90" fmla="*/ 9170 w 117"/>
                  <a:gd name="T91" fmla="*/ 678 h 31"/>
                  <a:gd name="T92" fmla="*/ 8515 w 117"/>
                  <a:gd name="T93" fmla="*/ 637 h 31"/>
                  <a:gd name="T94" fmla="*/ 8490 w 117"/>
                  <a:gd name="T95" fmla="*/ 678 h 31"/>
                  <a:gd name="T96" fmla="*/ 7907 w 117"/>
                  <a:gd name="T97" fmla="*/ 872 h 31"/>
                  <a:gd name="T98" fmla="*/ 7225 w 117"/>
                  <a:gd name="T99" fmla="*/ 988 h 31"/>
                  <a:gd name="T100" fmla="*/ 5879 w 117"/>
                  <a:gd name="T101" fmla="*/ 1052 h 31"/>
                  <a:gd name="T102" fmla="*/ 5785 w 117"/>
                  <a:gd name="T103" fmla="*/ 988 h 31"/>
                  <a:gd name="T104" fmla="*/ 5372 w 117"/>
                  <a:gd name="T105" fmla="*/ 1052 h 31"/>
                  <a:gd name="T106" fmla="*/ 5064 w 117"/>
                  <a:gd name="T107" fmla="*/ 1351 h 31"/>
                  <a:gd name="T108" fmla="*/ 5064 w 117"/>
                  <a:gd name="T109" fmla="*/ 1531 h 31"/>
                  <a:gd name="T110" fmla="*/ 4059 w 117"/>
                  <a:gd name="T111" fmla="*/ 1531 h 3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7"/>
                  <a:gd name="T169" fmla="*/ 0 h 31"/>
                  <a:gd name="T170" fmla="*/ 117 w 117"/>
                  <a:gd name="T171" fmla="*/ 31 h 3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7" h="31">
                    <a:moveTo>
                      <a:pt x="31" y="24"/>
                    </a:moveTo>
                    <a:lnTo>
                      <a:pt x="5" y="26"/>
                    </a:lnTo>
                    <a:lnTo>
                      <a:pt x="1" y="31"/>
                    </a:lnTo>
                    <a:lnTo>
                      <a:pt x="0" y="31"/>
                    </a:lnTo>
                    <a:lnTo>
                      <a:pt x="0" y="29"/>
                    </a:lnTo>
                    <a:lnTo>
                      <a:pt x="0" y="22"/>
                    </a:lnTo>
                    <a:lnTo>
                      <a:pt x="0" y="18"/>
                    </a:lnTo>
                    <a:lnTo>
                      <a:pt x="1" y="17"/>
                    </a:lnTo>
                    <a:lnTo>
                      <a:pt x="4" y="14"/>
                    </a:lnTo>
                    <a:lnTo>
                      <a:pt x="5" y="14"/>
                    </a:lnTo>
                    <a:lnTo>
                      <a:pt x="8" y="14"/>
                    </a:lnTo>
                    <a:lnTo>
                      <a:pt x="8" y="11"/>
                    </a:lnTo>
                    <a:lnTo>
                      <a:pt x="8" y="9"/>
                    </a:lnTo>
                    <a:lnTo>
                      <a:pt x="10" y="9"/>
                    </a:lnTo>
                    <a:lnTo>
                      <a:pt x="48" y="9"/>
                    </a:lnTo>
                    <a:lnTo>
                      <a:pt x="52" y="5"/>
                    </a:lnTo>
                    <a:lnTo>
                      <a:pt x="56" y="1"/>
                    </a:lnTo>
                    <a:lnTo>
                      <a:pt x="59" y="1"/>
                    </a:lnTo>
                    <a:lnTo>
                      <a:pt x="63" y="0"/>
                    </a:lnTo>
                    <a:lnTo>
                      <a:pt x="67" y="0"/>
                    </a:lnTo>
                    <a:lnTo>
                      <a:pt x="70" y="1"/>
                    </a:lnTo>
                    <a:lnTo>
                      <a:pt x="73" y="1"/>
                    </a:lnTo>
                    <a:lnTo>
                      <a:pt x="77" y="7"/>
                    </a:lnTo>
                    <a:lnTo>
                      <a:pt x="86" y="7"/>
                    </a:lnTo>
                    <a:lnTo>
                      <a:pt x="88" y="7"/>
                    </a:lnTo>
                    <a:lnTo>
                      <a:pt x="90" y="11"/>
                    </a:lnTo>
                    <a:lnTo>
                      <a:pt x="93" y="14"/>
                    </a:lnTo>
                    <a:lnTo>
                      <a:pt x="98" y="14"/>
                    </a:lnTo>
                    <a:lnTo>
                      <a:pt x="106" y="10"/>
                    </a:lnTo>
                    <a:lnTo>
                      <a:pt x="108" y="9"/>
                    </a:lnTo>
                    <a:lnTo>
                      <a:pt x="110" y="9"/>
                    </a:lnTo>
                    <a:lnTo>
                      <a:pt x="113" y="10"/>
                    </a:lnTo>
                    <a:lnTo>
                      <a:pt x="115" y="10"/>
                    </a:lnTo>
                    <a:lnTo>
                      <a:pt x="117" y="10"/>
                    </a:lnTo>
                    <a:lnTo>
                      <a:pt x="117" y="14"/>
                    </a:lnTo>
                    <a:lnTo>
                      <a:pt x="117" y="16"/>
                    </a:lnTo>
                    <a:lnTo>
                      <a:pt x="113" y="19"/>
                    </a:lnTo>
                    <a:lnTo>
                      <a:pt x="106" y="21"/>
                    </a:lnTo>
                    <a:lnTo>
                      <a:pt x="102" y="22"/>
                    </a:lnTo>
                    <a:lnTo>
                      <a:pt x="99" y="21"/>
                    </a:lnTo>
                    <a:lnTo>
                      <a:pt x="93" y="21"/>
                    </a:lnTo>
                    <a:lnTo>
                      <a:pt x="88" y="19"/>
                    </a:lnTo>
                    <a:lnTo>
                      <a:pt x="83" y="19"/>
                    </a:lnTo>
                    <a:lnTo>
                      <a:pt x="77" y="15"/>
                    </a:lnTo>
                    <a:lnTo>
                      <a:pt x="72" y="14"/>
                    </a:lnTo>
                    <a:lnTo>
                      <a:pt x="70" y="11"/>
                    </a:lnTo>
                    <a:lnTo>
                      <a:pt x="65" y="10"/>
                    </a:lnTo>
                    <a:lnTo>
                      <a:pt x="63" y="11"/>
                    </a:lnTo>
                    <a:lnTo>
                      <a:pt x="60" y="15"/>
                    </a:lnTo>
                    <a:lnTo>
                      <a:pt x="54" y="17"/>
                    </a:lnTo>
                    <a:lnTo>
                      <a:pt x="45" y="18"/>
                    </a:lnTo>
                    <a:lnTo>
                      <a:pt x="43" y="17"/>
                    </a:lnTo>
                    <a:lnTo>
                      <a:pt x="40" y="18"/>
                    </a:lnTo>
                    <a:lnTo>
                      <a:pt x="38" y="22"/>
                    </a:lnTo>
                    <a:lnTo>
                      <a:pt x="38" y="24"/>
                    </a:lnTo>
                    <a:lnTo>
                      <a:pt x="31"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7" name="Freeform 43"/>
              <p:cNvSpPr>
                <a:spLocks/>
              </p:cNvSpPr>
              <p:nvPr/>
            </p:nvSpPr>
            <p:spPr bwMode="auto">
              <a:xfrm>
                <a:off x="581" y="1961"/>
                <a:ext cx="126" cy="33"/>
              </a:xfrm>
              <a:custGeom>
                <a:avLst/>
                <a:gdLst>
                  <a:gd name="T0" fmla="*/ 4059 w 117"/>
                  <a:gd name="T1" fmla="*/ 1531 h 31"/>
                  <a:gd name="T2" fmla="*/ 5 w 117"/>
                  <a:gd name="T3" fmla="*/ 1630 h 31"/>
                  <a:gd name="T4" fmla="*/ 1 w 117"/>
                  <a:gd name="T5" fmla="*/ 1883 h 31"/>
                  <a:gd name="T6" fmla="*/ 0 w 117"/>
                  <a:gd name="T7" fmla="*/ 1883 h 31"/>
                  <a:gd name="T8" fmla="*/ 0 w 117"/>
                  <a:gd name="T9" fmla="*/ 1769 h 31"/>
                  <a:gd name="T10" fmla="*/ 0 w 117"/>
                  <a:gd name="T11" fmla="*/ 1351 h 31"/>
                  <a:gd name="T12" fmla="*/ 0 w 117"/>
                  <a:gd name="T13" fmla="*/ 1052 h 31"/>
                  <a:gd name="T14" fmla="*/ 1 w 117"/>
                  <a:gd name="T15" fmla="*/ 988 h 31"/>
                  <a:gd name="T16" fmla="*/ 4 w 117"/>
                  <a:gd name="T17" fmla="*/ 819 h 31"/>
                  <a:gd name="T18" fmla="*/ 5 w 117"/>
                  <a:gd name="T19" fmla="*/ 819 h 31"/>
                  <a:gd name="T20" fmla="*/ 1134 w 117"/>
                  <a:gd name="T21" fmla="*/ 819 h 31"/>
                  <a:gd name="T22" fmla="*/ 1134 w 117"/>
                  <a:gd name="T23" fmla="*/ 678 h 31"/>
                  <a:gd name="T24" fmla="*/ 1134 w 117"/>
                  <a:gd name="T25" fmla="*/ 598 h 31"/>
                  <a:gd name="T26" fmla="*/ 1315 w 117"/>
                  <a:gd name="T27" fmla="*/ 598 h 31"/>
                  <a:gd name="T28" fmla="*/ 6331 w 117"/>
                  <a:gd name="T29" fmla="*/ 598 h 31"/>
                  <a:gd name="T30" fmla="*/ 6818 w 117"/>
                  <a:gd name="T31" fmla="*/ 5 h 31"/>
                  <a:gd name="T32" fmla="*/ 7342 w 117"/>
                  <a:gd name="T33" fmla="*/ 1 h 31"/>
                  <a:gd name="T34" fmla="*/ 7901 w 117"/>
                  <a:gd name="T35" fmla="*/ 1 h 31"/>
                  <a:gd name="T36" fmla="*/ 8490 w 117"/>
                  <a:gd name="T37" fmla="*/ 0 h 31"/>
                  <a:gd name="T38" fmla="*/ 9025 w 117"/>
                  <a:gd name="T39" fmla="*/ 0 h 31"/>
                  <a:gd name="T40" fmla="*/ 9170 w 117"/>
                  <a:gd name="T41" fmla="*/ 1 h 31"/>
                  <a:gd name="T42" fmla="*/ 9846 w 117"/>
                  <a:gd name="T43" fmla="*/ 1 h 31"/>
                  <a:gd name="T44" fmla="*/ 10193 w 117"/>
                  <a:gd name="T45" fmla="*/ 7 h 31"/>
                  <a:gd name="T46" fmla="*/ 11446 w 117"/>
                  <a:gd name="T47" fmla="*/ 7 h 31"/>
                  <a:gd name="T48" fmla="*/ 11673 w 117"/>
                  <a:gd name="T49" fmla="*/ 7 h 31"/>
                  <a:gd name="T50" fmla="*/ 12139 w 117"/>
                  <a:gd name="T51" fmla="*/ 678 h 31"/>
                  <a:gd name="T52" fmla="*/ 12326 w 117"/>
                  <a:gd name="T53" fmla="*/ 819 h 31"/>
                  <a:gd name="T54" fmla="*/ 13091 w 117"/>
                  <a:gd name="T55" fmla="*/ 819 h 31"/>
                  <a:gd name="T56" fmla="*/ 14098 w 117"/>
                  <a:gd name="T57" fmla="*/ 637 h 31"/>
                  <a:gd name="T58" fmla="*/ 14295 w 117"/>
                  <a:gd name="T59" fmla="*/ 598 h 31"/>
                  <a:gd name="T60" fmla="*/ 14579 w 117"/>
                  <a:gd name="T61" fmla="*/ 598 h 31"/>
                  <a:gd name="T62" fmla="*/ 15180 w 117"/>
                  <a:gd name="T63" fmla="*/ 637 h 31"/>
                  <a:gd name="T64" fmla="*/ 15359 w 117"/>
                  <a:gd name="T65" fmla="*/ 637 h 31"/>
                  <a:gd name="T66" fmla="*/ 15405 w 117"/>
                  <a:gd name="T67" fmla="*/ 637 h 31"/>
                  <a:gd name="T68" fmla="*/ 15405 w 117"/>
                  <a:gd name="T69" fmla="*/ 819 h 31"/>
                  <a:gd name="T70" fmla="*/ 15405 w 117"/>
                  <a:gd name="T71" fmla="*/ 928 h 31"/>
                  <a:gd name="T72" fmla="*/ 15180 w 117"/>
                  <a:gd name="T73" fmla="*/ 1120 h 31"/>
                  <a:gd name="T74" fmla="*/ 14098 w 117"/>
                  <a:gd name="T75" fmla="*/ 1269 h 31"/>
                  <a:gd name="T76" fmla="*/ 13538 w 117"/>
                  <a:gd name="T77" fmla="*/ 1351 h 31"/>
                  <a:gd name="T78" fmla="*/ 13243 w 117"/>
                  <a:gd name="T79" fmla="*/ 1269 h 31"/>
                  <a:gd name="T80" fmla="*/ 12326 w 117"/>
                  <a:gd name="T81" fmla="*/ 1269 h 31"/>
                  <a:gd name="T82" fmla="*/ 11673 w 117"/>
                  <a:gd name="T83" fmla="*/ 1120 h 31"/>
                  <a:gd name="T84" fmla="*/ 10977 w 117"/>
                  <a:gd name="T85" fmla="*/ 1120 h 31"/>
                  <a:gd name="T86" fmla="*/ 10193 w 117"/>
                  <a:gd name="T87" fmla="*/ 872 h 31"/>
                  <a:gd name="T88" fmla="*/ 9719 w 117"/>
                  <a:gd name="T89" fmla="*/ 819 h 31"/>
                  <a:gd name="T90" fmla="*/ 9170 w 117"/>
                  <a:gd name="T91" fmla="*/ 678 h 31"/>
                  <a:gd name="T92" fmla="*/ 8515 w 117"/>
                  <a:gd name="T93" fmla="*/ 637 h 31"/>
                  <a:gd name="T94" fmla="*/ 8490 w 117"/>
                  <a:gd name="T95" fmla="*/ 678 h 31"/>
                  <a:gd name="T96" fmla="*/ 7907 w 117"/>
                  <a:gd name="T97" fmla="*/ 872 h 31"/>
                  <a:gd name="T98" fmla="*/ 7225 w 117"/>
                  <a:gd name="T99" fmla="*/ 988 h 31"/>
                  <a:gd name="T100" fmla="*/ 5879 w 117"/>
                  <a:gd name="T101" fmla="*/ 1052 h 31"/>
                  <a:gd name="T102" fmla="*/ 5785 w 117"/>
                  <a:gd name="T103" fmla="*/ 988 h 31"/>
                  <a:gd name="T104" fmla="*/ 5372 w 117"/>
                  <a:gd name="T105" fmla="*/ 1052 h 31"/>
                  <a:gd name="T106" fmla="*/ 5064 w 117"/>
                  <a:gd name="T107" fmla="*/ 1351 h 31"/>
                  <a:gd name="T108" fmla="*/ 5064 w 117"/>
                  <a:gd name="T109" fmla="*/ 1531 h 31"/>
                  <a:gd name="T110" fmla="*/ 4059 w 117"/>
                  <a:gd name="T111" fmla="*/ 1531 h 3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7"/>
                  <a:gd name="T169" fmla="*/ 0 h 31"/>
                  <a:gd name="T170" fmla="*/ 117 w 117"/>
                  <a:gd name="T171" fmla="*/ 31 h 3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7" h="31">
                    <a:moveTo>
                      <a:pt x="31" y="24"/>
                    </a:moveTo>
                    <a:lnTo>
                      <a:pt x="5" y="26"/>
                    </a:lnTo>
                    <a:lnTo>
                      <a:pt x="1" y="31"/>
                    </a:lnTo>
                    <a:lnTo>
                      <a:pt x="0" y="31"/>
                    </a:lnTo>
                    <a:lnTo>
                      <a:pt x="0" y="29"/>
                    </a:lnTo>
                    <a:lnTo>
                      <a:pt x="0" y="22"/>
                    </a:lnTo>
                    <a:lnTo>
                      <a:pt x="0" y="18"/>
                    </a:lnTo>
                    <a:lnTo>
                      <a:pt x="1" y="17"/>
                    </a:lnTo>
                    <a:lnTo>
                      <a:pt x="4" y="14"/>
                    </a:lnTo>
                    <a:lnTo>
                      <a:pt x="5" y="14"/>
                    </a:lnTo>
                    <a:lnTo>
                      <a:pt x="8" y="14"/>
                    </a:lnTo>
                    <a:lnTo>
                      <a:pt x="8" y="11"/>
                    </a:lnTo>
                    <a:lnTo>
                      <a:pt x="8" y="9"/>
                    </a:lnTo>
                    <a:lnTo>
                      <a:pt x="10" y="9"/>
                    </a:lnTo>
                    <a:lnTo>
                      <a:pt x="48" y="9"/>
                    </a:lnTo>
                    <a:lnTo>
                      <a:pt x="52" y="5"/>
                    </a:lnTo>
                    <a:lnTo>
                      <a:pt x="56" y="1"/>
                    </a:lnTo>
                    <a:lnTo>
                      <a:pt x="59" y="1"/>
                    </a:lnTo>
                    <a:lnTo>
                      <a:pt x="63" y="0"/>
                    </a:lnTo>
                    <a:lnTo>
                      <a:pt x="67" y="0"/>
                    </a:lnTo>
                    <a:lnTo>
                      <a:pt x="70" y="1"/>
                    </a:lnTo>
                    <a:lnTo>
                      <a:pt x="73" y="1"/>
                    </a:lnTo>
                    <a:lnTo>
                      <a:pt x="77" y="7"/>
                    </a:lnTo>
                    <a:lnTo>
                      <a:pt x="86" y="7"/>
                    </a:lnTo>
                    <a:lnTo>
                      <a:pt x="88" y="7"/>
                    </a:lnTo>
                    <a:lnTo>
                      <a:pt x="90" y="11"/>
                    </a:lnTo>
                    <a:lnTo>
                      <a:pt x="93" y="14"/>
                    </a:lnTo>
                    <a:lnTo>
                      <a:pt x="98" y="14"/>
                    </a:lnTo>
                    <a:lnTo>
                      <a:pt x="106" y="10"/>
                    </a:lnTo>
                    <a:lnTo>
                      <a:pt x="108" y="9"/>
                    </a:lnTo>
                    <a:lnTo>
                      <a:pt x="110" y="9"/>
                    </a:lnTo>
                    <a:lnTo>
                      <a:pt x="113" y="10"/>
                    </a:lnTo>
                    <a:lnTo>
                      <a:pt x="115" y="10"/>
                    </a:lnTo>
                    <a:lnTo>
                      <a:pt x="117" y="10"/>
                    </a:lnTo>
                    <a:lnTo>
                      <a:pt x="117" y="14"/>
                    </a:lnTo>
                    <a:lnTo>
                      <a:pt x="117" y="16"/>
                    </a:lnTo>
                    <a:lnTo>
                      <a:pt x="113" y="19"/>
                    </a:lnTo>
                    <a:lnTo>
                      <a:pt x="106" y="21"/>
                    </a:lnTo>
                    <a:lnTo>
                      <a:pt x="102" y="22"/>
                    </a:lnTo>
                    <a:lnTo>
                      <a:pt x="99" y="21"/>
                    </a:lnTo>
                    <a:lnTo>
                      <a:pt x="93" y="21"/>
                    </a:lnTo>
                    <a:lnTo>
                      <a:pt x="88" y="19"/>
                    </a:lnTo>
                    <a:lnTo>
                      <a:pt x="83" y="19"/>
                    </a:lnTo>
                    <a:lnTo>
                      <a:pt x="77" y="15"/>
                    </a:lnTo>
                    <a:lnTo>
                      <a:pt x="72" y="14"/>
                    </a:lnTo>
                    <a:lnTo>
                      <a:pt x="70" y="11"/>
                    </a:lnTo>
                    <a:lnTo>
                      <a:pt x="65" y="10"/>
                    </a:lnTo>
                    <a:lnTo>
                      <a:pt x="63" y="11"/>
                    </a:lnTo>
                    <a:lnTo>
                      <a:pt x="60" y="15"/>
                    </a:lnTo>
                    <a:lnTo>
                      <a:pt x="54" y="17"/>
                    </a:lnTo>
                    <a:lnTo>
                      <a:pt x="45" y="18"/>
                    </a:lnTo>
                    <a:lnTo>
                      <a:pt x="43" y="17"/>
                    </a:lnTo>
                    <a:lnTo>
                      <a:pt x="40" y="18"/>
                    </a:lnTo>
                    <a:lnTo>
                      <a:pt x="38" y="22"/>
                    </a:lnTo>
                    <a:lnTo>
                      <a:pt x="38" y="24"/>
                    </a:lnTo>
                    <a:lnTo>
                      <a:pt x="31" y="24"/>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48" name="Freeform 44"/>
              <p:cNvSpPr>
                <a:spLocks/>
              </p:cNvSpPr>
              <p:nvPr/>
            </p:nvSpPr>
            <p:spPr bwMode="auto">
              <a:xfrm>
                <a:off x="581" y="2006"/>
                <a:ext cx="132" cy="72"/>
              </a:xfrm>
              <a:custGeom>
                <a:avLst/>
                <a:gdLst>
                  <a:gd name="T0" fmla="*/ 7884 w 123"/>
                  <a:gd name="T1" fmla="*/ 2739 h 68"/>
                  <a:gd name="T2" fmla="*/ 7412 w 123"/>
                  <a:gd name="T3" fmla="*/ 2843 h 68"/>
                  <a:gd name="T4" fmla="*/ 6907 w 123"/>
                  <a:gd name="T5" fmla="*/ 2933 h 68"/>
                  <a:gd name="T6" fmla="*/ 6907 w 123"/>
                  <a:gd name="T7" fmla="*/ 2770 h 68"/>
                  <a:gd name="T8" fmla="*/ 7120 w 123"/>
                  <a:gd name="T9" fmla="*/ 2739 h 68"/>
                  <a:gd name="T10" fmla="*/ 6436 w 123"/>
                  <a:gd name="T11" fmla="*/ 2739 h 68"/>
                  <a:gd name="T12" fmla="*/ 5943 w 123"/>
                  <a:gd name="T13" fmla="*/ 2739 h 68"/>
                  <a:gd name="T14" fmla="*/ 5761 w 123"/>
                  <a:gd name="T15" fmla="*/ 2536 h 68"/>
                  <a:gd name="T16" fmla="*/ 5588 w 123"/>
                  <a:gd name="T17" fmla="*/ 2334 h 68"/>
                  <a:gd name="T18" fmla="*/ 5821 w 123"/>
                  <a:gd name="T19" fmla="*/ 2017 h 68"/>
                  <a:gd name="T20" fmla="*/ 5424 w 123"/>
                  <a:gd name="T21" fmla="*/ 1697 h 68"/>
                  <a:gd name="T22" fmla="*/ 5943 w 123"/>
                  <a:gd name="T23" fmla="*/ 1514 h 68"/>
                  <a:gd name="T24" fmla="*/ 6247 w 123"/>
                  <a:gd name="T25" fmla="*/ 1514 h 68"/>
                  <a:gd name="T26" fmla="*/ 7884 w 123"/>
                  <a:gd name="T27" fmla="*/ 1432 h 68"/>
                  <a:gd name="T28" fmla="*/ 7884 w 123"/>
                  <a:gd name="T29" fmla="*/ 1277 h 68"/>
                  <a:gd name="T30" fmla="*/ 5943 w 123"/>
                  <a:gd name="T31" fmla="*/ 1352 h 68"/>
                  <a:gd name="T32" fmla="*/ 5538 w 123"/>
                  <a:gd name="T33" fmla="*/ 1432 h 68"/>
                  <a:gd name="T34" fmla="*/ 4343 w 123"/>
                  <a:gd name="T35" fmla="*/ 1697 h 68"/>
                  <a:gd name="T36" fmla="*/ 3890 w 123"/>
                  <a:gd name="T37" fmla="*/ 1697 h 68"/>
                  <a:gd name="T38" fmla="*/ 3514 w 123"/>
                  <a:gd name="T39" fmla="*/ 1697 h 68"/>
                  <a:gd name="T40" fmla="*/ 3514 w 123"/>
                  <a:gd name="T41" fmla="*/ 1352 h 68"/>
                  <a:gd name="T42" fmla="*/ 3051 w 123"/>
                  <a:gd name="T43" fmla="*/ 1432 h 68"/>
                  <a:gd name="T44" fmla="*/ 2373 w 123"/>
                  <a:gd name="T45" fmla="*/ 1352 h 68"/>
                  <a:gd name="T46" fmla="*/ 2143 w 123"/>
                  <a:gd name="T47" fmla="*/ 1276 h 68"/>
                  <a:gd name="T48" fmla="*/ 1997 w 123"/>
                  <a:gd name="T49" fmla="*/ 907 h 68"/>
                  <a:gd name="T50" fmla="*/ 4 w 123"/>
                  <a:gd name="T51" fmla="*/ 764 h 68"/>
                  <a:gd name="T52" fmla="*/ 0 w 123"/>
                  <a:gd name="T53" fmla="*/ 574 h 68"/>
                  <a:gd name="T54" fmla="*/ 1 w 123"/>
                  <a:gd name="T55" fmla="*/ 484 h 68"/>
                  <a:gd name="T56" fmla="*/ 3 w 123"/>
                  <a:gd name="T57" fmla="*/ 512 h 68"/>
                  <a:gd name="T58" fmla="*/ 6 w 123"/>
                  <a:gd name="T59" fmla="*/ 574 h 68"/>
                  <a:gd name="T60" fmla="*/ 1135 w 123"/>
                  <a:gd name="T61" fmla="*/ 574 h 68"/>
                  <a:gd name="T62" fmla="*/ 1997 w 123"/>
                  <a:gd name="T63" fmla="*/ 457 h 68"/>
                  <a:gd name="T64" fmla="*/ 2300 w 123"/>
                  <a:gd name="T65" fmla="*/ 432 h 68"/>
                  <a:gd name="T66" fmla="*/ 4343 w 123"/>
                  <a:gd name="T67" fmla="*/ 432 h 68"/>
                  <a:gd name="T68" fmla="*/ 5160 w 123"/>
                  <a:gd name="T69" fmla="*/ 8 h 68"/>
                  <a:gd name="T70" fmla="*/ 5943 w 123"/>
                  <a:gd name="T71" fmla="*/ 4 h 68"/>
                  <a:gd name="T72" fmla="*/ 6845 w 123"/>
                  <a:gd name="T73" fmla="*/ 0 h 68"/>
                  <a:gd name="T74" fmla="*/ 8557 w 123"/>
                  <a:gd name="T75" fmla="*/ 0 h 68"/>
                  <a:gd name="T76" fmla="*/ 8892 w 123"/>
                  <a:gd name="T77" fmla="*/ 0 h 68"/>
                  <a:gd name="T78" fmla="*/ 12527 w 123"/>
                  <a:gd name="T79" fmla="*/ 0 h 68"/>
                  <a:gd name="T80" fmla="*/ 12527 w 123"/>
                  <a:gd name="T81" fmla="*/ 4 h 68"/>
                  <a:gd name="T82" fmla="*/ 13067 w 123"/>
                  <a:gd name="T83" fmla="*/ 432 h 68"/>
                  <a:gd name="T84" fmla="*/ 13067 w 123"/>
                  <a:gd name="T85" fmla="*/ 512 h 68"/>
                  <a:gd name="T86" fmla="*/ 12657 w 123"/>
                  <a:gd name="T87" fmla="*/ 608 h 68"/>
                  <a:gd name="T88" fmla="*/ 12464 w 123"/>
                  <a:gd name="T89" fmla="*/ 682 h 68"/>
                  <a:gd name="T90" fmla="*/ 12176 w 123"/>
                  <a:gd name="T91" fmla="*/ 682 h 68"/>
                  <a:gd name="T92" fmla="*/ 12043 w 123"/>
                  <a:gd name="T93" fmla="*/ 722 h 68"/>
                  <a:gd name="T94" fmla="*/ 11794 w 123"/>
                  <a:gd name="T95" fmla="*/ 809 h 68"/>
                  <a:gd name="T96" fmla="*/ 12180 w 123"/>
                  <a:gd name="T97" fmla="*/ 907 h 68"/>
                  <a:gd name="T98" fmla="*/ 12464 w 123"/>
                  <a:gd name="T99" fmla="*/ 1076 h 68"/>
                  <a:gd name="T100" fmla="*/ 12527 w 123"/>
                  <a:gd name="T101" fmla="*/ 1697 h 68"/>
                  <a:gd name="T102" fmla="*/ 12043 w 123"/>
                  <a:gd name="T103" fmla="*/ 1697 h 68"/>
                  <a:gd name="T104" fmla="*/ 11794 w 123"/>
                  <a:gd name="T105" fmla="*/ 1699 h 68"/>
                  <a:gd name="T106" fmla="*/ 10241 w 123"/>
                  <a:gd name="T107" fmla="*/ 1699 h 68"/>
                  <a:gd name="T108" fmla="*/ 9161 w 123"/>
                  <a:gd name="T109" fmla="*/ 2015 h 68"/>
                  <a:gd name="T110" fmla="*/ 8553 w 123"/>
                  <a:gd name="T111" fmla="*/ 2136 h 68"/>
                  <a:gd name="T112" fmla="*/ 8286 w 123"/>
                  <a:gd name="T113" fmla="*/ 2334 h 68"/>
                  <a:gd name="T114" fmla="*/ 7954 w 123"/>
                  <a:gd name="T115" fmla="*/ 2683 h 68"/>
                  <a:gd name="T116" fmla="*/ 7884 w 123"/>
                  <a:gd name="T117" fmla="*/ 2739 h 6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3"/>
                  <a:gd name="T178" fmla="*/ 0 h 68"/>
                  <a:gd name="T179" fmla="*/ 123 w 123"/>
                  <a:gd name="T180" fmla="*/ 68 h 6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3" h="68">
                    <a:moveTo>
                      <a:pt x="74" y="63"/>
                    </a:moveTo>
                    <a:lnTo>
                      <a:pt x="70" y="66"/>
                    </a:lnTo>
                    <a:lnTo>
                      <a:pt x="65" y="68"/>
                    </a:lnTo>
                    <a:lnTo>
                      <a:pt x="65" y="64"/>
                    </a:lnTo>
                    <a:lnTo>
                      <a:pt x="67" y="63"/>
                    </a:lnTo>
                    <a:lnTo>
                      <a:pt x="61" y="63"/>
                    </a:lnTo>
                    <a:lnTo>
                      <a:pt x="56" y="63"/>
                    </a:lnTo>
                    <a:lnTo>
                      <a:pt x="54" y="59"/>
                    </a:lnTo>
                    <a:lnTo>
                      <a:pt x="53" y="54"/>
                    </a:lnTo>
                    <a:lnTo>
                      <a:pt x="55" y="47"/>
                    </a:lnTo>
                    <a:lnTo>
                      <a:pt x="51" y="39"/>
                    </a:lnTo>
                    <a:lnTo>
                      <a:pt x="56" y="35"/>
                    </a:lnTo>
                    <a:lnTo>
                      <a:pt x="59" y="35"/>
                    </a:lnTo>
                    <a:lnTo>
                      <a:pt x="74" y="34"/>
                    </a:lnTo>
                    <a:lnTo>
                      <a:pt x="74" y="30"/>
                    </a:lnTo>
                    <a:lnTo>
                      <a:pt x="56" y="32"/>
                    </a:lnTo>
                    <a:lnTo>
                      <a:pt x="52" y="34"/>
                    </a:lnTo>
                    <a:lnTo>
                      <a:pt x="41" y="39"/>
                    </a:lnTo>
                    <a:lnTo>
                      <a:pt x="36" y="39"/>
                    </a:lnTo>
                    <a:lnTo>
                      <a:pt x="33" y="39"/>
                    </a:lnTo>
                    <a:lnTo>
                      <a:pt x="33" y="32"/>
                    </a:lnTo>
                    <a:lnTo>
                      <a:pt x="29" y="34"/>
                    </a:lnTo>
                    <a:lnTo>
                      <a:pt x="22" y="32"/>
                    </a:lnTo>
                    <a:lnTo>
                      <a:pt x="20" y="29"/>
                    </a:lnTo>
                    <a:lnTo>
                      <a:pt x="19" y="22"/>
                    </a:lnTo>
                    <a:lnTo>
                      <a:pt x="4" y="19"/>
                    </a:lnTo>
                    <a:lnTo>
                      <a:pt x="0" y="14"/>
                    </a:lnTo>
                    <a:lnTo>
                      <a:pt x="1" y="11"/>
                    </a:lnTo>
                    <a:lnTo>
                      <a:pt x="3" y="12"/>
                    </a:lnTo>
                    <a:lnTo>
                      <a:pt x="6" y="14"/>
                    </a:lnTo>
                    <a:lnTo>
                      <a:pt x="11" y="14"/>
                    </a:lnTo>
                    <a:lnTo>
                      <a:pt x="19" y="10"/>
                    </a:lnTo>
                    <a:lnTo>
                      <a:pt x="21" y="9"/>
                    </a:lnTo>
                    <a:lnTo>
                      <a:pt x="41" y="9"/>
                    </a:lnTo>
                    <a:lnTo>
                      <a:pt x="48" y="8"/>
                    </a:lnTo>
                    <a:lnTo>
                      <a:pt x="56" y="4"/>
                    </a:lnTo>
                    <a:lnTo>
                      <a:pt x="64" y="0"/>
                    </a:lnTo>
                    <a:lnTo>
                      <a:pt x="82" y="0"/>
                    </a:lnTo>
                    <a:lnTo>
                      <a:pt x="84" y="0"/>
                    </a:lnTo>
                    <a:lnTo>
                      <a:pt x="119" y="0"/>
                    </a:lnTo>
                    <a:lnTo>
                      <a:pt x="119" y="4"/>
                    </a:lnTo>
                    <a:lnTo>
                      <a:pt x="123" y="9"/>
                    </a:lnTo>
                    <a:lnTo>
                      <a:pt x="123" y="12"/>
                    </a:lnTo>
                    <a:lnTo>
                      <a:pt x="120" y="15"/>
                    </a:lnTo>
                    <a:lnTo>
                      <a:pt x="118" y="17"/>
                    </a:lnTo>
                    <a:lnTo>
                      <a:pt x="115" y="17"/>
                    </a:lnTo>
                    <a:lnTo>
                      <a:pt x="113" y="18"/>
                    </a:lnTo>
                    <a:lnTo>
                      <a:pt x="112" y="20"/>
                    </a:lnTo>
                    <a:lnTo>
                      <a:pt x="116" y="22"/>
                    </a:lnTo>
                    <a:lnTo>
                      <a:pt x="118" y="25"/>
                    </a:lnTo>
                    <a:lnTo>
                      <a:pt x="119" y="39"/>
                    </a:lnTo>
                    <a:lnTo>
                      <a:pt x="113" y="39"/>
                    </a:lnTo>
                    <a:lnTo>
                      <a:pt x="112" y="40"/>
                    </a:lnTo>
                    <a:lnTo>
                      <a:pt x="97" y="40"/>
                    </a:lnTo>
                    <a:lnTo>
                      <a:pt x="86" y="46"/>
                    </a:lnTo>
                    <a:lnTo>
                      <a:pt x="81" y="50"/>
                    </a:lnTo>
                    <a:lnTo>
                      <a:pt x="78" y="54"/>
                    </a:lnTo>
                    <a:lnTo>
                      <a:pt x="75" y="61"/>
                    </a:lnTo>
                    <a:lnTo>
                      <a:pt x="74" y="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9" name="Freeform 45"/>
              <p:cNvSpPr>
                <a:spLocks/>
              </p:cNvSpPr>
              <p:nvPr/>
            </p:nvSpPr>
            <p:spPr bwMode="auto">
              <a:xfrm>
                <a:off x="581" y="2006"/>
                <a:ext cx="132" cy="72"/>
              </a:xfrm>
              <a:custGeom>
                <a:avLst/>
                <a:gdLst>
                  <a:gd name="T0" fmla="*/ 7884 w 123"/>
                  <a:gd name="T1" fmla="*/ 2739 h 68"/>
                  <a:gd name="T2" fmla="*/ 7412 w 123"/>
                  <a:gd name="T3" fmla="*/ 2843 h 68"/>
                  <a:gd name="T4" fmla="*/ 6907 w 123"/>
                  <a:gd name="T5" fmla="*/ 2933 h 68"/>
                  <a:gd name="T6" fmla="*/ 6907 w 123"/>
                  <a:gd name="T7" fmla="*/ 2770 h 68"/>
                  <a:gd name="T8" fmla="*/ 7120 w 123"/>
                  <a:gd name="T9" fmla="*/ 2739 h 68"/>
                  <a:gd name="T10" fmla="*/ 6436 w 123"/>
                  <a:gd name="T11" fmla="*/ 2739 h 68"/>
                  <a:gd name="T12" fmla="*/ 5943 w 123"/>
                  <a:gd name="T13" fmla="*/ 2739 h 68"/>
                  <a:gd name="T14" fmla="*/ 5761 w 123"/>
                  <a:gd name="T15" fmla="*/ 2536 h 68"/>
                  <a:gd name="T16" fmla="*/ 5588 w 123"/>
                  <a:gd name="T17" fmla="*/ 2334 h 68"/>
                  <a:gd name="T18" fmla="*/ 5821 w 123"/>
                  <a:gd name="T19" fmla="*/ 2017 h 68"/>
                  <a:gd name="T20" fmla="*/ 5424 w 123"/>
                  <a:gd name="T21" fmla="*/ 1697 h 68"/>
                  <a:gd name="T22" fmla="*/ 5943 w 123"/>
                  <a:gd name="T23" fmla="*/ 1514 h 68"/>
                  <a:gd name="T24" fmla="*/ 6247 w 123"/>
                  <a:gd name="T25" fmla="*/ 1514 h 68"/>
                  <a:gd name="T26" fmla="*/ 7884 w 123"/>
                  <a:gd name="T27" fmla="*/ 1432 h 68"/>
                  <a:gd name="T28" fmla="*/ 7884 w 123"/>
                  <a:gd name="T29" fmla="*/ 1277 h 68"/>
                  <a:gd name="T30" fmla="*/ 5943 w 123"/>
                  <a:gd name="T31" fmla="*/ 1352 h 68"/>
                  <a:gd name="T32" fmla="*/ 5538 w 123"/>
                  <a:gd name="T33" fmla="*/ 1432 h 68"/>
                  <a:gd name="T34" fmla="*/ 4343 w 123"/>
                  <a:gd name="T35" fmla="*/ 1697 h 68"/>
                  <a:gd name="T36" fmla="*/ 3890 w 123"/>
                  <a:gd name="T37" fmla="*/ 1697 h 68"/>
                  <a:gd name="T38" fmla="*/ 3514 w 123"/>
                  <a:gd name="T39" fmla="*/ 1697 h 68"/>
                  <a:gd name="T40" fmla="*/ 3514 w 123"/>
                  <a:gd name="T41" fmla="*/ 1352 h 68"/>
                  <a:gd name="T42" fmla="*/ 3051 w 123"/>
                  <a:gd name="T43" fmla="*/ 1432 h 68"/>
                  <a:gd name="T44" fmla="*/ 2373 w 123"/>
                  <a:gd name="T45" fmla="*/ 1352 h 68"/>
                  <a:gd name="T46" fmla="*/ 2143 w 123"/>
                  <a:gd name="T47" fmla="*/ 1276 h 68"/>
                  <a:gd name="T48" fmla="*/ 1997 w 123"/>
                  <a:gd name="T49" fmla="*/ 907 h 68"/>
                  <a:gd name="T50" fmla="*/ 4 w 123"/>
                  <a:gd name="T51" fmla="*/ 764 h 68"/>
                  <a:gd name="T52" fmla="*/ 0 w 123"/>
                  <a:gd name="T53" fmla="*/ 574 h 68"/>
                  <a:gd name="T54" fmla="*/ 1 w 123"/>
                  <a:gd name="T55" fmla="*/ 484 h 68"/>
                  <a:gd name="T56" fmla="*/ 3 w 123"/>
                  <a:gd name="T57" fmla="*/ 512 h 68"/>
                  <a:gd name="T58" fmla="*/ 6 w 123"/>
                  <a:gd name="T59" fmla="*/ 574 h 68"/>
                  <a:gd name="T60" fmla="*/ 1135 w 123"/>
                  <a:gd name="T61" fmla="*/ 574 h 68"/>
                  <a:gd name="T62" fmla="*/ 1997 w 123"/>
                  <a:gd name="T63" fmla="*/ 457 h 68"/>
                  <a:gd name="T64" fmla="*/ 2300 w 123"/>
                  <a:gd name="T65" fmla="*/ 432 h 68"/>
                  <a:gd name="T66" fmla="*/ 4343 w 123"/>
                  <a:gd name="T67" fmla="*/ 432 h 68"/>
                  <a:gd name="T68" fmla="*/ 5160 w 123"/>
                  <a:gd name="T69" fmla="*/ 8 h 68"/>
                  <a:gd name="T70" fmla="*/ 5943 w 123"/>
                  <a:gd name="T71" fmla="*/ 4 h 68"/>
                  <a:gd name="T72" fmla="*/ 6845 w 123"/>
                  <a:gd name="T73" fmla="*/ 0 h 68"/>
                  <a:gd name="T74" fmla="*/ 8557 w 123"/>
                  <a:gd name="T75" fmla="*/ 0 h 68"/>
                  <a:gd name="T76" fmla="*/ 8892 w 123"/>
                  <a:gd name="T77" fmla="*/ 0 h 68"/>
                  <a:gd name="T78" fmla="*/ 12527 w 123"/>
                  <a:gd name="T79" fmla="*/ 0 h 68"/>
                  <a:gd name="T80" fmla="*/ 12527 w 123"/>
                  <a:gd name="T81" fmla="*/ 4 h 68"/>
                  <a:gd name="T82" fmla="*/ 13067 w 123"/>
                  <a:gd name="T83" fmla="*/ 432 h 68"/>
                  <a:gd name="T84" fmla="*/ 13067 w 123"/>
                  <a:gd name="T85" fmla="*/ 512 h 68"/>
                  <a:gd name="T86" fmla="*/ 12657 w 123"/>
                  <a:gd name="T87" fmla="*/ 608 h 68"/>
                  <a:gd name="T88" fmla="*/ 12464 w 123"/>
                  <a:gd name="T89" fmla="*/ 682 h 68"/>
                  <a:gd name="T90" fmla="*/ 12176 w 123"/>
                  <a:gd name="T91" fmla="*/ 682 h 68"/>
                  <a:gd name="T92" fmla="*/ 12043 w 123"/>
                  <a:gd name="T93" fmla="*/ 722 h 68"/>
                  <a:gd name="T94" fmla="*/ 11794 w 123"/>
                  <a:gd name="T95" fmla="*/ 809 h 68"/>
                  <a:gd name="T96" fmla="*/ 12180 w 123"/>
                  <a:gd name="T97" fmla="*/ 907 h 68"/>
                  <a:gd name="T98" fmla="*/ 12464 w 123"/>
                  <a:gd name="T99" fmla="*/ 1076 h 68"/>
                  <a:gd name="T100" fmla="*/ 12527 w 123"/>
                  <a:gd name="T101" fmla="*/ 1697 h 68"/>
                  <a:gd name="T102" fmla="*/ 12043 w 123"/>
                  <a:gd name="T103" fmla="*/ 1697 h 68"/>
                  <a:gd name="T104" fmla="*/ 11794 w 123"/>
                  <a:gd name="T105" fmla="*/ 1699 h 68"/>
                  <a:gd name="T106" fmla="*/ 10241 w 123"/>
                  <a:gd name="T107" fmla="*/ 1699 h 68"/>
                  <a:gd name="T108" fmla="*/ 9161 w 123"/>
                  <a:gd name="T109" fmla="*/ 2015 h 68"/>
                  <a:gd name="T110" fmla="*/ 8553 w 123"/>
                  <a:gd name="T111" fmla="*/ 2136 h 68"/>
                  <a:gd name="T112" fmla="*/ 8286 w 123"/>
                  <a:gd name="T113" fmla="*/ 2334 h 68"/>
                  <a:gd name="T114" fmla="*/ 7954 w 123"/>
                  <a:gd name="T115" fmla="*/ 2683 h 68"/>
                  <a:gd name="T116" fmla="*/ 7884 w 123"/>
                  <a:gd name="T117" fmla="*/ 2739 h 6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3"/>
                  <a:gd name="T178" fmla="*/ 0 h 68"/>
                  <a:gd name="T179" fmla="*/ 123 w 123"/>
                  <a:gd name="T180" fmla="*/ 68 h 6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3" h="68">
                    <a:moveTo>
                      <a:pt x="74" y="63"/>
                    </a:moveTo>
                    <a:lnTo>
                      <a:pt x="70" y="66"/>
                    </a:lnTo>
                    <a:lnTo>
                      <a:pt x="65" y="68"/>
                    </a:lnTo>
                    <a:lnTo>
                      <a:pt x="65" y="64"/>
                    </a:lnTo>
                    <a:lnTo>
                      <a:pt x="67" y="63"/>
                    </a:lnTo>
                    <a:lnTo>
                      <a:pt x="61" y="63"/>
                    </a:lnTo>
                    <a:lnTo>
                      <a:pt x="56" y="63"/>
                    </a:lnTo>
                    <a:lnTo>
                      <a:pt x="54" y="59"/>
                    </a:lnTo>
                    <a:lnTo>
                      <a:pt x="53" y="54"/>
                    </a:lnTo>
                    <a:lnTo>
                      <a:pt x="55" y="47"/>
                    </a:lnTo>
                    <a:lnTo>
                      <a:pt x="51" y="39"/>
                    </a:lnTo>
                    <a:lnTo>
                      <a:pt x="56" y="35"/>
                    </a:lnTo>
                    <a:lnTo>
                      <a:pt x="59" y="35"/>
                    </a:lnTo>
                    <a:lnTo>
                      <a:pt x="74" y="34"/>
                    </a:lnTo>
                    <a:lnTo>
                      <a:pt x="74" y="30"/>
                    </a:lnTo>
                    <a:lnTo>
                      <a:pt x="56" y="32"/>
                    </a:lnTo>
                    <a:lnTo>
                      <a:pt x="52" y="34"/>
                    </a:lnTo>
                    <a:lnTo>
                      <a:pt x="41" y="39"/>
                    </a:lnTo>
                    <a:lnTo>
                      <a:pt x="36" y="39"/>
                    </a:lnTo>
                    <a:lnTo>
                      <a:pt x="33" y="39"/>
                    </a:lnTo>
                    <a:lnTo>
                      <a:pt x="33" y="32"/>
                    </a:lnTo>
                    <a:lnTo>
                      <a:pt x="29" y="34"/>
                    </a:lnTo>
                    <a:lnTo>
                      <a:pt x="22" y="32"/>
                    </a:lnTo>
                    <a:lnTo>
                      <a:pt x="20" y="29"/>
                    </a:lnTo>
                    <a:lnTo>
                      <a:pt x="19" y="22"/>
                    </a:lnTo>
                    <a:lnTo>
                      <a:pt x="4" y="19"/>
                    </a:lnTo>
                    <a:lnTo>
                      <a:pt x="0" y="14"/>
                    </a:lnTo>
                    <a:lnTo>
                      <a:pt x="1" y="11"/>
                    </a:lnTo>
                    <a:lnTo>
                      <a:pt x="3" y="12"/>
                    </a:lnTo>
                    <a:lnTo>
                      <a:pt x="6" y="14"/>
                    </a:lnTo>
                    <a:lnTo>
                      <a:pt x="11" y="14"/>
                    </a:lnTo>
                    <a:lnTo>
                      <a:pt x="19" y="10"/>
                    </a:lnTo>
                    <a:lnTo>
                      <a:pt x="21" y="9"/>
                    </a:lnTo>
                    <a:lnTo>
                      <a:pt x="41" y="9"/>
                    </a:lnTo>
                    <a:lnTo>
                      <a:pt x="48" y="8"/>
                    </a:lnTo>
                    <a:lnTo>
                      <a:pt x="56" y="4"/>
                    </a:lnTo>
                    <a:lnTo>
                      <a:pt x="64" y="0"/>
                    </a:lnTo>
                    <a:lnTo>
                      <a:pt x="82" y="0"/>
                    </a:lnTo>
                    <a:lnTo>
                      <a:pt x="84" y="0"/>
                    </a:lnTo>
                    <a:lnTo>
                      <a:pt x="119" y="0"/>
                    </a:lnTo>
                    <a:lnTo>
                      <a:pt x="119" y="4"/>
                    </a:lnTo>
                    <a:lnTo>
                      <a:pt x="123" y="9"/>
                    </a:lnTo>
                    <a:lnTo>
                      <a:pt x="123" y="12"/>
                    </a:lnTo>
                    <a:lnTo>
                      <a:pt x="120" y="15"/>
                    </a:lnTo>
                    <a:lnTo>
                      <a:pt x="118" y="17"/>
                    </a:lnTo>
                    <a:lnTo>
                      <a:pt x="115" y="17"/>
                    </a:lnTo>
                    <a:lnTo>
                      <a:pt x="113" y="18"/>
                    </a:lnTo>
                    <a:lnTo>
                      <a:pt x="112" y="20"/>
                    </a:lnTo>
                    <a:lnTo>
                      <a:pt x="116" y="22"/>
                    </a:lnTo>
                    <a:lnTo>
                      <a:pt x="118" y="25"/>
                    </a:lnTo>
                    <a:lnTo>
                      <a:pt x="119" y="39"/>
                    </a:lnTo>
                    <a:lnTo>
                      <a:pt x="113" y="39"/>
                    </a:lnTo>
                    <a:lnTo>
                      <a:pt x="112" y="40"/>
                    </a:lnTo>
                    <a:lnTo>
                      <a:pt x="97" y="40"/>
                    </a:lnTo>
                    <a:lnTo>
                      <a:pt x="86" y="46"/>
                    </a:lnTo>
                    <a:lnTo>
                      <a:pt x="81" y="50"/>
                    </a:lnTo>
                    <a:lnTo>
                      <a:pt x="78" y="54"/>
                    </a:lnTo>
                    <a:lnTo>
                      <a:pt x="75" y="61"/>
                    </a:lnTo>
                    <a:lnTo>
                      <a:pt x="74" y="63"/>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50" name="Freeform 46"/>
              <p:cNvSpPr>
                <a:spLocks/>
              </p:cNvSpPr>
              <p:nvPr/>
            </p:nvSpPr>
            <p:spPr bwMode="auto">
              <a:xfrm>
                <a:off x="1062" y="1915"/>
                <a:ext cx="314" cy="221"/>
              </a:xfrm>
              <a:custGeom>
                <a:avLst/>
                <a:gdLst>
                  <a:gd name="T0" fmla="*/ 28279 w 293"/>
                  <a:gd name="T1" fmla="*/ 2492 h 211"/>
                  <a:gd name="T2" fmla="*/ 27652 w 293"/>
                  <a:gd name="T3" fmla="*/ 2610 h 211"/>
                  <a:gd name="T4" fmla="*/ 26838 w 293"/>
                  <a:gd name="T5" fmla="*/ 2842 h 211"/>
                  <a:gd name="T6" fmla="*/ 25568 w 293"/>
                  <a:gd name="T7" fmla="*/ 2865 h 211"/>
                  <a:gd name="T8" fmla="*/ 24292 w 293"/>
                  <a:gd name="T9" fmla="*/ 2842 h 211"/>
                  <a:gd name="T10" fmla="*/ 23368 w 293"/>
                  <a:gd name="T11" fmla="*/ 3052 h 211"/>
                  <a:gd name="T12" fmla="*/ 23089 w 293"/>
                  <a:gd name="T13" fmla="*/ 3197 h 211"/>
                  <a:gd name="T14" fmla="*/ 22460 w 293"/>
                  <a:gd name="T15" fmla="*/ 3263 h 211"/>
                  <a:gd name="T16" fmla="*/ 21151 w 293"/>
                  <a:gd name="T17" fmla="*/ 3292 h 211"/>
                  <a:gd name="T18" fmla="*/ 18566 w 293"/>
                  <a:gd name="T19" fmla="*/ 3142 h 211"/>
                  <a:gd name="T20" fmla="*/ 16310 w 293"/>
                  <a:gd name="T21" fmla="*/ 3292 h 211"/>
                  <a:gd name="T22" fmla="*/ 11555 w 293"/>
                  <a:gd name="T23" fmla="*/ 3263 h 211"/>
                  <a:gd name="T24" fmla="*/ 8866 w 293"/>
                  <a:gd name="T25" fmla="*/ 3263 h 211"/>
                  <a:gd name="T26" fmla="*/ 8787 w 293"/>
                  <a:gd name="T27" fmla="*/ 3610 h 211"/>
                  <a:gd name="T28" fmla="*/ 9207 w 293"/>
                  <a:gd name="T29" fmla="*/ 3781 h 211"/>
                  <a:gd name="T30" fmla="*/ 9207 w 293"/>
                  <a:gd name="T31" fmla="*/ 4237 h 211"/>
                  <a:gd name="T32" fmla="*/ 9216 w 293"/>
                  <a:gd name="T33" fmla="*/ 4468 h 211"/>
                  <a:gd name="T34" fmla="*/ 8326 w 293"/>
                  <a:gd name="T35" fmla="*/ 4312 h 211"/>
                  <a:gd name="T36" fmla="*/ 7651 w 293"/>
                  <a:gd name="T37" fmla="*/ 4114 h 211"/>
                  <a:gd name="T38" fmla="*/ 6312 w 293"/>
                  <a:gd name="T39" fmla="*/ 4114 h 211"/>
                  <a:gd name="T40" fmla="*/ 4438 w 293"/>
                  <a:gd name="T41" fmla="*/ 4149 h 211"/>
                  <a:gd name="T42" fmla="*/ 3262 w 293"/>
                  <a:gd name="T43" fmla="*/ 4312 h 211"/>
                  <a:gd name="T44" fmla="*/ 2394 w 293"/>
                  <a:gd name="T45" fmla="*/ 4237 h 211"/>
                  <a:gd name="T46" fmla="*/ 2085 w 293"/>
                  <a:gd name="T47" fmla="*/ 4266 h 211"/>
                  <a:gd name="T48" fmla="*/ 1377 w 293"/>
                  <a:gd name="T49" fmla="*/ 4211 h 211"/>
                  <a:gd name="T50" fmla="*/ 974 w 293"/>
                  <a:gd name="T51" fmla="*/ 4045 h 211"/>
                  <a:gd name="T52" fmla="*/ 5 w 293"/>
                  <a:gd name="T53" fmla="*/ 3931 h 211"/>
                  <a:gd name="T54" fmla="*/ 3 w 293"/>
                  <a:gd name="T55" fmla="*/ 3782 h 211"/>
                  <a:gd name="T56" fmla="*/ 0 w 293"/>
                  <a:gd name="T57" fmla="*/ 3610 h 211"/>
                  <a:gd name="T58" fmla="*/ 791 w 293"/>
                  <a:gd name="T59" fmla="*/ 3001 h 211"/>
                  <a:gd name="T60" fmla="*/ 1199 w 293"/>
                  <a:gd name="T61" fmla="*/ 2611 h 211"/>
                  <a:gd name="T62" fmla="*/ 3606 w 293"/>
                  <a:gd name="T63" fmla="*/ 2206 h 211"/>
                  <a:gd name="T64" fmla="*/ 4612 w 293"/>
                  <a:gd name="T65" fmla="*/ 1554 h 211"/>
                  <a:gd name="T66" fmla="*/ 5853 w 293"/>
                  <a:gd name="T67" fmla="*/ 1365 h 211"/>
                  <a:gd name="T68" fmla="*/ 10182 w 293"/>
                  <a:gd name="T69" fmla="*/ 1134 h 211"/>
                  <a:gd name="T70" fmla="*/ 14831 w 293"/>
                  <a:gd name="T71" fmla="*/ 350 h 211"/>
                  <a:gd name="T72" fmla="*/ 17557 w 293"/>
                  <a:gd name="T73" fmla="*/ 0 h 211"/>
                  <a:gd name="T74" fmla="*/ 19736 w 293"/>
                  <a:gd name="T75" fmla="*/ 265 h 211"/>
                  <a:gd name="T76" fmla="*/ 20288 w 293"/>
                  <a:gd name="T77" fmla="*/ 484 h 211"/>
                  <a:gd name="T78" fmla="*/ 20347 w 293"/>
                  <a:gd name="T79" fmla="*/ 805 h 211"/>
                  <a:gd name="T80" fmla="*/ 22976 w 293"/>
                  <a:gd name="T81" fmla="*/ 1340 h 211"/>
                  <a:gd name="T82" fmla="*/ 24292 w 293"/>
                  <a:gd name="T83" fmla="*/ 1854 h 211"/>
                  <a:gd name="T84" fmla="*/ 25722 w 293"/>
                  <a:gd name="T85" fmla="*/ 1942 h 211"/>
                  <a:gd name="T86" fmla="*/ 26760 w 293"/>
                  <a:gd name="T87" fmla="*/ 1854 h 211"/>
                  <a:gd name="T88" fmla="*/ 27644 w 293"/>
                  <a:gd name="T89" fmla="*/ 2070 h 211"/>
                  <a:gd name="T90" fmla="*/ 27009 w 293"/>
                  <a:gd name="T91" fmla="*/ 2106 h 211"/>
                  <a:gd name="T92" fmla="*/ 27422 w 293"/>
                  <a:gd name="T93" fmla="*/ 2311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3"/>
                  <a:gd name="T142" fmla="*/ 0 h 211"/>
                  <a:gd name="T143" fmla="*/ 293 w 293"/>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3" h="211">
                    <a:moveTo>
                      <a:pt x="285" y="109"/>
                    </a:moveTo>
                    <a:lnTo>
                      <a:pt x="291" y="117"/>
                    </a:lnTo>
                    <a:lnTo>
                      <a:pt x="293" y="117"/>
                    </a:lnTo>
                    <a:lnTo>
                      <a:pt x="291" y="121"/>
                    </a:lnTo>
                    <a:lnTo>
                      <a:pt x="288" y="123"/>
                    </a:lnTo>
                    <a:lnTo>
                      <a:pt x="289" y="124"/>
                    </a:lnTo>
                    <a:lnTo>
                      <a:pt x="287" y="127"/>
                    </a:lnTo>
                    <a:lnTo>
                      <a:pt x="279" y="134"/>
                    </a:lnTo>
                    <a:lnTo>
                      <a:pt x="275" y="136"/>
                    </a:lnTo>
                    <a:lnTo>
                      <a:pt x="270" y="134"/>
                    </a:lnTo>
                    <a:lnTo>
                      <a:pt x="265" y="136"/>
                    </a:lnTo>
                    <a:lnTo>
                      <a:pt x="259" y="133"/>
                    </a:lnTo>
                    <a:lnTo>
                      <a:pt x="255" y="133"/>
                    </a:lnTo>
                    <a:lnTo>
                      <a:pt x="253" y="134"/>
                    </a:lnTo>
                    <a:lnTo>
                      <a:pt x="248" y="143"/>
                    </a:lnTo>
                    <a:lnTo>
                      <a:pt x="245" y="143"/>
                    </a:lnTo>
                    <a:lnTo>
                      <a:pt x="243" y="143"/>
                    </a:lnTo>
                    <a:lnTo>
                      <a:pt x="243" y="145"/>
                    </a:lnTo>
                    <a:lnTo>
                      <a:pt x="240" y="147"/>
                    </a:lnTo>
                    <a:lnTo>
                      <a:pt x="240" y="150"/>
                    </a:lnTo>
                    <a:lnTo>
                      <a:pt x="237" y="150"/>
                    </a:lnTo>
                    <a:lnTo>
                      <a:pt x="234" y="153"/>
                    </a:lnTo>
                    <a:lnTo>
                      <a:pt x="233" y="153"/>
                    </a:lnTo>
                    <a:lnTo>
                      <a:pt x="223" y="153"/>
                    </a:lnTo>
                    <a:lnTo>
                      <a:pt x="222" y="155"/>
                    </a:lnTo>
                    <a:lnTo>
                      <a:pt x="220" y="156"/>
                    </a:lnTo>
                    <a:lnTo>
                      <a:pt x="216" y="152"/>
                    </a:lnTo>
                    <a:lnTo>
                      <a:pt x="194" y="148"/>
                    </a:lnTo>
                    <a:lnTo>
                      <a:pt x="192" y="148"/>
                    </a:lnTo>
                    <a:lnTo>
                      <a:pt x="181" y="149"/>
                    </a:lnTo>
                    <a:lnTo>
                      <a:pt x="172" y="155"/>
                    </a:lnTo>
                    <a:lnTo>
                      <a:pt x="169" y="156"/>
                    </a:lnTo>
                    <a:lnTo>
                      <a:pt x="157" y="156"/>
                    </a:lnTo>
                    <a:lnTo>
                      <a:pt x="139" y="153"/>
                    </a:lnTo>
                    <a:lnTo>
                      <a:pt x="120" y="153"/>
                    </a:lnTo>
                    <a:lnTo>
                      <a:pt x="111" y="152"/>
                    </a:lnTo>
                    <a:lnTo>
                      <a:pt x="104" y="152"/>
                    </a:lnTo>
                    <a:lnTo>
                      <a:pt x="92" y="153"/>
                    </a:lnTo>
                    <a:lnTo>
                      <a:pt x="88" y="159"/>
                    </a:lnTo>
                    <a:lnTo>
                      <a:pt x="88" y="164"/>
                    </a:lnTo>
                    <a:lnTo>
                      <a:pt x="91" y="170"/>
                    </a:lnTo>
                    <a:lnTo>
                      <a:pt x="93" y="172"/>
                    </a:lnTo>
                    <a:lnTo>
                      <a:pt x="92" y="177"/>
                    </a:lnTo>
                    <a:lnTo>
                      <a:pt x="95" y="178"/>
                    </a:lnTo>
                    <a:lnTo>
                      <a:pt x="94" y="187"/>
                    </a:lnTo>
                    <a:lnTo>
                      <a:pt x="96" y="193"/>
                    </a:lnTo>
                    <a:lnTo>
                      <a:pt x="95" y="200"/>
                    </a:lnTo>
                    <a:lnTo>
                      <a:pt x="96" y="204"/>
                    </a:lnTo>
                    <a:lnTo>
                      <a:pt x="98" y="210"/>
                    </a:lnTo>
                    <a:lnTo>
                      <a:pt x="96" y="211"/>
                    </a:lnTo>
                    <a:lnTo>
                      <a:pt x="93" y="211"/>
                    </a:lnTo>
                    <a:lnTo>
                      <a:pt x="91" y="210"/>
                    </a:lnTo>
                    <a:lnTo>
                      <a:pt x="87" y="203"/>
                    </a:lnTo>
                    <a:lnTo>
                      <a:pt x="86" y="200"/>
                    </a:lnTo>
                    <a:lnTo>
                      <a:pt x="82" y="198"/>
                    </a:lnTo>
                    <a:lnTo>
                      <a:pt x="79" y="193"/>
                    </a:lnTo>
                    <a:lnTo>
                      <a:pt x="78" y="193"/>
                    </a:lnTo>
                    <a:lnTo>
                      <a:pt x="75" y="195"/>
                    </a:lnTo>
                    <a:lnTo>
                      <a:pt x="66" y="193"/>
                    </a:lnTo>
                    <a:lnTo>
                      <a:pt x="61" y="191"/>
                    </a:lnTo>
                    <a:lnTo>
                      <a:pt x="55" y="194"/>
                    </a:lnTo>
                    <a:lnTo>
                      <a:pt x="46" y="196"/>
                    </a:lnTo>
                    <a:lnTo>
                      <a:pt x="40" y="198"/>
                    </a:lnTo>
                    <a:lnTo>
                      <a:pt x="37" y="198"/>
                    </a:lnTo>
                    <a:lnTo>
                      <a:pt x="34" y="203"/>
                    </a:lnTo>
                    <a:lnTo>
                      <a:pt x="33" y="205"/>
                    </a:lnTo>
                    <a:lnTo>
                      <a:pt x="27" y="203"/>
                    </a:lnTo>
                    <a:lnTo>
                      <a:pt x="25" y="200"/>
                    </a:lnTo>
                    <a:lnTo>
                      <a:pt x="24" y="200"/>
                    </a:lnTo>
                    <a:lnTo>
                      <a:pt x="24" y="201"/>
                    </a:lnTo>
                    <a:lnTo>
                      <a:pt x="21" y="201"/>
                    </a:lnTo>
                    <a:lnTo>
                      <a:pt x="21" y="203"/>
                    </a:lnTo>
                    <a:lnTo>
                      <a:pt x="15" y="200"/>
                    </a:lnTo>
                    <a:lnTo>
                      <a:pt x="15" y="197"/>
                    </a:lnTo>
                    <a:lnTo>
                      <a:pt x="12" y="195"/>
                    </a:lnTo>
                    <a:lnTo>
                      <a:pt x="10" y="195"/>
                    </a:lnTo>
                    <a:lnTo>
                      <a:pt x="10" y="191"/>
                    </a:lnTo>
                    <a:lnTo>
                      <a:pt x="10" y="189"/>
                    </a:lnTo>
                    <a:lnTo>
                      <a:pt x="7" y="188"/>
                    </a:lnTo>
                    <a:lnTo>
                      <a:pt x="5" y="185"/>
                    </a:lnTo>
                    <a:lnTo>
                      <a:pt x="3" y="184"/>
                    </a:lnTo>
                    <a:lnTo>
                      <a:pt x="3" y="182"/>
                    </a:lnTo>
                    <a:lnTo>
                      <a:pt x="3" y="179"/>
                    </a:lnTo>
                    <a:lnTo>
                      <a:pt x="2" y="178"/>
                    </a:lnTo>
                    <a:lnTo>
                      <a:pt x="0" y="178"/>
                    </a:lnTo>
                    <a:lnTo>
                      <a:pt x="0" y="170"/>
                    </a:lnTo>
                    <a:lnTo>
                      <a:pt x="0" y="160"/>
                    </a:lnTo>
                    <a:lnTo>
                      <a:pt x="0" y="153"/>
                    </a:lnTo>
                    <a:lnTo>
                      <a:pt x="7" y="142"/>
                    </a:lnTo>
                    <a:lnTo>
                      <a:pt x="7" y="134"/>
                    </a:lnTo>
                    <a:lnTo>
                      <a:pt x="11" y="127"/>
                    </a:lnTo>
                    <a:lnTo>
                      <a:pt x="13" y="124"/>
                    </a:lnTo>
                    <a:lnTo>
                      <a:pt x="20" y="119"/>
                    </a:lnTo>
                    <a:lnTo>
                      <a:pt x="31" y="111"/>
                    </a:lnTo>
                    <a:lnTo>
                      <a:pt x="37" y="104"/>
                    </a:lnTo>
                    <a:lnTo>
                      <a:pt x="41" y="91"/>
                    </a:lnTo>
                    <a:lnTo>
                      <a:pt x="44" y="81"/>
                    </a:lnTo>
                    <a:lnTo>
                      <a:pt x="48" y="73"/>
                    </a:lnTo>
                    <a:lnTo>
                      <a:pt x="51" y="69"/>
                    </a:lnTo>
                    <a:lnTo>
                      <a:pt x="58" y="65"/>
                    </a:lnTo>
                    <a:lnTo>
                      <a:pt x="61" y="65"/>
                    </a:lnTo>
                    <a:lnTo>
                      <a:pt x="70" y="63"/>
                    </a:lnTo>
                    <a:lnTo>
                      <a:pt x="79" y="61"/>
                    </a:lnTo>
                    <a:lnTo>
                      <a:pt x="106" y="53"/>
                    </a:lnTo>
                    <a:lnTo>
                      <a:pt x="118" y="44"/>
                    </a:lnTo>
                    <a:lnTo>
                      <a:pt x="127" y="34"/>
                    </a:lnTo>
                    <a:lnTo>
                      <a:pt x="153" y="17"/>
                    </a:lnTo>
                    <a:lnTo>
                      <a:pt x="164" y="8"/>
                    </a:lnTo>
                    <a:lnTo>
                      <a:pt x="169" y="5"/>
                    </a:lnTo>
                    <a:lnTo>
                      <a:pt x="183" y="0"/>
                    </a:lnTo>
                    <a:lnTo>
                      <a:pt x="207" y="0"/>
                    </a:lnTo>
                    <a:lnTo>
                      <a:pt x="205" y="3"/>
                    </a:lnTo>
                    <a:lnTo>
                      <a:pt x="205" y="11"/>
                    </a:lnTo>
                    <a:lnTo>
                      <a:pt x="202" y="18"/>
                    </a:lnTo>
                    <a:lnTo>
                      <a:pt x="204" y="18"/>
                    </a:lnTo>
                    <a:lnTo>
                      <a:pt x="211" y="24"/>
                    </a:lnTo>
                    <a:lnTo>
                      <a:pt x="212" y="27"/>
                    </a:lnTo>
                    <a:lnTo>
                      <a:pt x="212" y="33"/>
                    </a:lnTo>
                    <a:lnTo>
                      <a:pt x="212" y="38"/>
                    </a:lnTo>
                    <a:lnTo>
                      <a:pt x="222" y="47"/>
                    </a:lnTo>
                    <a:lnTo>
                      <a:pt x="233" y="58"/>
                    </a:lnTo>
                    <a:lnTo>
                      <a:pt x="238" y="63"/>
                    </a:lnTo>
                    <a:lnTo>
                      <a:pt x="243" y="73"/>
                    </a:lnTo>
                    <a:lnTo>
                      <a:pt x="245" y="78"/>
                    </a:lnTo>
                    <a:lnTo>
                      <a:pt x="253" y="87"/>
                    </a:lnTo>
                    <a:lnTo>
                      <a:pt x="257" y="89"/>
                    </a:lnTo>
                    <a:lnTo>
                      <a:pt x="265" y="91"/>
                    </a:lnTo>
                    <a:lnTo>
                      <a:pt x="267" y="91"/>
                    </a:lnTo>
                    <a:lnTo>
                      <a:pt x="270" y="91"/>
                    </a:lnTo>
                    <a:lnTo>
                      <a:pt x="275" y="87"/>
                    </a:lnTo>
                    <a:lnTo>
                      <a:pt x="278" y="87"/>
                    </a:lnTo>
                    <a:lnTo>
                      <a:pt x="281" y="88"/>
                    </a:lnTo>
                    <a:lnTo>
                      <a:pt x="286" y="96"/>
                    </a:lnTo>
                    <a:lnTo>
                      <a:pt x="287" y="97"/>
                    </a:lnTo>
                    <a:lnTo>
                      <a:pt x="286" y="99"/>
                    </a:lnTo>
                    <a:lnTo>
                      <a:pt x="282" y="98"/>
                    </a:lnTo>
                    <a:lnTo>
                      <a:pt x="280" y="99"/>
                    </a:lnTo>
                    <a:lnTo>
                      <a:pt x="279" y="101"/>
                    </a:lnTo>
                    <a:lnTo>
                      <a:pt x="280" y="104"/>
                    </a:lnTo>
                    <a:lnTo>
                      <a:pt x="285" y="109"/>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1" name="Freeform 47"/>
              <p:cNvSpPr>
                <a:spLocks/>
              </p:cNvSpPr>
              <p:nvPr/>
            </p:nvSpPr>
            <p:spPr bwMode="auto">
              <a:xfrm>
                <a:off x="1062" y="1915"/>
                <a:ext cx="314" cy="221"/>
              </a:xfrm>
              <a:custGeom>
                <a:avLst/>
                <a:gdLst>
                  <a:gd name="T0" fmla="*/ 28279 w 293"/>
                  <a:gd name="T1" fmla="*/ 2492 h 211"/>
                  <a:gd name="T2" fmla="*/ 27652 w 293"/>
                  <a:gd name="T3" fmla="*/ 2610 h 211"/>
                  <a:gd name="T4" fmla="*/ 26838 w 293"/>
                  <a:gd name="T5" fmla="*/ 2842 h 211"/>
                  <a:gd name="T6" fmla="*/ 25568 w 293"/>
                  <a:gd name="T7" fmla="*/ 2865 h 211"/>
                  <a:gd name="T8" fmla="*/ 24292 w 293"/>
                  <a:gd name="T9" fmla="*/ 2842 h 211"/>
                  <a:gd name="T10" fmla="*/ 23368 w 293"/>
                  <a:gd name="T11" fmla="*/ 3052 h 211"/>
                  <a:gd name="T12" fmla="*/ 23089 w 293"/>
                  <a:gd name="T13" fmla="*/ 3197 h 211"/>
                  <a:gd name="T14" fmla="*/ 22460 w 293"/>
                  <a:gd name="T15" fmla="*/ 3263 h 211"/>
                  <a:gd name="T16" fmla="*/ 21151 w 293"/>
                  <a:gd name="T17" fmla="*/ 3292 h 211"/>
                  <a:gd name="T18" fmla="*/ 18566 w 293"/>
                  <a:gd name="T19" fmla="*/ 3142 h 211"/>
                  <a:gd name="T20" fmla="*/ 16310 w 293"/>
                  <a:gd name="T21" fmla="*/ 3292 h 211"/>
                  <a:gd name="T22" fmla="*/ 11555 w 293"/>
                  <a:gd name="T23" fmla="*/ 3263 h 211"/>
                  <a:gd name="T24" fmla="*/ 8866 w 293"/>
                  <a:gd name="T25" fmla="*/ 3263 h 211"/>
                  <a:gd name="T26" fmla="*/ 8787 w 293"/>
                  <a:gd name="T27" fmla="*/ 3610 h 211"/>
                  <a:gd name="T28" fmla="*/ 9207 w 293"/>
                  <a:gd name="T29" fmla="*/ 3781 h 211"/>
                  <a:gd name="T30" fmla="*/ 9207 w 293"/>
                  <a:gd name="T31" fmla="*/ 4237 h 211"/>
                  <a:gd name="T32" fmla="*/ 9216 w 293"/>
                  <a:gd name="T33" fmla="*/ 4468 h 211"/>
                  <a:gd name="T34" fmla="*/ 8326 w 293"/>
                  <a:gd name="T35" fmla="*/ 4312 h 211"/>
                  <a:gd name="T36" fmla="*/ 7651 w 293"/>
                  <a:gd name="T37" fmla="*/ 4114 h 211"/>
                  <a:gd name="T38" fmla="*/ 6312 w 293"/>
                  <a:gd name="T39" fmla="*/ 4114 h 211"/>
                  <a:gd name="T40" fmla="*/ 4438 w 293"/>
                  <a:gd name="T41" fmla="*/ 4149 h 211"/>
                  <a:gd name="T42" fmla="*/ 3262 w 293"/>
                  <a:gd name="T43" fmla="*/ 4312 h 211"/>
                  <a:gd name="T44" fmla="*/ 2394 w 293"/>
                  <a:gd name="T45" fmla="*/ 4237 h 211"/>
                  <a:gd name="T46" fmla="*/ 2085 w 293"/>
                  <a:gd name="T47" fmla="*/ 4266 h 211"/>
                  <a:gd name="T48" fmla="*/ 1377 w 293"/>
                  <a:gd name="T49" fmla="*/ 4211 h 211"/>
                  <a:gd name="T50" fmla="*/ 974 w 293"/>
                  <a:gd name="T51" fmla="*/ 4045 h 211"/>
                  <a:gd name="T52" fmla="*/ 5 w 293"/>
                  <a:gd name="T53" fmla="*/ 3931 h 211"/>
                  <a:gd name="T54" fmla="*/ 3 w 293"/>
                  <a:gd name="T55" fmla="*/ 3782 h 211"/>
                  <a:gd name="T56" fmla="*/ 0 w 293"/>
                  <a:gd name="T57" fmla="*/ 3610 h 211"/>
                  <a:gd name="T58" fmla="*/ 791 w 293"/>
                  <a:gd name="T59" fmla="*/ 3001 h 211"/>
                  <a:gd name="T60" fmla="*/ 1199 w 293"/>
                  <a:gd name="T61" fmla="*/ 2611 h 211"/>
                  <a:gd name="T62" fmla="*/ 3606 w 293"/>
                  <a:gd name="T63" fmla="*/ 2206 h 211"/>
                  <a:gd name="T64" fmla="*/ 4612 w 293"/>
                  <a:gd name="T65" fmla="*/ 1554 h 211"/>
                  <a:gd name="T66" fmla="*/ 5853 w 293"/>
                  <a:gd name="T67" fmla="*/ 1365 h 211"/>
                  <a:gd name="T68" fmla="*/ 10182 w 293"/>
                  <a:gd name="T69" fmla="*/ 1134 h 211"/>
                  <a:gd name="T70" fmla="*/ 14831 w 293"/>
                  <a:gd name="T71" fmla="*/ 350 h 211"/>
                  <a:gd name="T72" fmla="*/ 17557 w 293"/>
                  <a:gd name="T73" fmla="*/ 0 h 211"/>
                  <a:gd name="T74" fmla="*/ 19736 w 293"/>
                  <a:gd name="T75" fmla="*/ 265 h 211"/>
                  <a:gd name="T76" fmla="*/ 20288 w 293"/>
                  <a:gd name="T77" fmla="*/ 484 h 211"/>
                  <a:gd name="T78" fmla="*/ 20347 w 293"/>
                  <a:gd name="T79" fmla="*/ 805 h 211"/>
                  <a:gd name="T80" fmla="*/ 22976 w 293"/>
                  <a:gd name="T81" fmla="*/ 1340 h 211"/>
                  <a:gd name="T82" fmla="*/ 24292 w 293"/>
                  <a:gd name="T83" fmla="*/ 1854 h 211"/>
                  <a:gd name="T84" fmla="*/ 25722 w 293"/>
                  <a:gd name="T85" fmla="*/ 1942 h 211"/>
                  <a:gd name="T86" fmla="*/ 26760 w 293"/>
                  <a:gd name="T87" fmla="*/ 1854 h 211"/>
                  <a:gd name="T88" fmla="*/ 27644 w 293"/>
                  <a:gd name="T89" fmla="*/ 2070 h 211"/>
                  <a:gd name="T90" fmla="*/ 27009 w 293"/>
                  <a:gd name="T91" fmla="*/ 2106 h 211"/>
                  <a:gd name="T92" fmla="*/ 27422 w 293"/>
                  <a:gd name="T93" fmla="*/ 2311 h 2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3"/>
                  <a:gd name="T142" fmla="*/ 0 h 211"/>
                  <a:gd name="T143" fmla="*/ 293 w 293"/>
                  <a:gd name="T144" fmla="*/ 211 h 2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3" h="211">
                    <a:moveTo>
                      <a:pt x="285" y="109"/>
                    </a:moveTo>
                    <a:lnTo>
                      <a:pt x="291" y="117"/>
                    </a:lnTo>
                    <a:lnTo>
                      <a:pt x="293" y="117"/>
                    </a:lnTo>
                    <a:lnTo>
                      <a:pt x="291" y="121"/>
                    </a:lnTo>
                    <a:lnTo>
                      <a:pt x="288" y="123"/>
                    </a:lnTo>
                    <a:lnTo>
                      <a:pt x="289" y="124"/>
                    </a:lnTo>
                    <a:lnTo>
                      <a:pt x="287" y="127"/>
                    </a:lnTo>
                    <a:lnTo>
                      <a:pt x="279" y="134"/>
                    </a:lnTo>
                    <a:lnTo>
                      <a:pt x="275" y="136"/>
                    </a:lnTo>
                    <a:lnTo>
                      <a:pt x="270" y="134"/>
                    </a:lnTo>
                    <a:lnTo>
                      <a:pt x="265" y="136"/>
                    </a:lnTo>
                    <a:lnTo>
                      <a:pt x="259" y="133"/>
                    </a:lnTo>
                    <a:lnTo>
                      <a:pt x="255" y="133"/>
                    </a:lnTo>
                    <a:lnTo>
                      <a:pt x="253" y="134"/>
                    </a:lnTo>
                    <a:lnTo>
                      <a:pt x="248" y="143"/>
                    </a:lnTo>
                    <a:lnTo>
                      <a:pt x="245" y="143"/>
                    </a:lnTo>
                    <a:lnTo>
                      <a:pt x="243" y="143"/>
                    </a:lnTo>
                    <a:lnTo>
                      <a:pt x="243" y="145"/>
                    </a:lnTo>
                    <a:lnTo>
                      <a:pt x="240" y="147"/>
                    </a:lnTo>
                    <a:lnTo>
                      <a:pt x="240" y="150"/>
                    </a:lnTo>
                    <a:lnTo>
                      <a:pt x="237" y="150"/>
                    </a:lnTo>
                    <a:lnTo>
                      <a:pt x="234" y="153"/>
                    </a:lnTo>
                    <a:lnTo>
                      <a:pt x="233" y="153"/>
                    </a:lnTo>
                    <a:lnTo>
                      <a:pt x="223" y="153"/>
                    </a:lnTo>
                    <a:lnTo>
                      <a:pt x="222" y="155"/>
                    </a:lnTo>
                    <a:lnTo>
                      <a:pt x="220" y="156"/>
                    </a:lnTo>
                    <a:lnTo>
                      <a:pt x="216" y="152"/>
                    </a:lnTo>
                    <a:lnTo>
                      <a:pt x="194" y="148"/>
                    </a:lnTo>
                    <a:lnTo>
                      <a:pt x="192" y="148"/>
                    </a:lnTo>
                    <a:lnTo>
                      <a:pt x="181" y="149"/>
                    </a:lnTo>
                    <a:lnTo>
                      <a:pt x="172" y="155"/>
                    </a:lnTo>
                    <a:lnTo>
                      <a:pt x="169" y="156"/>
                    </a:lnTo>
                    <a:lnTo>
                      <a:pt x="157" y="156"/>
                    </a:lnTo>
                    <a:lnTo>
                      <a:pt x="139" y="153"/>
                    </a:lnTo>
                    <a:lnTo>
                      <a:pt x="120" y="153"/>
                    </a:lnTo>
                    <a:lnTo>
                      <a:pt x="111" y="152"/>
                    </a:lnTo>
                    <a:lnTo>
                      <a:pt x="104" y="152"/>
                    </a:lnTo>
                    <a:lnTo>
                      <a:pt x="92" y="153"/>
                    </a:lnTo>
                    <a:lnTo>
                      <a:pt x="88" y="159"/>
                    </a:lnTo>
                    <a:lnTo>
                      <a:pt x="88" y="164"/>
                    </a:lnTo>
                    <a:lnTo>
                      <a:pt x="91" y="170"/>
                    </a:lnTo>
                    <a:lnTo>
                      <a:pt x="93" y="172"/>
                    </a:lnTo>
                    <a:lnTo>
                      <a:pt x="92" y="177"/>
                    </a:lnTo>
                    <a:lnTo>
                      <a:pt x="95" y="178"/>
                    </a:lnTo>
                    <a:lnTo>
                      <a:pt x="94" y="187"/>
                    </a:lnTo>
                    <a:lnTo>
                      <a:pt x="96" y="193"/>
                    </a:lnTo>
                    <a:lnTo>
                      <a:pt x="95" y="200"/>
                    </a:lnTo>
                    <a:lnTo>
                      <a:pt x="96" y="204"/>
                    </a:lnTo>
                    <a:lnTo>
                      <a:pt x="98" y="210"/>
                    </a:lnTo>
                    <a:lnTo>
                      <a:pt x="96" y="211"/>
                    </a:lnTo>
                    <a:lnTo>
                      <a:pt x="93" y="211"/>
                    </a:lnTo>
                    <a:lnTo>
                      <a:pt x="91" y="210"/>
                    </a:lnTo>
                    <a:lnTo>
                      <a:pt x="87" y="203"/>
                    </a:lnTo>
                    <a:lnTo>
                      <a:pt x="86" y="200"/>
                    </a:lnTo>
                    <a:lnTo>
                      <a:pt x="82" y="198"/>
                    </a:lnTo>
                    <a:lnTo>
                      <a:pt x="79" y="193"/>
                    </a:lnTo>
                    <a:lnTo>
                      <a:pt x="78" y="193"/>
                    </a:lnTo>
                    <a:lnTo>
                      <a:pt x="75" y="195"/>
                    </a:lnTo>
                    <a:lnTo>
                      <a:pt x="66" y="193"/>
                    </a:lnTo>
                    <a:lnTo>
                      <a:pt x="61" y="191"/>
                    </a:lnTo>
                    <a:lnTo>
                      <a:pt x="55" y="194"/>
                    </a:lnTo>
                    <a:lnTo>
                      <a:pt x="46" y="196"/>
                    </a:lnTo>
                    <a:lnTo>
                      <a:pt x="40" y="198"/>
                    </a:lnTo>
                    <a:lnTo>
                      <a:pt x="37" y="198"/>
                    </a:lnTo>
                    <a:lnTo>
                      <a:pt x="34" y="203"/>
                    </a:lnTo>
                    <a:lnTo>
                      <a:pt x="33" y="205"/>
                    </a:lnTo>
                    <a:lnTo>
                      <a:pt x="27" y="203"/>
                    </a:lnTo>
                    <a:lnTo>
                      <a:pt x="25" y="200"/>
                    </a:lnTo>
                    <a:lnTo>
                      <a:pt x="24" y="200"/>
                    </a:lnTo>
                    <a:lnTo>
                      <a:pt x="24" y="201"/>
                    </a:lnTo>
                    <a:lnTo>
                      <a:pt x="21" y="201"/>
                    </a:lnTo>
                    <a:lnTo>
                      <a:pt x="21" y="203"/>
                    </a:lnTo>
                    <a:lnTo>
                      <a:pt x="15" y="200"/>
                    </a:lnTo>
                    <a:lnTo>
                      <a:pt x="15" y="197"/>
                    </a:lnTo>
                    <a:lnTo>
                      <a:pt x="12" y="195"/>
                    </a:lnTo>
                    <a:lnTo>
                      <a:pt x="10" y="195"/>
                    </a:lnTo>
                    <a:lnTo>
                      <a:pt x="10" y="191"/>
                    </a:lnTo>
                    <a:lnTo>
                      <a:pt x="10" y="189"/>
                    </a:lnTo>
                    <a:lnTo>
                      <a:pt x="7" y="188"/>
                    </a:lnTo>
                    <a:lnTo>
                      <a:pt x="5" y="185"/>
                    </a:lnTo>
                    <a:lnTo>
                      <a:pt x="3" y="184"/>
                    </a:lnTo>
                    <a:lnTo>
                      <a:pt x="3" y="182"/>
                    </a:lnTo>
                    <a:lnTo>
                      <a:pt x="3" y="179"/>
                    </a:lnTo>
                    <a:lnTo>
                      <a:pt x="2" y="178"/>
                    </a:lnTo>
                    <a:lnTo>
                      <a:pt x="0" y="178"/>
                    </a:lnTo>
                    <a:lnTo>
                      <a:pt x="0" y="170"/>
                    </a:lnTo>
                    <a:lnTo>
                      <a:pt x="0" y="160"/>
                    </a:lnTo>
                    <a:lnTo>
                      <a:pt x="0" y="153"/>
                    </a:lnTo>
                    <a:lnTo>
                      <a:pt x="7" y="142"/>
                    </a:lnTo>
                    <a:lnTo>
                      <a:pt x="7" y="134"/>
                    </a:lnTo>
                    <a:lnTo>
                      <a:pt x="11" y="127"/>
                    </a:lnTo>
                    <a:lnTo>
                      <a:pt x="13" y="124"/>
                    </a:lnTo>
                    <a:lnTo>
                      <a:pt x="20" y="119"/>
                    </a:lnTo>
                    <a:lnTo>
                      <a:pt x="31" y="111"/>
                    </a:lnTo>
                    <a:lnTo>
                      <a:pt x="37" y="104"/>
                    </a:lnTo>
                    <a:lnTo>
                      <a:pt x="41" y="91"/>
                    </a:lnTo>
                    <a:lnTo>
                      <a:pt x="44" y="81"/>
                    </a:lnTo>
                    <a:lnTo>
                      <a:pt x="48" y="73"/>
                    </a:lnTo>
                    <a:lnTo>
                      <a:pt x="51" y="69"/>
                    </a:lnTo>
                    <a:lnTo>
                      <a:pt x="58" y="65"/>
                    </a:lnTo>
                    <a:lnTo>
                      <a:pt x="61" y="65"/>
                    </a:lnTo>
                    <a:lnTo>
                      <a:pt x="70" y="63"/>
                    </a:lnTo>
                    <a:lnTo>
                      <a:pt x="79" y="61"/>
                    </a:lnTo>
                    <a:lnTo>
                      <a:pt x="106" y="53"/>
                    </a:lnTo>
                    <a:lnTo>
                      <a:pt x="118" y="44"/>
                    </a:lnTo>
                    <a:lnTo>
                      <a:pt x="127" y="34"/>
                    </a:lnTo>
                    <a:lnTo>
                      <a:pt x="153" y="17"/>
                    </a:lnTo>
                    <a:lnTo>
                      <a:pt x="164" y="8"/>
                    </a:lnTo>
                    <a:lnTo>
                      <a:pt x="169" y="5"/>
                    </a:lnTo>
                    <a:lnTo>
                      <a:pt x="183" y="0"/>
                    </a:lnTo>
                    <a:lnTo>
                      <a:pt x="207" y="0"/>
                    </a:lnTo>
                    <a:lnTo>
                      <a:pt x="205" y="3"/>
                    </a:lnTo>
                    <a:lnTo>
                      <a:pt x="205" y="11"/>
                    </a:lnTo>
                    <a:lnTo>
                      <a:pt x="202" y="18"/>
                    </a:lnTo>
                    <a:lnTo>
                      <a:pt x="204" y="18"/>
                    </a:lnTo>
                    <a:lnTo>
                      <a:pt x="211" y="24"/>
                    </a:lnTo>
                    <a:lnTo>
                      <a:pt x="212" y="27"/>
                    </a:lnTo>
                    <a:lnTo>
                      <a:pt x="212" y="33"/>
                    </a:lnTo>
                    <a:lnTo>
                      <a:pt x="212" y="38"/>
                    </a:lnTo>
                    <a:lnTo>
                      <a:pt x="222" y="47"/>
                    </a:lnTo>
                    <a:lnTo>
                      <a:pt x="233" y="58"/>
                    </a:lnTo>
                    <a:lnTo>
                      <a:pt x="238" y="63"/>
                    </a:lnTo>
                    <a:lnTo>
                      <a:pt x="243" y="73"/>
                    </a:lnTo>
                    <a:lnTo>
                      <a:pt x="245" y="78"/>
                    </a:lnTo>
                    <a:lnTo>
                      <a:pt x="253" y="87"/>
                    </a:lnTo>
                    <a:lnTo>
                      <a:pt x="257" y="89"/>
                    </a:lnTo>
                    <a:lnTo>
                      <a:pt x="265" y="91"/>
                    </a:lnTo>
                    <a:lnTo>
                      <a:pt x="267" y="91"/>
                    </a:lnTo>
                    <a:lnTo>
                      <a:pt x="270" y="91"/>
                    </a:lnTo>
                    <a:lnTo>
                      <a:pt x="275" y="87"/>
                    </a:lnTo>
                    <a:lnTo>
                      <a:pt x="278" y="87"/>
                    </a:lnTo>
                    <a:lnTo>
                      <a:pt x="281" y="88"/>
                    </a:lnTo>
                    <a:lnTo>
                      <a:pt x="286" y="96"/>
                    </a:lnTo>
                    <a:lnTo>
                      <a:pt x="287" y="97"/>
                    </a:lnTo>
                    <a:lnTo>
                      <a:pt x="286" y="99"/>
                    </a:lnTo>
                    <a:lnTo>
                      <a:pt x="282" y="98"/>
                    </a:lnTo>
                    <a:lnTo>
                      <a:pt x="280" y="99"/>
                    </a:lnTo>
                    <a:lnTo>
                      <a:pt x="279" y="101"/>
                    </a:lnTo>
                    <a:lnTo>
                      <a:pt x="280" y="104"/>
                    </a:lnTo>
                    <a:lnTo>
                      <a:pt x="285" y="109"/>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52" name="Freeform 48"/>
              <p:cNvSpPr>
                <a:spLocks/>
              </p:cNvSpPr>
              <p:nvPr/>
            </p:nvSpPr>
            <p:spPr bwMode="auto">
              <a:xfrm>
                <a:off x="652" y="2006"/>
                <a:ext cx="306" cy="223"/>
              </a:xfrm>
              <a:custGeom>
                <a:avLst/>
                <a:gdLst>
                  <a:gd name="T0" fmla="*/ 5627 w 286"/>
                  <a:gd name="T1" fmla="*/ 3771 h 212"/>
                  <a:gd name="T2" fmla="*/ 4471 w 286"/>
                  <a:gd name="T3" fmla="*/ 3247 h 212"/>
                  <a:gd name="T4" fmla="*/ 2126 w 286"/>
                  <a:gd name="T5" fmla="*/ 2738 h 212"/>
                  <a:gd name="T6" fmla="*/ 1076 w 286"/>
                  <a:gd name="T7" fmla="*/ 1954 h 212"/>
                  <a:gd name="T8" fmla="*/ 4 w 286"/>
                  <a:gd name="T9" fmla="*/ 2127 h 212"/>
                  <a:gd name="T10" fmla="*/ 879 w 286"/>
                  <a:gd name="T11" fmla="*/ 1682 h 212"/>
                  <a:gd name="T12" fmla="*/ 3906 w 286"/>
                  <a:gd name="T13" fmla="*/ 1107 h 212"/>
                  <a:gd name="T14" fmla="*/ 3906 w 286"/>
                  <a:gd name="T15" fmla="*/ 526 h 212"/>
                  <a:gd name="T16" fmla="*/ 4915 w 286"/>
                  <a:gd name="T17" fmla="*/ 352 h 212"/>
                  <a:gd name="T18" fmla="*/ 5828 w 286"/>
                  <a:gd name="T19" fmla="*/ 2 h 212"/>
                  <a:gd name="T20" fmla="*/ 7276 w 286"/>
                  <a:gd name="T21" fmla="*/ 9 h 212"/>
                  <a:gd name="T22" fmla="*/ 8743 w 286"/>
                  <a:gd name="T23" fmla="*/ 352 h 212"/>
                  <a:gd name="T24" fmla="*/ 10624 w 286"/>
                  <a:gd name="T25" fmla="*/ 335 h 212"/>
                  <a:gd name="T26" fmla="*/ 12550 w 286"/>
                  <a:gd name="T27" fmla="*/ 318 h 212"/>
                  <a:gd name="T28" fmla="*/ 12327 w 286"/>
                  <a:gd name="T29" fmla="*/ 644 h 212"/>
                  <a:gd name="T30" fmla="*/ 13959 w 286"/>
                  <a:gd name="T31" fmla="*/ 475 h 212"/>
                  <a:gd name="T32" fmla="*/ 15218 w 286"/>
                  <a:gd name="T33" fmla="*/ 582 h 212"/>
                  <a:gd name="T34" fmla="*/ 17096 w 286"/>
                  <a:gd name="T35" fmla="*/ 582 h 212"/>
                  <a:gd name="T36" fmla="*/ 19305 w 286"/>
                  <a:gd name="T37" fmla="*/ 389 h 212"/>
                  <a:gd name="T38" fmla="*/ 19786 w 286"/>
                  <a:gd name="T39" fmla="*/ 318 h 212"/>
                  <a:gd name="T40" fmla="*/ 20329 w 286"/>
                  <a:gd name="T41" fmla="*/ 475 h 212"/>
                  <a:gd name="T42" fmla="*/ 20809 w 286"/>
                  <a:gd name="T43" fmla="*/ 677 h 212"/>
                  <a:gd name="T44" fmla="*/ 21554 w 286"/>
                  <a:gd name="T45" fmla="*/ 1288 h 212"/>
                  <a:gd name="T46" fmla="*/ 22264 w 286"/>
                  <a:gd name="T47" fmla="*/ 1520 h 212"/>
                  <a:gd name="T48" fmla="*/ 21522 w 286"/>
                  <a:gd name="T49" fmla="*/ 1745 h 212"/>
                  <a:gd name="T50" fmla="*/ 22522 w 286"/>
                  <a:gd name="T51" fmla="*/ 1766 h 212"/>
                  <a:gd name="T52" fmla="*/ 23456 w 286"/>
                  <a:gd name="T53" fmla="*/ 2521 h 212"/>
                  <a:gd name="T54" fmla="*/ 23456 w 286"/>
                  <a:gd name="T55" fmla="*/ 2880 h 212"/>
                  <a:gd name="T56" fmla="*/ 23159 w 286"/>
                  <a:gd name="T57" fmla="*/ 3504 h 212"/>
                  <a:gd name="T58" fmla="*/ 24619 w 286"/>
                  <a:gd name="T59" fmla="*/ 3912 h 212"/>
                  <a:gd name="T60" fmla="*/ 24011 w 286"/>
                  <a:gd name="T61" fmla="*/ 4290 h 212"/>
                  <a:gd name="T62" fmla="*/ 24643 w 286"/>
                  <a:gd name="T63" fmla="*/ 4554 h 212"/>
                  <a:gd name="T64" fmla="*/ 24011 w 286"/>
                  <a:gd name="T65" fmla="*/ 4625 h 212"/>
                  <a:gd name="T66" fmla="*/ 23027 w 286"/>
                  <a:gd name="T67" fmla="*/ 4625 h 212"/>
                  <a:gd name="T68" fmla="*/ 23644 w 286"/>
                  <a:gd name="T69" fmla="*/ 4865 h 212"/>
                  <a:gd name="T70" fmla="*/ 23596 w 286"/>
                  <a:gd name="T71" fmla="*/ 5082 h 212"/>
                  <a:gd name="T72" fmla="*/ 22264 w 286"/>
                  <a:gd name="T73" fmla="*/ 5558 h 212"/>
                  <a:gd name="T74" fmla="*/ 21170 w 286"/>
                  <a:gd name="T75" fmla="*/ 5654 h 212"/>
                  <a:gd name="T76" fmla="*/ 19942 w 286"/>
                  <a:gd name="T77" fmla="*/ 5956 h 212"/>
                  <a:gd name="T78" fmla="*/ 18800 w 286"/>
                  <a:gd name="T79" fmla="*/ 5846 h 212"/>
                  <a:gd name="T80" fmla="*/ 19305 w 286"/>
                  <a:gd name="T81" fmla="*/ 5311 h 212"/>
                  <a:gd name="T82" fmla="*/ 18246 w 286"/>
                  <a:gd name="T83" fmla="*/ 4625 h 212"/>
                  <a:gd name="T84" fmla="*/ 17186 w 286"/>
                  <a:gd name="T85" fmla="*/ 4618 h 212"/>
                  <a:gd name="T86" fmla="*/ 16154 w 286"/>
                  <a:gd name="T87" fmla="*/ 4625 h 212"/>
                  <a:gd name="T88" fmla="*/ 15350 w 286"/>
                  <a:gd name="T89" fmla="*/ 4625 h 212"/>
                  <a:gd name="T90" fmla="*/ 15218 w 286"/>
                  <a:gd name="T91" fmla="*/ 4338 h 212"/>
                  <a:gd name="T92" fmla="*/ 14896 w 286"/>
                  <a:gd name="T93" fmla="*/ 3912 h 212"/>
                  <a:gd name="T94" fmla="*/ 14896 w 286"/>
                  <a:gd name="T95" fmla="*/ 3677 h 212"/>
                  <a:gd name="T96" fmla="*/ 14032 w 286"/>
                  <a:gd name="T97" fmla="*/ 3369 h 212"/>
                  <a:gd name="T98" fmla="*/ 12965 w 286"/>
                  <a:gd name="T99" fmla="*/ 3011 h 212"/>
                  <a:gd name="T100" fmla="*/ 9844 w 286"/>
                  <a:gd name="T101" fmla="*/ 3080 h 212"/>
                  <a:gd name="T102" fmla="*/ 8743 w 286"/>
                  <a:gd name="T103" fmla="*/ 3203 h 212"/>
                  <a:gd name="T104" fmla="*/ 7679 w 286"/>
                  <a:gd name="T105" fmla="*/ 3708 h 2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6"/>
                  <a:gd name="T160" fmla="*/ 0 h 212"/>
                  <a:gd name="T161" fmla="*/ 286 w 286"/>
                  <a:gd name="T162" fmla="*/ 212 h 2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6" h="212">
                    <a:moveTo>
                      <a:pt x="79" y="139"/>
                    </a:moveTo>
                    <a:lnTo>
                      <a:pt x="74" y="139"/>
                    </a:lnTo>
                    <a:lnTo>
                      <a:pt x="70" y="139"/>
                    </a:lnTo>
                    <a:lnTo>
                      <a:pt x="68" y="138"/>
                    </a:lnTo>
                    <a:lnTo>
                      <a:pt x="65" y="134"/>
                    </a:lnTo>
                    <a:lnTo>
                      <a:pt x="63" y="131"/>
                    </a:lnTo>
                    <a:lnTo>
                      <a:pt x="61" y="128"/>
                    </a:lnTo>
                    <a:lnTo>
                      <a:pt x="58" y="124"/>
                    </a:lnTo>
                    <a:lnTo>
                      <a:pt x="52" y="123"/>
                    </a:lnTo>
                    <a:lnTo>
                      <a:pt x="52" y="116"/>
                    </a:lnTo>
                    <a:lnTo>
                      <a:pt x="47" y="109"/>
                    </a:lnTo>
                    <a:lnTo>
                      <a:pt x="39" y="106"/>
                    </a:lnTo>
                    <a:lnTo>
                      <a:pt x="34" y="102"/>
                    </a:lnTo>
                    <a:lnTo>
                      <a:pt x="29" y="100"/>
                    </a:lnTo>
                    <a:lnTo>
                      <a:pt x="25" y="97"/>
                    </a:lnTo>
                    <a:lnTo>
                      <a:pt x="22" y="88"/>
                    </a:lnTo>
                    <a:lnTo>
                      <a:pt x="22" y="80"/>
                    </a:lnTo>
                    <a:lnTo>
                      <a:pt x="20" y="78"/>
                    </a:lnTo>
                    <a:lnTo>
                      <a:pt x="15" y="78"/>
                    </a:lnTo>
                    <a:lnTo>
                      <a:pt x="13" y="69"/>
                    </a:lnTo>
                    <a:lnTo>
                      <a:pt x="13" y="68"/>
                    </a:lnTo>
                    <a:lnTo>
                      <a:pt x="10" y="69"/>
                    </a:lnTo>
                    <a:lnTo>
                      <a:pt x="7" y="75"/>
                    </a:lnTo>
                    <a:lnTo>
                      <a:pt x="6" y="75"/>
                    </a:lnTo>
                    <a:lnTo>
                      <a:pt x="4" y="75"/>
                    </a:lnTo>
                    <a:lnTo>
                      <a:pt x="1" y="73"/>
                    </a:lnTo>
                    <a:lnTo>
                      <a:pt x="0" y="68"/>
                    </a:lnTo>
                    <a:lnTo>
                      <a:pt x="4" y="66"/>
                    </a:lnTo>
                    <a:lnTo>
                      <a:pt x="8" y="63"/>
                    </a:lnTo>
                    <a:lnTo>
                      <a:pt x="10" y="61"/>
                    </a:lnTo>
                    <a:lnTo>
                      <a:pt x="13" y="55"/>
                    </a:lnTo>
                    <a:lnTo>
                      <a:pt x="15" y="50"/>
                    </a:lnTo>
                    <a:lnTo>
                      <a:pt x="20" y="46"/>
                    </a:lnTo>
                    <a:lnTo>
                      <a:pt x="32" y="40"/>
                    </a:lnTo>
                    <a:lnTo>
                      <a:pt x="46" y="40"/>
                    </a:lnTo>
                    <a:lnTo>
                      <a:pt x="48" y="39"/>
                    </a:lnTo>
                    <a:lnTo>
                      <a:pt x="54" y="39"/>
                    </a:lnTo>
                    <a:lnTo>
                      <a:pt x="52" y="25"/>
                    </a:lnTo>
                    <a:lnTo>
                      <a:pt x="51" y="22"/>
                    </a:lnTo>
                    <a:lnTo>
                      <a:pt x="46" y="20"/>
                    </a:lnTo>
                    <a:lnTo>
                      <a:pt x="47" y="18"/>
                    </a:lnTo>
                    <a:lnTo>
                      <a:pt x="49" y="17"/>
                    </a:lnTo>
                    <a:lnTo>
                      <a:pt x="52" y="17"/>
                    </a:lnTo>
                    <a:lnTo>
                      <a:pt x="55" y="15"/>
                    </a:lnTo>
                    <a:lnTo>
                      <a:pt x="57" y="12"/>
                    </a:lnTo>
                    <a:lnTo>
                      <a:pt x="57" y="9"/>
                    </a:lnTo>
                    <a:lnTo>
                      <a:pt x="54" y="4"/>
                    </a:lnTo>
                    <a:lnTo>
                      <a:pt x="54" y="0"/>
                    </a:lnTo>
                    <a:lnTo>
                      <a:pt x="64" y="0"/>
                    </a:lnTo>
                    <a:lnTo>
                      <a:pt x="67" y="2"/>
                    </a:lnTo>
                    <a:lnTo>
                      <a:pt x="72" y="1"/>
                    </a:lnTo>
                    <a:lnTo>
                      <a:pt x="77" y="2"/>
                    </a:lnTo>
                    <a:lnTo>
                      <a:pt x="79" y="4"/>
                    </a:lnTo>
                    <a:lnTo>
                      <a:pt x="79" y="9"/>
                    </a:lnTo>
                    <a:lnTo>
                      <a:pt x="84" y="9"/>
                    </a:lnTo>
                    <a:lnTo>
                      <a:pt x="85" y="7"/>
                    </a:lnTo>
                    <a:lnTo>
                      <a:pt x="86" y="7"/>
                    </a:lnTo>
                    <a:lnTo>
                      <a:pt x="90" y="10"/>
                    </a:lnTo>
                    <a:lnTo>
                      <a:pt x="95" y="10"/>
                    </a:lnTo>
                    <a:lnTo>
                      <a:pt x="101" y="12"/>
                    </a:lnTo>
                    <a:lnTo>
                      <a:pt x="103" y="11"/>
                    </a:lnTo>
                    <a:lnTo>
                      <a:pt x="106" y="14"/>
                    </a:lnTo>
                    <a:lnTo>
                      <a:pt x="111" y="14"/>
                    </a:lnTo>
                    <a:lnTo>
                      <a:pt x="116" y="11"/>
                    </a:lnTo>
                    <a:lnTo>
                      <a:pt x="122" y="11"/>
                    </a:lnTo>
                    <a:lnTo>
                      <a:pt x="124" y="11"/>
                    </a:lnTo>
                    <a:lnTo>
                      <a:pt x="131" y="12"/>
                    </a:lnTo>
                    <a:lnTo>
                      <a:pt x="134" y="11"/>
                    </a:lnTo>
                    <a:lnTo>
                      <a:pt x="139" y="10"/>
                    </a:lnTo>
                    <a:lnTo>
                      <a:pt x="146" y="10"/>
                    </a:lnTo>
                    <a:lnTo>
                      <a:pt x="143" y="12"/>
                    </a:lnTo>
                    <a:lnTo>
                      <a:pt x="143" y="14"/>
                    </a:lnTo>
                    <a:lnTo>
                      <a:pt x="141" y="18"/>
                    </a:lnTo>
                    <a:lnTo>
                      <a:pt x="140" y="20"/>
                    </a:lnTo>
                    <a:lnTo>
                      <a:pt x="143" y="24"/>
                    </a:lnTo>
                    <a:lnTo>
                      <a:pt x="147" y="25"/>
                    </a:lnTo>
                    <a:lnTo>
                      <a:pt x="150" y="25"/>
                    </a:lnTo>
                    <a:lnTo>
                      <a:pt x="153" y="22"/>
                    </a:lnTo>
                    <a:lnTo>
                      <a:pt x="158" y="19"/>
                    </a:lnTo>
                    <a:lnTo>
                      <a:pt x="161" y="18"/>
                    </a:lnTo>
                    <a:lnTo>
                      <a:pt x="163" y="20"/>
                    </a:lnTo>
                    <a:lnTo>
                      <a:pt x="169" y="29"/>
                    </a:lnTo>
                    <a:lnTo>
                      <a:pt x="172" y="29"/>
                    </a:lnTo>
                    <a:lnTo>
                      <a:pt x="175" y="27"/>
                    </a:lnTo>
                    <a:lnTo>
                      <a:pt x="176" y="22"/>
                    </a:lnTo>
                    <a:lnTo>
                      <a:pt x="181" y="22"/>
                    </a:lnTo>
                    <a:lnTo>
                      <a:pt x="184" y="18"/>
                    </a:lnTo>
                    <a:lnTo>
                      <a:pt x="185" y="18"/>
                    </a:lnTo>
                    <a:lnTo>
                      <a:pt x="191" y="19"/>
                    </a:lnTo>
                    <a:lnTo>
                      <a:pt x="197" y="22"/>
                    </a:lnTo>
                    <a:lnTo>
                      <a:pt x="208" y="25"/>
                    </a:lnTo>
                    <a:lnTo>
                      <a:pt x="209" y="22"/>
                    </a:lnTo>
                    <a:lnTo>
                      <a:pt x="210" y="19"/>
                    </a:lnTo>
                    <a:lnTo>
                      <a:pt x="219" y="15"/>
                    </a:lnTo>
                    <a:lnTo>
                      <a:pt x="222" y="14"/>
                    </a:lnTo>
                    <a:lnTo>
                      <a:pt x="222" y="8"/>
                    </a:lnTo>
                    <a:lnTo>
                      <a:pt x="222" y="7"/>
                    </a:lnTo>
                    <a:lnTo>
                      <a:pt x="224" y="7"/>
                    </a:lnTo>
                    <a:lnTo>
                      <a:pt x="229" y="10"/>
                    </a:lnTo>
                    <a:lnTo>
                      <a:pt x="232" y="8"/>
                    </a:lnTo>
                    <a:lnTo>
                      <a:pt x="233" y="8"/>
                    </a:lnTo>
                    <a:lnTo>
                      <a:pt x="237" y="9"/>
                    </a:lnTo>
                    <a:lnTo>
                      <a:pt x="237" y="10"/>
                    </a:lnTo>
                    <a:lnTo>
                      <a:pt x="235" y="18"/>
                    </a:lnTo>
                    <a:lnTo>
                      <a:pt x="237" y="19"/>
                    </a:lnTo>
                    <a:lnTo>
                      <a:pt x="239" y="19"/>
                    </a:lnTo>
                    <a:lnTo>
                      <a:pt x="240" y="20"/>
                    </a:lnTo>
                    <a:lnTo>
                      <a:pt x="240" y="24"/>
                    </a:lnTo>
                    <a:lnTo>
                      <a:pt x="240" y="25"/>
                    </a:lnTo>
                    <a:lnTo>
                      <a:pt x="242" y="29"/>
                    </a:lnTo>
                    <a:lnTo>
                      <a:pt x="242" y="40"/>
                    </a:lnTo>
                    <a:lnTo>
                      <a:pt x="244" y="40"/>
                    </a:lnTo>
                    <a:lnTo>
                      <a:pt x="247" y="39"/>
                    </a:lnTo>
                    <a:lnTo>
                      <a:pt x="250" y="46"/>
                    </a:lnTo>
                    <a:lnTo>
                      <a:pt x="252" y="47"/>
                    </a:lnTo>
                    <a:lnTo>
                      <a:pt x="255" y="50"/>
                    </a:lnTo>
                    <a:lnTo>
                      <a:pt x="259" y="50"/>
                    </a:lnTo>
                    <a:lnTo>
                      <a:pt x="259" y="55"/>
                    </a:lnTo>
                    <a:lnTo>
                      <a:pt x="257" y="55"/>
                    </a:lnTo>
                    <a:lnTo>
                      <a:pt x="256" y="56"/>
                    </a:lnTo>
                    <a:lnTo>
                      <a:pt x="252" y="56"/>
                    </a:lnTo>
                    <a:lnTo>
                      <a:pt x="252" y="60"/>
                    </a:lnTo>
                    <a:lnTo>
                      <a:pt x="249" y="61"/>
                    </a:lnTo>
                    <a:lnTo>
                      <a:pt x="248" y="62"/>
                    </a:lnTo>
                    <a:lnTo>
                      <a:pt x="248" y="68"/>
                    </a:lnTo>
                    <a:lnTo>
                      <a:pt x="250" y="68"/>
                    </a:lnTo>
                    <a:lnTo>
                      <a:pt x="254" y="62"/>
                    </a:lnTo>
                    <a:lnTo>
                      <a:pt x="257" y="62"/>
                    </a:lnTo>
                    <a:lnTo>
                      <a:pt x="261" y="63"/>
                    </a:lnTo>
                    <a:lnTo>
                      <a:pt x="261" y="66"/>
                    </a:lnTo>
                    <a:lnTo>
                      <a:pt x="261" y="82"/>
                    </a:lnTo>
                    <a:lnTo>
                      <a:pt x="265" y="87"/>
                    </a:lnTo>
                    <a:lnTo>
                      <a:pt x="268" y="87"/>
                    </a:lnTo>
                    <a:lnTo>
                      <a:pt x="270" y="90"/>
                    </a:lnTo>
                    <a:lnTo>
                      <a:pt x="274" y="92"/>
                    </a:lnTo>
                    <a:lnTo>
                      <a:pt x="274" y="93"/>
                    </a:lnTo>
                    <a:lnTo>
                      <a:pt x="274" y="97"/>
                    </a:lnTo>
                    <a:lnTo>
                      <a:pt x="274" y="98"/>
                    </a:lnTo>
                    <a:lnTo>
                      <a:pt x="270" y="102"/>
                    </a:lnTo>
                    <a:lnTo>
                      <a:pt x="270" y="104"/>
                    </a:lnTo>
                    <a:lnTo>
                      <a:pt x="267" y="106"/>
                    </a:lnTo>
                    <a:lnTo>
                      <a:pt x="268" y="111"/>
                    </a:lnTo>
                    <a:lnTo>
                      <a:pt x="268" y="124"/>
                    </a:lnTo>
                    <a:lnTo>
                      <a:pt x="274" y="128"/>
                    </a:lnTo>
                    <a:lnTo>
                      <a:pt x="278" y="128"/>
                    </a:lnTo>
                    <a:lnTo>
                      <a:pt x="278" y="138"/>
                    </a:lnTo>
                    <a:lnTo>
                      <a:pt x="280" y="136"/>
                    </a:lnTo>
                    <a:lnTo>
                      <a:pt x="283" y="139"/>
                    </a:lnTo>
                    <a:lnTo>
                      <a:pt x="283" y="141"/>
                    </a:lnTo>
                    <a:lnTo>
                      <a:pt x="282" y="142"/>
                    </a:lnTo>
                    <a:lnTo>
                      <a:pt x="278" y="145"/>
                    </a:lnTo>
                    <a:lnTo>
                      <a:pt x="277" y="151"/>
                    </a:lnTo>
                    <a:lnTo>
                      <a:pt x="278" y="151"/>
                    </a:lnTo>
                    <a:lnTo>
                      <a:pt x="280" y="152"/>
                    </a:lnTo>
                    <a:lnTo>
                      <a:pt x="282" y="152"/>
                    </a:lnTo>
                    <a:lnTo>
                      <a:pt x="282" y="156"/>
                    </a:lnTo>
                    <a:lnTo>
                      <a:pt x="285" y="159"/>
                    </a:lnTo>
                    <a:lnTo>
                      <a:pt x="285" y="162"/>
                    </a:lnTo>
                    <a:lnTo>
                      <a:pt x="286" y="168"/>
                    </a:lnTo>
                    <a:lnTo>
                      <a:pt x="285" y="168"/>
                    </a:lnTo>
                    <a:lnTo>
                      <a:pt x="282" y="165"/>
                    </a:lnTo>
                    <a:lnTo>
                      <a:pt x="280" y="165"/>
                    </a:lnTo>
                    <a:lnTo>
                      <a:pt x="278" y="165"/>
                    </a:lnTo>
                    <a:lnTo>
                      <a:pt x="277" y="162"/>
                    </a:lnTo>
                    <a:lnTo>
                      <a:pt x="270" y="161"/>
                    </a:lnTo>
                    <a:lnTo>
                      <a:pt x="264" y="164"/>
                    </a:lnTo>
                    <a:lnTo>
                      <a:pt x="264" y="165"/>
                    </a:lnTo>
                    <a:lnTo>
                      <a:pt x="265" y="165"/>
                    </a:lnTo>
                    <a:lnTo>
                      <a:pt x="267" y="168"/>
                    </a:lnTo>
                    <a:lnTo>
                      <a:pt x="264" y="171"/>
                    </a:lnTo>
                    <a:lnTo>
                      <a:pt x="265" y="174"/>
                    </a:lnTo>
                    <a:lnTo>
                      <a:pt x="271" y="172"/>
                    </a:lnTo>
                    <a:lnTo>
                      <a:pt x="273" y="174"/>
                    </a:lnTo>
                    <a:lnTo>
                      <a:pt x="273" y="176"/>
                    </a:lnTo>
                    <a:lnTo>
                      <a:pt x="273" y="177"/>
                    </a:lnTo>
                    <a:lnTo>
                      <a:pt x="274" y="177"/>
                    </a:lnTo>
                    <a:lnTo>
                      <a:pt x="274" y="179"/>
                    </a:lnTo>
                    <a:lnTo>
                      <a:pt x="272" y="181"/>
                    </a:lnTo>
                    <a:lnTo>
                      <a:pt x="271" y="186"/>
                    </a:lnTo>
                    <a:lnTo>
                      <a:pt x="271" y="189"/>
                    </a:lnTo>
                    <a:lnTo>
                      <a:pt x="267" y="196"/>
                    </a:lnTo>
                    <a:lnTo>
                      <a:pt x="267" y="197"/>
                    </a:lnTo>
                    <a:lnTo>
                      <a:pt x="257" y="197"/>
                    </a:lnTo>
                    <a:lnTo>
                      <a:pt x="255" y="199"/>
                    </a:lnTo>
                    <a:lnTo>
                      <a:pt x="252" y="194"/>
                    </a:lnTo>
                    <a:lnTo>
                      <a:pt x="248" y="194"/>
                    </a:lnTo>
                    <a:lnTo>
                      <a:pt x="245" y="197"/>
                    </a:lnTo>
                    <a:lnTo>
                      <a:pt x="245" y="201"/>
                    </a:lnTo>
                    <a:lnTo>
                      <a:pt x="242" y="206"/>
                    </a:lnTo>
                    <a:lnTo>
                      <a:pt x="242" y="209"/>
                    </a:lnTo>
                    <a:lnTo>
                      <a:pt x="237" y="209"/>
                    </a:lnTo>
                    <a:lnTo>
                      <a:pt x="234" y="212"/>
                    </a:lnTo>
                    <a:lnTo>
                      <a:pt x="230" y="212"/>
                    </a:lnTo>
                    <a:lnTo>
                      <a:pt x="227" y="207"/>
                    </a:lnTo>
                    <a:lnTo>
                      <a:pt x="224" y="204"/>
                    </a:lnTo>
                    <a:lnTo>
                      <a:pt x="223" y="203"/>
                    </a:lnTo>
                    <a:lnTo>
                      <a:pt x="219" y="206"/>
                    </a:lnTo>
                    <a:lnTo>
                      <a:pt x="217" y="207"/>
                    </a:lnTo>
                    <a:lnTo>
                      <a:pt x="216" y="206"/>
                    </a:lnTo>
                    <a:lnTo>
                      <a:pt x="216" y="203"/>
                    </a:lnTo>
                    <a:lnTo>
                      <a:pt x="219" y="202"/>
                    </a:lnTo>
                    <a:lnTo>
                      <a:pt x="220" y="199"/>
                    </a:lnTo>
                    <a:lnTo>
                      <a:pt x="222" y="189"/>
                    </a:lnTo>
                    <a:lnTo>
                      <a:pt x="219" y="187"/>
                    </a:lnTo>
                    <a:lnTo>
                      <a:pt x="219" y="177"/>
                    </a:lnTo>
                    <a:lnTo>
                      <a:pt x="216" y="174"/>
                    </a:lnTo>
                    <a:lnTo>
                      <a:pt x="216" y="168"/>
                    </a:lnTo>
                    <a:lnTo>
                      <a:pt x="210" y="165"/>
                    </a:lnTo>
                    <a:lnTo>
                      <a:pt x="208" y="162"/>
                    </a:lnTo>
                    <a:lnTo>
                      <a:pt x="208" y="161"/>
                    </a:lnTo>
                    <a:lnTo>
                      <a:pt x="207" y="160"/>
                    </a:lnTo>
                    <a:lnTo>
                      <a:pt x="201" y="162"/>
                    </a:lnTo>
                    <a:lnTo>
                      <a:pt x="199" y="164"/>
                    </a:lnTo>
                    <a:lnTo>
                      <a:pt x="197" y="164"/>
                    </a:lnTo>
                    <a:lnTo>
                      <a:pt x="194" y="161"/>
                    </a:lnTo>
                    <a:lnTo>
                      <a:pt x="191" y="160"/>
                    </a:lnTo>
                    <a:lnTo>
                      <a:pt x="188" y="161"/>
                    </a:lnTo>
                    <a:lnTo>
                      <a:pt x="187" y="165"/>
                    </a:lnTo>
                    <a:lnTo>
                      <a:pt x="184" y="165"/>
                    </a:lnTo>
                    <a:lnTo>
                      <a:pt x="184" y="164"/>
                    </a:lnTo>
                    <a:lnTo>
                      <a:pt x="184" y="161"/>
                    </a:lnTo>
                    <a:lnTo>
                      <a:pt x="182" y="161"/>
                    </a:lnTo>
                    <a:lnTo>
                      <a:pt x="178" y="165"/>
                    </a:lnTo>
                    <a:lnTo>
                      <a:pt x="170" y="168"/>
                    </a:lnTo>
                    <a:lnTo>
                      <a:pt x="170" y="167"/>
                    </a:lnTo>
                    <a:lnTo>
                      <a:pt x="171" y="162"/>
                    </a:lnTo>
                    <a:lnTo>
                      <a:pt x="173" y="155"/>
                    </a:lnTo>
                    <a:lnTo>
                      <a:pt x="176" y="155"/>
                    </a:lnTo>
                    <a:lnTo>
                      <a:pt x="176" y="153"/>
                    </a:lnTo>
                    <a:lnTo>
                      <a:pt x="175" y="145"/>
                    </a:lnTo>
                    <a:lnTo>
                      <a:pt x="175" y="143"/>
                    </a:lnTo>
                    <a:lnTo>
                      <a:pt x="172" y="141"/>
                    </a:lnTo>
                    <a:lnTo>
                      <a:pt x="171" y="139"/>
                    </a:lnTo>
                    <a:lnTo>
                      <a:pt x="170" y="136"/>
                    </a:lnTo>
                    <a:lnTo>
                      <a:pt x="171" y="134"/>
                    </a:lnTo>
                    <a:lnTo>
                      <a:pt x="170" y="131"/>
                    </a:lnTo>
                    <a:lnTo>
                      <a:pt x="171" y="131"/>
                    </a:lnTo>
                    <a:lnTo>
                      <a:pt x="171" y="129"/>
                    </a:lnTo>
                    <a:lnTo>
                      <a:pt x="169" y="128"/>
                    </a:lnTo>
                    <a:lnTo>
                      <a:pt x="165" y="126"/>
                    </a:lnTo>
                    <a:lnTo>
                      <a:pt x="163" y="124"/>
                    </a:lnTo>
                    <a:lnTo>
                      <a:pt x="165" y="123"/>
                    </a:lnTo>
                    <a:lnTo>
                      <a:pt x="163" y="120"/>
                    </a:lnTo>
                    <a:lnTo>
                      <a:pt x="161" y="118"/>
                    </a:lnTo>
                    <a:lnTo>
                      <a:pt x="158" y="116"/>
                    </a:lnTo>
                    <a:lnTo>
                      <a:pt x="156" y="113"/>
                    </a:lnTo>
                    <a:lnTo>
                      <a:pt x="151" y="110"/>
                    </a:lnTo>
                    <a:lnTo>
                      <a:pt x="149" y="106"/>
                    </a:lnTo>
                    <a:lnTo>
                      <a:pt x="140" y="104"/>
                    </a:lnTo>
                    <a:lnTo>
                      <a:pt x="122" y="104"/>
                    </a:lnTo>
                    <a:lnTo>
                      <a:pt x="122" y="108"/>
                    </a:lnTo>
                    <a:lnTo>
                      <a:pt x="118" y="108"/>
                    </a:lnTo>
                    <a:lnTo>
                      <a:pt x="113" y="109"/>
                    </a:lnTo>
                    <a:lnTo>
                      <a:pt x="111" y="110"/>
                    </a:lnTo>
                    <a:lnTo>
                      <a:pt x="109" y="108"/>
                    </a:lnTo>
                    <a:lnTo>
                      <a:pt x="102" y="108"/>
                    </a:lnTo>
                    <a:lnTo>
                      <a:pt x="100" y="109"/>
                    </a:lnTo>
                    <a:lnTo>
                      <a:pt x="101" y="114"/>
                    </a:lnTo>
                    <a:lnTo>
                      <a:pt x="97" y="120"/>
                    </a:lnTo>
                    <a:lnTo>
                      <a:pt x="94" y="124"/>
                    </a:lnTo>
                    <a:lnTo>
                      <a:pt x="90" y="128"/>
                    </a:lnTo>
                    <a:lnTo>
                      <a:pt x="90" y="129"/>
                    </a:lnTo>
                    <a:lnTo>
                      <a:pt x="89" y="131"/>
                    </a:lnTo>
                    <a:lnTo>
                      <a:pt x="85" y="131"/>
                    </a:lnTo>
                    <a:lnTo>
                      <a:pt x="82" y="139"/>
                    </a:lnTo>
                    <a:lnTo>
                      <a:pt x="80" y="139"/>
                    </a:lnTo>
                    <a:lnTo>
                      <a:pt x="79" y="139"/>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3" name="Freeform 49"/>
              <p:cNvSpPr>
                <a:spLocks/>
              </p:cNvSpPr>
              <p:nvPr/>
            </p:nvSpPr>
            <p:spPr bwMode="auto">
              <a:xfrm>
                <a:off x="652" y="2006"/>
                <a:ext cx="306" cy="223"/>
              </a:xfrm>
              <a:custGeom>
                <a:avLst/>
                <a:gdLst>
                  <a:gd name="T0" fmla="*/ 5627 w 286"/>
                  <a:gd name="T1" fmla="*/ 3771 h 212"/>
                  <a:gd name="T2" fmla="*/ 4471 w 286"/>
                  <a:gd name="T3" fmla="*/ 3247 h 212"/>
                  <a:gd name="T4" fmla="*/ 2126 w 286"/>
                  <a:gd name="T5" fmla="*/ 2738 h 212"/>
                  <a:gd name="T6" fmla="*/ 1076 w 286"/>
                  <a:gd name="T7" fmla="*/ 1954 h 212"/>
                  <a:gd name="T8" fmla="*/ 4 w 286"/>
                  <a:gd name="T9" fmla="*/ 2127 h 212"/>
                  <a:gd name="T10" fmla="*/ 879 w 286"/>
                  <a:gd name="T11" fmla="*/ 1682 h 212"/>
                  <a:gd name="T12" fmla="*/ 3906 w 286"/>
                  <a:gd name="T13" fmla="*/ 1107 h 212"/>
                  <a:gd name="T14" fmla="*/ 3906 w 286"/>
                  <a:gd name="T15" fmla="*/ 526 h 212"/>
                  <a:gd name="T16" fmla="*/ 4915 w 286"/>
                  <a:gd name="T17" fmla="*/ 352 h 212"/>
                  <a:gd name="T18" fmla="*/ 5828 w 286"/>
                  <a:gd name="T19" fmla="*/ 2 h 212"/>
                  <a:gd name="T20" fmla="*/ 7276 w 286"/>
                  <a:gd name="T21" fmla="*/ 9 h 212"/>
                  <a:gd name="T22" fmla="*/ 8743 w 286"/>
                  <a:gd name="T23" fmla="*/ 352 h 212"/>
                  <a:gd name="T24" fmla="*/ 10624 w 286"/>
                  <a:gd name="T25" fmla="*/ 335 h 212"/>
                  <a:gd name="T26" fmla="*/ 12550 w 286"/>
                  <a:gd name="T27" fmla="*/ 318 h 212"/>
                  <a:gd name="T28" fmla="*/ 12327 w 286"/>
                  <a:gd name="T29" fmla="*/ 644 h 212"/>
                  <a:gd name="T30" fmla="*/ 13959 w 286"/>
                  <a:gd name="T31" fmla="*/ 475 h 212"/>
                  <a:gd name="T32" fmla="*/ 15218 w 286"/>
                  <a:gd name="T33" fmla="*/ 582 h 212"/>
                  <a:gd name="T34" fmla="*/ 17096 w 286"/>
                  <a:gd name="T35" fmla="*/ 582 h 212"/>
                  <a:gd name="T36" fmla="*/ 19305 w 286"/>
                  <a:gd name="T37" fmla="*/ 389 h 212"/>
                  <a:gd name="T38" fmla="*/ 19786 w 286"/>
                  <a:gd name="T39" fmla="*/ 318 h 212"/>
                  <a:gd name="T40" fmla="*/ 20329 w 286"/>
                  <a:gd name="T41" fmla="*/ 475 h 212"/>
                  <a:gd name="T42" fmla="*/ 20809 w 286"/>
                  <a:gd name="T43" fmla="*/ 677 h 212"/>
                  <a:gd name="T44" fmla="*/ 21554 w 286"/>
                  <a:gd name="T45" fmla="*/ 1288 h 212"/>
                  <a:gd name="T46" fmla="*/ 22264 w 286"/>
                  <a:gd name="T47" fmla="*/ 1520 h 212"/>
                  <a:gd name="T48" fmla="*/ 21522 w 286"/>
                  <a:gd name="T49" fmla="*/ 1745 h 212"/>
                  <a:gd name="T50" fmla="*/ 22522 w 286"/>
                  <a:gd name="T51" fmla="*/ 1766 h 212"/>
                  <a:gd name="T52" fmla="*/ 23456 w 286"/>
                  <a:gd name="T53" fmla="*/ 2521 h 212"/>
                  <a:gd name="T54" fmla="*/ 23456 w 286"/>
                  <a:gd name="T55" fmla="*/ 2880 h 212"/>
                  <a:gd name="T56" fmla="*/ 23159 w 286"/>
                  <a:gd name="T57" fmla="*/ 3504 h 212"/>
                  <a:gd name="T58" fmla="*/ 24619 w 286"/>
                  <a:gd name="T59" fmla="*/ 3912 h 212"/>
                  <a:gd name="T60" fmla="*/ 24011 w 286"/>
                  <a:gd name="T61" fmla="*/ 4290 h 212"/>
                  <a:gd name="T62" fmla="*/ 24643 w 286"/>
                  <a:gd name="T63" fmla="*/ 4554 h 212"/>
                  <a:gd name="T64" fmla="*/ 24011 w 286"/>
                  <a:gd name="T65" fmla="*/ 4625 h 212"/>
                  <a:gd name="T66" fmla="*/ 23027 w 286"/>
                  <a:gd name="T67" fmla="*/ 4625 h 212"/>
                  <a:gd name="T68" fmla="*/ 23644 w 286"/>
                  <a:gd name="T69" fmla="*/ 4865 h 212"/>
                  <a:gd name="T70" fmla="*/ 23596 w 286"/>
                  <a:gd name="T71" fmla="*/ 5082 h 212"/>
                  <a:gd name="T72" fmla="*/ 22264 w 286"/>
                  <a:gd name="T73" fmla="*/ 5558 h 212"/>
                  <a:gd name="T74" fmla="*/ 21170 w 286"/>
                  <a:gd name="T75" fmla="*/ 5654 h 212"/>
                  <a:gd name="T76" fmla="*/ 19942 w 286"/>
                  <a:gd name="T77" fmla="*/ 5956 h 212"/>
                  <a:gd name="T78" fmla="*/ 18800 w 286"/>
                  <a:gd name="T79" fmla="*/ 5846 h 212"/>
                  <a:gd name="T80" fmla="*/ 19305 w 286"/>
                  <a:gd name="T81" fmla="*/ 5311 h 212"/>
                  <a:gd name="T82" fmla="*/ 18246 w 286"/>
                  <a:gd name="T83" fmla="*/ 4625 h 212"/>
                  <a:gd name="T84" fmla="*/ 17186 w 286"/>
                  <a:gd name="T85" fmla="*/ 4618 h 212"/>
                  <a:gd name="T86" fmla="*/ 16154 w 286"/>
                  <a:gd name="T87" fmla="*/ 4625 h 212"/>
                  <a:gd name="T88" fmla="*/ 15350 w 286"/>
                  <a:gd name="T89" fmla="*/ 4625 h 212"/>
                  <a:gd name="T90" fmla="*/ 15218 w 286"/>
                  <a:gd name="T91" fmla="*/ 4338 h 212"/>
                  <a:gd name="T92" fmla="*/ 14896 w 286"/>
                  <a:gd name="T93" fmla="*/ 3912 h 212"/>
                  <a:gd name="T94" fmla="*/ 14896 w 286"/>
                  <a:gd name="T95" fmla="*/ 3677 h 212"/>
                  <a:gd name="T96" fmla="*/ 14032 w 286"/>
                  <a:gd name="T97" fmla="*/ 3369 h 212"/>
                  <a:gd name="T98" fmla="*/ 12965 w 286"/>
                  <a:gd name="T99" fmla="*/ 3011 h 212"/>
                  <a:gd name="T100" fmla="*/ 9844 w 286"/>
                  <a:gd name="T101" fmla="*/ 3080 h 212"/>
                  <a:gd name="T102" fmla="*/ 8743 w 286"/>
                  <a:gd name="T103" fmla="*/ 3203 h 212"/>
                  <a:gd name="T104" fmla="*/ 7679 w 286"/>
                  <a:gd name="T105" fmla="*/ 3708 h 2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6"/>
                  <a:gd name="T160" fmla="*/ 0 h 212"/>
                  <a:gd name="T161" fmla="*/ 286 w 286"/>
                  <a:gd name="T162" fmla="*/ 212 h 2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6" h="212">
                    <a:moveTo>
                      <a:pt x="79" y="139"/>
                    </a:moveTo>
                    <a:lnTo>
                      <a:pt x="74" y="139"/>
                    </a:lnTo>
                    <a:lnTo>
                      <a:pt x="70" y="139"/>
                    </a:lnTo>
                    <a:lnTo>
                      <a:pt x="68" y="138"/>
                    </a:lnTo>
                    <a:lnTo>
                      <a:pt x="65" y="134"/>
                    </a:lnTo>
                    <a:lnTo>
                      <a:pt x="63" y="131"/>
                    </a:lnTo>
                    <a:lnTo>
                      <a:pt x="61" y="128"/>
                    </a:lnTo>
                    <a:lnTo>
                      <a:pt x="58" y="124"/>
                    </a:lnTo>
                    <a:lnTo>
                      <a:pt x="52" y="123"/>
                    </a:lnTo>
                    <a:lnTo>
                      <a:pt x="52" y="116"/>
                    </a:lnTo>
                    <a:lnTo>
                      <a:pt x="47" y="109"/>
                    </a:lnTo>
                    <a:lnTo>
                      <a:pt x="39" y="106"/>
                    </a:lnTo>
                    <a:lnTo>
                      <a:pt x="34" y="102"/>
                    </a:lnTo>
                    <a:lnTo>
                      <a:pt x="29" y="100"/>
                    </a:lnTo>
                    <a:lnTo>
                      <a:pt x="25" y="97"/>
                    </a:lnTo>
                    <a:lnTo>
                      <a:pt x="22" y="88"/>
                    </a:lnTo>
                    <a:lnTo>
                      <a:pt x="22" y="80"/>
                    </a:lnTo>
                    <a:lnTo>
                      <a:pt x="20" y="78"/>
                    </a:lnTo>
                    <a:lnTo>
                      <a:pt x="15" y="78"/>
                    </a:lnTo>
                    <a:lnTo>
                      <a:pt x="13" y="69"/>
                    </a:lnTo>
                    <a:lnTo>
                      <a:pt x="13" y="68"/>
                    </a:lnTo>
                    <a:lnTo>
                      <a:pt x="10" y="69"/>
                    </a:lnTo>
                    <a:lnTo>
                      <a:pt x="7" y="75"/>
                    </a:lnTo>
                    <a:lnTo>
                      <a:pt x="6" y="75"/>
                    </a:lnTo>
                    <a:lnTo>
                      <a:pt x="4" y="75"/>
                    </a:lnTo>
                    <a:lnTo>
                      <a:pt x="1" y="73"/>
                    </a:lnTo>
                    <a:lnTo>
                      <a:pt x="0" y="68"/>
                    </a:lnTo>
                    <a:lnTo>
                      <a:pt x="4" y="66"/>
                    </a:lnTo>
                    <a:lnTo>
                      <a:pt x="8" y="63"/>
                    </a:lnTo>
                    <a:lnTo>
                      <a:pt x="10" y="61"/>
                    </a:lnTo>
                    <a:lnTo>
                      <a:pt x="13" y="55"/>
                    </a:lnTo>
                    <a:lnTo>
                      <a:pt x="15" y="50"/>
                    </a:lnTo>
                    <a:lnTo>
                      <a:pt x="20" y="46"/>
                    </a:lnTo>
                    <a:lnTo>
                      <a:pt x="32" y="40"/>
                    </a:lnTo>
                    <a:lnTo>
                      <a:pt x="46" y="40"/>
                    </a:lnTo>
                    <a:lnTo>
                      <a:pt x="48" y="39"/>
                    </a:lnTo>
                    <a:lnTo>
                      <a:pt x="54" y="39"/>
                    </a:lnTo>
                    <a:lnTo>
                      <a:pt x="52" y="25"/>
                    </a:lnTo>
                    <a:lnTo>
                      <a:pt x="51" y="22"/>
                    </a:lnTo>
                    <a:lnTo>
                      <a:pt x="46" y="20"/>
                    </a:lnTo>
                    <a:lnTo>
                      <a:pt x="47" y="18"/>
                    </a:lnTo>
                    <a:lnTo>
                      <a:pt x="49" y="17"/>
                    </a:lnTo>
                    <a:lnTo>
                      <a:pt x="52" y="17"/>
                    </a:lnTo>
                    <a:lnTo>
                      <a:pt x="55" y="15"/>
                    </a:lnTo>
                    <a:lnTo>
                      <a:pt x="57" y="12"/>
                    </a:lnTo>
                    <a:lnTo>
                      <a:pt x="57" y="9"/>
                    </a:lnTo>
                    <a:lnTo>
                      <a:pt x="54" y="4"/>
                    </a:lnTo>
                    <a:lnTo>
                      <a:pt x="54" y="0"/>
                    </a:lnTo>
                    <a:lnTo>
                      <a:pt x="64" y="0"/>
                    </a:lnTo>
                    <a:lnTo>
                      <a:pt x="67" y="2"/>
                    </a:lnTo>
                    <a:lnTo>
                      <a:pt x="72" y="1"/>
                    </a:lnTo>
                    <a:lnTo>
                      <a:pt x="77" y="2"/>
                    </a:lnTo>
                    <a:lnTo>
                      <a:pt x="79" y="4"/>
                    </a:lnTo>
                    <a:lnTo>
                      <a:pt x="79" y="9"/>
                    </a:lnTo>
                    <a:lnTo>
                      <a:pt x="84" y="9"/>
                    </a:lnTo>
                    <a:lnTo>
                      <a:pt x="85" y="7"/>
                    </a:lnTo>
                    <a:lnTo>
                      <a:pt x="86" y="7"/>
                    </a:lnTo>
                    <a:lnTo>
                      <a:pt x="90" y="10"/>
                    </a:lnTo>
                    <a:lnTo>
                      <a:pt x="95" y="10"/>
                    </a:lnTo>
                    <a:lnTo>
                      <a:pt x="101" y="12"/>
                    </a:lnTo>
                    <a:lnTo>
                      <a:pt x="103" y="11"/>
                    </a:lnTo>
                    <a:lnTo>
                      <a:pt x="106" y="14"/>
                    </a:lnTo>
                    <a:lnTo>
                      <a:pt x="111" y="14"/>
                    </a:lnTo>
                    <a:lnTo>
                      <a:pt x="116" y="11"/>
                    </a:lnTo>
                    <a:lnTo>
                      <a:pt x="122" y="11"/>
                    </a:lnTo>
                    <a:lnTo>
                      <a:pt x="124" y="11"/>
                    </a:lnTo>
                    <a:lnTo>
                      <a:pt x="131" y="12"/>
                    </a:lnTo>
                    <a:lnTo>
                      <a:pt x="134" y="11"/>
                    </a:lnTo>
                    <a:lnTo>
                      <a:pt x="139" y="10"/>
                    </a:lnTo>
                    <a:lnTo>
                      <a:pt x="146" y="10"/>
                    </a:lnTo>
                    <a:lnTo>
                      <a:pt x="143" y="12"/>
                    </a:lnTo>
                    <a:lnTo>
                      <a:pt x="143" y="14"/>
                    </a:lnTo>
                    <a:lnTo>
                      <a:pt x="141" y="18"/>
                    </a:lnTo>
                    <a:lnTo>
                      <a:pt x="140" y="20"/>
                    </a:lnTo>
                    <a:lnTo>
                      <a:pt x="143" y="24"/>
                    </a:lnTo>
                    <a:lnTo>
                      <a:pt x="147" y="25"/>
                    </a:lnTo>
                    <a:lnTo>
                      <a:pt x="150" y="25"/>
                    </a:lnTo>
                    <a:lnTo>
                      <a:pt x="153" y="22"/>
                    </a:lnTo>
                    <a:lnTo>
                      <a:pt x="158" y="19"/>
                    </a:lnTo>
                    <a:lnTo>
                      <a:pt x="161" y="18"/>
                    </a:lnTo>
                    <a:lnTo>
                      <a:pt x="163" y="20"/>
                    </a:lnTo>
                    <a:lnTo>
                      <a:pt x="169" y="29"/>
                    </a:lnTo>
                    <a:lnTo>
                      <a:pt x="172" y="29"/>
                    </a:lnTo>
                    <a:lnTo>
                      <a:pt x="175" y="27"/>
                    </a:lnTo>
                    <a:lnTo>
                      <a:pt x="176" y="22"/>
                    </a:lnTo>
                    <a:lnTo>
                      <a:pt x="181" y="22"/>
                    </a:lnTo>
                    <a:lnTo>
                      <a:pt x="184" y="18"/>
                    </a:lnTo>
                    <a:lnTo>
                      <a:pt x="185" y="18"/>
                    </a:lnTo>
                    <a:lnTo>
                      <a:pt x="191" y="19"/>
                    </a:lnTo>
                    <a:lnTo>
                      <a:pt x="197" y="22"/>
                    </a:lnTo>
                    <a:lnTo>
                      <a:pt x="208" y="25"/>
                    </a:lnTo>
                    <a:lnTo>
                      <a:pt x="209" y="22"/>
                    </a:lnTo>
                    <a:lnTo>
                      <a:pt x="210" y="19"/>
                    </a:lnTo>
                    <a:lnTo>
                      <a:pt x="219" y="15"/>
                    </a:lnTo>
                    <a:lnTo>
                      <a:pt x="222" y="14"/>
                    </a:lnTo>
                    <a:lnTo>
                      <a:pt x="222" y="8"/>
                    </a:lnTo>
                    <a:lnTo>
                      <a:pt x="222" y="7"/>
                    </a:lnTo>
                    <a:lnTo>
                      <a:pt x="224" y="7"/>
                    </a:lnTo>
                    <a:lnTo>
                      <a:pt x="229" y="10"/>
                    </a:lnTo>
                    <a:lnTo>
                      <a:pt x="232" y="8"/>
                    </a:lnTo>
                    <a:lnTo>
                      <a:pt x="233" y="8"/>
                    </a:lnTo>
                    <a:lnTo>
                      <a:pt x="237" y="9"/>
                    </a:lnTo>
                    <a:lnTo>
                      <a:pt x="237" y="10"/>
                    </a:lnTo>
                    <a:lnTo>
                      <a:pt x="235" y="18"/>
                    </a:lnTo>
                    <a:lnTo>
                      <a:pt x="237" y="19"/>
                    </a:lnTo>
                    <a:lnTo>
                      <a:pt x="239" y="19"/>
                    </a:lnTo>
                    <a:lnTo>
                      <a:pt x="240" y="20"/>
                    </a:lnTo>
                    <a:lnTo>
                      <a:pt x="240" y="24"/>
                    </a:lnTo>
                    <a:lnTo>
                      <a:pt x="240" y="25"/>
                    </a:lnTo>
                    <a:lnTo>
                      <a:pt x="242" y="29"/>
                    </a:lnTo>
                    <a:lnTo>
                      <a:pt x="242" y="40"/>
                    </a:lnTo>
                    <a:lnTo>
                      <a:pt x="244" y="40"/>
                    </a:lnTo>
                    <a:lnTo>
                      <a:pt x="247" y="39"/>
                    </a:lnTo>
                    <a:lnTo>
                      <a:pt x="250" y="46"/>
                    </a:lnTo>
                    <a:lnTo>
                      <a:pt x="252" y="47"/>
                    </a:lnTo>
                    <a:lnTo>
                      <a:pt x="255" y="50"/>
                    </a:lnTo>
                    <a:lnTo>
                      <a:pt x="259" y="50"/>
                    </a:lnTo>
                    <a:lnTo>
                      <a:pt x="259" y="55"/>
                    </a:lnTo>
                    <a:lnTo>
                      <a:pt x="257" y="55"/>
                    </a:lnTo>
                    <a:lnTo>
                      <a:pt x="256" y="56"/>
                    </a:lnTo>
                    <a:lnTo>
                      <a:pt x="252" y="56"/>
                    </a:lnTo>
                    <a:lnTo>
                      <a:pt x="252" y="60"/>
                    </a:lnTo>
                    <a:lnTo>
                      <a:pt x="249" y="61"/>
                    </a:lnTo>
                    <a:lnTo>
                      <a:pt x="248" y="62"/>
                    </a:lnTo>
                    <a:lnTo>
                      <a:pt x="248" y="68"/>
                    </a:lnTo>
                    <a:lnTo>
                      <a:pt x="250" y="68"/>
                    </a:lnTo>
                    <a:lnTo>
                      <a:pt x="254" y="62"/>
                    </a:lnTo>
                    <a:lnTo>
                      <a:pt x="257" y="62"/>
                    </a:lnTo>
                    <a:lnTo>
                      <a:pt x="261" y="63"/>
                    </a:lnTo>
                    <a:lnTo>
                      <a:pt x="261" y="66"/>
                    </a:lnTo>
                    <a:lnTo>
                      <a:pt x="261" y="82"/>
                    </a:lnTo>
                    <a:lnTo>
                      <a:pt x="265" y="87"/>
                    </a:lnTo>
                    <a:lnTo>
                      <a:pt x="268" y="87"/>
                    </a:lnTo>
                    <a:lnTo>
                      <a:pt x="270" y="90"/>
                    </a:lnTo>
                    <a:lnTo>
                      <a:pt x="274" y="92"/>
                    </a:lnTo>
                    <a:lnTo>
                      <a:pt x="274" y="93"/>
                    </a:lnTo>
                    <a:lnTo>
                      <a:pt x="274" y="97"/>
                    </a:lnTo>
                    <a:lnTo>
                      <a:pt x="274" y="98"/>
                    </a:lnTo>
                    <a:lnTo>
                      <a:pt x="270" y="102"/>
                    </a:lnTo>
                    <a:lnTo>
                      <a:pt x="270" y="104"/>
                    </a:lnTo>
                    <a:lnTo>
                      <a:pt x="267" y="106"/>
                    </a:lnTo>
                    <a:lnTo>
                      <a:pt x="268" y="111"/>
                    </a:lnTo>
                    <a:lnTo>
                      <a:pt x="268" y="124"/>
                    </a:lnTo>
                    <a:lnTo>
                      <a:pt x="274" y="128"/>
                    </a:lnTo>
                    <a:lnTo>
                      <a:pt x="278" y="128"/>
                    </a:lnTo>
                    <a:lnTo>
                      <a:pt x="278" y="138"/>
                    </a:lnTo>
                    <a:lnTo>
                      <a:pt x="280" y="136"/>
                    </a:lnTo>
                    <a:lnTo>
                      <a:pt x="283" y="139"/>
                    </a:lnTo>
                    <a:lnTo>
                      <a:pt x="283" y="141"/>
                    </a:lnTo>
                    <a:lnTo>
                      <a:pt x="282" y="142"/>
                    </a:lnTo>
                    <a:lnTo>
                      <a:pt x="278" y="145"/>
                    </a:lnTo>
                    <a:lnTo>
                      <a:pt x="277" y="151"/>
                    </a:lnTo>
                    <a:lnTo>
                      <a:pt x="278" y="151"/>
                    </a:lnTo>
                    <a:lnTo>
                      <a:pt x="280" y="152"/>
                    </a:lnTo>
                    <a:lnTo>
                      <a:pt x="282" y="152"/>
                    </a:lnTo>
                    <a:lnTo>
                      <a:pt x="282" y="156"/>
                    </a:lnTo>
                    <a:lnTo>
                      <a:pt x="285" y="159"/>
                    </a:lnTo>
                    <a:lnTo>
                      <a:pt x="285" y="162"/>
                    </a:lnTo>
                    <a:lnTo>
                      <a:pt x="286" y="168"/>
                    </a:lnTo>
                    <a:lnTo>
                      <a:pt x="285" y="168"/>
                    </a:lnTo>
                    <a:lnTo>
                      <a:pt x="282" y="165"/>
                    </a:lnTo>
                    <a:lnTo>
                      <a:pt x="280" y="165"/>
                    </a:lnTo>
                    <a:lnTo>
                      <a:pt x="278" y="165"/>
                    </a:lnTo>
                    <a:lnTo>
                      <a:pt x="277" y="162"/>
                    </a:lnTo>
                    <a:lnTo>
                      <a:pt x="270" y="161"/>
                    </a:lnTo>
                    <a:lnTo>
                      <a:pt x="264" y="164"/>
                    </a:lnTo>
                    <a:lnTo>
                      <a:pt x="264" y="165"/>
                    </a:lnTo>
                    <a:lnTo>
                      <a:pt x="265" y="165"/>
                    </a:lnTo>
                    <a:lnTo>
                      <a:pt x="267" y="168"/>
                    </a:lnTo>
                    <a:lnTo>
                      <a:pt x="264" y="171"/>
                    </a:lnTo>
                    <a:lnTo>
                      <a:pt x="265" y="174"/>
                    </a:lnTo>
                    <a:lnTo>
                      <a:pt x="271" y="172"/>
                    </a:lnTo>
                    <a:lnTo>
                      <a:pt x="273" y="174"/>
                    </a:lnTo>
                    <a:lnTo>
                      <a:pt x="273" y="176"/>
                    </a:lnTo>
                    <a:lnTo>
                      <a:pt x="273" y="177"/>
                    </a:lnTo>
                    <a:lnTo>
                      <a:pt x="274" y="177"/>
                    </a:lnTo>
                    <a:lnTo>
                      <a:pt x="274" y="179"/>
                    </a:lnTo>
                    <a:lnTo>
                      <a:pt x="272" y="181"/>
                    </a:lnTo>
                    <a:lnTo>
                      <a:pt x="271" y="186"/>
                    </a:lnTo>
                    <a:lnTo>
                      <a:pt x="271" y="189"/>
                    </a:lnTo>
                    <a:lnTo>
                      <a:pt x="267" y="196"/>
                    </a:lnTo>
                    <a:lnTo>
                      <a:pt x="267" y="197"/>
                    </a:lnTo>
                    <a:lnTo>
                      <a:pt x="257" y="197"/>
                    </a:lnTo>
                    <a:lnTo>
                      <a:pt x="255" y="199"/>
                    </a:lnTo>
                    <a:lnTo>
                      <a:pt x="252" y="194"/>
                    </a:lnTo>
                    <a:lnTo>
                      <a:pt x="248" y="194"/>
                    </a:lnTo>
                    <a:lnTo>
                      <a:pt x="245" y="197"/>
                    </a:lnTo>
                    <a:lnTo>
                      <a:pt x="245" y="201"/>
                    </a:lnTo>
                    <a:lnTo>
                      <a:pt x="242" y="206"/>
                    </a:lnTo>
                    <a:lnTo>
                      <a:pt x="242" y="209"/>
                    </a:lnTo>
                    <a:lnTo>
                      <a:pt x="237" y="209"/>
                    </a:lnTo>
                    <a:lnTo>
                      <a:pt x="234" y="212"/>
                    </a:lnTo>
                    <a:lnTo>
                      <a:pt x="230" y="212"/>
                    </a:lnTo>
                    <a:lnTo>
                      <a:pt x="227" y="207"/>
                    </a:lnTo>
                    <a:lnTo>
                      <a:pt x="224" y="204"/>
                    </a:lnTo>
                    <a:lnTo>
                      <a:pt x="223" y="203"/>
                    </a:lnTo>
                    <a:lnTo>
                      <a:pt x="219" y="206"/>
                    </a:lnTo>
                    <a:lnTo>
                      <a:pt x="217" y="207"/>
                    </a:lnTo>
                    <a:lnTo>
                      <a:pt x="216" y="206"/>
                    </a:lnTo>
                    <a:lnTo>
                      <a:pt x="216" y="203"/>
                    </a:lnTo>
                    <a:lnTo>
                      <a:pt x="219" y="202"/>
                    </a:lnTo>
                    <a:lnTo>
                      <a:pt x="220" y="199"/>
                    </a:lnTo>
                    <a:lnTo>
                      <a:pt x="222" y="189"/>
                    </a:lnTo>
                    <a:lnTo>
                      <a:pt x="219" y="187"/>
                    </a:lnTo>
                    <a:lnTo>
                      <a:pt x="219" y="177"/>
                    </a:lnTo>
                    <a:lnTo>
                      <a:pt x="216" y="174"/>
                    </a:lnTo>
                    <a:lnTo>
                      <a:pt x="216" y="168"/>
                    </a:lnTo>
                    <a:lnTo>
                      <a:pt x="210" y="165"/>
                    </a:lnTo>
                    <a:lnTo>
                      <a:pt x="208" y="162"/>
                    </a:lnTo>
                    <a:lnTo>
                      <a:pt x="208" y="161"/>
                    </a:lnTo>
                    <a:lnTo>
                      <a:pt x="207" y="160"/>
                    </a:lnTo>
                    <a:lnTo>
                      <a:pt x="201" y="162"/>
                    </a:lnTo>
                    <a:lnTo>
                      <a:pt x="199" y="164"/>
                    </a:lnTo>
                    <a:lnTo>
                      <a:pt x="197" y="164"/>
                    </a:lnTo>
                    <a:lnTo>
                      <a:pt x="194" y="161"/>
                    </a:lnTo>
                    <a:lnTo>
                      <a:pt x="191" y="160"/>
                    </a:lnTo>
                    <a:lnTo>
                      <a:pt x="188" y="161"/>
                    </a:lnTo>
                    <a:lnTo>
                      <a:pt x="187" y="165"/>
                    </a:lnTo>
                    <a:lnTo>
                      <a:pt x="184" y="165"/>
                    </a:lnTo>
                    <a:lnTo>
                      <a:pt x="184" y="164"/>
                    </a:lnTo>
                    <a:lnTo>
                      <a:pt x="184" y="161"/>
                    </a:lnTo>
                    <a:lnTo>
                      <a:pt x="182" y="161"/>
                    </a:lnTo>
                    <a:lnTo>
                      <a:pt x="178" y="165"/>
                    </a:lnTo>
                    <a:lnTo>
                      <a:pt x="170" y="168"/>
                    </a:lnTo>
                    <a:lnTo>
                      <a:pt x="170" y="167"/>
                    </a:lnTo>
                    <a:lnTo>
                      <a:pt x="171" y="162"/>
                    </a:lnTo>
                    <a:lnTo>
                      <a:pt x="173" y="155"/>
                    </a:lnTo>
                    <a:lnTo>
                      <a:pt x="176" y="155"/>
                    </a:lnTo>
                    <a:lnTo>
                      <a:pt x="176" y="153"/>
                    </a:lnTo>
                    <a:lnTo>
                      <a:pt x="175" y="145"/>
                    </a:lnTo>
                    <a:lnTo>
                      <a:pt x="175" y="143"/>
                    </a:lnTo>
                    <a:lnTo>
                      <a:pt x="172" y="141"/>
                    </a:lnTo>
                    <a:lnTo>
                      <a:pt x="171" y="139"/>
                    </a:lnTo>
                    <a:lnTo>
                      <a:pt x="170" y="136"/>
                    </a:lnTo>
                    <a:lnTo>
                      <a:pt x="171" y="134"/>
                    </a:lnTo>
                    <a:lnTo>
                      <a:pt x="170" y="131"/>
                    </a:lnTo>
                    <a:lnTo>
                      <a:pt x="171" y="131"/>
                    </a:lnTo>
                    <a:lnTo>
                      <a:pt x="171" y="129"/>
                    </a:lnTo>
                    <a:lnTo>
                      <a:pt x="169" y="128"/>
                    </a:lnTo>
                    <a:lnTo>
                      <a:pt x="165" y="126"/>
                    </a:lnTo>
                    <a:lnTo>
                      <a:pt x="163" y="124"/>
                    </a:lnTo>
                    <a:lnTo>
                      <a:pt x="165" y="123"/>
                    </a:lnTo>
                    <a:lnTo>
                      <a:pt x="163" y="120"/>
                    </a:lnTo>
                    <a:lnTo>
                      <a:pt x="161" y="118"/>
                    </a:lnTo>
                    <a:lnTo>
                      <a:pt x="158" y="116"/>
                    </a:lnTo>
                    <a:lnTo>
                      <a:pt x="156" y="113"/>
                    </a:lnTo>
                    <a:lnTo>
                      <a:pt x="151" y="110"/>
                    </a:lnTo>
                    <a:lnTo>
                      <a:pt x="149" y="106"/>
                    </a:lnTo>
                    <a:lnTo>
                      <a:pt x="140" y="104"/>
                    </a:lnTo>
                    <a:lnTo>
                      <a:pt x="122" y="104"/>
                    </a:lnTo>
                    <a:lnTo>
                      <a:pt x="122" y="108"/>
                    </a:lnTo>
                    <a:lnTo>
                      <a:pt x="118" y="108"/>
                    </a:lnTo>
                    <a:lnTo>
                      <a:pt x="113" y="109"/>
                    </a:lnTo>
                    <a:lnTo>
                      <a:pt x="111" y="110"/>
                    </a:lnTo>
                    <a:lnTo>
                      <a:pt x="109" y="108"/>
                    </a:lnTo>
                    <a:lnTo>
                      <a:pt x="102" y="108"/>
                    </a:lnTo>
                    <a:lnTo>
                      <a:pt x="100" y="109"/>
                    </a:lnTo>
                    <a:lnTo>
                      <a:pt x="101" y="114"/>
                    </a:lnTo>
                    <a:lnTo>
                      <a:pt x="97" y="120"/>
                    </a:lnTo>
                    <a:lnTo>
                      <a:pt x="94" y="124"/>
                    </a:lnTo>
                    <a:lnTo>
                      <a:pt x="90" y="128"/>
                    </a:lnTo>
                    <a:lnTo>
                      <a:pt x="90" y="129"/>
                    </a:lnTo>
                    <a:lnTo>
                      <a:pt x="89" y="131"/>
                    </a:lnTo>
                    <a:lnTo>
                      <a:pt x="85" y="131"/>
                    </a:lnTo>
                    <a:lnTo>
                      <a:pt x="82" y="139"/>
                    </a:lnTo>
                    <a:lnTo>
                      <a:pt x="80" y="139"/>
                    </a:lnTo>
                    <a:lnTo>
                      <a:pt x="79" y="139"/>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54" name="Freeform 50"/>
              <p:cNvSpPr>
                <a:spLocks/>
              </p:cNvSpPr>
              <p:nvPr/>
            </p:nvSpPr>
            <p:spPr bwMode="auto">
              <a:xfrm>
                <a:off x="725" y="2117"/>
                <a:ext cx="125" cy="121"/>
              </a:xfrm>
              <a:custGeom>
                <a:avLst/>
                <a:gdLst>
                  <a:gd name="T0" fmla="*/ 5638 w 117"/>
                  <a:gd name="T1" fmla="*/ 3283 h 115"/>
                  <a:gd name="T2" fmla="*/ 4999 w 117"/>
                  <a:gd name="T3" fmla="*/ 3233 h 115"/>
                  <a:gd name="T4" fmla="*/ 2855 w 117"/>
                  <a:gd name="T5" fmla="*/ 2909 h 115"/>
                  <a:gd name="T6" fmla="*/ 2501 w 117"/>
                  <a:gd name="T7" fmla="*/ 2659 h 115"/>
                  <a:gd name="T8" fmla="*/ 1291 w 117"/>
                  <a:gd name="T9" fmla="*/ 2345 h 115"/>
                  <a:gd name="T10" fmla="*/ 1291 w 117"/>
                  <a:gd name="T11" fmla="*/ 2229 h 115"/>
                  <a:gd name="T12" fmla="*/ 1059 w 117"/>
                  <a:gd name="T13" fmla="*/ 2118 h 115"/>
                  <a:gd name="T14" fmla="*/ 7 w 117"/>
                  <a:gd name="T15" fmla="*/ 2013 h 115"/>
                  <a:gd name="T16" fmla="*/ 4 w 117"/>
                  <a:gd name="T17" fmla="*/ 1683 h 115"/>
                  <a:gd name="T18" fmla="*/ 7 w 117"/>
                  <a:gd name="T19" fmla="*/ 1695 h 115"/>
                  <a:gd name="T20" fmla="*/ 761 w 117"/>
                  <a:gd name="T21" fmla="*/ 1683 h 115"/>
                  <a:gd name="T22" fmla="*/ 6 w 117"/>
                  <a:gd name="T23" fmla="*/ 1611 h 115"/>
                  <a:gd name="T24" fmla="*/ 4 w 117"/>
                  <a:gd name="T25" fmla="*/ 1410 h 115"/>
                  <a:gd name="T26" fmla="*/ 4 w 117"/>
                  <a:gd name="T27" fmla="*/ 1211 h 115"/>
                  <a:gd name="T28" fmla="*/ 0 w 117"/>
                  <a:gd name="T29" fmla="*/ 1072 h 115"/>
                  <a:gd name="T30" fmla="*/ 6 w 117"/>
                  <a:gd name="T31" fmla="*/ 988 h 115"/>
                  <a:gd name="T32" fmla="*/ 928 w 117"/>
                  <a:gd name="T33" fmla="*/ 988 h 115"/>
                  <a:gd name="T34" fmla="*/ 1291 w 117"/>
                  <a:gd name="T35" fmla="*/ 766 h 115"/>
                  <a:gd name="T36" fmla="*/ 1797 w 117"/>
                  <a:gd name="T37" fmla="*/ 658 h 115"/>
                  <a:gd name="T38" fmla="*/ 2051 w 117"/>
                  <a:gd name="T39" fmla="*/ 537 h 115"/>
                  <a:gd name="T40" fmla="*/ 2501 w 117"/>
                  <a:gd name="T41" fmla="*/ 321 h 115"/>
                  <a:gd name="T42" fmla="*/ 2672 w 117"/>
                  <a:gd name="T43" fmla="*/ 3 h 115"/>
                  <a:gd name="T44" fmla="*/ 3362 w 117"/>
                  <a:gd name="T45" fmla="*/ 6 h 115"/>
                  <a:gd name="T46" fmla="*/ 3838 w 117"/>
                  <a:gd name="T47" fmla="*/ 3 h 115"/>
                  <a:gd name="T48" fmla="*/ 4246 w 117"/>
                  <a:gd name="T49" fmla="*/ 0 h 115"/>
                  <a:gd name="T50" fmla="*/ 6357 w 117"/>
                  <a:gd name="T51" fmla="*/ 1 h 115"/>
                  <a:gd name="T52" fmla="*/ 6792 w 117"/>
                  <a:gd name="T53" fmla="*/ 7 h 115"/>
                  <a:gd name="T54" fmla="*/ 7251 w 117"/>
                  <a:gd name="T55" fmla="*/ 375 h 115"/>
                  <a:gd name="T56" fmla="*/ 7434 w 117"/>
                  <a:gd name="T57" fmla="*/ 485 h 115"/>
                  <a:gd name="T58" fmla="*/ 7434 w 117"/>
                  <a:gd name="T59" fmla="*/ 565 h 115"/>
                  <a:gd name="T60" fmla="*/ 7958 w 117"/>
                  <a:gd name="T61" fmla="*/ 658 h 115"/>
                  <a:gd name="T62" fmla="*/ 7942 w 117"/>
                  <a:gd name="T63" fmla="*/ 766 h 115"/>
                  <a:gd name="T64" fmla="*/ 7942 w 117"/>
                  <a:gd name="T65" fmla="*/ 920 h 115"/>
                  <a:gd name="T66" fmla="*/ 7958 w 117"/>
                  <a:gd name="T67" fmla="*/ 1019 h 115"/>
                  <a:gd name="T68" fmla="*/ 8282 w 117"/>
                  <a:gd name="T69" fmla="*/ 1128 h 115"/>
                  <a:gd name="T70" fmla="*/ 8385 w 117"/>
                  <a:gd name="T71" fmla="*/ 1410 h 115"/>
                  <a:gd name="T72" fmla="*/ 7958 w 117"/>
                  <a:gd name="T73" fmla="*/ 1611 h 115"/>
                  <a:gd name="T74" fmla="*/ 7942 w 117"/>
                  <a:gd name="T75" fmla="*/ 1818 h 115"/>
                  <a:gd name="T76" fmla="*/ 8848 w 117"/>
                  <a:gd name="T77" fmla="*/ 1611 h 115"/>
                  <a:gd name="T78" fmla="*/ 8958 w 117"/>
                  <a:gd name="T79" fmla="*/ 1683 h 115"/>
                  <a:gd name="T80" fmla="*/ 8958 w 117"/>
                  <a:gd name="T81" fmla="*/ 1863 h 115"/>
                  <a:gd name="T82" fmla="*/ 9281 w 117"/>
                  <a:gd name="T83" fmla="*/ 1960 h 115"/>
                  <a:gd name="T84" fmla="*/ 8282 w 117"/>
                  <a:gd name="T85" fmla="*/ 2062 h 115"/>
                  <a:gd name="T86" fmla="*/ 8269 w 117"/>
                  <a:gd name="T87" fmla="*/ 2419 h 115"/>
                  <a:gd name="T88" fmla="*/ 7942 w 117"/>
                  <a:gd name="T89" fmla="*/ 2527 h 115"/>
                  <a:gd name="T90" fmla="*/ 7434 w 117"/>
                  <a:gd name="T91" fmla="*/ 2678 h 115"/>
                  <a:gd name="T92" fmla="*/ 6781 w 117"/>
                  <a:gd name="T93" fmla="*/ 2909 h 115"/>
                  <a:gd name="T94" fmla="*/ 6313 w 117"/>
                  <a:gd name="T95" fmla="*/ 2944 h 115"/>
                  <a:gd name="T96" fmla="*/ 6096 w 117"/>
                  <a:gd name="T97" fmla="*/ 3073 h 115"/>
                  <a:gd name="T98" fmla="*/ 5941 w 117"/>
                  <a:gd name="T99" fmla="*/ 3233 h 11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7"/>
                  <a:gd name="T151" fmla="*/ 0 h 115"/>
                  <a:gd name="T152" fmla="*/ 117 w 117"/>
                  <a:gd name="T153" fmla="*/ 115 h 11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7" h="115">
                    <a:moveTo>
                      <a:pt x="75" y="113"/>
                    </a:moveTo>
                    <a:lnTo>
                      <a:pt x="72" y="115"/>
                    </a:lnTo>
                    <a:lnTo>
                      <a:pt x="71" y="115"/>
                    </a:lnTo>
                    <a:lnTo>
                      <a:pt x="64" y="113"/>
                    </a:lnTo>
                    <a:lnTo>
                      <a:pt x="43" y="101"/>
                    </a:lnTo>
                    <a:lnTo>
                      <a:pt x="36" y="101"/>
                    </a:lnTo>
                    <a:lnTo>
                      <a:pt x="36" y="97"/>
                    </a:lnTo>
                    <a:lnTo>
                      <a:pt x="32" y="93"/>
                    </a:lnTo>
                    <a:lnTo>
                      <a:pt x="22" y="85"/>
                    </a:lnTo>
                    <a:lnTo>
                      <a:pt x="17" y="82"/>
                    </a:lnTo>
                    <a:lnTo>
                      <a:pt x="16" y="81"/>
                    </a:lnTo>
                    <a:lnTo>
                      <a:pt x="17" y="78"/>
                    </a:lnTo>
                    <a:lnTo>
                      <a:pt x="16" y="75"/>
                    </a:lnTo>
                    <a:lnTo>
                      <a:pt x="14" y="74"/>
                    </a:lnTo>
                    <a:lnTo>
                      <a:pt x="11" y="70"/>
                    </a:lnTo>
                    <a:lnTo>
                      <a:pt x="7" y="70"/>
                    </a:lnTo>
                    <a:lnTo>
                      <a:pt x="4" y="65"/>
                    </a:lnTo>
                    <a:lnTo>
                      <a:pt x="4" y="59"/>
                    </a:lnTo>
                    <a:lnTo>
                      <a:pt x="6" y="59"/>
                    </a:lnTo>
                    <a:lnTo>
                      <a:pt x="7" y="60"/>
                    </a:lnTo>
                    <a:lnTo>
                      <a:pt x="9" y="60"/>
                    </a:lnTo>
                    <a:lnTo>
                      <a:pt x="9" y="59"/>
                    </a:lnTo>
                    <a:lnTo>
                      <a:pt x="7" y="57"/>
                    </a:lnTo>
                    <a:lnTo>
                      <a:pt x="6" y="57"/>
                    </a:lnTo>
                    <a:lnTo>
                      <a:pt x="4" y="54"/>
                    </a:lnTo>
                    <a:lnTo>
                      <a:pt x="4" y="49"/>
                    </a:lnTo>
                    <a:lnTo>
                      <a:pt x="4" y="45"/>
                    </a:lnTo>
                    <a:lnTo>
                      <a:pt x="4" y="43"/>
                    </a:lnTo>
                    <a:lnTo>
                      <a:pt x="0" y="40"/>
                    </a:lnTo>
                    <a:lnTo>
                      <a:pt x="0" y="38"/>
                    </a:lnTo>
                    <a:lnTo>
                      <a:pt x="2" y="33"/>
                    </a:lnTo>
                    <a:lnTo>
                      <a:pt x="6" y="35"/>
                    </a:lnTo>
                    <a:lnTo>
                      <a:pt x="11" y="35"/>
                    </a:lnTo>
                    <a:lnTo>
                      <a:pt x="12" y="35"/>
                    </a:lnTo>
                    <a:lnTo>
                      <a:pt x="14" y="33"/>
                    </a:lnTo>
                    <a:lnTo>
                      <a:pt x="17" y="27"/>
                    </a:lnTo>
                    <a:lnTo>
                      <a:pt x="21" y="26"/>
                    </a:lnTo>
                    <a:lnTo>
                      <a:pt x="22" y="24"/>
                    </a:lnTo>
                    <a:lnTo>
                      <a:pt x="22" y="23"/>
                    </a:lnTo>
                    <a:lnTo>
                      <a:pt x="26" y="20"/>
                    </a:lnTo>
                    <a:lnTo>
                      <a:pt x="29" y="16"/>
                    </a:lnTo>
                    <a:lnTo>
                      <a:pt x="32" y="10"/>
                    </a:lnTo>
                    <a:lnTo>
                      <a:pt x="32" y="4"/>
                    </a:lnTo>
                    <a:lnTo>
                      <a:pt x="34" y="3"/>
                    </a:lnTo>
                    <a:lnTo>
                      <a:pt x="41" y="3"/>
                    </a:lnTo>
                    <a:lnTo>
                      <a:pt x="43" y="6"/>
                    </a:lnTo>
                    <a:lnTo>
                      <a:pt x="45" y="4"/>
                    </a:lnTo>
                    <a:lnTo>
                      <a:pt x="49" y="3"/>
                    </a:lnTo>
                    <a:lnTo>
                      <a:pt x="53" y="3"/>
                    </a:lnTo>
                    <a:lnTo>
                      <a:pt x="53" y="0"/>
                    </a:lnTo>
                    <a:lnTo>
                      <a:pt x="71" y="0"/>
                    </a:lnTo>
                    <a:lnTo>
                      <a:pt x="81" y="1"/>
                    </a:lnTo>
                    <a:lnTo>
                      <a:pt x="82" y="6"/>
                    </a:lnTo>
                    <a:lnTo>
                      <a:pt x="87" y="7"/>
                    </a:lnTo>
                    <a:lnTo>
                      <a:pt x="89" y="11"/>
                    </a:lnTo>
                    <a:lnTo>
                      <a:pt x="92" y="13"/>
                    </a:lnTo>
                    <a:lnTo>
                      <a:pt x="94" y="16"/>
                    </a:lnTo>
                    <a:lnTo>
                      <a:pt x="95" y="18"/>
                    </a:lnTo>
                    <a:lnTo>
                      <a:pt x="94" y="20"/>
                    </a:lnTo>
                    <a:lnTo>
                      <a:pt x="95" y="21"/>
                    </a:lnTo>
                    <a:lnTo>
                      <a:pt x="99" y="23"/>
                    </a:lnTo>
                    <a:lnTo>
                      <a:pt x="102" y="24"/>
                    </a:lnTo>
                    <a:lnTo>
                      <a:pt x="102" y="26"/>
                    </a:lnTo>
                    <a:lnTo>
                      <a:pt x="101" y="27"/>
                    </a:lnTo>
                    <a:lnTo>
                      <a:pt x="102" y="30"/>
                    </a:lnTo>
                    <a:lnTo>
                      <a:pt x="101" y="32"/>
                    </a:lnTo>
                    <a:lnTo>
                      <a:pt x="102" y="35"/>
                    </a:lnTo>
                    <a:lnTo>
                      <a:pt x="102" y="36"/>
                    </a:lnTo>
                    <a:lnTo>
                      <a:pt x="106" y="38"/>
                    </a:lnTo>
                    <a:lnTo>
                      <a:pt x="106" y="40"/>
                    </a:lnTo>
                    <a:lnTo>
                      <a:pt x="107" y="49"/>
                    </a:lnTo>
                    <a:lnTo>
                      <a:pt x="104" y="50"/>
                    </a:lnTo>
                    <a:lnTo>
                      <a:pt x="102" y="57"/>
                    </a:lnTo>
                    <a:lnTo>
                      <a:pt x="101" y="62"/>
                    </a:lnTo>
                    <a:lnTo>
                      <a:pt x="101" y="64"/>
                    </a:lnTo>
                    <a:lnTo>
                      <a:pt x="109" y="60"/>
                    </a:lnTo>
                    <a:lnTo>
                      <a:pt x="113" y="57"/>
                    </a:lnTo>
                    <a:lnTo>
                      <a:pt x="114" y="57"/>
                    </a:lnTo>
                    <a:lnTo>
                      <a:pt x="114" y="59"/>
                    </a:lnTo>
                    <a:lnTo>
                      <a:pt x="114" y="60"/>
                    </a:lnTo>
                    <a:lnTo>
                      <a:pt x="114" y="65"/>
                    </a:lnTo>
                    <a:lnTo>
                      <a:pt x="117" y="67"/>
                    </a:lnTo>
                    <a:lnTo>
                      <a:pt x="117" y="68"/>
                    </a:lnTo>
                    <a:lnTo>
                      <a:pt x="109" y="69"/>
                    </a:lnTo>
                    <a:lnTo>
                      <a:pt x="106" y="72"/>
                    </a:lnTo>
                    <a:lnTo>
                      <a:pt x="104" y="74"/>
                    </a:lnTo>
                    <a:lnTo>
                      <a:pt x="104" y="85"/>
                    </a:lnTo>
                    <a:lnTo>
                      <a:pt x="102" y="85"/>
                    </a:lnTo>
                    <a:lnTo>
                      <a:pt x="101" y="88"/>
                    </a:lnTo>
                    <a:lnTo>
                      <a:pt x="97" y="90"/>
                    </a:lnTo>
                    <a:lnTo>
                      <a:pt x="95" y="94"/>
                    </a:lnTo>
                    <a:lnTo>
                      <a:pt x="91" y="95"/>
                    </a:lnTo>
                    <a:lnTo>
                      <a:pt x="85" y="101"/>
                    </a:lnTo>
                    <a:lnTo>
                      <a:pt x="82" y="103"/>
                    </a:lnTo>
                    <a:lnTo>
                      <a:pt x="79" y="103"/>
                    </a:lnTo>
                    <a:lnTo>
                      <a:pt x="78" y="105"/>
                    </a:lnTo>
                    <a:lnTo>
                      <a:pt x="78" y="107"/>
                    </a:lnTo>
                    <a:lnTo>
                      <a:pt x="77" y="108"/>
                    </a:lnTo>
                    <a:lnTo>
                      <a:pt x="75" y="113"/>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5" name="Freeform 51"/>
              <p:cNvSpPr>
                <a:spLocks/>
              </p:cNvSpPr>
              <p:nvPr/>
            </p:nvSpPr>
            <p:spPr bwMode="auto">
              <a:xfrm>
                <a:off x="725" y="2117"/>
                <a:ext cx="125" cy="121"/>
              </a:xfrm>
              <a:custGeom>
                <a:avLst/>
                <a:gdLst>
                  <a:gd name="T0" fmla="*/ 5638 w 117"/>
                  <a:gd name="T1" fmla="*/ 3283 h 115"/>
                  <a:gd name="T2" fmla="*/ 4999 w 117"/>
                  <a:gd name="T3" fmla="*/ 3233 h 115"/>
                  <a:gd name="T4" fmla="*/ 2855 w 117"/>
                  <a:gd name="T5" fmla="*/ 2909 h 115"/>
                  <a:gd name="T6" fmla="*/ 2501 w 117"/>
                  <a:gd name="T7" fmla="*/ 2659 h 115"/>
                  <a:gd name="T8" fmla="*/ 1291 w 117"/>
                  <a:gd name="T9" fmla="*/ 2345 h 115"/>
                  <a:gd name="T10" fmla="*/ 1291 w 117"/>
                  <a:gd name="T11" fmla="*/ 2229 h 115"/>
                  <a:gd name="T12" fmla="*/ 1059 w 117"/>
                  <a:gd name="T13" fmla="*/ 2118 h 115"/>
                  <a:gd name="T14" fmla="*/ 7 w 117"/>
                  <a:gd name="T15" fmla="*/ 2013 h 115"/>
                  <a:gd name="T16" fmla="*/ 4 w 117"/>
                  <a:gd name="T17" fmla="*/ 1683 h 115"/>
                  <a:gd name="T18" fmla="*/ 7 w 117"/>
                  <a:gd name="T19" fmla="*/ 1695 h 115"/>
                  <a:gd name="T20" fmla="*/ 761 w 117"/>
                  <a:gd name="T21" fmla="*/ 1683 h 115"/>
                  <a:gd name="T22" fmla="*/ 6 w 117"/>
                  <a:gd name="T23" fmla="*/ 1611 h 115"/>
                  <a:gd name="T24" fmla="*/ 4 w 117"/>
                  <a:gd name="T25" fmla="*/ 1410 h 115"/>
                  <a:gd name="T26" fmla="*/ 4 w 117"/>
                  <a:gd name="T27" fmla="*/ 1211 h 115"/>
                  <a:gd name="T28" fmla="*/ 0 w 117"/>
                  <a:gd name="T29" fmla="*/ 1072 h 115"/>
                  <a:gd name="T30" fmla="*/ 6 w 117"/>
                  <a:gd name="T31" fmla="*/ 988 h 115"/>
                  <a:gd name="T32" fmla="*/ 928 w 117"/>
                  <a:gd name="T33" fmla="*/ 988 h 115"/>
                  <a:gd name="T34" fmla="*/ 1291 w 117"/>
                  <a:gd name="T35" fmla="*/ 766 h 115"/>
                  <a:gd name="T36" fmla="*/ 1797 w 117"/>
                  <a:gd name="T37" fmla="*/ 658 h 115"/>
                  <a:gd name="T38" fmla="*/ 2051 w 117"/>
                  <a:gd name="T39" fmla="*/ 537 h 115"/>
                  <a:gd name="T40" fmla="*/ 2501 w 117"/>
                  <a:gd name="T41" fmla="*/ 321 h 115"/>
                  <a:gd name="T42" fmla="*/ 2672 w 117"/>
                  <a:gd name="T43" fmla="*/ 3 h 115"/>
                  <a:gd name="T44" fmla="*/ 3362 w 117"/>
                  <a:gd name="T45" fmla="*/ 6 h 115"/>
                  <a:gd name="T46" fmla="*/ 3838 w 117"/>
                  <a:gd name="T47" fmla="*/ 3 h 115"/>
                  <a:gd name="T48" fmla="*/ 4246 w 117"/>
                  <a:gd name="T49" fmla="*/ 0 h 115"/>
                  <a:gd name="T50" fmla="*/ 6357 w 117"/>
                  <a:gd name="T51" fmla="*/ 1 h 115"/>
                  <a:gd name="T52" fmla="*/ 6792 w 117"/>
                  <a:gd name="T53" fmla="*/ 7 h 115"/>
                  <a:gd name="T54" fmla="*/ 7251 w 117"/>
                  <a:gd name="T55" fmla="*/ 375 h 115"/>
                  <a:gd name="T56" fmla="*/ 7434 w 117"/>
                  <a:gd name="T57" fmla="*/ 485 h 115"/>
                  <a:gd name="T58" fmla="*/ 7434 w 117"/>
                  <a:gd name="T59" fmla="*/ 565 h 115"/>
                  <a:gd name="T60" fmla="*/ 7958 w 117"/>
                  <a:gd name="T61" fmla="*/ 658 h 115"/>
                  <a:gd name="T62" fmla="*/ 7942 w 117"/>
                  <a:gd name="T63" fmla="*/ 766 h 115"/>
                  <a:gd name="T64" fmla="*/ 7942 w 117"/>
                  <a:gd name="T65" fmla="*/ 920 h 115"/>
                  <a:gd name="T66" fmla="*/ 7958 w 117"/>
                  <a:gd name="T67" fmla="*/ 1019 h 115"/>
                  <a:gd name="T68" fmla="*/ 8282 w 117"/>
                  <a:gd name="T69" fmla="*/ 1128 h 115"/>
                  <a:gd name="T70" fmla="*/ 8385 w 117"/>
                  <a:gd name="T71" fmla="*/ 1410 h 115"/>
                  <a:gd name="T72" fmla="*/ 7958 w 117"/>
                  <a:gd name="T73" fmla="*/ 1611 h 115"/>
                  <a:gd name="T74" fmla="*/ 7942 w 117"/>
                  <a:gd name="T75" fmla="*/ 1818 h 115"/>
                  <a:gd name="T76" fmla="*/ 8848 w 117"/>
                  <a:gd name="T77" fmla="*/ 1611 h 115"/>
                  <a:gd name="T78" fmla="*/ 8958 w 117"/>
                  <a:gd name="T79" fmla="*/ 1683 h 115"/>
                  <a:gd name="T80" fmla="*/ 8958 w 117"/>
                  <a:gd name="T81" fmla="*/ 1863 h 115"/>
                  <a:gd name="T82" fmla="*/ 9281 w 117"/>
                  <a:gd name="T83" fmla="*/ 1960 h 115"/>
                  <a:gd name="T84" fmla="*/ 8282 w 117"/>
                  <a:gd name="T85" fmla="*/ 2062 h 115"/>
                  <a:gd name="T86" fmla="*/ 8269 w 117"/>
                  <a:gd name="T87" fmla="*/ 2419 h 115"/>
                  <a:gd name="T88" fmla="*/ 7942 w 117"/>
                  <a:gd name="T89" fmla="*/ 2527 h 115"/>
                  <a:gd name="T90" fmla="*/ 7434 w 117"/>
                  <a:gd name="T91" fmla="*/ 2678 h 115"/>
                  <a:gd name="T92" fmla="*/ 6781 w 117"/>
                  <a:gd name="T93" fmla="*/ 2909 h 115"/>
                  <a:gd name="T94" fmla="*/ 6313 w 117"/>
                  <a:gd name="T95" fmla="*/ 2944 h 115"/>
                  <a:gd name="T96" fmla="*/ 6096 w 117"/>
                  <a:gd name="T97" fmla="*/ 3073 h 115"/>
                  <a:gd name="T98" fmla="*/ 5941 w 117"/>
                  <a:gd name="T99" fmla="*/ 3233 h 11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7"/>
                  <a:gd name="T151" fmla="*/ 0 h 115"/>
                  <a:gd name="T152" fmla="*/ 117 w 117"/>
                  <a:gd name="T153" fmla="*/ 115 h 11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7" h="115">
                    <a:moveTo>
                      <a:pt x="75" y="113"/>
                    </a:moveTo>
                    <a:lnTo>
                      <a:pt x="72" y="115"/>
                    </a:lnTo>
                    <a:lnTo>
                      <a:pt x="71" y="115"/>
                    </a:lnTo>
                    <a:lnTo>
                      <a:pt x="64" y="113"/>
                    </a:lnTo>
                    <a:lnTo>
                      <a:pt x="43" y="101"/>
                    </a:lnTo>
                    <a:lnTo>
                      <a:pt x="36" y="101"/>
                    </a:lnTo>
                    <a:lnTo>
                      <a:pt x="36" y="97"/>
                    </a:lnTo>
                    <a:lnTo>
                      <a:pt x="32" y="93"/>
                    </a:lnTo>
                    <a:lnTo>
                      <a:pt x="22" y="85"/>
                    </a:lnTo>
                    <a:lnTo>
                      <a:pt x="17" y="82"/>
                    </a:lnTo>
                    <a:lnTo>
                      <a:pt x="16" y="81"/>
                    </a:lnTo>
                    <a:lnTo>
                      <a:pt x="17" y="78"/>
                    </a:lnTo>
                    <a:lnTo>
                      <a:pt x="16" y="75"/>
                    </a:lnTo>
                    <a:lnTo>
                      <a:pt x="14" y="74"/>
                    </a:lnTo>
                    <a:lnTo>
                      <a:pt x="11" y="70"/>
                    </a:lnTo>
                    <a:lnTo>
                      <a:pt x="7" y="70"/>
                    </a:lnTo>
                    <a:lnTo>
                      <a:pt x="4" y="65"/>
                    </a:lnTo>
                    <a:lnTo>
                      <a:pt x="4" y="59"/>
                    </a:lnTo>
                    <a:lnTo>
                      <a:pt x="6" y="59"/>
                    </a:lnTo>
                    <a:lnTo>
                      <a:pt x="7" y="60"/>
                    </a:lnTo>
                    <a:lnTo>
                      <a:pt x="9" y="60"/>
                    </a:lnTo>
                    <a:lnTo>
                      <a:pt x="9" y="59"/>
                    </a:lnTo>
                    <a:lnTo>
                      <a:pt x="7" y="57"/>
                    </a:lnTo>
                    <a:lnTo>
                      <a:pt x="6" y="57"/>
                    </a:lnTo>
                    <a:lnTo>
                      <a:pt x="4" y="54"/>
                    </a:lnTo>
                    <a:lnTo>
                      <a:pt x="4" y="49"/>
                    </a:lnTo>
                    <a:lnTo>
                      <a:pt x="4" y="45"/>
                    </a:lnTo>
                    <a:lnTo>
                      <a:pt x="4" y="43"/>
                    </a:lnTo>
                    <a:lnTo>
                      <a:pt x="0" y="40"/>
                    </a:lnTo>
                    <a:lnTo>
                      <a:pt x="0" y="38"/>
                    </a:lnTo>
                    <a:lnTo>
                      <a:pt x="2" y="33"/>
                    </a:lnTo>
                    <a:lnTo>
                      <a:pt x="6" y="35"/>
                    </a:lnTo>
                    <a:lnTo>
                      <a:pt x="11" y="35"/>
                    </a:lnTo>
                    <a:lnTo>
                      <a:pt x="12" y="35"/>
                    </a:lnTo>
                    <a:lnTo>
                      <a:pt x="14" y="33"/>
                    </a:lnTo>
                    <a:lnTo>
                      <a:pt x="17" y="27"/>
                    </a:lnTo>
                    <a:lnTo>
                      <a:pt x="21" y="26"/>
                    </a:lnTo>
                    <a:lnTo>
                      <a:pt x="22" y="24"/>
                    </a:lnTo>
                    <a:lnTo>
                      <a:pt x="22" y="23"/>
                    </a:lnTo>
                    <a:lnTo>
                      <a:pt x="26" y="20"/>
                    </a:lnTo>
                    <a:lnTo>
                      <a:pt x="29" y="16"/>
                    </a:lnTo>
                    <a:lnTo>
                      <a:pt x="32" y="10"/>
                    </a:lnTo>
                    <a:lnTo>
                      <a:pt x="32" y="4"/>
                    </a:lnTo>
                    <a:lnTo>
                      <a:pt x="34" y="3"/>
                    </a:lnTo>
                    <a:lnTo>
                      <a:pt x="41" y="3"/>
                    </a:lnTo>
                    <a:lnTo>
                      <a:pt x="43" y="6"/>
                    </a:lnTo>
                    <a:lnTo>
                      <a:pt x="45" y="4"/>
                    </a:lnTo>
                    <a:lnTo>
                      <a:pt x="49" y="3"/>
                    </a:lnTo>
                    <a:lnTo>
                      <a:pt x="53" y="3"/>
                    </a:lnTo>
                    <a:lnTo>
                      <a:pt x="53" y="0"/>
                    </a:lnTo>
                    <a:lnTo>
                      <a:pt x="71" y="0"/>
                    </a:lnTo>
                    <a:lnTo>
                      <a:pt x="81" y="1"/>
                    </a:lnTo>
                    <a:lnTo>
                      <a:pt x="82" y="6"/>
                    </a:lnTo>
                    <a:lnTo>
                      <a:pt x="87" y="7"/>
                    </a:lnTo>
                    <a:lnTo>
                      <a:pt x="89" y="11"/>
                    </a:lnTo>
                    <a:lnTo>
                      <a:pt x="92" y="13"/>
                    </a:lnTo>
                    <a:lnTo>
                      <a:pt x="94" y="16"/>
                    </a:lnTo>
                    <a:lnTo>
                      <a:pt x="95" y="18"/>
                    </a:lnTo>
                    <a:lnTo>
                      <a:pt x="94" y="20"/>
                    </a:lnTo>
                    <a:lnTo>
                      <a:pt x="95" y="21"/>
                    </a:lnTo>
                    <a:lnTo>
                      <a:pt x="99" y="23"/>
                    </a:lnTo>
                    <a:lnTo>
                      <a:pt x="102" y="24"/>
                    </a:lnTo>
                    <a:lnTo>
                      <a:pt x="102" y="26"/>
                    </a:lnTo>
                    <a:lnTo>
                      <a:pt x="101" y="27"/>
                    </a:lnTo>
                    <a:lnTo>
                      <a:pt x="102" y="30"/>
                    </a:lnTo>
                    <a:lnTo>
                      <a:pt x="101" y="32"/>
                    </a:lnTo>
                    <a:lnTo>
                      <a:pt x="102" y="35"/>
                    </a:lnTo>
                    <a:lnTo>
                      <a:pt x="102" y="36"/>
                    </a:lnTo>
                    <a:lnTo>
                      <a:pt x="106" y="38"/>
                    </a:lnTo>
                    <a:lnTo>
                      <a:pt x="106" y="40"/>
                    </a:lnTo>
                    <a:lnTo>
                      <a:pt x="107" y="49"/>
                    </a:lnTo>
                    <a:lnTo>
                      <a:pt x="104" y="50"/>
                    </a:lnTo>
                    <a:lnTo>
                      <a:pt x="102" y="57"/>
                    </a:lnTo>
                    <a:lnTo>
                      <a:pt x="101" y="62"/>
                    </a:lnTo>
                    <a:lnTo>
                      <a:pt x="101" y="64"/>
                    </a:lnTo>
                    <a:lnTo>
                      <a:pt x="109" y="60"/>
                    </a:lnTo>
                    <a:lnTo>
                      <a:pt x="113" y="57"/>
                    </a:lnTo>
                    <a:lnTo>
                      <a:pt x="114" y="57"/>
                    </a:lnTo>
                    <a:lnTo>
                      <a:pt x="114" y="59"/>
                    </a:lnTo>
                    <a:lnTo>
                      <a:pt x="114" y="60"/>
                    </a:lnTo>
                    <a:lnTo>
                      <a:pt x="114" y="65"/>
                    </a:lnTo>
                    <a:lnTo>
                      <a:pt x="117" y="67"/>
                    </a:lnTo>
                    <a:lnTo>
                      <a:pt x="117" y="68"/>
                    </a:lnTo>
                    <a:lnTo>
                      <a:pt x="109" y="69"/>
                    </a:lnTo>
                    <a:lnTo>
                      <a:pt x="106" y="72"/>
                    </a:lnTo>
                    <a:lnTo>
                      <a:pt x="104" y="74"/>
                    </a:lnTo>
                    <a:lnTo>
                      <a:pt x="104" y="85"/>
                    </a:lnTo>
                    <a:lnTo>
                      <a:pt x="102" y="85"/>
                    </a:lnTo>
                    <a:lnTo>
                      <a:pt x="101" y="88"/>
                    </a:lnTo>
                    <a:lnTo>
                      <a:pt x="97" y="90"/>
                    </a:lnTo>
                    <a:lnTo>
                      <a:pt x="95" y="94"/>
                    </a:lnTo>
                    <a:lnTo>
                      <a:pt x="91" y="95"/>
                    </a:lnTo>
                    <a:lnTo>
                      <a:pt x="85" y="101"/>
                    </a:lnTo>
                    <a:lnTo>
                      <a:pt x="82" y="103"/>
                    </a:lnTo>
                    <a:lnTo>
                      <a:pt x="79" y="103"/>
                    </a:lnTo>
                    <a:lnTo>
                      <a:pt x="78" y="105"/>
                    </a:lnTo>
                    <a:lnTo>
                      <a:pt x="78" y="107"/>
                    </a:lnTo>
                    <a:lnTo>
                      <a:pt x="77" y="108"/>
                    </a:lnTo>
                    <a:lnTo>
                      <a:pt x="75" y="113"/>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56" name="Freeform 52"/>
              <p:cNvSpPr>
                <a:spLocks/>
              </p:cNvSpPr>
              <p:nvPr/>
            </p:nvSpPr>
            <p:spPr bwMode="auto">
              <a:xfrm>
                <a:off x="922" y="2087"/>
                <a:ext cx="255" cy="259"/>
              </a:xfrm>
              <a:custGeom>
                <a:avLst/>
                <a:gdLst>
                  <a:gd name="T0" fmla="*/ 315 w 238"/>
                  <a:gd name="T1" fmla="*/ 292 h 247"/>
                  <a:gd name="T2" fmla="*/ 235 w 238"/>
                  <a:gd name="T3" fmla="*/ 285 h 247"/>
                  <a:gd name="T4" fmla="*/ 144 w 238"/>
                  <a:gd name="T5" fmla="*/ 301 h 247"/>
                  <a:gd name="T6" fmla="*/ 62 w 238"/>
                  <a:gd name="T7" fmla="*/ 327 h 247"/>
                  <a:gd name="T8" fmla="*/ 61 w 238"/>
                  <a:gd name="T9" fmla="*/ 289 h 247"/>
                  <a:gd name="T10" fmla="*/ 66 w 238"/>
                  <a:gd name="T11" fmla="*/ 277 h 247"/>
                  <a:gd name="T12" fmla="*/ 71 w 238"/>
                  <a:gd name="T13" fmla="*/ 264 h 247"/>
                  <a:gd name="T14" fmla="*/ 61 w 238"/>
                  <a:gd name="T15" fmla="*/ 251 h 247"/>
                  <a:gd name="T16" fmla="*/ 45 w 238"/>
                  <a:gd name="T17" fmla="*/ 237 h 247"/>
                  <a:gd name="T18" fmla="*/ 35 w 238"/>
                  <a:gd name="T19" fmla="*/ 224 h 247"/>
                  <a:gd name="T20" fmla="*/ 13 w 238"/>
                  <a:gd name="T21" fmla="*/ 219 h 247"/>
                  <a:gd name="T22" fmla="*/ 1 w 238"/>
                  <a:gd name="T23" fmla="*/ 216 h 247"/>
                  <a:gd name="T24" fmla="*/ 15 w 238"/>
                  <a:gd name="T25" fmla="*/ 200 h 247"/>
                  <a:gd name="T26" fmla="*/ 14 w 238"/>
                  <a:gd name="T27" fmla="*/ 176 h 247"/>
                  <a:gd name="T28" fmla="*/ 6 w 238"/>
                  <a:gd name="T29" fmla="*/ 160 h 247"/>
                  <a:gd name="T30" fmla="*/ 31 w 238"/>
                  <a:gd name="T31" fmla="*/ 145 h 247"/>
                  <a:gd name="T32" fmla="*/ 34 w 238"/>
                  <a:gd name="T33" fmla="*/ 134 h 247"/>
                  <a:gd name="T34" fmla="*/ 20 w 238"/>
                  <a:gd name="T35" fmla="*/ 130 h 247"/>
                  <a:gd name="T36" fmla="*/ 19 w 238"/>
                  <a:gd name="T37" fmla="*/ 116 h 247"/>
                  <a:gd name="T38" fmla="*/ 41 w 238"/>
                  <a:gd name="T39" fmla="*/ 116 h 247"/>
                  <a:gd name="T40" fmla="*/ 51 w 238"/>
                  <a:gd name="T41" fmla="*/ 122 h 247"/>
                  <a:gd name="T42" fmla="*/ 47 w 238"/>
                  <a:gd name="T43" fmla="*/ 101 h 247"/>
                  <a:gd name="T44" fmla="*/ 41 w 238"/>
                  <a:gd name="T45" fmla="*/ 91 h 247"/>
                  <a:gd name="T46" fmla="*/ 44 w 238"/>
                  <a:gd name="T47" fmla="*/ 79 h 247"/>
                  <a:gd name="T48" fmla="*/ 25 w 238"/>
                  <a:gd name="T49" fmla="*/ 64 h 247"/>
                  <a:gd name="T50" fmla="*/ 27 w 238"/>
                  <a:gd name="T51" fmla="*/ 33 h 247"/>
                  <a:gd name="T52" fmla="*/ 45 w 238"/>
                  <a:gd name="T53" fmla="*/ 21 h 247"/>
                  <a:gd name="T54" fmla="*/ 57 w 238"/>
                  <a:gd name="T55" fmla="*/ 17 h 247"/>
                  <a:gd name="T56" fmla="*/ 71 w 238"/>
                  <a:gd name="T57" fmla="*/ 24 h 247"/>
                  <a:gd name="T58" fmla="*/ 81 w 238"/>
                  <a:gd name="T59" fmla="*/ 25 h 247"/>
                  <a:gd name="T60" fmla="*/ 92 w 238"/>
                  <a:gd name="T61" fmla="*/ 21 h 247"/>
                  <a:gd name="T62" fmla="*/ 110 w 238"/>
                  <a:gd name="T63" fmla="*/ 7 h 247"/>
                  <a:gd name="T64" fmla="*/ 122 w 238"/>
                  <a:gd name="T65" fmla="*/ 5 h 247"/>
                  <a:gd name="T66" fmla="*/ 135 w 238"/>
                  <a:gd name="T67" fmla="*/ 0 h 247"/>
                  <a:gd name="T68" fmla="*/ 140 w 238"/>
                  <a:gd name="T69" fmla="*/ 21 h 247"/>
                  <a:gd name="T70" fmla="*/ 158 w 238"/>
                  <a:gd name="T71" fmla="*/ 21 h 247"/>
                  <a:gd name="T72" fmla="*/ 177 w 238"/>
                  <a:gd name="T73" fmla="*/ 17 h 247"/>
                  <a:gd name="T74" fmla="*/ 199 w 238"/>
                  <a:gd name="T75" fmla="*/ 21 h 247"/>
                  <a:gd name="T76" fmla="*/ 205 w 238"/>
                  <a:gd name="T77" fmla="*/ 27 h 247"/>
                  <a:gd name="T78" fmla="*/ 210 w 238"/>
                  <a:gd name="T79" fmla="*/ 43 h 247"/>
                  <a:gd name="T80" fmla="*/ 227 w 238"/>
                  <a:gd name="T81" fmla="*/ 52 h 247"/>
                  <a:gd name="T82" fmla="*/ 236 w 238"/>
                  <a:gd name="T83" fmla="*/ 48 h 247"/>
                  <a:gd name="T84" fmla="*/ 254 w 238"/>
                  <a:gd name="T85" fmla="*/ 47 h 247"/>
                  <a:gd name="T86" fmla="*/ 290 w 238"/>
                  <a:gd name="T87" fmla="*/ 37 h 247"/>
                  <a:gd name="T88" fmla="*/ 320 w 238"/>
                  <a:gd name="T89" fmla="*/ 47 h 247"/>
                  <a:gd name="T90" fmla="*/ 338 w 238"/>
                  <a:gd name="T91" fmla="*/ 64 h 247"/>
                  <a:gd name="T92" fmla="*/ 343 w 238"/>
                  <a:gd name="T93" fmla="*/ 70 h 247"/>
                  <a:gd name="T94" fmla="*/ 347 w 238"/>
                  <a:gd name="T95" fmla="*/ 82 h 247"/>
                  <a:gd name="T96" fmla="*/ 354 w 238"/>
                  <a:gd name="T97" fmla="*/ 128 h 247"/>
                  <a:gd name="T98" fmla="*/ 342 w 238"/>
                  <a:gd name="T99" fmla="*/ 138 h 247"/>
                  <a:gd name="T100" fmla="*/ 331 w 238"/>
                  <a:gd name="T101" fmla="*/ 179 h 247"/>
                  <a:gd name="T102" fmla="*/ 315 w 238"/>
                  <a:gd name="T103" fmla="*/ 212 h 247"/>
                  <a:gd name="T104" fmla="*/ 332 w 238"/>
                  <a:gd name="T105" fmla="*/ 256 h 247"/>
                  <a:gd name="T106" fmla="*/ 343 w 238"/>
                  <a:gd name="T107" fmla="*/ 282 h 24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8"/>
                  <a:gd name="T163" fmla="*/ 0 h 247"/>
                  <a:gd name="T164" fmla="*/ 238 w 238"/>
                  <a:gd name="T165" fmla="*/ 247 h 24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8" h="247">
                    <a:moveTo>
                      <a:pt x="215" y="213"/>
                    </a:moveTo>
                    <a:lnTo>
                      <a:pt x="212" y="219"/>
                    </a:lnTo>
                    <a:lnTo>
                      <a:pt x="210" y="219"/>
                    </a:lnTo>
                    <a:lnTo>
                      <a:pt x="208" y="219"/>
                    </a:lnTo>
                    <a:lnTo>
                      <a:pt x="193" y="216"/>
                    </a:lnTo>
                    <a:lnTo>
                      <a:pt x="181" y="213"/>
                    </a:lnTo>
                    <a:lnTo>
                      <a:pt x="169" y="213"/>
                    </a:lnTo>
                    <a:lnTo>
                      <a:pt x="154" y="215"/>
                    </a:lnTo>
                    <a:lnTo>
                      <a:pt x="146" y="216"/>
                    </a:lnTo>
                    <a:lnTo>
                      <a:pt x="122" y="221"/>
                    </a:lnTo>
                    <a:lnTo>
                      <a:pt x="113" y="222"/>
                    </a:lnTo>
                    <a:lnTo>
                      <a:pt x="95" y="226"/>
                    </a:lnTo>
                    <a:lnTo>
                      <a:pt x="85" y="231"/>
                    </a:lnTo>
                    <a:lnTo>
                      <a:pt x="68" y="238"/>
                    </a:lnTo>
                    <a:lnTo>
                      <a:pt x="51" y="247"/>
                    </a:lnTo>
                    <a:lnTo>
                      <a:pt x="41" y="246"/>
                    </a:lnTo>
                    <a:lnTo>
                      <a:pt x="40" y="243"/>
                    </a:lnTo>
                    <a:lnTo>
                      <a:pt x="40" y="225"/>
                    </a:lnTo>
                    <a:lnTo>
                      <a:pt x="41" y="222"/>
                    </a:lnTo>
                    <a:lnTo>
                      <a:pt x="40" y="217"/>
                    </a:lnTo>
                    <a:lnTo>
                      <a:pt x="41" y="216"/>
                    </a:lnTo>
                    <a:lnTo>
                      <a:pt x="42" y="216"/>
                    </a:lnTo>
                    <a:lnTo>
                      <a:pt x="42" y="210"/>
                    </a:lnTo>
                    <a:lnTo>
                      <a:pt x="44" y="208"/>
                    </a:lnTo>
                    <a:lnTo>
                      <a:pt x="47" y="208"/>
                    </a:lnTo>
                    <a:lnTo>
                      <a:pt x="47" y="207"/>
                    </a:lnTo>
                    <a:lnTo>
                      <a:pt x="46" y="203"/>
                    </a:lnTo>
                    <a:lnTo>
                      <a:pt x="47" y="198"/>
                    </a:lnTo>
                    <a:lnTo>
                      <a:pt x="46" y="195"/>
                    </a:lnTo>
                    <a:lnTo>
                      <a:pt x="44" y="192"/>
                    </a:lnTo>
                    <a:lnTo>
                      <a:pt x="44" y="187"/>
                    </a:lnTo>
                    <a:lnTo>
                      <a:pt x="40" y="188"/>
                    </a:lnTo>
                    <a:lnTo>
                      <a:pt x="36" y="185"/>
                    </a:lnTo>
                    <a:lnTo>
                      <a:pt x="32" y="184"/>
                    </a:lnTo>
                    <a:lnTo>
                      <a:pt x="32" y="182"/>
                    </a:lnTo>
                    <a:lnTo>
                      <a:pt x="30" y="178"/>
                    </a:lnTo>
                    <a:lnTo>
                      <a:pt x="27" y="177"/>
                    </a:lnTo>
                    <a:lnTo>
                      <a:pt x="27" y="174"/>
                    </a:lnTo>
                    <a:lnTo>
                      <a:pt x="24" y="169"/>
                    </a:lnTo>
                    <a:lnTo>
                      <a:pt x="23" y="169"/>
                    </a:lnTo>
                    <a:lnTo>
                      <a:pt x="16" y="169"/>
                    </a:lnTo>
                    <a:lnTo>
                      <a:pt x="10" y="166"/>
                    </a:lnTo>
                    <a:lnTo>
                      <a:pt x="8" y="166"/>
                    </a:lnTo>
                    <a:lnTo>
                      <a:pt x="7" y="165"/>
                    </a:lnTo>
                    <a:lnTo>
                      <a:pt x="6" y="164"/>
                    </a:lnTo>
                    <a:lnTo>
                      <a:pt x="4" y="164"/>
                    </a:lnTo>
                    <a:lnTo>
                      <a:pt x="3" y="162"/>
                    </a:lnTo>
                    <a:lnTo>
                      <a:pt x="1" y="162"/>
                    </a:lnTo>
                    <a:lnTo>
                      <a:pt x="0" y="161"/>
                    </a:lnTo>
                    <a:lnTo>
                      <a:pt x="4" y="158"/>
                    </a:lnTo>
                    <a:lnTo>
                      <a:pt x="9" y="152"/>
                    </a:lnTo>
                    <a:lnTo>
                      <a:pt x="9" y="151"/>
                    </a:lnTo>
                    <a:lnTo>
                      <a:pt x="13" y="139"/>
                    </a:lnTo>
                    <a:lnTo>
                      <a:pt x="9" y="137"/>
                    </a:lnTo>
                    <a:lnTo>
                      <a:pt x="9" y="135"/>
                    </a:lnTo>
                    <a:lnTo>
                      <a:pt x="8" y="133"/>
                    </a:lnTo>
                    <a:lnTo>
                      <a:pt x="6" y="133"/>
                    </a:lnTo>
                    <a:lnTo>
                      <a:pt x="4" y="126"/>
                    </a:lnTo>
                    <a:lnTo>
                      <a:pt x="4" y="123"/>
                    </a:lnTo>
                    <a:lnTo>
                      <a:pt x="6" y="121"/>
                    </a:lnTo>
                    <a:lnTo>
                      <a:pt x="16" y="121"/>
                    </a:lnTo>
                    <a:lnTo>
                      <a:pt x="16" y="120"/>
                    </a:lnTo>
                    <a:lnTo>
                      <a:pt x="20" y="114"/>
                    </a:lnTo>
                    <a:lnTo>
                      <a:pt x="20" y="109"/>
                    </a:lnTo>
                    <a:lnTo>
                      <a:pt x="20" y="104"/>
                    </a:lnTo>
                    <a:lnTo>
                      <a:pt x="23" y="103"/>
                    </a:lnTo>
                    <a:lnTo>
                      <a:pt x="23" y="101"/>
                    </a:lnTo>
                    <a:lnTo>
                      <a:pt x="22" y="101"/>
                    </a:lnTo>
                    <a:lnTo>
                      <a:pt x="22" y="99"/>
                    </a:lnTo>
                    <a:lnTo>
                      <a:pt x="22" y="98"/>
                    </a:lnTo>
                    <a:lnTo>
                      <a:pt x="20" y="96"/>
                    </a:lnTo>
                    <a:lnTo>
                      <a:pt x="14" y="98"/>
                    </a:lnTo>
                    <a:lnTo>
                      <a:pt x="13" y="96"/>
                    </a:lnTo>
                    <a:lnTo>
                      <a:pt x="15" y="92"/>
                    </a:lnTo>
                    <a:lnTo>
                      <a:pt x="14" y="88"/>
                    </a:lnTo>
                    <a:lnTo>
                      <a:pt x="13" y="88"/>
                    </a:lnTo>
                    <a:lnTo>
                      <a:pt x="18" y="85"/>
                    </a:lnTo>
                    <a:lnTo>
                      <a:pt x="25" y="86"/>
                    </a:lnTo>
                    <a:lnTo>
                      <a:pt x="27" y="88"/>
                    </a:lnTo>
                    <a:lnTo>
                      <a:pt x="29" y="88"/>
                    </a:lnTo>
                    <a:lnTo>
                      <a:pt x="31" y="88"/>
                    </a:lnTo>
                    <a:lnTo>
                      <a:pt x="33" y="92"/>
                    </a:lnTo>
                    <a:lnTo>
                      <a:pt x="34" y="92"/>
                    </a:lnTo>
                    <a:lnTo>
                      <a:pt x="33" y="86"/>
                    </a:lnTo>
                    <a:lnTo>
                      <a:pt x="33" y="83"/>
                    </a:lnTo>
                    <a:lnTo>
                      <a:pt x="31" y="81"/>
                    </a:lnTo>
                    <a:lnTo>
                      <a:pt x="31" y="76"/>
                    </a:lnTo>
                    <a:lnTo>
                      <a:pt x="29" y="76"/>
                    </a:lnTo>
                    <a:lnTo>
                      <a:pt x="26" y="75"/>
                    </a:lnTo>
                    <a:lnTo>
                      <a:pt x="25" y="75"/>
                    </a:lnTo>
                    <a:lnTo>
                      <a:pt x="27" y="69"/>
                    </a:lnTo>
                    <a:lnTo>
                      <a:pt x="30" y="66"/>
                    </a:lnTo>
                    <a:lnTo>
                      <a:pt x="32" y="65"/>
                    </a:lnTo>
                    <a:lnTo>
                      <a:pt x="32" y="63"/>
                    </a:lnTo>
                    <a:lnTo>
                      <a:pt x="29" y="60"/>
                    </a:lnTo>
                    <a:lnTo>
                      <a:pt x="26" y="62"/>
                    </a:lnTo>
                    <a:lnTo>
                      <a:pt x="27" y="52"/>
                    </a:lnTo>
                    <a:lnTo>
                      <a:pt x="23" y="52"/>
                    </a:lnTo>
                    <a:lnTo>
                      <a:pt x="17" y="48"/>
                    </a:lnTo>
                    <a:lnTo>
                      <a:pt x="17" y="35"/>
                    </a:lnTo>
                    <a:lnTo>
                      <a:pt x="16" y="30"/>
                    </a:lnTo>
                    <a:lnTo>
                      <a:pt x="18" y="28"/>
                    </a:lnTo>
                    <a:lnTo>
                      <a:pt x="18" y="26"/>
                    </a:lnTo>
                    <a:lnTo>
                      <a:pt x="23" y="21"/>
                    </a:lnTo>
                    <a:lnTo>
                      <a:pt x="27" y="19"/>
                    </a:lnTo>
                    <a:lnTo>
                      <a:pt x="30" y="15"/>
                    </a:lnTo>
                    <a:lnTo>
                      <a:pt x="31" y="14"/>
                    </a:lnTo>
                    <a:lnTo>
                      <a:pt x="32" y="11"/>
                    </a:lnTo>
                    <a:lnTo>
                      <a:pt x="34" y="11"/>
                    </a:lnTo>
                    <a:lnTo>
                      <a:pt x="37" y="11"/>
                    </a:lnTo>
                    <a:lnTo>
                      <a:pt x="40" y="9"/>
                    </a:lnTo>
                    <a:lnTo>
                      <a:pt x="42" y="10"/>
                    </a:lnTo>
                    <a:lnTo>
                      <a:pt x="46" y="14"/>
                    </a:lnTo>
                    <a:lnTo>
                      <a:pt x="47" y="18"/>
                    </a:lnTo>
                    <a:lnTo>
                      <a:pt x="47" y="17"/>
                    </a:lnTo>
                    <a:lnTo>
                      <a:pt x="49" y="15"/>
                    </a:lnTo>
                    <a:lnTo>
                      <a:pt x="51" y="15"/>
                    </a:lnTo>
                    <a:lnTo>
                      <a:pt x="54" y="19"/>
                    </a:lnTo>
                    <a:lnTo>
                      <a:pt x="57" y="21"/>
                    </a:lnTo>
                    <a:lnTo>
                      <a:pt x="59" y="21"/>
                    </a:lnTo>
                    <a:lnTo>
                      <a:pt x="61" y="18"/>
                    </a:lnTo>
                    <a:lnTo>
                      <a:pt x="61" y="15"/>
                    </a:lnTo>
                    <a:lnTo>
                      <a:pt x="65" y="14"/>
                    </a:lnTo>
                    <a:lnTo>
                      <a:pt x="73" y="14"/>
                    </a:lnTo>
                    <a:lnTo>
                      <a:pt x="74" y="11"/>
                    </a:lnTo>
                    <a:lnTo>
                      <a:pt x="73" y="7"/>
                    </a:lnTo>
                    <a:lnTo>
                      <a:pt x="73" y="4"/>
                    </a:lnTo>
                    <a:lnTo>
                      <a:pt x="74" y="2"/>
                    </a:lnTo>
                    <a:lnTo>
                      <a:pt x="77" y="2"/>
                    </a:lnTo>
                    <a:lnTo>
                      <a:pt x="80" y="5"/>
                    </a:lnTo>
                    <a:lnTo>
                      <a:pt x="81" y="5"/>
                    </a:lnTo>
                    <a:lnTo>
                      <a:pt x="84" y="0"/>
                    </a:lnTo>
                    <a:lnTo>
                      <a:pt x="88" y="0"/>
                    </a:lnTo>
                    <a:lnTo>
                      <a:pt x="90" y="0"/>
                    </a:lnTo>
                    <a:lnTo>
                      <a:pt x="91" y="0"/>
                    </a:lnTo>
                    <a:lnTo>
                      <a:pt x="91" y="5"/>
                    </a:lnTo>
                    <a:lnTo>
                      <a:pt x="92" y="7"/>
                    </a:lnTo>
                    <a:lnTo>
                      <a:pt x="92" y="15"/>
                    </a:lnTo>
                    <a:lnTo>
                      <a:pt x="92" y="18"/>
                    </a:lnTo>
                    <a:lnTo>
                      <a:pt x="99" y="18"/>
                    </a:lnTo>
                    <a:lnTo>
                      <a:pt x="102" y="15"/>
                    </a:lnTo>
                    <a:lnTo>
                      <a:pt x="104" y="15"/>
                    </a:lnTo>
                    <a:lnTo>
                      <a:pt x="106" y="10"/>
                    </a:lnTo>
                    <a:lnTo>
                      <a:pt x="109" y="10"/>
                    </a:lnTo>
                    <a:lnTo>
                      <a:pt x="116" y="10"/>
                    </a:lnTo>
                    <a:lnTo>
                      <a:pt x="117" y="11"/>
                    </a:lnTo>
                    <a:lnTo>
                      <a:pt x="120" y="15"/>
                    </a:lnTo>
                    <a:lnTo>
                      <a:pt x="122" y="15"/>
                    </a:lnTo>
                    <a:lnTo>
                      <a:pt x="130" y="15"/>
                    </a:lnTo>
                    <a:lnTo>
                      <a:pt x="132" y="15"/>
                    </a:lnTo>
                    <a:lnTo>
                      <a:pt x="133" y="15"/>
                    </a:lnTo>
                    <a:lnTo>
                      <a:pt x="133" y="19"/>
                    </a:lnTo>
                    <a:lnTo>
                      <a:pt x="133" y="21"/>
                    </a:lnTo>
                    <a:lnTo>
                      <a:pt x="135" y="21"/>
                    </a:lnTo>
                    <a:lnTo>
                      <a:pt x="137" y="25"/>
                    </a:lnTo>
                    <a:lnTo>
                      <a:pt x="139" y="26"/>
                    </a:lnTo>
                    <a:lnTo>
                      <a:pt x="139" y="28"/>
                    </a:lnTo>
                    <a:lnTo>
                      <a:pt x="139" y="31"/>
                    </a:lnTo>
                    <a:lnTo>
                      <a:pt x="142" y="31"/>
                    </a:lnTo>
                    <a:lnTo>
                      <a:pt x="145" y="34"/>
                    </a:lnTo>
                    <a:lnTo>
                      <a:pt x="145" y="36"/>
                    </a:lnTo>
                    <a:lnTo>
                      <a:pt x="150" y="40"/>
                    </a:lnTo>
                    <a:lnTo>
                      <a:pt x="150" y="38"/>
                    </a:lnTo>
                    <a:lnTo>
                      <a:pt x="154" y="38"/>
                    </a:lnTo>
                    <a:lnTo>
                      <a:pt x="154" y="36"/>
                    </a:lnTo>
                    <a:lnTo>
                      <a:pt x="155" y="36"/>
                    </a:lnTo>
                    <a:lnTo>
                      <a:pt x="157" y="40"/>
                    </a:lnTo>
                    <a:lnTo>
                      <a:pt x="162" y="41"/>
                    </a:lnTo>
                    <a:lnTo>
                      <a:pt x="165" y="40"/>
                    </a:lnTo>
                    <a:lnTo>
                      <a:pt x="167" y="35"/>
                    </a:lnTo>
                    <a:lnTo>
                      <a:pt x="170" y="35"/>
                    </a:lnTo>
                    <a:lnTo>
                      <a:pt x="175" y="33"/>
                    </a:lnTo>
                    <a:lnTo>
                      <a:pt x="185" y="31"/>
                    </a:lnTo>
                    <a:lnTo>
                      <a:pt x="191" y="28"/>
                    </a:lnTo>
                    <a:lnTo>
                      <a:pt x="197" y="30"/>
                    </a:lnTo>
                    <a:lnTo>
                      <a:pt x="204" y="31"/>
                    </a:lnTo>
                    <a:lnTo>
                      <a:pt x="208" y="30"/>
                    </a:lnTo>
                    <a:lnTo>
                      <a:pt x="212" y="35"/>
                    </a:lnTo>
                    <a:lnTo>
                      <a:pt x="215" y="36"/>
                    </a:lnTo>
                    <a:lnTo>
                      <a:pt x="217" y="40"/>
                    </a:lnTo>
                    <a:lnTo>
                      <a:pt x="220" y="47"/>
                    </a:lnTo>
                    <a:lnTo>
                      <a:pt x="223" y="48"/>
                    </a:lnTo>
                    <a:lnTo>
                      <a:pt x="226" y="48"/>
                    </a:lnTo>
                    <a:lnTo>
                      <a:pt x="229" y="47"/>
                    </a:lnTo>
                    <a:lnTo>
                      <a:pt x="229" y="50"/>
                    </a:lnTo>
                    <a:lnTo>
                      <a:pt x="227" y="52"/>
                    </a:lnTo>
                    <a:lnTo>
                      <a:pt x="229" y="57"/>
                    </a:lnTo>
                    <a:lnTo>
                      <a:pt x="226" y="60"/>
                    </a:lnTo>
                    <a:lnTo>
                      <a:pt x="225" y="62"/>
                    </a:lnTo>
                    <a:lnTo>
                      <a:pt x="229" y="62"/>
                    </a:lnTo>
                    <a:lnTo>
                      <a:pt x="230" y="65"/>
                    </a:lnTo>
                    <a:lnTo>
                      <a:pt x="235" y="84"/>
                    </a:lnTo>
                    <a:lnTo>
                      <a:pt x="238" y="94"/>
                    </a:lnTo>
                    <a:lnTo>
                      <a:pt x="233" y="96"/>
                    </a:lnTo>
                    <a:lnTo>
                      <a:pt x="233" y="99"/>
                    </a:lnTo>
                    <a:lnTo>
                      <a:pt x="230" y="99"/>
                    </a:lnTo>
                    <a:lnTo>
                      <a:pt x="229" y="103"/>
                    </a:lnTo>
                    <a:lnTo>
                      <a:pt x="226" y="104"/>
                    </a:lnTo>
                    <a:lnTo>
                      <a:pt x="224" y="111"/>
                    </a:lnTo>
                    <a:lnTo>
                      <a:pt x="219" y="120"/>
                    </a:lnTo>
                    <a:lnTo>
                      <a:pt x="218" y="126"/>
                    </a:lnTo>
                    <a:lnTo>
                      <a:pt x="218" y="134"/>
                    </a:lnTo>
                    <a:lnTo>
                      <a:pt x="215" y="137"/>
                    </a:lnTo>
                    <a:lnTo>
                      <a:pt x="212" y="142"/>
                    </a:lnTo>
                    <a:lnTo>
                      <a:pt x="208" y="147"/>
                    </a:lnTo>
                    <a:lnTo>
                      <a:pt x="208" y="159"/>
                    </a:lnTo>
                    <a:lnTo>
                      <a:pt x="208" y="165"/>
                    </a:lnTo>
                    <a:lnTo>
                      <a:pt x="213" y="178"/>
                    </a:lnTo>
                    <a:lnTo>
                      <a:pt x="215" y="190"/>
                    </a:lnTo>
                    <a:lnTo>
                      <a:pt x="219" y="193"/>
                    </a:lnTo>
                    <a:lnTo>
                      <a:pt x="224" y="195"/>
                    </a:lnTo>
                    <a:lnTo>
                      <a:pt x="226" y="195"/>
                    </a:lnTo>
                    <a:lnTo>
                      <a:pt x="227" y="203"/>
                    </a:lnTo>
                    <a:lnTo>
                      <a:pt x="227" y="213"/>
                    </a:lnTo>
                    <a:lnTo>
                      <a:pt x="223" y="215"/>
                    </a:lnTo>
                    <a:lnTo>
                      <a:pt x="220" y="213"/>
                    </a:lnTo>
                    <a:lnTo>
                      <a:pt x="215" y="213"/>
                    </a:lnTo>
                    <a:close/>
                  </a:path>
                </a:pathLst>
              </a:custGeom>
              <a:solidFill>
                <a:srgbClr val="DA9797"/>
              </a:solidFill>
              <a:ln>
                <a:noFill/>
              </a:ln>
              <a:extLst/>
            </p:spPr>
            <p:txBody>
              <a:bodyPr/>
              <a:lstStyle/>
              <a:p>
                <a:pPr>
                  <a:defRPr/>
                </a:pPr>
                <a:endParaRPr lang="en-US">
                  <a:latin typeface="Arial" panose="020B0604020202020204" pitchFamily="34" charset="0"/>
                  <a:ea typeface="ＭＳ Ｐゴシック" panose="020B0600070205080204" pitchFamily="34" charset="-128"/>
                  <a:cs typeface="+mn-cs"/>
                </a:endParaRPr>
              </a:p>
            </p:txBody>
          </p:sp>
          <p:sp>
            <p:nvSpPr>
              <p:cNvPr id="257" name="Freeform 53"/>
              <p:cNvSpPr>
                <a:spLocks/>
              </p:cNvSpPr>
              <p:nvPr/>
            </p:nvSpPr>
            <p:spPr bwMode="auto">
              <a:xfrm>
                <a:off x="922" y="2087"/>
                <a:ext cx="255" cy="259"/>
              </a:xfrm>
              <a:custGeom>
                <a:avLst/>
                <a:gdLst>
                  <a:gd name="T0" fmla="*/ 19851 w 238"/>
                  <a:gd name="T1" fmla="*/ 5029 h 247"/>
                  <a:gd name="T2" fmla="*/ 14734 w 238"/>
                  <a:gd name="T3" fmla="*/ 4903 h 247"/>
                  <a:gd name="T4" fmla="*/ 9090 w 238"/>
                  <a:gd name="T5" fmla="*/ 5187 h 247"/>
                  <a:gd name="T6" fmla="*/ 3852 w 238"/>
                  <a:gd name="T7" fmla="*/ 5615 h 247"/>
                  <a:gd name="T8" fmla="*/ 3838 w 238"/>
                  <a:gd name="T9" fmla="*/ 4989 h 247"/>
                  <a:gd name="T10" fmla="*/ 4127 w 238"/>
                  <a:gd name="T11" fmla="*/ 4768 h 247"/>
                  <a:gd name="T12" fmla="*/ 4422 w 238"/>
                  <a:gd name="T13" fmla="*/ 4547 h 247"/>
                  <a:gd name="T14" fmla="*/ 3838 w 238"/>
                  <a:gd name="T15" fmla="*/ 4328 h 247"/>
                  <a:gd name="T16" fmla="*/ 2822 w 238"/>
                  <a:gd name="T17" fmla="*/ 4092 h 247"/>
                  <a:gd name="T18" fmla="*/ 2217 w 238"/>
                  <a:gd name="T19" fmla="*/ 3841 h 247"/>
                  <a:gd name="T20" fmla="*/ 788 w 238"/>
                  <a:gd name="T21" fmla="*/ 3783 h 247"/>
                  <a:gd name="T22" fmla="*/ 1 w 238"/>
                  <a:gd name="T23" fmla="*/ 3721 h 247"/>
                  <a:gd name="T24" fmla="*/ 904 w 238"/>
                  <a:gd name="T25" fmla="*/ 3447 h 247"/>
                  <a:gd name="T26" fmla="*/ 844 w 238"/>
                  <a:gd name="T27" fmla="*/ 3025 h 247"/>
                  <a:gd name="T28" fmla="*/ 6 w 238"/>
                  <a:gd name="T29" fmla="*/ 2751 h 247"/>
                  <a:gd name="T30" fmla="*/ 1931 w 238"/>
                  <a:gd name="T31" fmla="*/ 2496 h 247"/>
                  <a:gd name="T32" fmla="*/ 2141 w 238"/>
                  <a:gd name="T33" fmla="*/ 2336 h 247"/>
                  <a:gd name="T34" fmla="*/ 1276 w 238"/>
                  <a:gd name="T35" fmla="*/ 2246 h 247"/>
                  <a:gd name="T36" fmla="*/ 1191 w 238"/>
                  <a:gd name="T37" fmla="*/ 2027 h 247"/>
                  <a:gd name="T38" fmla="*/ 2545 w 238"/>
                  <a:gd name="T39" fmla="*/ 2027 h 247"/>
                  <a:gd name="T40" fmla="*/ 3240 w 238"/>
                  <a:gd name="T41" fmla="*/ 2125 h 247"/>
                  <a:gd name="T42" fmla="*/ 2922 w 238"/>
                  <a:gd name="T43" fmla="*/ 1758 h 247"/>
                  <a:gd name="T44" fmla="*/ 2545 w 238"/>
                  <a:gd name="T45" fmla="*/ 1557 h 247"/>
                  <a:gd name="T46" fmla="*/ 2727 w 238"/>
                  <a:gd name="T47" fmla="*/ 1350 h 247"/>
                  <a:gd name="T48" fmla="*/ 1570 w 238"/>
                  <a:gd name="T49" fmla="*/ 1102 h 247"/>
                  <a:gd name="T50" fmla="*/ 1682 w 238"/>
                  <a:gd name="T51" fmla="*/ 573 h 247"/>
                  <a:gd name="T52" fmla="*/ 2822 w 238"/>
                  <a:gd name="T53" fmla="*/ 340 h 247"/>
                  <a:gd name="T54" fmla="*/ 3582 w 238"/>
                  <a:gd name="T55" fmla="*/ 281 h 247"/>
                  <a:gd name="T56" fmla="*/ 4422 w 238"/>
                  <a:gd name="T57" fmla="*/ 392 h 247"/>
                  <a:gd name="T58" fmla="*/ 5076 w 238"/>
                  <a:gd name="T59" fmla="*/ 411 h 247"/>
                  <a:gd name="T60" fmla="*/ 5806 w 238"/>
                  <a:gd name="T61" fmla="*/ 340 h 247"/>
                  <a:gd name="T62" fmla="*/ 6921 w 238"/>
                  <a:gd name="T63" fmla="*/ 7 h 247"/>
                  <a:gd name="T64" fmla="*/ 7651 w 238"/>
                  <a:gd name="T65" fmla="*/ 5 h 247"/>
                  <a:gd name="T66" fmla="*/ 8513 w 238"/>
                  <a:gd name="T67" fmla="*/ 0 h 247"/>
                  <a:gd name="T68" fmla="*/ 8784 w 238"/>
                  <a:gd name="T69" fmla="*/ 340 h 247"/>
                  <a:gd name="T70" fmla="*/ 9958 w 238"/>
                  <a:gd name="T71" fmla="*/ 340 h 247"/>
                  <a:gd name="T72" fmla="*/ 11180 w 238"/>
                  <a:gd name="T73" fmla="*/ 281 h 247"/>
                  <a:gd name="T74" fmla="*/ 12450 w 238"/>
                  <a:gd name="T75" fmla="*/ 340 h 247"/>
                  <a:gd name="T76" fmla="*/ 12879 w 238"/>
                  <a:gd name="T77" fmla="*/ 452 h 247"/>
                  <a:gd name="T78" fmla="*/ 13151 w 238"/>
                  <a:gd name="T79" fmla="*/ 727 h 247"/>
                  <a:gd name="T80" fmla="*/ 14237 w 238"/>
                  <a:gd name="T81" fmla="*/ 912 h 247"/>
                  <a:gd name="T82" fmla="*/ 14785 w 238"/>
                  <a:gd name="T83" fmla="*/ 830 h 247"/>
                  <a:gd name="T84" fmla="*/ 15932 w 238"/>
                  <a:gd name="T85" fmla="*/ 799 h 247"/>
                  <a:gd name="T86" fmla="*/ 18185 w 238"/>
                  <a:gd name="T87" fmla="*/ 630 h 247"/>
                  <a:gd name="T88" fmla="*/ 20102 w 238"/>
                  <a:gd name="T89" fmla="*/ 799 h 247"/>
                  <a:gd name="T90" fmla="*/ 21269 w 238"/>
                  <a:gd name="T91" fmla="*/ 1102 h 247"/>
                  <a:gd name="T92" fmla="*/ 21538 w 238"/>
                  <a:gd name="T93" fmla="*/ 1212 h 247"/>
                  <a:gd name="T94" fmla="*/ 21857 w 238"/>
                  <a:gd name="T95" fmla="*/ 1413 h 247"/>
                  <a:gd name="T96" fmla="*/ 22197 w 238"/>
                  <a:gd name="T97" fmla="*/ 2228 h 247"/>
                  <a:gd name="T98" fmla="*/ 21468 w 238"/>
                  <a:gd name="T99" fmla="*/ 2380 h 247"/>
                  <a:gd name="T100" fmla="*/ 20760 w 238"/>
                  <a:gd name="T101" fmla="*/ 3105 h 247"/>
                  <a:gd name="T102" fmla="*/ 19851 w 238"/>
                  <a:gd name="T103" fmla="*/ 3648 h 247"/>
                  <a:gd name="T104" fmla="*/ 20803 w 238"/>
                  <a:gd name="T105" fmla="*/ 4410 h 247"/>
                  <a:gd name="T106" fmla="*/ 21538 w 238"/>
                  <a:gd name="T107" fmla="*/ 4861 h 24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8"/>
                  <a:gd name="T163" fmla="*/ 0 h 247"/>
                  <a:gd name="T164" fmla="*/ 238 w 238"/>
                  <a:gd name="T165" fmla="*/ 247 h 24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8" h="247">
                    <a:moveTo>
                      <a:pt x="215" y="213"/>
                    </a:moveTo>
                    <a:lnTo>
                      <a:pt x="212" y="219"/>
                    </a:lnTo>
                    <a:lnTo>
                      <a:pt x="210" y="219"/>
                    </a:lnTo>
                    <a:lnTo>
                      <a:pt x="208" y="219"/>
                    </a:lnTo>
                    <a:lnTo>
                      <a:pt x="193" y="216"/>
                    </a:lnTo>
                    <a:lnTo>
                      <a:pt x="181" y="213"/>
                    </a:lnTo>
                    <a:lnTo>
                      <a:pt x="169" y="213"/>
                    </a:lnTo>
                    <a:lnTo>
                      <a:pt x="154" y="215"/>
                    </a:lnTo>
                    <a:lnTo>
                      <a:pt x="146" y="216"/>
                    </a:lnTo>
                    <a:lnTo>
                      <a:pt x="122" y="221"/>
                    </a:lnTo>
                    <a:lnTo>
                      <a:pt x="113" y="222"/>
                    </a:lnTo>
                    <a:lnTo>
                      <a:pt x="95" y="226"/>
                    </a:lnTo>
                    <a:lnTo>
                      <a:pt x="85" y="231"/>
                    </a:lnTo>
                    <a:lnTo>
                      <a:pt x="68" y="238"/>
                    </a:lnTo>
                    <a:lnTo>
                      <a:pt x="51" y="247"/>
                    </a:lnTo>
                    <a:lnTo>
                      <a:pt x="41" y="246"/>
                    </a:lnTo>
                    <a:lnTo>
                      <a:pt x="40" y="243"/>
                    </a:lnTo>
                    <a:lnTo>
                      <a:pt x="40" y="225"/>
                    </a:lnTo>
                    <a:lnTo>
                      <a:pt x="41" y="222"/>
                    </a:lnTo>
                    <a:lnTo>
                      <a:pt x="40" y="217"/>
                    </a:lnTo>
                    <a:lnTo>
                      <a:pt x="41" y="216"/>
                    </a:lnTo>
                    <a:lnTo>
                      <a:pt x="42" y="216"/>
                    </a:lnTo>
                    <a:lnTo>
                      <a:pt x="42" y="210"/>
                    </a:lnTo>
                    <a:lnTo>
                      <a:pt x="44" y="208"/>
                    </a:lnTo>
                    <a:lnTo>
                      <a:pt x="47" y="208"/>
                    </a:lnTo>
                    <a:lnTo>
                      <a:pt x="47" y="207"/>
                    </a:lnTo>
                    <a:lnTo>
                      <a:pt x="46" y="203"/>
                    </a:lnTo>
                    <a:lnTo>
                      <a:pt x="47" y="198"/>
                    </a:lnTo>
                    <a:lnTo>
                      <a:pt x="46" y="195"/>
                    </a:lnTo>
                    <a:lnTo>
                      <a:pt x="44" y="192"/>
                    </a:lnTo>
                    <a:lnTo>
                      <a:pt x="44" y="187"/>
                    </a:lnTo>
                    <a:lnTo>
                      <a:pt x="40" y="188"/>
                    </a:lnTo>
                    <a:lnTo>
                      <a:pt x="36" y="185"/>
                    </a:lnTo>
                    <a:lnTo>
                      <a:pt x="32" y="184"/>
                    </a:lnTo>
                    <a:lnTo>
                      <a:pt x="32" y="182"/>
                    </a:lnTo>
                    <a:lnTo>
                      <a:pt x="30" y="178"/>
                    </a:lnTo>
                    <a:lnTo>
                      <a:pt x="27" y="177"/>
                    </a:lnTo>
                    <a:lnTo>
                      <a:pt x="27" y="174"/>
                    </a:lnTo>
                    <a:lnTo>
                      <a:pt x="24" y="169"/>
                    </a:lnTo>
                    <a:lnTo>
                      <a:pt x="23" y="169"/>
                    </a:lnTo>
                    <a:lnTo>
                      <a:pt x="16" y="169"/>
                    </a:lnTo>
                    <a:lnTo>
                      <a:pt x="10" y="166"/>
                    </a:lnTo>
                    <a:lnTo>
                      <a:pt x="8" y="166"/>
                    </a:lnTo>
                    <a:lnTo>
                      <a:pt x="7" y="165"/>
                    </a:lnTo>
                    <a:lnTo>
                      <a:pt x="6" y="164"/>
                    </a:lnTo>
                    <a:lnTo>
                      <a:pt x="4" y="164"/>
                    </a:lnTo>
                    <a:lnTo>
                      <a:pt x="3" y="162"/>
                    </a:lnTo>
                    <a:lnTo>
                      <a:pt x="1" y="162"/>
                    </a:lnTo>
                    <a:lnTo>
                      <a:pt x="0" y="161"/>
                    </a:lnTo>
                    <a:lnTo>
                      <a:pt x="4" y="158"/>
                    </a:lnTo>
                    <a:lnTo>
                      <a:pt x="9" y="152"/>
                    </a:lnTo>
                    <a:lnTo>
                      <a:pt x="9" y="151"/>
                    </a:lnTo>
                    <a:lnTo>
                      <a:pt x="13" y="139"/>
                    </a:lnTo>
                    <a:lnTo>
                      <a:pt x="9" y="137"/>
                    </a:lnTo>
                    <a:lnTo>
                      <a:pt x="9" y="135"/>
                    </a:lnTo>
                    <a:lnTo>
                      <a:pt x="8" y="133"/>
                    </a:lnTo>
                    <a:lnTo>
                      <a:pt x="6" y="133"/>
                    </a:lnTo>
                    <a:lnTo>
                      <a:pt x="4" y="126"/>
                    </a:lnTo>
                    <a:lnTo>
                      <a:pt x="4" y="123"/>
                    </a:lnTo>
                    <a:lnTo>
                      <a:pt x="6" y="121"/>
                    </a:lnTo>
                    <a:lnTo>
                      <a:pt x="16" y="121"/>
                    </a:lnTo>
                    <a:lnTo>
                      <a:pt x="16" y="120"/>
                    </a:lnTo>
                    <a:lnTo>
                      <a:pt x="20" y="114"/>
                    </a:lnTo>
                    <a:lnTo>
                      <a:pt x="20" y="109"/>
                    </a:lnTo>
                    <a:lnTo>
                      <a:pt x="20" y="104"/>
                    </a:lnTo>
                    <a:lnTo>
                      <a:pt x="23" y="103"/>
                    </a:lnTo>
                    <a:lnTo>
                      <a:pt x="23" y="101"/>
                    </a:lnTo>
                    <a:lnTo>
                      <a:pt x="22" y="101"/>
                    </a:lnTo>
                    <a:lnTo>
                      <a:pt x="22" y="99"/>
                    </a:lnTo>
                    <a:lnTo>
                      <a:pt x="22" y="98"/>
                    </a:lnTo>
                    <a:lnTo>
                      <a:pt x="20" y="96"/>
                    </a:lnTo>
                    <a:lnTo>
                      <a:pt x="14" y="98"/>
                    </a:lnTo>
                    <a:lnTo>
                      <a:pt x="13" y="96"/>
                    </a:lnTo>
                    <a:lnTo>
                      <a:pt x="15" y="92"/>
                    </a:lnTo>
                    <a:lnTo>
                      <a:pt x="14" y="88"/>
                    </a:lnTo>
                    <a:lnTo>
                      <a:pt x="13" y="88"/>
                    </a:lnTo>
                    <a:lnTo>
                      <a:pt x="18" y="85"/>
                    </a:lnTo>
                    <a:lnTo>
                      <a:pt x="25" y="86"/>
                    </a:lnTo>
                    <a:lnTo>
                      <a:pt x="27" y="88"/>
                    </a:lnTo>
                    <a:lnTo>
                      <a:pt x="29" y="88"/>
                    </a:lnTo>
                    <a:lnTo>
                      <a:pt x="31" y="88"/>
                    </a:lnTo>
                    <a:lnTo>
                      <a:pt x="33" y="92"/>
                    </a:lnTo>
                    <a:lnTo>
                      <a:pt x="34" y="92"/>
                    </a:lnTo>
                    <a:lnTo>
                      <a:pt x="33" y="86"/>
                    </a:lnTo>
                    <a:lnTo>
                      <a:pt x="33" y="83"/>
                    </a:lnTo>
                    <a:lnTo>
                      <a:pt x="31" y="81"/>
                    </a:lnTo>
                    <a:lnTo>
                      <a:pt x="31" y="76"/>
                    </a:lnTo>
                    <a:lnTo>
                      <a:pt x="29" y="76"/>
                    </a:lnTo>
                    <a:lnTo>
                      <a:pt x="26" y="75"/>
                    </a:lnTo>
                    <a:lnTo>
                      <a:pt x="25" y="75"/>
                    </a:lnTo>
                    <a:lnTo>
                      <a:pt x="27" y="69"/>
                    </a:lnTo>
                    <a:lnTo>
                      <a:pt x="30" y="66"/>
                    </a:lnTo>
                    <a:lnTo>
                      <a:pt x="32" y="65"/>
                    </a:lnTo>
                    <a:lnTo>
                      <a:pt x="32" y="63"/>
                    </a:lnTo>
                    <a:lnTo>
                      <a:pt x="29" y="60"/>
                    </a:lnTo>
                    <a:lnTo>
                      <a:pt x="26" y="62"/>
                    </a:lnTo>
                    <a:lnTo>
                      <a:pt x="27" y="52"/>
                    </a:lnTo>
                    <a:lnTo>
                      <a:pt x="23" y="52"/>
                    </a:lnTo>
                    <a:lnTo>
                      <a:pt x="17" y="48"/>
                    </a:lnTo>
                    <a:lnTo>
                      <a:pt x="17" y="35"/>
                    </a:lnTo>
                    <a:lnTo>
                      <a:pt x="16" y="30"/>
                    </a:lnTo>
                    <a:lnTo>
                      <a:pt x="18" y="28"/>
                    </a:lnTo>
                    <a:lnTo>
                      <a:pt x="18" y="26"/>
                    </a:lnTo>
                    <a:lnTo>
                      <a:pt x="23" y="21"/>
                    </a:lnTo>
                    <a:lnTo>
                      <a:pt x="27" y="19"/>
                    </a:lnTo>
                    <a:lnTo>
                      <a:pt x="30" y="15"/>
                    </a:lnTo>
                    <a:lnTo>
                      <a:pt x="31" y="14"/>
                    </a:lnTo>
                    <a:lnTo>
                      <a:pt x="32" y="11"/>
                    </a:lnTo>
                    <a:lnTo>
                      <a:pt x="34" y="11"/>
                    </a:lnTo>
                    <a:lnTo>
                      <a:pt x="37" y="11"/>
                    </a:lnTo>
                    <a:lnTo>
                      <a:pt x="40" y="9"/>
                    </a:lnTo>
                    <a:lnTo>
                      <a:pt x="42" y="10"/>
                    </a:lnTo>
                    <a:lnTo>
                      <a:pt x="46" y="14"/>
                    </a:lnTo>
                    <a:lnTo>
                      <a:pt x="47" y="18"/>
                    </a:lnTo>
                    <a:lnTo>
                      <a:pt x="47" y="17"/>
                    </a:lnTo>
                    <a:lnTo>
                      <a:pt x="49" y="15"/>
                    </a:lnTo>
                    <a:lnTo>
                      <a:pt x="51" y="15"/>
                    </a:lnTo>
                    <a:lnTo>
                      <a:pt x="54" y="19"/>
                    </a:lnTo>
                    <a:lnTo>
                      <a:pt x="57" y="21"/>
                    </a:lnTo>
                    <a:lnTo>
                      <a:pt x="59" y="21"/>
                    </a:lnTo>
                    <a:lnTo>
                      <a:pt x="61" y="18"/>
                    </a:lnTo>
                    <a:lnTo>
                      <a:pt x="61" y="15"/>
                    </a:lnTo>
                    <a:lnTo>
                      <a:pt x="65" y="14"/>
                    </a:lnTo>
                    <a:lnTo>
                      <a:pt x="73" y="14"/>
                    </a:lnTo>
                    <a:lnTo>
                      <a:pt x="74" y="11"/>
                    </a:lnTo>
                    <a:lnTo>
                      <a:pt x="73" y="7"/>
                    </a:lnTo>
                    <a:lnTo>
                      <a:pt x="73" y="4"/>
                    </a:lnTo>
                    <a:lnTo>
                      <a:pt x="74" y="2"/>
                    </a:lnTo>
                    <a:lnTo>
                      <a:pt x="77" y="2"/>
                    </a:lnTo>
                    <a:lnTo>
                      <a:pt x="80" y="5"/>
                    </a:lnTo>
                    <a:lnTo>
                      <a:pt x="81" y="5"/>
                    </a:lnTo>
                    <a:lnTo>
                      <a:pt x="84" y="0"/>
                    </a:lnTo>
                    <a:lnTo>
                      <a:pt x="88" y="0"/>
                    </a:lnTo>
                    <a:lnTo>
                      <a:pt x="90" y="0"/>
                    </a:lnTo>
                    <a:lnTo>
                      <a:pt x="91" y="0"/>
                    </a:lnTo>
                    <a:lnTo>
                      <a:pt x="91" y="5"/>
                    </a:lnTo>
                    <a:lnTo>
                      <a:pt x="92" y="7"/>
                    </a:lnTo>
                    <a:lnTo>
                      <a:pt x="92" y="15"/>
                    </a:lnTo>
                    <a:lnTo>
                      <a:pt x="92" y="18"/>
                    </a:lnTo>
                    <a:lnTo>
                      <a:pt x="99" y="18"/>
                    </a:lnTo>
                    <a:lnTo>
                      <a:pt x="102" y="15"/>
                    </a:lnTo>
                    <a:lnTo>
                      <a:pt x="104" y="15"/>
                    </a:lnTo>
                    <a:lnTo>
                      <a:pt x="106" y="10"/>
                    </a:lnTo>
                    <a:lnTo>
                      <a:pt x="109" y="10"/>
                    </a:lnTo>
                    <a:lnTo>
                      <a:pt x="116" y="10"/>
                    </a:lnTo>
                    <a:lnTo>
                      <a:pt x="117" y="11"/>
                    </a:lnTo>
                    <a:lnTo>
                      <a:pt x="120" y="15"/>
                    </a:lnTo>
                    <a:lnTo>
                      <a:pt x="122" y="15"/>
                    </a:lnTo>
                    <a:lnTo>
                      <a:pt x="130" y="15"/>
                    </a:lnTo>
                    <a:lnTo>
                      <a:pt x="132" y="15"/>
                    </a:lnTo>
                    <a:lnTo>
                      <a:pt x="133" y="15"/>
                    </a:lnTo>
                    <a:lnTo>
                      <a:pt x="133" y="19"/>
                    </a:lnTo>
                    <a:lnTo>
                      <a:pt x="133" y="21"/>
                    </a:lnTo>
                    <a:lnTo>
                      <a:pt x="135" y="21"/>
                    </a:lnTo>
                    <a:lnTo>
                      <a:pt x="137" y="25"/>
                    </a:lnTo>
                    <a:lnTo>
                      <a:pt x="139" y="26"/>
                    </a:lnTo>
                    <a:lnTo>
                      <a:pt x="139" y="28"/>
                    </a:lnTo>
                    <a:lnTo>
                      <a:pt x="139" y="31"/>
                    </a:lnTo>
                    <a:lnTo>
                      <a:pt x="142" y="31"/>
                    </a:lnTo>
                    <a:lnTo>
                      <a:pt x="145" y="34"/>
                    </a:lnTo>
                    <a:lnTo>
                      <a:pt x="145" y="36"/>
                    </a:lnTo>
                    <a:lnTo>
                      <a:pt x="150" y="40"/>
                    </a:lnTo>
                    <a:lnTo>
                      <a:pt x="150" y="38"/>
                    </a:lnTo>
                    <a:lnTo>
                      <a:pt x="154" y="38"/>
                    </a:lnTo>
                    <a:lnTo>
                      <a:pt x="154" y="36"/>
                    </a:lnTo>
                    <a:lnTo>
                      <a:pt x="155" y="36"/>
                    </a:lnTo>
                    <a:lnTo>
                      <a:pt x="157" y="40"/>
                    </a:lnTo>
                    <a:lnTo>
                      <a:pt x="162" y="41"/>
                    </a:lnTo>
                    <a:lnTo>
                      <a:pt x="165" y="40"/>
                    </a:lnTo>
                    <a:lnTo>
                      <a:pt x="167" y="35"/>
                    </a:lnTo>
                    <a:lnTo>
                      <a:pt x="170" y="35"/>
                    </a:lnTo>
                    <a:lnTo>
                      <a:pt x="175" y="33"/>
                    </a:lnTo>
                    <a:lnTo>
                      <a:pt x="185" y="31"/>
                    </a:lnTo>
                    <a:lnTo>
                      <a:pt x="191" y="28"/>
                    </a:lnTo>
                    <a:lnTo>
                      <a:pt x="197" y="30"/>
                    </a:lnTo>
                    <a:lnTo>
                      <a:pt x="204" y="31"/>
                    </a:lnTo>
                    <a:lnTo>
                      <a:pt x="208" y="30"/>
                    </a:lnTo>
                    <a:lnTo>
                      <a:pt x="212" y="35"/>
                    </a:lnTo>
                    <a:lnTo>
                      <a:pt x="215" y="36"/>
                    </a:lnTo>
                    <a:lnTo>
                      <a:pt x="217" y="40"/>
                    </a:lnTo>
                    <a:lnTo>
                      <a:pt x="220" y="47"/>
                    </a:lnTo>
                    <a:lnTo>
                      <a:pt x="223" y="48"/>
                    </a:lnTo>
                    <a:lnTo>
                      <a:pt x="226" y="48"/>
                    </a:lnTo>
                    <a:lnTo>
                      <a:pt x="229" y="47"/>
                    </a:lnTo>
                    <a:lnTo>
                      <a:pt x="229" y="50"/>
                    </a:lnTo>
                    <a:lnTo>
                      <a:pt x="227" y="52"/>
                    </a:lnTo>
                    <a:lnTo>
                      <a:pt x="229" y="57"/>
                    </a:lnTo>
                    <a:lnTo>
                      <a:pt x="226" y="60"/>
                    </a:lnTo>
                    <a:lnTo>
                      <a:pt x="225" y="62"/>
                    </a:lnTo>
                    <a:lnTo>
                      <a:pt x="229" y="62"/>
                    </a:lnTo>
                    <a:lnTo>
                      <a:pt x="230" y="65"/>
                    </a:lnTo>
                    <a:lnTo>
                      <a:pt x="235" y="84"/>
                    </a:lnTo>
                    <a:lnTo>
                      <a:pt x="238" y="94"/>
                    </a:lnTo>
                    <a:lnTo>
                      <a:pt x="233" y="96"/>
                    </a:lnTo>
                    <a:lnTo>
                      <a:pt x="233" y="99"/>
                    </a:lnTo>
                    <a:lnTo>
                      <a:pt x="230" y="99"/>
                    </a:lnTo>
                    <a:lnTo>
                      <a:pt x="229" y="103"/>
                    </a:lnTo>
                    <a:lnTo>
                      <a:pt x="226" y="104"/>
                    </a:lnTo>
                    <a:lnTo>
                      <a:pt x="224" y="111"/>
                    </a:lnTo>
                    <a:lnTo>
                      <a:pt x="219" y="120"/>
                    </a:lnTo>
                    <a:lnTo>
                      <a:pt x="218" y="126"/>
                    </a:lnTo>
                    <a:lnTo>
                      <a:pt x="218" y="134"/>
                    </a:lnTo>
                    <a:lnTo>
                      <a:pt x="215" y="137"/>
                    </a:lnTo>
                    <a:lnTo>
                      <a:pt x="212" y="142"/>
                    </a:lnTo>
                    <a:lnTo>
                      <a:pt x="208" y="147"/>
                    </a:lnTo>
                    <a:lnTo>
                      <a:pt x="208" y="159"/>
                    </a:lnTo>
                    <a:lnTo>
                      <a:pt x="208" y="165"/>
                    </a:lnTo>
                    <a:lnTo>
                      <a:pt x="213" y="178"/>
                    </a:lnTo>
                    <a:lnTo>
                      <a:pt x="215" y="190"/>
                    </a:lnTo>
                    <a:lnTo>
                      <a:pt x="219" y="193"/>
                    </a:lnTo>
                    <a:lnTo>
                      <a:pt x="224" y="195"/>
                    </a:lnTo>
                    <a:lnTo>
                      <a:pt x="226" y="195"/>
                    </a:lnTo>
                    <a:lnTo>
                      <a:pt x="227" y="203"/>
                    </a:lnTo>
                    <a:lnTo>
                      <a:pt x="227" y="213"/>
                    </a:lnTo>
                    <a:lnTo>
                      <a:pt x="223" y="215"/>
                    </a:lnTo>
                    <a:lnTo>
                      <a:pt x="220" y="213"/>
                    </a:lnTo>
                    <a:lnTo>
                      <a:pt x="215" y="213"/>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58" name="Freeform 54"/>
              <p:cNvSpPr>
                <a:spLocks/>
              </p:cNvSpPr>
              <p:nvPr/>
            </p:nvSpPr>
            <p:spPr bwMode="auto">
              <a:xfrm>
                <a:off x="800" y="2176"/>
                <a:ext cx="172" cy="167"/>
              </a:xfrm>
              <a:custGeom>
                <a:avLst/>
                <a:gdLst>
                  <a:gd name="T0" fmla="*/ 12058 w 161"/>
                  <a:gd name="T1" fmla="*/ 3567 h 159"/>
                  <a:gd name="T2" fmla="*/ 10776 w 161"/>
                  <a:gd name="T3" fmla="*/ 3999 h 159"/>
                  <a:gd name="T4" fmla="*/ 10113 w 161"/>
                  <a:gd name="T5" fmla="*/ 3844 h 159"/>
                  <a:gd name="T6" fmla="*/ 9419 w 161"/>
                  <a:gd name="T7" fmla="*/ 3807 h 159"/>
                  <a:gd name="T8" fmla="*/ 8476 w 161"/>
                  <a:gd name="T9" fmla="*/ 3645 h 159"/>
                  <a:gd name="T10" fmla="*/ 7249 w 161"/>
                  <a:gd name="T11" fmla="*/ 3438 h 159"/>
                  <a:gd name="T12" fmla="*/ 5701 w 161"/>
                  <a:gd name="T13" fmla="*/ 3008 h 159"/>
                  <a:gd name="T14" fmla="*/ 3504 w 161"/>
                  <a:gd name="T15" fmla="*/ 2360 h 159"/>
                  <a:gd name="T16" fmla="*/ 2580 w 161"/>
                  <a:gd name="T17" fmla="*/ 2241 h 159"/>
                  <a:gd name="T18" fmla="*/ 1563 w 161"/>
                  <a:gd name="T19" fmla="*/ 1935 h 159"/>
                  <a:gd name="T20" fmla="*/ 861 w 161"/>
                  <a:gd name="T21" fmla="*/ 1824 h 159"/>
                  <a:gd name="T22" fmla="*/ 861 w 161"/>
                  <a:gd name="T23" fmla="*/ 1670 h 159"/>
                  <a:gd name="T24" fmla="*/ 2 w 161"/>
                  <a:gd name="T25" fmla="*/ 1567 h 159"/>
                  <a:gd name="T26" fmla="*/ 2 w 161"/>
                  <a:gd name="T27" fmla="*/ 1514 h 159"/>
                  <a:gd name="T28" fmla="*/ 3 w 161"/>
                  <a:gd name="T29" fmla="*/ 1500 h 159"/>
                  <a:gd name="T30" fmla="*/ 7 w 161"/>
                  <a:gd name="T31" fmla="*/ 1360 h 159"/>
                  <a:gd name="T32" fmla="*/ 754 w 161"/>
                  <a:gd name="T33" fmla="*/ 1295 h 159"/>
                  <a:gd name="T34" fmla="*/ 983 w 161"/>
                  <a:gd name="T35" fmla="*/ 1183 h 159"/>
                  <a:gd name="T36" fmla="*/ 1670 w 161"/>
                  <a:gd name="T37" fmla="*/ 1013 h 159"/>
                  <a:gd name="T38" fmla="*/ 2175 w 161"/>
                  <a:gd name="T39" fmla="*/ 874 h 159"/>
                  <a:gd name="T40" fmla="*/ 2483 w 161"/>
                  <a:gd name="T41" fmla="*/ 754 h 159"/>
                  <a:gd name="T42" fmla="*/ 2756 w 161"/>
                  <a:gd name="T43" fmla="*/ 440 h 159"/>
                  <a:gd name="T44" fmla="*/ 3145 w 161"/>
                  <a:gd name="T45" fmla="*/ 362 h 159"/>
                  <a:gd name="T46" fmla="*/ 3743 w 161"/>
                  <a:gd name="T47" fmla="*/ 312 h 159"/>
                  <a:gd name="T48" fmla="*/ 3504 w 161"/>
                  <a:gd name="T49" fmla="*/ 5 h 159"/>
                  <a:gd name="T50" fmla="*/ 3944 w 161"/>
                  <a:gd name="T51" fmla="*/ 1 h 159"/>
                  <a:gd name="T52" fmla="*/ 4282 w 161"/>
                  <a:gd name="T53" fmla="*/ 1 h 159"/>
                  <a:gd name="T54" fmla="*/ 4676 w 161"/>
                  <a:gd name="T55" fmla="*/ 3 h 159"/>
                  <a:gd name="T56" fmla="*/ 5336 w 161"/>
                  <a:gd name="T57" fmla="*/ 0 h 159"/>
                  <a:gd name="T58" fmla="*/ 5552 w 161"/>
                  <a:gd name="T59" fmla="*/ 2 h 159"/>
                  <a:gd name="T60" fmla="*/ 6091 w 161"/>
                  <a:gd name="T61" fmla="*/ 8 h 159"/>
                  <a:gd name="T62" fmla="*/ 6351 w 161"/>
                  <a:gd name="T63" fmla="*/ 419 h 159"/>
                  <a:gd name="T64" fmla="*/ 6507 w 161"/>
                  <a:gd name="T65" fmla="*/ 754 h 159"/>
                  <a:gd name="T66" fmla="*/ 6351 w 161"/>
                  <a:gd name="T67" fmla="*/ 1064 h 159"/>
                  <a:gd name="T68" fmla="*/ 6091 w 161"/>
                  <a:gd name="T69" fmla="*/ 1126 h 159"/>
                  <a:gd name="T70" fmla="*/ 6351 w 161"/>
                  <a:gd name="T71" fmla="*/ 1126 h 159"/>
                  <a:gd name="T72" fmla="*/ 6784 w 161"/>
                  <a:gd name="T73" fmla="*/ 1118 h 159"/>
                  <a:gd name="T74" fmla="*/ 7248 w 161"/>
                  <a:gd name="T75" fmla="*/ 1295 h 159"/>
                  <a:gd name="T76" fmla="*/ 7743 w 161"/>
                  <a:gd name="T77" fmla="*/ 1243 h 159"/>
                  <a:gd name="T78" fmla="*/ 8253 w 161"/>
                  <a:gd name="T79" fmla="*/ 1126 h 159"/>
                  <a:gd name="T80" fmla="*/ 8294 w 161"/>
                  <a:gd name="T81" fmla="*/ 881 h 159"/>
                  <a:gd name="T82" fmla="*/ 8861 w 161"/>
                  <a:gd name="T83" fmla="*/ 874 h 159"/>
                  <a:gd name="T84" fmla="*/ 9315 w 161"/>
                  <a:gd name="T85" fmla="*/ 1064 h 159"/>
                  <a:gd name="T86" fmla="*/ 9442 w 161"/>
                  <a:gd name="T87" fmla="*/ 1243 h 159"/>
                  <a:gd name="T88" fmla="*/ 9674 w 161"/>
                  <a:gd name="T89" fmla="*/ 1360 h 159"/>
                  <a:gd name="T90" fmla="*/ 9674 w 161"/>
                  <a:gd name="T91" fmla="*/ 1670 h 159"/>
                  <a:gd name="T92" fmla="*/ 9059 w 161"/>
                  <a:gd name="T93" fmla="*/ 1846 h 159"/>
                  <a:gd name="T94" fmla="*/ 8861 w 161"/>
                  <a:gd name="T95" fmla="*/ 2003 h 159"/>
                  <a:gd name="T96" fmla="*/ 9059 w 161"/>
                  <a:gd name="T97" fmla="*/ 2012 h 159"/>
                  <a:gd name="T98" fmla="*/ 9419 w 161"/>
                  <a:gd name="T99" fmla="*/ 2032 h 159"/>
                  <a:gd name="T100" fmla="*/ 9674 w 161"/>
                  <a:gd name="T101" fmla="*/ 2037 h 159"/>
                  <a:gd name="T102" fmla="*/ 10751 w 161"/>
                  <a:gd name="T103" fmla="*/ 2139 h 159"/>
                  <a:gd name="T104" fmla="*/ 11041 w 161"/>
                  <a:gd name="T105" fmla="*/ 2321 h 159"/>
                  <a:gd name="T106" fmla="*/ 11287 w 161"/>
                  <a:gd name="T107" fmla="*/ 2360 h 159"/>
                  <a:gd name="T108" fmla="*/ 11486 w 161"/>
                  <a:gd name="T109" fmla="*/ 2561 h 159"/>
                  <a:gd name="T110" fmla="*/ 12058 w 161"/>
                  <a:gd name="T111" fmla="*/ 2651 h 159"/>
                  <a:gd name="T112" fmla="*/ 12299 w 161"/>
                  <a:gd name="T113" fmla="*/ 2727 h 159"/>
                  <a:gd name="T114" fmla="*/ 12606 w 161"/>
                  <a:gd name="T115" fmla="*/ 2924 h 159"/>
                  <a:gd name="T116" fmla="*/ 12606 w 161"/>
                  <a:gd name="T117" fmla="*/ 3129 h 159"/>
                  <a:gd name="T118" fmla="*/ 12297 w 161"/>
                  <a:gd name="T119" fmla="*/ 3129 h 159"/>
                  <a:gd name="T120" fmla="*/ 12271 w 161"/>
                  <a:gd name="T121" fmla="*/ 3329 h 159"/>
                  <a:gd name="T122" fmla="*/ 12058 w 161"/>
                  <a:gd name="T123" fmla="*/ 3396 h 1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1"/>
                  <a:gd name="T187" fmla="*/ 0 h 159"/>
                  <a:gd name="T188" fmla="*/ 161 w 161"/>
                  <a:gd name="T189" fmla="*/ 159 h 15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1" h="159">
                    <a:moveTo>
                      <a:pt x="154" y="137"/>
                    </a:moveTo>
                    <a:lnTo>
                      <a:pt x="153" y="140"/>
                    </a:lnTo>
                    <a:lnTo>
                      <a:pt x="153" y="159"/>
                    </a:lnTo>
                    <a:lnTo>
                      <a:pt x="138" y="156"/>
                    </a:lnTo>
                    <a:lnTo>
                      <a:pt x="134" y="153"/>
                    </a:lnTo>
                    <a:lnTo>
                      <a:pt x="130" y="151"/>
                    </a:lnTo>
                    <a:lnTo>
                      <a:pt x="127" y="151"/>
                    </a:lnTo>
                    <a:lnTo>
                      <a:pt x="119" y="149"/>
                    </a:lnTo>
                    <a:lnTo>
                      <a:pt x="112" y="146"/>
                    </a:lnTo>
                    <a:lnTo>
                      <a:pt x="108" y="143"/>
                    </a:lnTo>
                    <a:lnTo>
                      <a:pt x="102" y="140"/>
                    </a:lnTo>
                    <a:lnTo>
                      <a:pt x="93" y="134"/>
                    </a:lnTo>
                    <a:lnTo>
                      <a:pt x="85" y="130"/>
                    </a:lnTo>
                    <a:lnTo>
                      <a:pt x="73" y="118"/>
                    </a:lnTo>
                    <a:lnTo>
                      <a:pt x="48" y="97"/>
                    </a:lnTo>
                    <a:lnTo>
                      <a:pt x="45" y="93"/>
                    </a:lnTo>
                    <a:lnTo>
                      <a:pt x="40" y="90"/>
                    </a:lnTo>
                    <a:lnTo>
                      <a:pt x="33" y="88"/>
                    </a:lnTo>
                    <a:lnTo>
                      <a:pt x="25" y="85"/>
                    </a:lnTo>
                    <a:lnTo>
                      <a:pt x="20" y="76"/>
                    </a:lnTo>
                    <a:lnTo>
                      <a:pt x="12" y="72"/>
                    </a:lnTo>
                    <a:lnTo>
                      <a:pt x="11" y="71"/>
                    </a:lnTo>
                    <a:lnTo>
                      <a:pt x="11" y="68"/>
                    </a:lnTo>
                    <a:lnTo>
                      <a:pt x="11" y="66"/>
                    </a:lnTo>
                    <a:lnTo>
                      <a:pt x="3" y="63"/>
                    </a:lnTo>
                    <a:lnTo>
                      <a:pt x="2" y="61"/>
                    </a:lnTo>
                    <a:lnTo>
                      <a:pt x="0" y="61"/>
                    </a:lnTo>
                    <a:lnTo>
                      <a:pt x="2" y="60"/>
                    </a:lnTo>
                    <a:lnTo>
                      <a:pt x="2" y="59"/>
                    </a:lnTo>
                    <a:lnTo>
                      <a:pt x="3" y="59"/>
                    </a:lnTo>
                    <a:lnTo>
                      <a:pt x="6" y="57"/>
                    </a:lnTo>
                    <a:lnTo>
                      <a:pt x="7" y="53"/>
                    </a:lnTo>
                    <a:lnTo>
                      <a:pt x="9" y="52"/>
                    </a:lnTo>
                    <a:lnTo>
                      <a:pt x="9" y="50"/>
                    </a:lnTo>
                    <a:lnTo>
                      <a:pt x="10" y="47"/>
                    </a:lnTo>
                    <a:lnTo>
                      <a:pt x="13" y="47"/>
                    </a:lnTo>
                    <a:lnTo>
                      <a:pt x="16" y="45"/>
                    </a:lnTo>
                    <a:lnTo>
                      <a:pt x="21" y="40"/>
                    </a:lnTo>
                    <a:lnTo>
                      <a:pt x="26" y="39"/>
                    </a:lnTo>
                    <a:lnTo>
                      <a:pt x="28" y="34"/>
                    </a:lnTo>
                    <a:lnTo>
                      <a:pt x="32" y="32"/>
                    </a:lnTo>
                    <a:lnTo>
                      <a:pt x="32" y="29"/>
                    </a:lnTo>
                    <a:lnTo>
                      <a:pt x="35" y="29"/>
                    </a:lnTo>
                    <a:lnTo>
                      <a:pt x="35" y="18"/>
                    </a:lnTo>
                    <a:lnTo>
                      <a:pt x="37" y="17"/>
                    </a:lnTo>
                    <a:lnTo>
                      <a:pt x="40" y="14"/>
                    </a:lnTo>
                    <a:lnTo>
                      <a:pt x="48" y="12"/>
                    </a:lnTo>
                    <a:lnTo>
                      <a:pt x="48" y="11"/>
                    </a:lnTo>
                    <a:lnTo>
                      <a:pt x="45" y="9"/>
                    </a:lnTo>
                    <a:lnTo>
                      <a:pt x="45" y="5"/>
                    </a:lnTo>
                    <a:lnTo>
                      <a:pt x="48" y="5"/>
                    </a:lnTo>
                    <a:lnTo>
                      <a:pt x="50" y="1"/>
                    </a:lnTo>
                    <a:lnTo>
                      <a:pt x="53" y="0"/>
                    </a:lnTo>
                    <a:lnTo>
                      <a:pt x="55" y="1"/>
                    </a:lnTo>
                    <a:lnTo>
                      <a:pt x="59" y="3"/>
                    </a:lnTo>
                    <a:lnTo>
                      <a:pt x="60" y="3"/>
                    </a:lnTo>
                    <a:lnTo>
                      <a:pt x="63" y="2"/>
                    </a:lnTo>
                    <a:lnTo>
                      <a:pt x="68" y="0"/>
                    </a:lnTo>
                    <a:lnTo>
                      <a:pt x="70" y="1"/>
                    </a:lnTo>
                    <a:lnTo>
                      <a:pt x="70" y="2"/>
                    </a:lnTo>
                    <a:lnTo>
                      <a:pt x="71" y="4"/>
                    </a:lnTo>
                    <a:lnTo>
                      <a:pt x="78" y="8"/>
                    </a:lnTo>
                    <a:lnTo>
                      <a:pt x="78" y="14"/>
                    </a:lnTo>
                    <a:lnTo>
                      <a:pt x="81" y="17"/>
                    </a:lnTo>
                    <a:lnTo>
                      <a:pt x="81" y="27"/>
                    </a:lnTo>
                    <a:lnTo>
                      <a:pt x="83" y="29"/>
                    </a:lnTo>
                    <a:lnTo>
                      <a:pt x="81" y="39"/>
                    </a:lnTo>
                    <a:lnTo>
                      <a:pt x="81" y="42"/>
                    </a:lnTo>
                    <a:lnTo>
                      <a:pt x="78" y="43"/>
                    </a:lnTo>
                    <a:lnTo>
                      <a:pt x="78" y="45"/>
                    </a:lnTo>
                    <a:lnTo>
                      <a:pt x="78" y="46"/>
                    </a:lnTo>
                    <a:lnTo>
                      <a:pt x="81" y="45"/>
                    </a:lnTo>
                    <a:lnTo>
                      <a:pt x="85" y="43"/>
                    </a:lnTo>
                    <a:lnTo>
                      <a:pt x="86" y="44"/>
                    </a:lnTo>
                    <a:lnTo>
                      <a:pt x="89" y="46"/>
                    </a:lnTo>
                    <a:lnTo>
                      <a:pt x="92" y="50"/>
                    </a:lnTo>
                    <a:lnTo>
                      <a:pt x="96" y="50"/>
                    </a:lnTo>
                    <a:lnTo>
                      <a:pt x="98" y="49"/>
                    </a:lnTo>
                    <a:lnTo>
                      <a:pt x="104" y="49"/>
                    </a:lnTo>
                    <a:lnTo>
                      <a:pt x="104" y="45"/>
                    </a:lnTo>
                    <a:lnTo>
                      <a:pt x="107" y="40"/>
                    </a:lnTo>
                    <a:lnTo>
                      <a:pt x="107" y="35"/>
                    </a:lnTo>
                    <a:lnTo>
                      <a:pt x="109" y="34"/>
                    </a:lnTo>
                    <a:lnTo>
                      <a:pt x="114" y="34"/>
                    </a:lnTo>
                    <a:lnTo>
                      <a:pt x="116" y="39"/>
                    </a:lnTo>
                    <a:lnTo>
                      <a:pt x="118" y="42"/>
                    </a:lnTo>
                    <a:lnTo>
                      <a:pt x="119" y="49"/>
                    </a:lnTo>
                    <a:lnTo>
                      <a:pt x="121" y="49"/>
                    </a:lnTo>
                    <a:lnTo>
                      <a:pt x="123" y="50"/>
                    </a:lnTo>
                    <a:lnTo>
                      <a:pt x="123" y="53"/>
                    </a:lnTo>
                    <a:lnTo>
                      <a:pt x="126" y="54"/>
                    </a:lnTo>
                    <a:lnTo>
                      <a:pt x="123" y="66"/>
                    </a:lnTo>
                    <a:lnTo>
                      <a:pt x="123" y="68"/>
                    </a:lnTo>
                    <a:lnTo>
                      <a:pt x="116" y="73"/>
                    </a:lnTo>
                    <a:lnTo>
                      <a:pt x="112" y="76"/>
                    </a:lnTo>
                    <a:lnTo>
                      <a:pt x="114" y="78"/>
                    </a:lnTo>
                    <a:lnTo>
                      <a:pt x="115" y="78"/>
                    </a:lnTo>
                    <a:lnTo>
                      <a:pt x="116" y="79"/>
                    </a:lnTo>
                    <a:lnTo>
                      <a:pt x="119" y="79"/>
                    </a:lnTo>
                    <a:lnTo>
                      <a:pt x="119" y="80"/>
                    </a:lnTo>
                    <a:lnTo>
                      <a:pt x="121" y="81"/>
                    </a:lnTo>
                    <a:lnTo>
                      <a:pt x="123" y="81"/>
                    </a:lnTo>
                    <a:lnTo>
                      <a:pt x="129" y="85"/>
                    </a:lnTo>
                    <a:lnTo>
                      <a:pt x="136" y="85"/>
                    </a:lnTo>
                    <a:lnTo>
                      <a:pt x="137" y="85"/>
                    </a:lnTo>
                    <a:lnTo>
                      <a:pt x="140" y="90"/>
                    </a:lnTo>
                    <a:lnTo>
                      <a:pt x="140" y="93"/>
                    </a:lnTo>
                    <a:lnTo>
                      <a:pt x="143" y="93"/>
                    </a:lnTo>
                    <a:lnTo>
                      <a:pt x="145" y="97"/>
                    </a:lnTo>
                    <a:lnTo>
                      <a:pt x="145" y="100"/>
                    </a:lnTo>
                    <a:lnTo>
                      <a:pt x="150" y="101"/>
                    </a:lnTo>
                    <a:lnTo>
                      <a:pt x="153" y="104"/>
                    </a:lnTo>
                    <a:lnTo>
                      <a:pt x="157" y="103"/>
                    </a:lnTo>
                    <a:lnTo>
                      <a:pt x="157" y="107"/>
                    </a:lnTo>
                    <a:lnTo>
                      <a:pt x="159" y="110"/>
                    </a:lnTo>
                    <a:lnTo>
                      <a:pt x="161" y="114"/>
                    </a:lnTo>
                    <a:lnTo>
                      <a:pt x="159" y="118"/>
                    </a:lnTo>
                    <a:lnTo>
                      <a:pt x="161" y="123"/>
                    </a:lnTo>
                    <a:lnTo>
                      <a:pt x="156" y="123"/>
                    </a:lnTo>
                    <a:lnTo>
                      <a:pt x="155" y="126"/>
                    </a:lnTo>
                    <a:lnTo>
                      <a:pt x="155" y="131"/>
                    </a:lnTo>
                    <a:lnTo>
                      <a:pt x="154" y="131"/>
                    </a:lnTo>
                    <a:lnTo>
                      <a:pt x="153" y="133"/>
                    </a:lnTo>
                    <a:lnTo>
                      <a:pt x="154" y="137"/>
                    </a:lnTo>
                    <a:close/>
                  </a:path>
                </a:pathLst>
              </a:custGeom>
              <a:solidFill>
                <a:srgbClr val="95373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9" name="Freeform 55"/>
              <p:cNvSpPr>
                <a:spLocks/>
              </p:cNvSpPr>
              <p:nvPr/>
            </p:nvSpPr>
            <p:spPr bwMode="auto">
              <a:xfrm>
                <a:off x="800" y="2176"/>
                <a:ext cx="172" cy="167"/>
              </a:xfrm>
              <a:custGeom>
                <a:avLst/>
                <a:gdLst>
                  <a:gd name="T0" fmla="*/ 12058 w 161"/>
                  <a:gd name="T1" fmla="*/ 3567 h 159"/>
                  <a:gd name="T2" fmla="*/ 10776 w 161"/>
                  <a:gd name="T3" fmla="*/ 3999 h 159"/>
                  <a:gd name="T4" fmla="*/ 10113 w 161"/>
                  <a:gd name="T5" fmla="*/ 3844 h 159"/>
                  <a:gd name="T6" fmla="*/ 9419 w 161"/>
                  <a:gd name="T7" fmla="*/ 3807 h 159"/>
                  <a:gd name="T8" fmla="*/ 8476 w 161"/>
                  <a:gd name="T9" fmla="*/ 3645 h 159"/>
                  <a:gd name="T10" fmla="*/ 7249 w 161"/>
                  <a:gd name="T11" fmla="*/ 3438 h 159"/>
                  <a:gd name="T12" fmla="*/ 5701 w 161"/>
                  <a:gd name="T13" fmla="*/ 3008 h 159"/>
                  <a:gd name="T14" fmla="*/ 3504 w 161"/>
                  <a:gd name="T15" fmla="*/ 2360 h 159"/>
                  <a:gd name="T16" fmla="*/ 2580 w 161"/>
                  <a:gd name="T17" fmla="*/ 2241 h 159"/>
                  <a:gd name="T18" fmla="*/ 1563 w 161"/>
                  <a:gd name="T19" fmla="*/ 1935 h 159"/>
                  <a:gd name="T20" fmla="*/ 861 w 161"/>
                  <a:gd name="T21" fmla="*/ 1824 h 159"/>
                  <a:gd name="T22" fmla="*/ 861 w 161"/>
                  <a:gd name="T23" fmla="*/ 1670 h 159"/>
                  <a:gd name="T24" fmla="*/ 2 w 161"/>
                  <a:gd name="T25" fmla="*/ 1567 h 159"/>
                  <a:gd name="T26" fmla="*/ 2 w 161"/>
                  <a:gd name="T27" fmla="*/ 1514 h 159"/>
                  <a:gd name="T28" fmla="*/ 3 w 161"/>
                  <a:gd name="T29" fmla="*/ 1500 h 159"/>
                  <a:gd name="T30" fmla="*/ 7 w 161"/>
                  <a:gd name="T31" fmla="*/ 1360 h 159"/>
                  <a:gd name="T32" fmla="*/ 754 w 161"/>
                  <a:gd name="T33" fmla="*/ 1295 h 159"/>
                  <a:gd name="T34" fmla="*/ 983 w 161"/>
                  <a:gd name="T35" fmla="*/ 1183 h 159"/>
                  <a:gd name="T36" fmla="*/ 1670 w 161"/>
                  <a:gd name="T37" fmla="*/ 1013 h 159"/>
                  <a:gd name="T38" fmla="*/ 2175 w 161"/>
                  <a:gd name="T39" fmla="*/ 874 h 159"/>
                  <a:gd name="T40" fmla="*/ 2483 w 161"/>
                  <a:gd name="T41" fmla="*/ 754 h 159"/>
                  <a:gd name="T42" fmla="*/ 2756 w 161"/>
                  <a:gd name="T43" fmla="*/ 440 h 159"/>
                  <a:gd name="T44" fmla="*/ 3145 w 161"/>
                  <a:gd name="T45" fmla="*/ 362 h 159"/>
                  <a:gd name="T46" fmla="*/ 3743 w 161"/>
                  <a:gd name="T47" fmla="*/ 312 h 159"/>
                  <a:gd name="T48" fmla="*/ 3504 w 161"/>
                  <a:gd name="T49" fmla="*/ 5 h 159"/>
                  <a:gd name="T50" fmla="*/ 3944 w 161"/>
                  <a:gd name="T51" fmla="*/ 1 h 159"/>
                  <a:gd name="T52" fmla="*/ 4282 w 161"/>
                  <a:gd name="T53" fmla="*/ 1 h 159"/>
                  <a:gd name="T54" fmla="*/ 4676 w 161"/>
                  <a:gd name="T55" fmla="*/ 3 h 159"/>
                  <a:gd name="T56" fmla="*/ 5336 w 161"/>
                  <a:gd name="T57" fmla="*/ 0 h 159"/>
                  <a:gd name="T58" fmla="*/ 5552 w 161"/>
                  <a:gd name="T59" fmla="*/ 2 h 159"/>
                  <a:gd name="T60" fmla="*/ 6091 w 161"/>
                  <a:gd name="T61" fmla="*/ 8 h 159"/>
                  <a:gd name="T62" fmla="*/ 6351 w 161"/>
                  <a:gd name="T63" fmla="*/ 419 h 159"/>
                  <a:gd name="T64" fmla="*/ 6507 w 161"/>
                  <a:gd name="T65" fmla="*/ 754 h 159"/>
                  <a:gd name="T66" fmla="*/ 6351 w 161"/>
                  <a:gd name="T67" fmla="*/ 1064 h 159"/>
                  <a:gd name="T68" fmla="*/ 6091 w 161"/>
                  <a:gd name="T69" fmla="*/ 1126 h 159"/>
                  <a:gd name="T70" fmla="*/ 6351 w 161"/>
                  <a:gd name="T71" fmla="*/ 1126 h 159"/>
                  <a:gd name="T72" fmla="*/ 6784 w 161"/>
                  <a:gd name="T73" fmla="*/ 1118 h 159"/>
                  <a:gd name="T74" fmla="*/ 7248 w 161"/>
                  <a:gd name="T75" fmla="*/ 1295 h 159"/>
                  <a:gd name="T76" fmla="*/ 7743 w 161"/>
                  <a:gd name="T77" fmla="*/ 1243 h 159"/>
                  <a:gd name="T78" fmla="*/ 8253 w 161"/>
                  <a:gd name="T79" fmla="*/ 1126 h 159"/>
                  <a:gd name="T80" fmla="*/ 8294 w 161"/>
                  <a:gd name="T81" fmla="*/ 881 h 159"/>
                  <a:gd name="T82" fmla="*/ 8861 w 161"/>
                  <a:gd name="T83" fmla="*/ 874 h 159"/>
                  <a:gd name="T84" fmla="*/ 9315 w 161"/>
                  <a:gd name="T85" fmla="*/ 1064 h 159"/>
                  <a:gd name="T86" fmla="*/ 9442 w 161"/>
                  <a:gd name="T87" fmla="*/ 1243 h 159"/>
                  <a:gd name="T88" fmla="*/ 9674 w 161"/>
                  <a:gd name="T89" fmla="*/ 1360 h 159"/>
                  <a:gd name="T90" fmla="*/ 9674 w 161"/>
                  <a:gd name="T91" fmla="*/ 1670 h 159"/>
                  <a:gd name="T92" fmla="*/ 9059 w 161"/>
                  <a:gd name="T93" fmla="*/ 1846 h 159"/>
                  <a:gd name="T94" fmla="*/ 8861 w 161"/>
                  <a:gd name="T95" fmla="*/ 2003 h 159"/>
                  <a:gd name="T96" fmla="*/ 9059 w 161"/>
                  <a:gd name="T97" fmla="*/ 2012 h 159"/>
                  <a:gd name="T98" fmla="*/ 9419 w 161"/>
                  <a:gd name="T99" fmla="*/ 2032 h 159"/>
                  <a:gd name="T100" fmla="*/ 9674 w 161"/>
                  <a:gd name="T101" fmla="*/ 2037 h 159"/>
                  <a:gd name="T102" fmla="*/ 10751 w 161"/>
                  <a:gd name="T103" fmla="*/ 2139 h 159"/>
                  <a:gd name="T104" fmla="*/ 11041 w 161"/>
                  <a:gd name="T105" fmla="*/ 2321 h 159"/>
                  <a:gd name="T106" fmla="*/ 11287 w 161"/>
                  <a:gd name="T107" fmla="*/ 2360 h 159"/>
                  <a:gd name="T108" fmla="*/ 11486 w 161"/>
                  <a:gd name="T109" fmla="*/ 2561 h 159"/>
                  <a:gd name="T110" fmla="*/ 12058 w 161"/>
                  <a:gd name="T111" fmla="*/ 2651 h 159"/>
                  <a:gd name="T112" fmla="*/ 12299 w 161"/>
                  <a:gd name="T113" fmla="*/ 2727 h 159"/>
                  <a:gd name="T114" fmla="*/ 12606 w 161"/>
                  <a:gd name="T115" fmla="*/ 2924 h 159"/>
                  <a:gd name="T116" fmla="*/ 12606 w 161"/>
                  <a:gd name="T117" fmla="*/ 3129 h 159"/>
                  <a:gd name="T118" fmla="*/ 12297 w 161"/>
                  <a:gd name="T119" fmla="*/ 3129 h 159"/>
                  <a:gd name="T120" fmla="*/ 12271 w 161"/>
                  <a:gd name="T121" fmla="*/ 3329 h 159"/>
                  <a:gd name="T122" fmla="*/ 12058 w 161"/>
                  <a:gd name="T123" fmla="*/ 3396 h 1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1"/>
                  <a:gd name="T187" fmla="*/ 0 h 159"/>
                  <a:gd name="T188" fmla="*/ 161 w 161"/>
                  <a:gd name="T189" fmla="*/ 159 h 15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1" h="159">
                    <a:moveTo>
                      <a:pt x="154" y="137"/>
                    </a:moveTo>
                    <a:lnTo>
                      <a:pt x="153" y="140"/>
                    </a:lnTo>
                    <a:lnTo>
                      <a:pt x="153" y="159"/>
                    </a:lnTo>
                    <a:lnTo>
                      <a:pt x="138" y="156"/>
                    </a:lnTo>
                    <a:lnTo>
                      <a:pt x="134" y="153"/>
                    </a:lnTo>
                    <a:lnTo>
                      <a:pt x="130" y="151"/>
                    </a:lnTo>
                    <a:lnTo>
                      <a:pt x="127" y="151"/>
                    </a:lnTo>
                    <a:lnTo>
                      <a:pt x="119" y="149"/>
                    </a:lnTo>
                    <a:lnTo>
                      <a:pt x="112" y="146"/>
                    </a:lnTo>
                    <a:lnTo>
                      <a:pt x="108" y="143"/>
                    </a:lnTo>
                    <a:lnTo>
                      <a:pt x="102" y="140"/>
                    </a:lnTo>
                    <a:lnTo>
                      <a:pt x="93" y="134"/>
                    </a:lnTo>
                    <a:lnTo>
                      <a:pt x="85" y="130"/>
                    </a:lnTo>
                    <a:lnTo>
                      <a:pt x="73" y="118"/>
                    </a:lnTo>
                    <a:lnTo>
                      <a:pt x="48" y="97"/>
                    </a:lnTo>
                    <a:lnTo>
                      <a:pt x="45" y="93"/>
                    </a:lnTo>
                    <a:lnTo>
                      <a:pt x="40" y="90"/>
                    </a:lnTo>
                    <a:lnTo>
                      <a:pt x="33" y="88"/>
                    </a:lnTo>
                    <a:lnTo>
                      <a:pt x="25" y="85"/>
                    </a:lnTo>
                    <a:lnTo>
                      <a:pt x="20" y="76"/>
                    </a:lnTo>
                    <a:lnTo>
                      <a:pt x="12" y="72"/>
                    </a:lnTo>
                    <a:lnTo>
                      <a:pt x="11" y="71"/>
                    </a:lnTo>
                    <a:lnTo>
                      <a:pt x="11" y="68"/>
                    </a:lnTo>
                    <a:lnTo>
                      <a:pt x="11" y="66"/>
                    </a:lnTo>
                    <a:lnTo>
                      <a:pt x="3" y="63"/>
                    </a:lnTo>
                    <a:lnTo>
                      <a:pt x="2" y="61"/>
                    </a:lnTo>
                    <a:lnTo>
                      <a:pt x="0" y="61"/>
                    </a:lnTo>
                    <a:lnTo>
                      <a:pt x="2" y="60"/>
                    </a:lnTo>
                    <a:lnTo>
                      <a:pt x="2" y="59"/>
                    </a:lnTo>
                    <a:lnTo>
                      <a:pt x="3" y="59"/>
                    </a:lnTo>
                    <a:lnTo>
                      <a:pt x="6" y="57"/>
                    </a:lnTo>
                    <a:lnTo>
                      <a:pt x="7" y="53"/>
                    </a:lnTo>
                    <a:lnTo>
                      <a:pt x="9" y="52"/>
                    </a:lnTo>
                    <a:lnTo>
                      <a:pt x="9" y="50"/>
                    </a:lnTo>
                    <a:lnTo>
                      <a:pt x="10" y="47"/>
                    </a:lnTo>
                    <a:lnTo>
                      <a:pt x="13" y="47"/>
                    </a:lnTo>
                    <a:lnTo>
                      <a:pt x="16" y="45"/>
                    </a:lnTo>
                    <a:lnTo>
                      <a:pt x="21" y="40"/>
                    </a:lnTo>
                    <a:lnTo>
                      <a:pt x="26" y="39"/>
                    </a:lnTo>
                    <a:lnTo>
                      <a:pt x="28" y="34"/>
                    </a:lnTo>
                    <a:lnTo>
                      <a:pt x="32" y="32"/>
                    </a:lnTo>
                    <a:lnTo>
                      <a:pt x="32" y="29"/>
                    </a:lnTo>
                    <a:lnTo>
                      <a:pt x="35" y="29"/>
                    </a:lnTo>
                    <a:lnTo>
                      <a:pt x="35" y="18"/>
                    </a:lnTo>
                    <a:lnTo>
                      <a:pt x="37" y="17"/>
                    </a:lnTo>
                    <a:lnTo>
                      <a:pt x="40" y="14"/>
                    </a:lnTo>
                    <a:lnTo>
                      <a:pt x="48" y="12"/>
                    </a:lnTo>
                    <a:lnTo>
                      <a:pt x="48" y="11"/>
                    </a:lnTo>
                    <a:lnTo>
                      <a:pt x="45" y="9"/>
                    </a:lnTo>
                    <a:lnTo>
                      <a:pt x="45" y="5"/>
                    </a:lnTo>
                    <a:lnTo>
                      <a:pt x="48" y="5"/>
                    </a:lnTo>
                    <a:lnTo>
                      <a:pt x="50" y="1"/>
                    </a:lnTo>
                    <a:lnTo>
                      <a:pt x="53" y="0"/>
                    </a:lnTo>
                    <a:lnTo>
                      <a:pt x="55" y="1"/>
                    </a:lnTo>
                    <a:lnTo>
                      <a:pt x="59" y="3"/>
                    </a:lnTo>
                    <a:lnTo>
                      <a:pt x="60" y="3"/>
                    </a:lnTo>
                    <a:lnTo>
                      <a:pt x="63" y="2"/>
                    </a:lnTo>
                    <a:lnTo>
                      <a:pt x="68" y="0"/>
                    </a:lnTo>
                    <a:lnTo>
                      <a:pt x="70" y="1"/>
                    </a:lnTo>
                    <a:lnTo>
                      <a:pt x="70" y="2"/>
                    </a:lnTo>
                    <a:lnTo>
                      <a:pt x="71" y="4"/>
                    </a:lnTo>
                    <a:lnTo>
                      <a:pt x="78" y="8"/>
                    </a:lnTo>
                    <a:lnTo>
                      <a:pt x="78" y="14"/>
                    </a:lnTo>
                    <a:lnTo>
                      <a:pt x="81" y="17"/>
                    </a:lnTo>
                    <a:lnTo>
                      <a:pt x="81" y="27"/>
                    </a:lnTo>
                    <a:lnTo>
                      <a:pt x="83" y="29"/>
                    </a:lnTo>
                    <a:lnTo>
                      <a:pt x="81" y="39"/>
                    </a:lnTo>
                    <a:lnTo>
                      <a:pt x="81" y="42"/>
                    </a:lnTo>
                    <a:lnTo>
                      <a:pt x="78" y="43"/>
                    </a:lnTo>
                    <a:lnTo>
                      <a:pt x="78" y="45"/>
                    </a:lnTo>
                    <a:lnTo>
                      <a:pt x="78" y="46"/>
                    </a:lnTo>
                    <a:lnTo>
                      <a:pt x="81" y="45"/>
                    </a:lnTo>
                    <a:lnTo>
                      <a:pt x="85" y="43"/>
                    </a:lnTo>
                    <a:lnTo>
                      <a:pt x="86" y="44"/>
                    </a:lnTo>
                    <a:lnTo>
                      <a:pt x="89" y="46"/>
                    </a:lnTo>
                    <a:lnTo>
                      <a:pt x="92" y="50"/>
                    </a:lnTo>
                    <a:lnTo>
                      <a:pt x="96" y="50"/>
                    </a:lnTo>
                    <a:lnTo>
                      <a:pt x="98" y="49"/>
                    </a:lnTo>
                    <a:lnTo>
                      <a:pt x="104" y="49"/>
                    </a:lnTo>
                    <a:lnTo>
                      <a:pt x="104" y="45"/>
                    </a:lnTo>
                    <a:lnTo>
                      <a:pt x="107" y="40"/>
                    </a:lnTo>
                    <a:lnTo>
                      <a:pt x="107" y="35"/>
                    </a:lnTo>
                    <a:lnTo>
                      <a:pt x="109" y="34"/>
                    </a:lnTo>
                    <a:lnTo>
                      <a:pt x="114" y="34"/>
                    </a:lnTo>
                    <a:lnTo>
                      <a:pt x="116" y="39"/>
                    </a:lnTo>
                    <a:lnTo>
                      <a:pt x="118" y="42"/>
                    </a:lnTo>
                    <a:lnTo>
                      <a:pt x="119" y="49"/>
                    </a:lnTo>
                    <a:lnTo>
                      <a:pt x="121" y="49"/>
                    </a:lnTo>
                    <a:lnTo>
                      <a:pt x="123" y="50"/>
                    </a:lnTo>
                    <a:lnTo>
                      <a:pt x="123" y="53"/>
                    </a:lnTo>
                    <a:lnTo>
                      <a:pt x="126" y="54"/>
                    </a:lnTo>
                    <a:lnTo>
                      <a:pt x="123" y="66"/>
                    </a:lnTo>
                    <a:lnTo>
                      <a:pt x="123" y="68"/>
                    </a:lnTo>
                    <a:lnTo>
                      <a:pt x="116" y="73"/>
                    </a:lnTo>
                    <a:lnTo>
                      <a:pt x="112" y="76"/>
                    </a:lnTo>
                    <a:lnTo>
                      <a:pt x="114" y="78"/>
                    </a:lnTo>
                    <a:lnTo>
                      <a:pt x="115" y="78"/>
                    </a:lnTo>
                    <a:lnTo>
                      <a:pt x="116" y="79"/>
                    </a:lnTo>
                    <a:lnTo>
                      <a:pt x="119" y="79"/>
                    </a:lnTo>
                    <a:lnTo>
                      <a:pt x="119" y="80"/>
                    </a:lnTo>
                    <a:lnTo>
                      <a:pt x="121" y="81"/>
                    </a:lnTo>
                    <a:lnTo>
                      <a:pt x="123" y="81"/>
                    </a:lnTo>
                    <a:lnTo>
                      <a:pt x="129" y="85"/>
                    </a:lnTo>
                    <a:lnTo>
                      <a:pt x="136" y="85"/>
                    </a:lnTo>
                    <a:lnTo>
                      <a:pt x="137" y="85"/>
                    </a:lnTo>
                    <a:lnTo>
                      <a:pt x="140" y="90"/>
                    </a:lnTo>
                    <a:lnTo>
                      <a:pt x="140" y="93"/>
                    </a:lnTo>
                    <a:lnTo>
                      <a:pt x="143" y="93"/>
                    </a:lnTo>
                    <a:lnTo>
                      <a:pt x="145" y="97"/>
                    </a:lnTo>
                    <a:lnTo>
                      <a:pt x="145" y="100"/>
                    </a:lnTo>
                    <a:lnTo>
                      <a:pt x="150" y="101"/>
                    </a:lnTo>
                    <a:lnTo>
                      <a:pt x="153" y="104"/>
                    </a:lnTo>
                    <a:lnTo>
                      <a:pt x="157" y="103"/>
                    </a:lnTo>
                    <a:lnTo>
                      <a:pt x="157" y="107"/>
                    </a:lnTo>
                    <a:lnTo>
                      <a:pt x="159" y="110"/>
                    </a:lnTo>
                    <a:lnTo>
                      <a:pt x="161" y="114"/>
                    </a:lnTo>
                    <a:lnTo>
                      <a:pt x="159" y="118"/>
                    </a:lnTo>
                    <a:lnTo>
                      <a:pt x="161" y="123"/>
                    </a:lnTo>
                    <a:lnTo>
                      <a:pt x="156" y="123"/>
                    </a:lnTo>
                    <a:lnTo>
                      <a:pt x="155" y="126"/>
                    </a:lnTo>
                    <a:lnTo>
                      <a:pt x="155" y="131"/>
                    </a:lnTo>
                    <a:lnTo>
                      <a:pt x="154" y="131"/>
                    </a:lnTo>
                    <a:lnTo>
                      <a:pt x="153" y="133"/>
                    </a:lnTo>
                    <a:lnTo>
                      <a:pt x="154" y="137"/>
                    </a:lnTo>
                    <a:close/>
                  </a:path>
                </a:pathLst>
              </a:custGeom>
              <a:solidFill>
                <a:srgbClr val="9BBB59"/>
              </a:solidFill>
              <a:ln w="7938">
                <a:solidFill>
                  <a:srgbClr val="1C1329"/>
                </a:solidFill>
                <a:miter lim="800000"/>
                <a:headEnd/>
                <a:tailEnd/>
              </a:ln>
              <a:extLst/>
            </p:spPr>
            <p:txBody>
              <a:bodyPr/>
              <a:lstStyle/>
              <a:p>
                <a:endParaRPr lang="en-US"/>
              </a:p>
            </p:txBody>
          </p:sp>
          <p:sp>
            <p:nvSpPr>
              <p:cNvPr id="260" name="Freeform 56"/>
              <p:cNvSpPr>
                <a:spLocks/>
              </p:cNvSpPr>
              <p:nvPr/>
            </p:nvSpPr>
            <p:spPr bwMode="auto">
              <a:xfrm>
                <a:off x="1146" y="2071"/>
                <a:ext cx="183" cy="262"/>
              </a:xfrm>
              <a:custGeom>
                <a:avLst/>
                <a:gdLst>
                  <a:gd name="T0" fmla="*/ 14677 w 171"/>
                  <a:gd name="T1" fmla="*/ 5607 h 249"/>
                  <a:gd name="T2" fmla="*/ 14884 w 171"/>
                  <a:gd name="T3" fmla="*/ 5660 h 249"/>
                  <a:gd name="T4" fmla="*/ 13513 w 171"/>
                  <a:gd name="T5" fmla="*/ 5977 h 249"/>
                  <a:gd name="T6" fmla="*/ 12242 w 171"/>
                  <a:gd name="T7" fmla="*/ 5977 h 249"/>
                  <a:gd name="T8" fmla="*/ 11348 w 171"/>
                  <a:gd name="T9" fmla="*/ 6055 h 249"/>
                  <a:gd name="T10" fmla="*/ 8405 w 171"/>
                  <a:gd name="T11" fmla="*/ 6594 h 249"/>
                  <a:gd name="T12" fmla="*/ 5906 w 171"/>
                  <a:gd name="T13" fmla="*/ 6826 h 249"/>
                  <a:gd name="T14" fmla="*/ 4190 w 171"/>
                  <a:gd name="T15" fmla="*/ 7197 h 249"/>
                  <a:gd name="T16" fmla="*/ 4 w 171"/>
                  <a:gd name="T17" fmla="*/ 6704 h 249"/>
                  <a:gd name="T18" fmla="*/ 1013 w 171"/>
                  <a:gd name="T19" fmla="*/ 6594 h 249"/>
                  <a:gd name="T20" fmla="*/ 1628 w 171"/>
                  <a:gd name="T21" fmla="*/ 6594 h 249"/>
                  <a:gd name="T22" fmla="*/ 1521 w 171"/>
                  <a:gd name="T23" fmla="*/ 6055 h 249"/>
                  <a:gd name="T24" fmla="*/ 885 w 171"/>
                  <a:gd name="T25" fmla="*/ 5977 h 249"/>
                  <a:gd name="T26" fmla="*/ 5 w 171"/>
                  <a:gd name="T27" fmla="*/ 5580 h 249"/>
                  <a:gd name="T28" fmla="*/ 0 w 171"/>
                  <a:gd name="T29" fmla="*/ 5040 h 249"/>
                  <a:gd name="T30" fmla="*/ 4 w 171"/>
                  <a:gd name="T31" fmla="*/ 4552 h 249"/>
                  <a:gd name="T32" fmla="*/ 885 w 171"/>
                  <a:gd name="T33" fmla="*/ 4326 h 249"/>
                  <a:gd name="T34" fmla="*/ 885 w 171"/>
                  <a:gd name="T35" fmla="*/ 3907 h 249"/>
                  <a:gd name="T36" fmla="*/ 1521 w 171"/>
                  <a:gd name="T37" fmla="*/ 3414 h 249"/>
                  <a:gd name="T38" fmla="*/ 1995 w 171"/>
                  <a:gd name="T39" fmla="*/ 3271 h 249"/>
                  <a:gd name="T40" fmla="*/ 2160 w 171"/>
                  <a:gd name="T41" fmla="*/ 3190 h 249"/>
                  <a:gd name="T42" fmla="*/ 2312 w 171"/>
                  <a:gd name="T43" fmla="*/ 2873 h 249"/>
                  <a:gd name="T44" fmla="*/ 1742 w 171"/>
                  <a:gd name="T45" fmla="*/ 2228 h 249"/>
                  <a:gd name="T46" fmla="*/ 1521 w 171"/>
                  <a:gd name="T47" fmla="*/ 2160 h 249"/>
                  <a:gd name="T48" fmla="*/ 1628 w 171"/>
                  <a:gd name="T49" fmla="*/ 1916 h 249"/>
                  <a:gd name="T50" fmla="*/ 1742 w 171"/>
                  <a:gd name="T51" fmla="*/ 1775 h 249"/>
                  <a:gd name="T52" fmla="*/ 1421 w 171"/>
                  <a:gd name="T53" fmla="*/ 1485 h 249"/>
                  <a:gd name="T54" fmla="*/ 1241 w 171"/>
                  <a:gd name="T55" fmla="*/ 1094 h 249"/>
                  <a:gd name="T56" fmla="*/ 1160 w 171"/>
                  <a:gd name="T57" fmla="*/ 848 h 249"/>
                  <a:gd name="T58" fmla="*/ 1013 w 171"/>
                  <a:gd name="T59" fmla="*/ 594 h 249"/>
                  <a:gd name="T60" fmla="*/ 885 w 171"/>
                  <a:gd name="T61" fmla="*/ 321 h 249"/>
                  <a:gd name="T62" fmla="*/ 2160 w 171"/>
                  <a:gd name="T63" fmla="*/ 4 h 249"/>
                  <a:gd name="T64" fmla="*/ 3658 w 171"/>
                  <a:gd name="T65" fmla="*/ 4 h 249"/>
                  <a:gd name="T66" fmla="*/ 6961 w 171"/>
                  <a:gd name="T67" fmla="*/ 8 h 249"/>
                  <a:gd name="T68" fmla="*/ 8257 w 171"/>
                  <a:gd name="T69" fmla="*/ 7 h 249"/>
                  <a:gd name="T70" fmla="*/ 9988 w 171"/>
                  <a:gd name="T71" fmla="*/ 0 h 249"/>
                  <a:gd name="T72" fmla="*/ 10120 w 171"/>
                  <a:gd name="T73" fmla="*/ 2 h 249"/>
                  <a:gd name="T74" fmla="*/ 10753 w 171"/>
                  <a:gd name="T75" fmla="*/ 4 h 249"/>
                  <a:gd name="T76" fmla="*/ 10604 w 171"/>
                  <a:gd name="T77" fmla="*/ 321 h 249"/>
                  <a:gd name="T78" fmla="*/ 10282 w 171"/>
                  <a:gd name="T79" fmla="*/ 510 h 249"/>
                  <a:gd name="T80" fmla="*/ 11191 w 171"/>
                  <a:gd name="T81" fmla="*/ 766 h 249"/>
                  <a:gd name="T82" fmla="*/ 11776 w 171"/>
                  <a:gd name="T83" fmla="*/ 1039 h 249"/>
                  <a:gd name="T84" fmla="*/ 12242 w 171"/>
                  <a:gd name="T85" fmla="*/ 1775 h 249"/>
                  <a:gd name="T86" fmla="*/ 12455 w 171"/>
                  <a:gd name="T87" fmla="*/ 2016 h 249"/>
                  <a:gd name="T88" fmla="*/ 12627 w 171"/>
                  <a:gd name="T89" fmla="*/ 2955 h 249"/>
                  <a:gd name="T90" fmla="*/ 12628 w 171"/>
                  <a:gd name="T91" fmla="*/ 4170 h 249"/>
                  <a:gd name="T92" fmla="*/ 13101 w 171"/>
                  <a:gd name="T93" fmla="*/ 4814 h 249"/>
                  <a:gd name="T94" fmla="*/ 13715 w 171"/>
                  <a:gd name="T95" fmla="*/ 5292 h 24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1"/>
                  <a:gd name="T145" fmla="*/ 0 h 249"/>
                  <a:gd name="T146" fmla="*/ 171 w 171"/>
                  <a:gd name="T147" fmla="*/ 249 h 24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1" h="249">
                    <a:moveTo>
                      <a:pt x="156" y="182"/>
                    </a:moveTo>
                    <a:lnTo>
                      <a:pt x="167" y="195"/>
                    </a:lnTo>
                    <a:lnTo>
                      <a:pt x="171" y="197"/>
                    </a:lnTo>
                    <a:lnTo>
                      <a:pt x="168" y="197"/>
                    </a:lnTo>
                    <a:lnTo>
                      <a:pt x="160" y="208"/>
                    </a:lnTo>
                    <a:lnTo>
                      <a:pt x="154" y="208"/>
                    </a:lnTo>
                    <a:lnTo>
                      <a:pt x="151" y="207"/>
                    </a:lnTo>
                    <a:lnTo>
                      <a:pt x="138" y="208"/>
                    </a:lnTo>
                    <a:lnTo>
                      <a:pt x="132" y="208"/>
                    </a:lnTo>
                    <a:lnTo>
                      <a:pt x="128" y="211"/>
                    </a:lnTo>
                    <a:lnTo>
                      <a:pt x="117" y="217"/>
                    </a:lnTo>
                    <a:lnTo>
                      <a:pt x="96" y="229"/>
                    </a:lnTo>
                    <a:lnTo>
                      <a:pt x="73" y="234"/>
                    </a:lnTo>
                    <a:lnTo>
                      <a:pt x="67" y="236"/>
                    </a:lnTo>
                    <a:lnTo>
                      <a:pt x="62" y="241"/>
                    </a:lnTo>
                    <a:lnTo>
                      <a:pt x="47" y="249"/>
                    </a:lnTo>
                    <a:lnTo>
                      <a:pt x="29" y="241"/>
                    </a:lnTo>
                    <a:lnTo>
                      <a:pt x="4" y="234"/>
                    </a:lnTo>
                    <a:lnTo>
                      <a:pt x="7" y="229"/>
                    </a:lnTo>
                    <a:lnTo>
                      <a:pt x="12" y="229"/>
                    </a:lnTo>
                    <a:lnTo>
                      <a:pt x="15" y="230"/>
                    </a:lnTo>
                    <a:lnTo>
                      <a:pt x="19" y="229"/>
                    </a:lnTo>
                    <a:lnTo>
                      <a:pt x="19" y="218"/>
                    </a:lnTo>
                    <a:lnTo>
                      <a:pt x="18" y="211"/>
                    </a:lnTo>
                    <a:lnTo>
                      <a:pt x="15" y="210"/>
                    </a:lnTo>
                    <a:lnTo>
                      <a:pt x="10" y="208"/>
                    </a:lnTo>
                    <a:lnTo>
                      <a:pt x="7" y="205"/>
                    </a:lnTo>
                    <a:lnTo>
                      <a:pt x="5" y="193"/>
                    </a:lnTo>
                    <a:lnTo>
                      <a:pt x="0" y="180"/>
                    </a:lnTo>
                    <a:lnTo>
                      <a:pt x="0" y="174"/>
                    </a:lnTo>
                    <a:lnTo>
                      <a:pt x="0" y="162"/>
                    </a:lnTo>
                    <a:lnTo>
                      <a:pt x="4" y="157"/>
                    </a:lnTo>
                    <a:lnTo>
                      <a:pt x="7" y="152"/>
                    </a:lnTo>
                    <a:lnTo>
                      <a:pt x="10" y="149"/>
                    </a:lnTo>
                    <a:lnTo>
                      <a:pt x="10" y="141"/>
                    </a:lnTo>
                    <a:lnTo>
                      <a:pt x="10" y="135"/>
                    </a:lnTo>
                    <a:lnTo>
                      <a:pt x="15" y="126"/>
                    </a:lnTo>
                    <a:lnTo>
                      <a:pt x="18" y="119"/>
                    </a:lnTo>
                    <a:lnTo>
                      <a:pt x="20" y="119"/>
                    </a:lnTo>
                    <a:lnTo>
                      <a:pt x="22" y="114"/>
                    </a:lnTo>
                    <a:lnTo>
                      <a:pt x="25" y="114"/>
                    </a:lnTo>
                    <a:lnTo>
                      <a:pt x="25" y="111"/>
                    </a:lnTo>
                    <a:lnTo>
                      <a:pt x="29" y="109"/>
                    </a:lnTo>
                    <a:lnTo>
                      <a:pt x="27" y="99"/>
                    </a:lnTo>
                    <a:lnTo>
                      <a:pt x="22" y="80"/>
                    </a:lnTo>
                    <a:lnTo>
                      <a:pt x="20" y="77"/>
                    </a:lnTo>
                    <a:lnTo>
                      <a:pt x="17" y="77"/>
                    </a:lnTo>
                    <a:lnTo>
                      <a:pt x="18" y="75"/>
                    </a:lnTo>
                    <a:lnTo>
                      <a:pt x="21" y="72"/>
                    </a:lnTo>
                    <a:lnTo>
                      <a:pt x="19" y="67"/>
                    </a:lnTo>
                    <a:lnTo>
                      <a:pt x="20" y="65"/>
                    </a:lnTo>
                    <a:lnTo>
                      <a:pt x="20" y="62"/>
                    </a:lnTo>
                    <a:lnTo>
                      <a:pt x="18" y="56"/>
                    </a:lnTo>
                    <a:lnTo>
                      <a:pt x="17" y="52"/>
                    </a:lnTo>
                    <a:lnTo>
                      <a:pt x="18" y="45"/>
                    </a:lnTo>
                    <a:lnTo>
                      <a:pt x="15" y="39"/>
                    </a:lnTo>
                    <a:lnTo>
                      <a:pt x="17" y="30"/>
                    </a:lnTo>
                    <a:lnTo>
                      <a:pt x="14" y="29"/>
                    </a:lnTo>
                    <a:lnTo>
                      <a:pt x="15" y="24"/>
                    </a:lnTo>
                    <a:lnTo>
                      <a:pt x="12" y="22"/>
                    </a:lnTo>
                    <a:lnTo>
                      <a:pt x="10" y="15"/>
                    </a:lnTo>
                    <a:lnTo>
                      <a:pt x="10" y="10"/>
                    </a:lnTo>
                    <a:lnTo>
                      <a:pt x="14" y="4"/>
                    </a:lnTo>
                    <a:lnTo>
                      <a:pt x="25" y="4"/>
                    </a:lnTo>
                    <a:lnTo>
                      <a:pt x="32" y="4"/>
                    </a:lnTo>
                    <a:lnTo>
                      <a:pt x="41" y="4"/>
                    </a:lnTo>
                    <a:lnTo>
                      <a:pt x="60" y="4"/>
                    </a:lnTo>
                    <a:lnTo>
                      <a:pt x="79" y="8"/>
                    </a:lnTo>
                    <a:lnTo>
                      <a:pt x="90" y="8"/>
                    </a:lnTo>
                    <a:lnTo>
                      <a:pt x="93" y="7"/>
                    </a:lnTo>
                    <a:lnTo>
                      <a:pt x="102" y="1"/>
                    </a:lnTo>
                    <a:lnTo>
                      <a:pt x="113" y="0"/>
                    </a:lnTo>
                    <a:lnTo>
                      <a:pt x="113" y="1"/>
                    </a:lnTo>
                    <a:lnTo>
                      <a:pt x="115" y="2"/>
                    </a:lnTo>
                    <a:lnTo>
                      <a:pt x="122" y="2"/>
                    </a:lnTo>
                    <a:lnTo>
                      <a:pt x="122" y="4"/>
                    </a:lnTo>
                    <a:lnTo>
                      <a:pt x="120" y="7"/>
                    </a:lnTo>
                    <a:lnTo>
                      <a:pt x="120" y="10"/>
                    </a:lnTo>
                    <a:lnTo>
                      <a:pt x="117" y="15"/>
                    </a:lnTo>
                    <a:lnTo>
                      <a:pt x="117" y="19"/>
                    </a:lnTo>
                    <a:lnTo>
                      <a:pt x="123" y="22"/>
                    </a:lnTo>
                    <a:lnTo>
                      <a:pt x="127" y="27"/>
                    </a:lnTo>
                    <a:lnTo>
                      <a:pt x="132" y="33"/>
                    </a:lnTo>
                    <a:lnTo>
                      <a:pt x="134" y="36"/>
                    </a:lnTo>
                    <a:lnTo>
                      <a:pt x="137" y="46"/>
                    </a:lnTo>
                    <a:lnTo>
                      <a:pt x="138" y="62"/>
                    </a:lnTo>
                    <a:lnTo>
                      <a:pt x="140" y="65"/>
                    </a:lnTo>
                    <a:lnTo>
                      <a:pt x="142" y="70"/>
                    </a:lnTo>
                    <a:lnTo>
                      <a:pt x="143" y="78"/>
                    </a:lnTo>
                    <a:lnTo>
                      <a:pt x="144" y="103"/>
                    </a:lnTo>
                    <a:lnTo>
                      <a:pt x="147" y="131"/>
                    </a:lnTo>
                    <a:lnTo>
                      <a:pt x="145" y="145"/>
                    </a:lnTo>
                    <a:lnTo>
                      <a:pt x="147" y="161"/>
                    </a:lnTo>
                    <a:lnTo>
                      <a:pt x="148" y="167"/>
                    </a:lnTo>
                    <a:lnTo>
                      <a:pt x="151" y="176"/>
                    </a:lnTo>
                    <a:lnTo>
                      <a:pt x="156" y="182"/>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1" name="Freeform 57"/>
              <p:cNvSpPr>
                <a:spLocks/>
              </p:cNvSpPr>
              <p:nvPr/>
            </p:nvSpPr>
            <p:spPr bwMode="auto">
              <a:xfrm>
                <a:off x="1146" y="2071"/>
                <a:ext cx="183" cy="262"/>
              </a:xfrm>
              <a:custGeom>
                <a:avLst/>
                <a:gdLst>
                  <a:gd name="T0" fmla="*/ 14677 w 171"/>
                  <a:gd name="T1" fmla="*/ 5607 h 249"/>
                  <a:gd name="T2" fmla="*/ 14884 w 171"/>
                  <a:gd name="T3" fmla="*/ 5660 h 249"/>
                  <a:gd name="T4" fmla="*/ 13513 w 171"/>
                  <a:gd name="T5" fmla="*/ 5977 h 249"/>
                  <a:gd name="T6" fmla="*/ 12242 w 171"/>
                  <a:gd name="T7" fmla="*/ 5977 h 249"/>
                  <a:gd name="T8" fmla="*/ 11348 w 171"/>
                  <a:gd name="T9" fmla="*/ 6055 h 249"/>
                  <a:gd name="T10" fmla="*/ 8405 w 171"/>
                  <a:gd name="T11" fmla="*/ 6594 h 249"/>
                  <a:gd name="T12" fmla="*/ 5906 w 171"/>
                  <a:gd name="T13" fmla="*/ 6826 h 249"/>
                  <a:gd name="T14" fmla="*/ 4190 w 171"/>
                  <a:gd name="T15" fmla="*/ 7197 h 249"/>
                  <a:gd name="T16" fmla="*/ 4 w 171"/>
                  <a:gd name="T17" fmla="*/ 6704 h 249"/>
                  <a:gd name="T18" fmla="*/ 1013 w 171"/>
                  <a:gd name="T19" fmla="*/ 6594 h 249"/>
                  <a:gd name="T20" fmla="*/ 1628 w 171"/>
                  <a:gd name="T21" fmla="*/ 6594 h 249"/>
                  <a:gd name="T22" fmla="*/ 1521 w 171"/>
                  <a:gd name="T23" fmla="*/ 6055 h 249"/>
                  <a:gd name="T24" fmla="*/ 885 w 171"/>
                  <a:gd name="T25" fmla="*/ 5977 h 249"/>
                  <a:gd name="T26" fmla="*/ 5 w 171"/>
                  <a:gd name="T27" fmla="*/ 5580 h 249"/>
                  <a:gd name="T28" fmla="*/ 0 w 171"/>
                  <a:gd name="T29" fmla="*/ 5040 h 249"/>
                  <a:gd name="T30" fmla="*/ 4 w 171"/>
                  <a:gd name="T31" fmla="*/ 4552 h 249"/>
                  <a:gd name="T32" fmla="*/ 885 w 171"/>
                  <a:gd name="T33" fmla="*/ 4326 h 249"/>
                  <a:gd name="T34" fmla="*/ 885 w 171"/>
                  <a:gd name="T35" fmla="*/ 3907 h 249"/>
                  <a:gd name="T36" fmla="*/ 1521 w 171"/>
                  <a:gd name="T37" fmla="*/ 3414 h 249"/>
                  <a:gd name="T38" fmla="*/ 1995 w 171"/>
                  <a:gd name="T39" fmla="*/ 3271 h 249"/>
                  <a:gd name="T40" fmla="*/ 2160 w 171"/>
                  <a:gd name="T41" fmla="*/ 3190 h 249"/>
                  <a:gd name="T42" fmla="*/ 2312 w 171"/>
                  <a:gd name="T43" fmla="*/ 2873 h 249"/>
                  <a:gd name="T44" fmla="*/ 1742 w 171"/>
                  <a:gd name="T45" fmla="*/ 2228 h 249"/>
                  <a:gd name="T46" fmla="*/ 1521 w 171"/>
                  <a:gd name="T47" fmla="*/ 2160 h 249"/>
                  <a:gd name="T48" fmla="*/ 1628 w 171"/>
                  <a:gd name="T49" fmla="*/ 1916 h 249"/>
                  <a:gd name="T50" fmla="*/ 1742 w 171"/>
                  <a:gd name="T51" fmla="*/ 1775 h 249"/>
                  <a:gd name="T52" fmla="*/ 1421 w 171"/>
                  <a:gd name="T53" fmla="*/ 1485 h 249"/>
                  <a:gd name="T54" fmla="*/ 1241 w 171"/>
                  <a:gd name="T55" fmla="*/ 1094 h 249"/>
                  <a:gd name="T56" fmla="*/ 1160 w 171"/>
                  <a:gd name="T57" fmla="*/ 848 h 249"/>
                  <a:gd name="T58" fmla="*/ 1013 w 171"/>
                  <a:gd name="T59" fmla="*/ 594 h 249"/>
                  <a:gd name="T60" fmla="*/ 885 w 171"/>
                  <a:gd name="T61" fmla="*/ 321 h 249"/>
                  <a:gd name="T62" fmla="*/ 2160 w 171"/>
                  <a:gd name="T63" fmla="*/ 4 h 249"/>
                  <a:gd name="T64" fmla="*/ 3658 w 171"/>
                  <a:gd name="T65" fmla="*/ 4 h 249"/>
                  <a:gd name="T66" fmla="*/ 6961 w 171"/>
                  <a:gd name="T67" fmla="*/ 8 h 249"/>
                  <a:gd name="T68" fmla="*/ 8257 w 171"/>
                  <a:gd name="T69" fmla="*/ 7 h 249"/>
                  <a:gd name="T70" fmla="*/ 9988 w 171"/>
                  <a:gd name="T71" fmla="*/ 0 h 249"/>
                  <a:gd name="T72" fmla="*/ 10120 w 171"/>
                  <a:gd name="T73" fmla="*/ 2 h 249"/>
                  <a:gd name="T74" fmla="*/ 10753 w 171"/>
                  <a:gd name="T75" fmla="*/ 4 h 249"/>
                  <a:gd name="T76" fmla="*/ 10604 w 171"/>
                  <a:gd name="T77" fmla="*/ 321 h 249"/>
                  <a:gd name="T78" fmla="*/ 10282 w 171"/>
                  <a:gd name="T79" fmla="*/ 510 h 249"/>
                  <a:gd name="T80" fmla="*/ 11191 w 171"/>
                  <a:gd name="T81" fmla="*/ 766 h 249"/>
                  <a:gd name="T82" fmla="*/ 11776 w 171"/>
                  <a:gd name="T83" fmla="*/ 1039 h 249"/>
                  <a:gd name="T84" fmla="*/ 12242 w 171"/>
                  <a:gd name="T85" fmla="*/ 1775 h 249"/>
                  <a:gd name="T86" fmla="*/ 12455 w 171"/>
                  <a:gd name="T87" fmla="*/ 2016 h 249"/>
                  <a:gd name="T88" fmla="*/ 12627 w 171"/>
                  <a:gd name="T89" fmla="*/ 2955 h 249"/>
                  <a:gd name="T90" fmla="*/ 12628 w 171"/>
                  <a:gd name="T91" fmla="*/ 4170 h 249"/>
                  <a:gd name="T92" fmla="*/ 13101 w 171"/>
                  <a:gd name="T93" fmla="*/ 4814 h 249"/>
                  <a:gd name="T94" fmla="*/ 13715 w 171"/>
                  <a:gd name="T95" fmla="*/ 5292 h 24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1"/>
                  <a:gd name="T145" fmla="*/ 0 h 249"/>
                  <a:gd name="T146" fmla="*/ 171 w 171"/>
                  <a:gd name="T147" fmla="*/ 249 h 24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1" h="249">
                    <a:moveTo>
                      <a:pt x="156" y="182"/>
                    </a:moveTo>
                    <a:lnTo>
                      <a:pt x="167" y="195"/>
                    </a:lnTo>
                    <a:lnTo>
                      <a:pt x="171" y="197"/>
                    </a:lnTo>
                    <a:lnTo>
                      <a:pt x="168" y="197"/>
                    </a:lnTo>
                    <a:lnTo>
                      <a:pt x="160" y="208"/>
                    </a:lnTo>
                    <a:lnTo>
                      <a:pt x="154" y="208"/>
                    </a:lnTo>
                    <a:lnTo>
                      <a:pt x="151" y="207"/>
                    </a:lnTo>
                    <a:lnTo>
                      <a:pt x="138" y="208"/>
                    </a:lnTo>
                    <a:lnTo>
                      <a:pt x="132" y="208"/>
                    </a:lnTo>
                    <a:lnTo>
                      <a:pt x="128" y="211"/>
                    </a:lnTo>
                    <a:lnTo>
                      <a:pt x="117" y="217"/>
                    </a:lnTo>
                    <a:lnTo>
                      <a:pt x="96" y="229"/>
                    </a:lnTo>
                    <a:lnTo>
                      <a:pt x="73" y="234"/>
                    </a:lnTo>
                    <a:lnTo>
                      <a:pt x="67" y="236"/>
                    </a:lnTo>
                    <a:lnTo>
                      <a:pt x="62" y="241"/>
                    </a:lnTo>
                    <a:lnTo>
                      <a:pt x="47" y="249"/>
                    </a:lnTo>
                    <a:lnTo>
                      <a:pt x="29" y="241"/>
                    </a:lnTo>
                    <a:lnTo>
                      <a:pt x="4" y="234"/>
                    </a:lnTo>
                    <a:lnTo>
                      <a:pt x="7" y="229"/>
                    </a:lnTo>
                    <a:lnTo>
                      <a:pt x="12" y="229"/>
                    </a:lnTo>
                    <a:lnTo>
                      <a:pt x="15" y="230"/>
                    </a:lnTo>
                    <a:lnTo>
                      <a:pt x="19" y="229"/>
                    </a:lnTo>
                    <a:lnTo>
                      <a:pt x="19" y="218"/>
                    </a:lnTo>
                    <a:lnTo>
                      <a:pt x="18" y="211"/>
                    </a:lnTo>
                    <a:lnTo>
                      <a:pt x="15" y="210"/>
                    </a:lnTo>
                    <a:lnTo>
                      <a:pt x="10" y="208"/>
                    </a:lnTo>
                    <a:lnTo>
                      <a:pt x="7" y="205"/>
                    </a:lnTo>
                    <a:lnTo>
                      <a:pt x="5" y="193"/>
                    </a:lnTo>
                    <a:lnTo>
                      <a:pt x="0" y="180"/>
                    </a:lnTo>
                    <a:lnTo>
                      <a:pt x="0" y="174"/>
                    </a:lnTo>
                    <a:lnTo>
                      <a:pt x="0" y="162"/>
                    </a:lnTo>
                    <a:lnTo>
                      <a:pt x="4" y="157"/>
                    </a:lnTo>
                    <a:lnTo>
                      <a:pt x="7" y="152"/>
                    </a:lnTo>
                    <a:lnTo>
                      <a:pt x="10" y="149"/>
                    </a:lnTo>
                    <a:lnTo>
                      <a:pt x="10" y="141"/>
                    </a:lnTo>
                    <a:lnTo>
                      <a:pt x="10" y="135"/>
                    </a:lnTo>
                    <a:lnTo>
                      <a:pt x="15" y="126"/>
                    </a:lnTo>
                    <a:lnTo>
                      <a:pt x="18" y="119"/>
                    </a:lnTo>
                    <a:lnTo>
                      <a:pt x="20" y="119"/>
                    </a:lnTo>
                    <a:lnTo>
                      <a:pt x="22" y="114"/>
                    </a:lnTo>
                    <a:lnTo>
                      <a:pt x="25" y="114"/>
                    </a:lnTo>
                    <a:lnTo>
                      <a:pt x="25" y="111"/>
                    </a:lnTo>
                    <a:lnTo>
                      <a:pt x="29" y="109"/>
                    </a:lnTo>
                    <a:lnTo>
                      <a:pt x="27" y="99"/>
                    </a:lnTo>
                    <a:lnTo>
                      <a:pt x="22" y="80"/>
                    </a:lnTo>
                    <a:lnTo>
                      <a:pt x="20" y="77"/>
                    </a:lnTo>
                    <a:lnTo>
                      <a:pt x="17" y="77"/>
                    </a:lnTo>
                    <a:lnTo>
                      <a:pt x="18" y="75"/>
                    </a:lnTo>
                    <a:lnTo>
                      <a:pt x="21" y="72"/>
                    </a:lnTo>
                    <a:lnTo>
                      <a:pt x="19" y="67"/>
                    </a:lnTo>
                    <a:lnTo>
                      <a:pt x="20" y="65"/>
                    </a:lnTo>
                    <a:lnTo>
                      <a:pt x="20" y="62"/>
                    </a:lnTo>
                    <a:lnTo>
                      <a:pt x="18" y="56"/>
                    </a:lnTo>
                    <a:lnTo>
                      <a:pt x="17" y="52"/>
                    </a:lnTo>
                    <a:lnTo>
                      <a:pt x="18" y="45"/>
                    </a:lnTo>
                    <a:lnTo>
                      <a:pt x="15" y="39"/>
                    </a:lnTo>
                    <a:lnTo>
                      <a:pt x="17" y="30"/>
                    </a:lnTo>
                    <a:lnTo>
                      <a:pt x="14" y="29"/>
                    </a:lnTo>
                    <a:lnTo>
                      <a:pt x="15" y="24"/>
                    </a:lnTo>
                    <a:lnTo>
                      <a:pt x="12" y="22"/>
                    </a:lnTo>
                    <a:lnTo>
                      <a:pt x="10" y="15"/>
                    </a:lnTo>
                    <a:lnTo>
                      <a:pt x="10" y="10"/>
                    </a:lnTo>
                    <a:lnTo>
                      <a:pt x="14" y="4"/>
                    </a:lnTo>
                    <a:lnTo>
                      <a:pt x="25" y="4"/>
                    </a:lnTo>
                    <a:lnTo>
                      <a:pt x="32" y="4"/>
                    </a:lnTo>
                    <a:lnTo>
                      <a:pt x="41" y="4"/>
                    </a:lnTo>
                    <a:lnTo>
                      <a:pt x="60" y="4"/>
                    </a:lnTo>
                    <a:lnTo>
                      <a:pt x="79" y="8"/>
                    </a:lnTo>
                    <a:lnTo>
                      <a:pt x="90" y="8"/>
                    </a:lnTo>
                    <a:lnTo>
                      <a:pt x="93" y="7"/>
                    </a:lnTo>
                    <a:lnTo>
                      <a:pt x="102" y="1"/>
                    </a:lnTo>
                    <a:lnTo>
                      <a:pt x="113" y="0"/>
                    </a:lnTo>
                    <a:lnTo>
                      <a:pt x="113" y="1"/>
                    </a:lnTo>
                    <a:lnTo>
                      <a:pt x="115" y="2"/>
                    </a:lnTo>
                    <a:lnTo>
                      <a:pt x="122" y="2"/>
                    </a:lnTo>
                    <a:lnTo>
                      <a:pt x="122" y="4"/>
                    </a:lnTo>
                    <a:lnTo>
                      <a:pt x="120" y="7"/>
                    </a:lnTo>
                    <a:lnTo>
                      <a:pt x="120" y="10"/>
                    </a:lnTo>
                    <a:lnTo>
                      <a:pt x="117" y="15"/>
                    </a:lnTo>
                    <a:lnTo>
                      <a:pt x="117" y="19"/>
                    </a:lnTo>
                    <a:lnTo>
                      <a:pt x="123" y="22"/>
                    </a:lnTo>
                    <a:lnTo>
                      <a:pt x="127" y="27"/>
                    </a:lnTo>
                    <a:lnTo>
                      <a:pt x="132" y="33"/>
                    </a:lnTo>
                    <a:lnTo>
                      <a:pt x="134" y="36"/>
                    </a:lnTo>
                    <a:lnTo>
                      <a:pt x="137" y="46"/>
                    </a:lnTo>
                    <a:lnTo>
                      <a:pt x="138" y="62"/>
                    </a:lnTo>
                    <a:lnTo>
                      <a:pt x="140" y="65"/>
                    </a:lnTo>
                    <a:lnTo>
                      <a:pt x="142" y="70"/>
                    </a:lnTo>
                    <a:lnTo>
                      <a:pt x="143" y="78"/>
                    </a:lnTo>
                    <a:lnTo>
                      <a:pt x="144" y="103"/>
                    </a:lnTo>
                    <a:lnTo>
                      <a:pt x="147" y="131"/>
                    </a:lnTo>
                    <a:lnTo>
                      <a:pt x="145" y="145"/>
                    </a:lnTo>
                    <a:lnTo>
                      <a:pt x="147" y="161"/>
                    </a:lnTo>
                    <a:lnTo>
                      <a:pt x="148" y="167"/>
                    </a:lnTo>
                    <a:lnTo>
                      <a:pt x="151" y="176"/>
                    </a:lnTo>
                    <a:lnTo>
                      <a:pt x="156" y="182"/>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2" name="Freeform 58"/>
              <p:cNvSpPr>
                <a:spLocks/>
              </p:cNvSpPr>
              <p:nvPr/>
            </p:nvSpPr>
            <p:spPr bwMode="auto">
              <a:xfrm>
                <a:off x="1269" y="2071"/>
                <a:ext cx="91" cy="207"/>
              </a:xfrm>
              <a:custGeom>
                <a:avLst/>
                <a:gdLst>
                  <a:gd name="T0" fmla="*/ 7204 w 85"/>
                  <a:gd name="T1" fmla="*/ 4899 h 197"/>
                  <a:gd name="T2" fmla="*/ 7706 w 85"/>
                  <a:gd name="T3" fmla="*/ 4941 h 197"/>
                  <a:gd name="T4" fmla="*/ 6285 w 85"/>
                  <a:gd name="T5" fmla="*/ 5037 h 197"/>
                  <a:gd name="T6" fmla="*/ 5122 w 85"/>
                  <a:gd name="T7" fmla="*/ 5172 h 197"/>
                  <a:gd name="T8" fmla="*/ 4895 w 85"/>
                  <a:gd name="T9" fmla="*/ 5116 h 197"/>
                  <a:gd name="T10" fmla="*/ 3747 w 85"/>
                  <a:gd name="T11" fmla="*/ 4774 h 197"/>
                  <a:gd name="T12" fmla="*/ 3400 w 85"/>
                  <a:gd name="T13" fmla="*/ 4624 h 197"/>
                  <a:gd name="T14" fmla="*/ 3053 w 85"/>
                  <a:gd name="T15" fmla="*/ 4382 h 197"/>
                  <a:gd name="T16" fmla="*/ 2967 w 85"/>
                  <a:gd name="T17" fmla="*/ 4223 h 197"/>
                  <a:gd name="T18" fmla="*/ 2852 w 85"/>
                  <a:gd name="T19" fmla="*/ 3801 h 197"/>
                  <a:gd name="T20" fmla="*/ 2967 w 85"/>
                  <a:gd name="T21" fmla="*/ 3442 h 197"/>
                  <a:gd name="T22" fmla="*/ 2664 w 85"/>
                  <a:gd name="T23" fmla="*/ 2688 h 197"/>
                  <a:gd name="T24" fmla="*/ 2588 w 85"/>
                  <a:gd name="T25" fmla="*/ 2052 h 197"/>
                  <a:gd name="T26" fmla="*/ 2488 w 85"/>
                  <a:gd name="T27" fmla="*/ 1859 h 197"/>
                  <a:gd name="T28" fmla="*/ 2324 w 85"/>
                  <a:gd name="T29" fmla="*/ 1694 h 197"/>
                  <a:gd name="T30" fmla="*/ 2109 w 85"/>
                  <a:gd name="T31" fmla="*/ 1612 h 197"/>
                  <a:gd name="T32" fmla="*/ 2109 w 85"/>
                  <a:gd name="T33" fmla="*/ 1197 h 197"/>
                  <a:gd name="T34" fmla="*/ 1769 w 85"/>
                  <a:gd name="T35" fmla="*/ 935 h 197"/>
                  <a:gd name="T36" fmla="*/ 1543 w 85"/>
                  <a:gd name="T37" fmla="*/ 874 h 197"/>
                  <a:gd name="T38" fmla="*/ 1025 w 85"/>
                  <a:gd name="T39" fmla="*/ 695 h 197"/>
                  <a:gd name="T40" fmla="*/ 894 w 85"/>
                  <a:gd name="T41" fmla="*/ 542 h 197"/>
                  <a:gd name="T42" fmla="*/ 3 w 85"/>
                  <a:gd name="T43" fmla="*/ 467 h 197"/>
                  <a:gd name="T44" fmla="*/ 3 w 85"/>
                  <a:gd name="T45" fmla="*/ 384 h 197"/>
                  <a:gd name="T46" fmla="*/ 6 w 85"/>
                  <a:gd name="T47" fmla="*/ 299 h 197"/>
                  <a:gd name="T48" fmla="*/ 6 w 85"/>
                  <a:gd name="T49" fmla="*/ 7 h 197"/>
                  <a:gd name="T50" fmla="*/ 7 w 85"/>
                  <a:gd name="T51" fmla="*/ 4 h 197"/>
                  <a:gd name="T52" fmla="*/ 7 w 85"/>
                  <a:gd name="T53" fmla="*/ 2 h 197"/>
                  <a:gd name="T54" fmla="*/ 1 w 85"/>
                  <a:gd name="T55" fmla="*/ 2 h 197"/>
                  <a:gd name="T56" fmla="*/ 0 w 85"/>
                  <a:gd name="T57" fmla="*/ 1 h 197"/>
                  <a:gd name="T58" fmla="*/ 0 w 85"/>
                  <a:gd name="T59" fmla="*/ 0 h 197"/>
                  <a:gd name="T60" fmla="*/ 1 w 85"/>
                  <a:gd name="T61" fmla="*/ 0 h 197"/>
                  <a:gd name="T62" fmla="*/ 2109 w 85"/>
                  <a:gd name="T63" fmla="*/ 4 h 197"/>
                  <a:gd name="T64" fmla="*/ 2417 w 85"/>
                  <a:gd name="T65" fmla="*/ 8 h 197"/>
                  <a:gd name="T66" fmla="*/ 2588 w 85"/>
                  <a:gd name="T67" fmla="*/ 7 h 197"/>
                  <a:gd name="T68" fmla="*/ 2664 w 85"/>
                  <a:gd name="T69" fmla="*/ 4 h 197"/>
                  <a:gd name="T70" fmla="*/ 3640 w 85"/>
                  <a:gd name="T71" fmla="*/ 5 h 197"/>
                  <a:gd name="T72" fmla="*/ 3747 w 85"/>
                  <a:gd name="T73" fmla="*/ 4 h 197"/>
                  <a:gd name="T74" fmla="*/ 3640 w 85"/>
                  <a:gd name="T75" fmla="*/ 5 h 197"/>
                  <a:gd name="T76" fmla="*/ 3640 w 85"/>
                  <a:gd name="T77" fmla="*/ 314 h 197"/>
                  <a:gd name="T78" fmla="*/ 3400 w 85"/>
                  <a:gd name="T79" fmla="*/ 384 h 197"/>
                  <a:gd name="T80" fmla="*/ 3269 w 85"/>
                  <a:gd name="T81" fmla="*/ 599 h 197"/>
                  <a:gd name="T82" fmla="*/ 3269 w 85"/>
                  <a:gd name="T83" fmla="*/ 806 h 197"/>
                  <a:gd name="T84" fmla="*/ 3640 w 85"/>
                  <a:gd name="T85" fmla="*/ 847 h 197"/>
                  <a:gd name="T86" fmla="*/ 3989 w 85"/>
                  <a:gd name="T87" fmla="*/ 935 h 197"/>
                  <a:gd name="T88" fmla="*/ 4271 w 85"/>
                  <a:gd name="T89" fmla="*/ 935 h 197"/>
                  <a:gd name="T90" fmla="*/ 4572 w 85"/>
                  <a:gd name="T91" fmla="*/ 935 h 197"/>
                  <a:gd name="T92" fmla="*/ 5268 w 85"/>
                  <a:gd name="T93" fmla="*/ 1258 h 197"/>
                  <a:gd name="T94" fmla="*/ 5871 w 85"/>
                  <a:gd name="T95" fmla="*/ 1612 h 197"/>
                  <a:gd name="T96" fmla="*/ 6285 w 85"/>
                  <a:gd name="T97" fmla="*/ 2027 h 197"/>
                  <a:gd name="T98" fmla="*/ 6431 w 85"/>
                  <a:gd name="T99" fmla="*/ 2156 h 197"/>
                  <a:gd name="T100" fmla="*/ 6594 w 85"/>
                  <a:gd name="T101" fmla="*/ 2280 h 197"/>
                  <a:gd name="T102" fmla="*/ 6723 w 85"/>
                  <a:gd name="T103" fmla="*/ 2434 h 197"/>
                  <a:gd name="T104" fmla="*/ 6920 w 85"/>
                  <a:gd name="T105" fmla="*/ 2628 h 197"/>
                  <a:gd name="T106" fmla="*/ 6920 w 85"/>
                  <a:gd name="T107" fmla="*/ 2967 h 197"/>
                  <a:gd name="T108" fmla="*/ 6920 w 85"/>
                  <a:gd name="T109" fmla="*/ 3916 h 197"/>
                  <a:gd name="T110" fmla="*/ 6723 w 85"/>
                  <a:gd name="T111" fmla="*/ 4342 h 197"/>
                  <a:gd name="T112" fmla="*/ 6723 w 85"/>
                  <a:gd name="T113" fmla="*/ 4531 h 197"/>
                  <a:gd name="T114" fmla="*/ 6920 w 85"/>
                  <a:gd name="T115" fmla="*/ 4761 h 197"/>
                  <a:gd name="T116" fmla="*/ 7204 w 85"/>
                  <a:gd name="T117" fmla="*/ 4899 h 19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5"/>
                  <a:gd name="T178" fmla="*/ 0 h 197"/>
                  <a:gd name="T179" fmla="*/ 85 w 85"/>
                  <a:gd name="T180" fmla="*/ 197 h 19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5" h="197">
                    <a:moveTo>
                      <a:pt x="80" y="187"/>
                    </a:moveTo>
                    <a:lnTo>
                      <a:pt x="85" y="188"/>
                    </a:lnTo>
                    <a:lnTo>
                      <a:pt x="70" y="192"/>
                    </a:lnTo>
                    <a:lnTo>
                      <a:pt x="57" y="197"/>
                    </a:lnTo>
                    <a:lnTo>
                      <a:pt x="54" y="195"/>
                    </a:lnTo>
                    <a:lnTo>
                      <a:pt x="42" y="182"/>
                    </a:lnTo>
                    <a:lnTo>
                      <a:pt x="37" y="176"/>
                    </a:lnTo>
                    <a:lnTo>
                      <a:pt x="34" y="167"/>
                    </a:lnTo>
                    <a:lnTo>
                      <a:pt x="33" y="161"/>
                    </a:lnTo>
                    <a:lnTo>
                      <a:pt x="32" y="145"/>
                    </a:lnTo>
                    <a:lnTo>
                      <a:pt x="33" y="131"/>
                    </a:lnTo>
                    <a:lnTo>
                      <a:pt x="30" y="103"/>
                    </a:lnTo>
                    <a:lnTo>
                      <a:pt x="29" y="78"/>
                    </a:lnTo>
                    <a:lnTo>
                      <a:pt x="28" y="70"/>
                    </a:lnTo>
                    <a:lnTo>
                      <a:pt x="26" y="65"/>
                    </a:lnTo>
                    <a:lnTo>
                      <a:pt x="23" y="62"/>
                    </a:lnTo>
                    <a:lnTo>
                      <a:pt x="23" y="46"/>
                    </a:lnTo>
                    <a:lnTo>
                      <a:pt x="20" y="36"/>
                    </a:lnTo>
                    <a:lnTo>
                      <a:pt x="18" y="33"/>
                    </a:lnTo>
                    <a:lnTo>
                      <a:pt x="12" y="27"/>
                    </a:lnTo>
                    <a:lnTo>
                      <a:pt x="10" y="22"/>
                    </a:lnTo>
                    <a:lnTo>
                      <a:pt x="3" y="19"/>
                    </a:lnTo>
                    <a:lnTo>
                      <a:pt x="3" y="15"/>
                    </a:lnTo>
                    <a:lnTo>
                      <a:pt x="6" y="10"/>
                    </a:lnTo>
                    <a:lnTo>
                      <a:pt x="6" y="7"/>
                    </a:lnTo>
                    <a:lnTo>
                      <a:pt x="7" y="4"/>
                    </a:lnTo>
                    <a:lnTo>
                      <a:pt x="7" y="2"/>
                    </a:lnTo>
                    <a:lnTo>
                      <a:pt x="1" y="2"/>
                    </a:lnTo>
                    <a:lnTo>
                      <a:pt x="0" y="1"/>
                    </a:lnTo>
                    <a:lnTo>
                      <a:pt x="0" y="0"/>
                    </a:lnTo>
                    <a:lnTo>
                      <a:pt x="1" y="0"/>
                    </a:lnTo>
                    <a:lnTo>
                      <a:pt x="23" y="4"/>
                    </a:lnTo>
                    <a:lnTo>
                      <a:pt x="27" y="8"/>
                    </a:lnTo>
                    <a:lnTo>
                      <a:pt x="29" y="7"/>
                    </a:lnTo>
                    <a:lnTo>
                      <a:pt x="30" y="4"/>
                    </a:lnTo>
                    <a:lnTo>
                      <a:pt x="40" y="5"/>
                    </a:lnTo>
                    <a:lnTo>
                      <a:pt x="42" y="4"/>
                    </a:lnTo>
                    <a:lnTo>
                      <a:pt x="40" y="5"/>
                    </a:lnTo>
                    <a:lnTo>
                      <a:pt x="40" y="11"/>
                    </a:lnTo>
                    <a:lnTo>
                      <a:pt x="37" y="15"/>
                    </a:lnTo>
                    <a:lnTo>
                      <a:pt x="36" y="24"/>
                    </a:lnTo>
                    <a:lnTo>
                      <a:pt x="36" y="30"/>
                    </a:lnTo>
                    <a:lnTo>
                      <a:pt x="40" y="32"/>
                    </a:lnTo>
                    <a:lnTo>
                      <a:pt x="44" y="36"/>
                    </a:lnTo>
                    <a:lnTo>
                      <a:pt x="47" y="36"/>
                    </a:lnTo>
                    <a:lnTo>
                      <a:pt x="50" y="36"/>
                    </a:lnTo>
                    <a:lnTo>
                      <a:pt x="59" y="48"/>
                    </a:lnTo>
                    <a:lnTo>
                      <a:pt x="65" y="62"/>
                    </a:lnTo>
                    <a:lnTo>
                      <a:pt x="70" y="77"/>
                    </a:lnTo>
                    <a:lnTo>
                      <a:pt x="71" y="82"/>
                    </a:lnTo>
                    <a:lnTo>
                      <a:pt x="73" y="87"/>
                    </a:lnTo>
                    <a:lnTo>
                      <a:pt x="74" y="93"/>
                    </a:lnTo>
                    <a:lnTo>
                      <a:pt x="77" y="100"/>
                    </a:lnTo>
                    <a:lnTo>
                      <a:pt x="77" y="113"/>
                    </a:lnTo>
                    <a:lnTo>
                      <a:pt x="77" y="149"/>
                    </a:lnTo>
                    <a:lnTo>
                      <a:pt x="74" y="166"/>
                    </a:lnTo>
                    <a:lnTo>
                      <a:pt x="74" y="172"/>
                    </a:lnTo>
                    <a:lnTo>
                      <a:pt x="77" y="181"/>
                    </a:lnTo>
                    <a:lnTo>
                      <a:pt x="80" y="1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3" name="Freeform 59"/>
              <p:cNvSpPr>
                <a:spLocks/>
              </p:cNvSpPr>
              <p:nvPr/>
            </p:nvSpPr>
            <p:spPr bwMode="auto">
              <a:xfrm>
                <a:off x="1269" y="2071"/>
                <a:ext cx="91" cy="207"/>
              </a:xfrm>
              <a:custGeom>
                <a:avLst/>
                <a:gdLst>
                  <a:gd name="T0" fmla="*/ 7204 w 85"/>
                  <a:gd name="T1" fmla="*/ 4899 h 197"/>
                  <a:gd name="T2" fmla="*/ 7706 w 85"/>
                  <a:gd name="T3" fmla="*/ 4941 h 197"/>
                  <a:gd name="T4" fmla="*/ 6285 w 85"/>
                  <a:gd name="T5" fmla="*/ 5037 h 197"/>
                  <a:gd name="T6" fmla="*/ 5122 w 85"/>
                  <a:gd name="T7" fmla="*/ 5172 h 197"/>
                  <a:gd name="T8" fmla="*/ 4895 w 85"/>
                  <a:gd name="T9" fmla="*/ 5116 h 197"/>
                  <a:gd name="T10" fmla="*/ 3747 w 85"/>
                  <a:gd name="T11" fmla="*/ 4774 h 197"/>
                  <a:gd name="T12" fmla="*/ 3400 w 85"/>
                  <a:gd name="T13" fmla="*/ 4624 h 197"/>
                  <a:gd name="T14" fmla="*/ 3053 w 85"/>
                  <a:gd name="T15" fmla="*/ 4382 h 197"/>
                  <a:gd name="T16" fmla="*/ 2967 w 85"/>
                  <a:gd name="T17" fmla="*/ 4223 h 197"/>
                  <a:gd name="T18" fmla="*/ 2852 w 85"/>
                  <a:gd name="T19" fmla="*/ 3801 h 197"/>
                  <a:gd name="T20" fmla="*/ 2967 w 85"/>
                  <a:gd name="T21" fmla="*/ 3442 h 197"/>
                  <a:gd name="T22" fmla="*/ 2664 w 85"/>
                  <a:gd name="T23" fmla="*/ 2688 h 197"/>
                  <a:gd name="T24" fmla="*/ 2588 w 85"/>
                  <a:gd name="T25" fmla="*/ 2052 h 197"/>
                  <a:gd name="T26" fmla="*/ 2488 w 85"/>
                  <a:gd name="T27" fmla="*/ 1859 h 197"/>
                  <a:gd name="T28" fmla="*/ 2324 w 85"/>
                  <a:gd name="T29" fmla="*/ 1694 h 197"/>
                  <a:gd name="T30" fmla="*/ 2109 w 85"/>
                  <a:gd name="T31" fmla="*/ 1612 h 197"/>
                  <a:gd name="T32" fmla="*/ 2109 w 85"/>
                  <a:gd name="T33" fmla="*/ 1197 h 197"/>
                  <a:gd name="T34" fmla="*/ 1769 w 85"/>
                  <a:gd name="T35" fmla="*/ 935 h 197"/>
                  <a:gd name="T36" fmla="*/ 1543 w 85"/>
                  <a:gd name="T37" fmla="*/ 874 h 197"/>
                  <a:gd name="T38" fmla="*/ 1025 w 85"/>
                  <a:gd name="T39" fmla="*/ 695 h 197"/>
                  <a:gd name="T40" fmla="*/ 894 w 85"/>
                  <a:gd name="T41" fmla="*/ 542 h 197"/>
                  <a:gd name="T42" fmla="*/ 3 w 85"/>
                  <a:gd name="T43" fmla="*/ 467 h 197"/>
                  <a:gd name="T44" fmla="*/ 3 w 85"/>
                  <a:gd name="T45" fmla="*/ 384 h 197"/>
                  <a:gd name="T46" fmla="*/ 6 w 85"/>
                  <a:gd name="T47" fmla="*/ 299 h 197"/>
                  <a:gd name="T48" fmla="*/ 6 w 85"/>
                  <a:gd name="T49" fmla="*/ 7 h 197"/>
                  <a:gd name="T50" fmla="*/ 7 w 85"/>
                  <a:gd name="T51" fmla="*/ 4 h 197"/>
                  <a:gd name="T52" fmla="*/ 7 w 85"/>
                  <a:gd name="T53" fmla="*/ 2 h 197"/>
                  <a:gd name="T54" fmla="*/ 1 w 85"/>
                  <a:gd name="T55" fmla="*/ 2 h 197"/>
                  <a:gd name="T56" fmla="*/ 0 w 85"/>
                  <a:gd name="T57" fmla="*/ 1 h 197"/>
                  <a:gd name="T58" fmla="*/ 0 w 85"/>
                  <a:gd name="T59" fmla="*/ 0 h 197"/>
                  <a:gd name="T60" fmla="*/ 1 w 85"/>
                  <a:gd name="T61" fmla="*/ 0 h 197"/>
                  <a:gd name="T62" fmla="*/ 2109 w 85"/>
                  <a:gd name="T63" fmla="*/ 4 h 197"/>
                  <a:gd name="T64" fmla="*/ 2417 w 85"/>
                  <a:gd name="T65" fmla="*/ 8 h 197"/>
                  <a:gd name="T66" fmla="*/ 2588 w 85"/>
                  <a:gd name="T67" fmla="*/ 7 h 197"/>
                  <a:gd name="T68" fmla="*/ 2664 w 85"/>
                  <a:gd name="T69" fmla="*/ 4 h 197"/>
                  <a:gd name="T70" fmla="*/ 3640 w 85"/>
                  <a:gd name="T71" fmla="*/ 5 h 197"/>
                  <a:gd name="T72" fmla="*/ 3747 w 85"/>
                  <a:gd name="T73" fmla="*/ 4 h 197"/>
                  <a:gd name="T74" fmla="*/ 3640 w 85"/>
                  <a:gd name="T75" fmla="*/ 5 h 197"/>
                  <a:gd name="T76" fmla="*/ 3640 w 85"/>
                  <a:gd name="T77" fmla="*/ 314 h 197"/>
                  <a:gd name="T78" fmla="*/ 3400 w 85"/>
                  <a:gd name="T79" fmla="*/ 384 h 197"/>
                  <a:gd name="T80" fmla="*/ 3269 w 85"/>
                  <a:gd name="T81" fmla="*/ 599 h 197"/>
                  <a:gd name="T82" fmla="*/ 3269 w 85"/>
                  <a:gd name="T83" fmla="*/ 806 h 197"/>
                  <a:gd name="T84" fmla="*/ 3640 w 85"/>
                  <a:gd name="T85" fmla="*/ 847 h 197"/>
                  <a:gd name="T86" fmla="*/ 3989 w 85"/>
                  <a:gd name="T87" fmla="*/ 935 h 197"/>
                  <a:gd name="T88" fmla="*/ 4271 w 85"/>
                  <a:gd name="T89" fmla="*/ 935 h 197"/>
                  <a:gd name="T90" fmla="*/ 4572 w 85"/>
                  <a:gd name="T91" fmla="*/ 935 h 197"/>
                  <a:gd name="T92" fmla="*/ 5268 w 85"/>
                  <a:gd name="T93" fmla="*/ 1258 h 197"/>
                  <a:gd name="T94" fmla="*/ 5871 w 85"/>
                  <a:gd name="T95" fmla="*/ 1612 h 197"/>
                  <a:gd name="T96" fmla="*/ 6285 w 85"/>
                  <a:gd name="T97" fmla="*/ 2027 h 197"/>
                  <a:gd name="T98" fmla="*/ 6431 w 85"/>
                  <a:gd name="T99" fmla="*/ 2156 h 197"/>
                  <a:gd name="T100" fmla="*/ 6594 w 85"/>
                  <a:gd name="T101" fmla="*/ 2280 h 197"/>
                  <a:gd name="T102" fmla="*/ 6723 w 85"/>
                  <a:gd name="T103" fmla="*/ 2434 h 197"/>
                  <a:gd name="T104" fmla="*/ 6920 w 85"/>
                  <a:gd name="T105" fmla="*/ 2628 h 197"/>
                  <a:gd name="T106" fmla="*/ 6920 w 85"/>
                  <a:gd name="T107" fmla="*/ 2967 h 197"/>
                  <a:gd name="T108" fmla="*/ 6920 w 85"/>
                  <a:gd name="T109" fmla="*/ 3916 h 197"/>
                  <a:gd name="T110" fmla="*/ 6723 w 85"/>
                  <a:gd name="T111" fmla="*/ 4342 h 197"/>
                  <a:gd name="T112" fmla="*/ 6723 w 85"/>
                  <a:gd name="T113" fmla="*/ 4531 h 197"/>
                  <a:gd name="T114" fmla="*/ 6920 w 85"/>
                  <a:gd name="T115" fmla="*/ 4761 h 197"/>
                  <a:gd name="T116" fmla="*/ 7204 w 85"/>
                  <a:gd name="T117" fmla="*/ 4899 h 19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5"/>
                  <a:gd name="T178" fmla="*/ 0 h 197"/>
                  <a:gd name="T179" fmla="*/ 85 w 85"/>
                  <a:gd name="T180" fmla="*/ 197 h 19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5" h="197">
                    <a:moveTo>
                      <a:pt x="80" y="187"/>
                    </a:moveTo>
                    <a:lnTo>
                      <a:pt x="85" y="188"/>
                    </a:lnTo>
                    <a:lnTo>
                      <a:pt x="70" y="192"/>
                    </a:lnTo>
                    <a:lnTo>
                      <a:pt x="57" y="197"/>
                    </a:lnTo>
                    <a:lnTo>
                      <a:pt x="54" y="195"/>
                    </a:lnTo>
                    <a:lnTo>
                      <a:pt x="42" y="182"/>
                    </a:lnTo>
                    <a:lnTo>
                      <a:pt x="37" y="176"/>
                    </a:lnTo>
                    <a:lnTo>
                      <a:pt x="34" y="167"/>
                    </a:lnTo>
                    <a:lnTo>
                      <a:pt x="33" y="161"/>
                    </a:lnTo>
                    <a:lnTo>
                      <a:pt x="32" y="145"/>
                    </a:lnTo>
                    <a:lnTo>
                      <a:pt x="33" y="131"/>
                    </a:lnTo>
                    <a:lnTo>
                      <a:pt x="30" y="103"/>
                    </a:lnTo>
                    <a:lnTo>
                      <a:pt x="29" y="78"/>
                    </a:lnTo>
                    <a:lnTo>
                      <a:pt x="28" y="70"/>
                    </a:lnTo>
                    <a:lnTo>
                      <a:pt x="26" y="65"/>
                    </a:lnTo>
                    <a:lnTo>
                      <a:pt x="23" y="62"/>
                    </a:lnTo>
                    <a:lnTo>
                      <a:pt x="23" y="46"/>
                    </a:lnTo>
                    <a:lnTo>
                      <a:pt x="20" y="36"/>
                    </a:lnTo>
                    <a:lnTo>
                      <a:pt x="18" y="33"/>
                    </a:lnTo>
                    <a:lnTo>
                      <a:pt x="12" y="27"/>
                    </a:lnTo>
                    <a:lnTo>
                      <a:pt x="10" y="22"/>
                    </a:lnTo>
                    <a:lnTo>
                      <a:pt x="3" y="19"/>
                    </a:lnTo>
                    <a:lnTo>
                      <a:pt x="3" y="15"/>
                    </a:lnTo>
                    <a:lnTo>
                      <a:pt x="6" y="10"/>
                    </a:lnTo>
                    <a:lnTo>
                      <a:pt x="6" y="7"/>
                    </a:lnTo>
                    <a:lnTo>
                      <a:pt x="7" y="4"/>
                    </a:lnTo>
                    <a:lnTo>
                      <a:pt x="7" y="2"/>
                    </a:lnTo>
                    <a:lnTo>
                      <a:pt x="1" y="2"/>
                    </a:lnTo>
                    <a:lnTo>
                      <a:pt x="0" y="1"/>
                    </a:lnTo>
                    <a:lnTo>
                      <a:pt x="0" y="0"/>
                    </a:lnTo>
                    <a:lnTo>
                      <a:pt x="1" y="0"/>
                    </a:lnTo>
                    <a:lnTo>
                      <a:pt x="23" y="4"/>
                    </a:lnTo>
                    <a:lnTo>
                      <a:pt x="27" y="8"/>
                    </a:lnTo>
                    <a:lnTo>
                      <a:pt x="29" y="7"/>
                    </a:lnTo>
                    <a:lnTo>
                      <a:pt x="30" y="4"/>
                    </a:lnTo>
                    <a:lnTo>
                      <a:pt x="40" y="5"/>
                    </a:lnTo>
                    <a:lnTo>
                      <a:pt x="42" y="4"/>
                    </a:lnTo>
                    <a:lnTo>
                      <a:pt x="40" y="5"/>
                    </a:lnTo>
                    <a:lnTo>
                      <a:pt x="40" y="11"/>
                    </a:lnTo>
                    <a:lnTo>
                      <a:pt x="37" y="15"/>
                    </a:lnTo>
                    <a:lnTo>
                      <a:pt x="36" y="24"/>
                    </a:lnTo>
                    <a:lnTo>
                      <a:pt x="36" y="30"/>
                    </a:lnTo>
                    <a:lnTo>
                      <a:pt x="40" y="32"/>
                    </a:lnTo>
                    <a:lnTo>
                      <a:pt x="44" y="36"/>
                    </a:lnTo>
                    <a:lnTo>
                      <a:pt x="47" y="36"/>
                    </a:lnTo>
                    <a:lnTo>
                      <a:pt x="50" y="36"/>
                    </a:lnTo>
                    <a:lnTo>
                      <a:pt x="59" y="48"/>
                    </a:lnTo>
                    <a:lnTo>
                      <a:pt x="65" y="62"/>
                    </a:lnTo>
                    <a:lnTo>
                      <a:pt x="70" y="77"/>
                    </a:lnTo>
                    <a:lnTo>
                      <a:pt x="71" y="82"/>
                    </a:lnTo>
                    <a:lnTo>
                      <a:pt x="73" y="87"/>
                    </a:lnTo>
                    <a:lnTo>
                      <a:pt x="74" y="93"/>
                    </a:lnTo>
                    <a:lnTo>
                      <a:pt x="77" y="100"/>
                    </a:lnTo>
                    <a:lnTo>
                      <a:pt x="77" y="113"/>
                    </a:lnTo>
                    <a:lnTo>
                      <a:pt x="77" y="149"/>
                    </a:lnTo>
                    <a:lnTo>
                      <a:pt x="74" y="166"/>
                    </a:lnTo>
                    <a:lnTo>
                      <a:pt x="74" y="172"/>
                    </a:lnTo>
                    <a:lnTo>
                      <a:pt x="77" y="181"/>
                    </a:lnTo>
                    <a:lnTo>
                      <a:pt x="80" y="187"/>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4" name="Freeform 60"/>
              <p:cNvSpPr>
                <a:spLocks/>
              </p:cNvSpPr>
              <p:nvPr/>
            </p:nvSpPr>
            <p:spPr bwMode="auto">
              <a:xfrm>
                <a:off x="1390" y="1962"/>
                <a:ext cx="483" cy="389"/>
              </a:xfrm>
              <a:custGeom>
                <a:avLst/>
                <a:gdLst>
                  <a:gd name="T0" fmla="*/ 17479 w 452"/>
                  <a:gd name="T1" fmla="*/ 9565 h 370"/>
                  <a:gd name="T2" fmla="*/ 16694 w 452"/>
                  <a:gd name="T3" fmla="*/ 9565 h 370"/>
                  <a:gd name="T4" fmla="*/ 14878 w 452"/>
                  <a:gd name="T5" fmla="*/ 9761 h 370"/>
                  <a:gd name="T6" fmla="*/ 13190 w 452"/>
                  <a:gd name="T7" fmla="*/ 9723 h 370"/>
                  <a:gd name="T8" fmla="*/ 12526 w 452"/>
                  <a:gd name="T9" fmla="*/ 9959 h 370"/>
                  <a:gd name="T10" fmla="*/ 11741 w 452"/>
                  <a:gd name="T11" fmla="*/ 9965 h 370"/>
                  <a:gd name="T12" fmla="*/ 10678 w 452"/>
                  <a:gd name="T13" fmla="*/ 9959 h 370"/>
                  <a:gd name="T14" fmla="*/ 9352 w 452"/>
                  <a:gd name="T15" fmla="*/ 9925 h 370"/>
                  <a:gd name="T16" fmla="*/ 8316 w 452"/>
                  <a:gd name="T17" fmla="*/ 9098 h 370"/>
                  <a:gd name="T18" fmla="*/ 8316 w 452"/>
                  <a:gd name="T19" fmla="*/ 8831 h 370"/>
                  <a:gd name="T20" fmla="*/ 7293 w 452"/>
                  <a:gd name="T21" fmla="*/ 8575 h 370"/>
                  <a:gd name="T22" fmla="*/ 6825 w 452"/>
                  <a:gd name="T23" fmla="*/ 8334 h 370"/>
                  <a:gd name="T24" fmla="*/ 4817 w 452"/>
                  <a:gd name="T25" fmla="*/ 7836 h 370"/>
                  <a:gd name="T26" fmla="*/ 0 w 452"/>
                  <a:gd name="T27" fmla="*/ 7827 h 370"/>
                  <a:gd name="T28" fmla="*/ 3 w 452"/>
                  <a:gd name="T29" fmla="*/ 6494 h 370"/>
                  <a:gd name="T30" fmla="*/ 7 w 452"/>
                  <a:gd name="T31" fmla="*/ 5353 h 370"/>
                  <a:gd name="T32" fmla="*/ 1297 w 452"/>
                  <a:gd name="T33" fmla="*/ 4472 h 370"/>
                  <a:gd name="T34" fmla="*/ 2652 w 452"/>
                  <a:gd name="T35" fmla="*/ 3963 h 370"/>
                  <a:gd name="T36" fmla="*/ 2878 w 452"/>
                  <a:gd name="T37" fmla="*/ 3848 h 370"/>
                  <a:gd name="T38" fmla="*/ 2693 w 452"/>
                  <a:gd name="T39" fmla="*/ 3570 h 370"/>
                  <a:gd name="T40" fmla="*/ 3236 w 452"/>
                  <a:gd name="T41" fmla="*/ 3514 h 370"/>
                  <a:gd name="T42" fmla="*/ 3028 w 452"/>
                  <a:gd name="T43" fmla="*/ 2791 h 370"/>
                  <a:gd name="T44" fmla="*/ 2358 w 452"/>
                  <a:gd name="T45" fmla="*/ 2332 h 370"/>
                  <a:gd name="T46" fmla="*/ 2652 w 452"/>
                  <a:gd name="T47" fmla="*/ 1568 h 370"/>
                  <a:gd name="T48" fmla="*/ 3075 w 452"/>
                  <a:gd name="T49" fmla="*/ 1228 h 370"/>
                  <a:gd name="T50" fmla="*/ 4055 w 452"/>
                  <a:gd name="T51" fmla="*/ 823 h 370"/>
                  <a:gd name="T52" fmla="*/ 5287 w 452"/>
                  <a:gd name="T53" fmla="*/ 6 h 370"/>
                  <a:gd name="T54" fmla="*/ 7787 w 452"/>
                  <a:gd name="T55" fmla="*/ 3 h 370"/>
                  <a:gd name="T56" fmla="*/ 11022 w 452"/>
                  <a:gd name="T57" fmla="*/ 370 h 370"/>
                  <a:gd name="T58" fmla="*/ 13029 w 452"/>
                  <a:gd name="T59" fmla="*/ 903 h 370"/>
                  <a:gd name="T60" fmla="*/ 14878 w 452"/>
                  <a:gd name="T61" fmla="*/ 499 h 370"/>
                  <a:gd name="T62" fmla="*/ 16988 w 452"/>
                  <a:gd name="T63" fmla="*/ 641 h 370"/>
                  <a:gd name="T64" fmla="*/ 20298 w 452"/>
                  <a:gd name="T65" fmla="*/ 1103 h 370"/>
                  <a:gd name="T66" fmla="*/ 22755 w 452"/>
                  <a:gd name="T67" fmla="*/ 552 h 370"/>
                  <a:gd name="T68" fmla="*/ 25721 w 452"/>
                  <a:gd name="T69" fmla="*/ 499 h 370"/>
                  <a:gd name="T70" fmla="*/ 27809 w 452"/>
                  <a:gd name="T71" fmla="*/ 430 h 370"/>
                  <a:gd name="T72" fmla="*/ 29219 w 452"/>
                  <a:gd name="T73" fmla="*/ 641 h 370"/>
                  <a:gd name="T74" fmla="*/ 30568 w 452"/>
                  <a:gd name="T75" fmla="*/ 389 h 370"/>
                  <a:gd name="T76" fmla="*/ 31337 w 452"/>
                  <a:gd name="T77" fmla="*/ 303 h 370"/>
                  <a:gd name="T78" fmla="*/ 32147 w 452"/>
                  <a:gd name="T79" fmla="*/ 3 h 370"/>
                  <a:gd name="T80" fmla="*/ 32664 w 452"/>
                  <a:gd name="T81" fmla="*/ 370 h 370"/>
                  <a:gd name="T82" fmla="*/ 33879 w 452"/>
                  <a:gd name="T83" fmla="*/ 823 h 370"/>
                  <a:gd name="T84" fmla="*/ 35032 w 452"/>
                  <a:gd name="T85" fmla="*/ 1418 h 370"/>
                  <a:gd name="T86" fmla="*/ 35836 w 452"/>
                  <a:gd name="T87" fmla="*/ 1563 h 370"/>
                  <a:gd name="T88" fmla="*/ 35942 w 452"/>
                  <a:gd name="T89" fmla="*/ 2227 h 370"/>
                  <a:gd name="T90" fmla="*/ 33879 w 452"/>
                  <a:gd name="T91" fmla="*/ 2603 h 370"/>
                  <a:gd name="T92" fmla="*/ 32863 w 452"/>
                  <a:gd name="T93" fmla="*/ 2995 h 370"/>
                  <a:gd name="T94" fmla="*/ 31754 w 452"/>
                  <a:gd name="T95" fmla="*/ 3884 h 370"/>
                  <a:gd name="T96" fmla="*/ 31246 w 452"/>
                  <a:gd name="T97" fmla="*/ 4843 h 370"/>
                  <a:gd name="T98" fmla="*/ 30855 w 452"/>
                  <a:gd name="T99" fmla="*/ 5250 h 370"/>
                  <a:gd name="T100" fmla="*/ 29219 w 452"/>
                  <a:gd name="T101" fmla="*/ 5917 h 370"/>
                  <a:gd name="T102" fmla="*/ 28042 w 452"/>
                  <a:gd name="T103" fmla="*/ 6743 h 370"/>
                  <a:gd name="T104" fmla="*/ 26774 w 452"/>
                  <a:gd name="T105" fmla="*/ 7691 h 370"/>
                  <a:gd name="T106" fmla="*/ 25056 w 452"/>
                  <a:gd name="T107" fmla="*/ 7547 h 370"/>
                  <a:gd name="T108" fmla="*/ 24768 w 452"/>
                  <a:gd name="T109" fmla="*/ 7445 h 370"/>
                  <a:gd name="T110" fmla="*/ 21943 w 452"/>
                  <a:gd name="T111" fmla="*/ 7332 h 370"/>
                  <a:gd name="T112" fmla="*/ 20728 w 452"/>
                  <a:gd name="T113" fmla="*/ 7600 h 370"/>
                  <a:gd name="T114" fmla="*/ 19395 w 452"/>
                  <a:gd name="T115" fmla="*/ 8105 h 370"/>
                  <a:gd name="T116" fmla="*/ 18460 w 452"/>
                  <a:gd name="T117" fmla="*/ 8979 h 3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2"/>
                  <a:gd name="T178" fmla="*/ 0 h 370"/>
                  <a:gd name="T179" fmla="*/ 452 w 452"/>
                  <a:gd name="T180" fmla="*/ 370 h 3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2" h="370">
                    <a:moveTo>
                      <a:pt x="225" y="341"/>
                    </a:moveTo>
                    <a:lnTo>
                      <a:pt x="220" y="345"/>
                    </a:lnTo>
                    <a:lnTo>
                      <a:pt x="220" y="352"/>
                    </a:lnTo>
                    <a:lnTo>
                      <a:pt x="216" y="347"/>
                    </a:lnTo>
                    <a:lnTo>
                      <a:pt x="213" y="345"/>
                    </a:lnTo>
                    <a:lnTo>
                      <a:pt x="211" y="352"/>
                    </a:lnTo>
                    <a:lnTo>
                      <a:pt x="210" y="360"/>
                    </a:lnTo>
                    <a:lnTo>
                      <a:pt x="194" y="359"/>
                    </a:lnTo>
                    <a:lnTo>
                      <a:pt x="186" y="360"/>
                    </a:lnTo>
                    <a:lnTo>
                      <a:pt x="170" y="353"/>
                    </a:lnTo>
                    <a:lnTo>
                      <a:pt x="167" y="358"/>
                    </a:lnTo>
                    <a:lnTo>
                      <a:pt x="164" y="359"/>
                    </a:lnTo>
                    <a:lnTo>
                      <a:pt x="162" y="363"/>
                    </a:lnTo>
                    <a:lnTo>
                      <a:pt x="158" y="364"/>
                    </a:lnTo>
                    <a:lnTo>
                      <a:pt x="157" y="364"/>
                    </a:lnTo>
                    <a:lnTo>
                      <a:pt x="155" y="366"/>
                    </a:lnTo>
                    <a:lnTo>
                      <a:pt x="151" y="364"/>
                    </a:lnTo>
                    <a:lnTo>
                      <a:pt x="148" y="365"/>
                    </a:lnTo>
                    <a:lnTo>
                      <a:pt x="147" y="364"/>
                    </a:lnTo>
                    <a:lnTo>
                      <a:pt x="134" y="370"/>
                    </a:lnTo>
                    <a:lnTo>
                      <a:pt x="134" y="364"/>
                    </a:lnTo>
                    <a:lnTo>
                      <a:pt x="127" y="364"/>
                    </a:lnTo>
                    <a:lnTo>
                      <a:pt x="126" y="365"/>
                    </a:lnTo>
                    <a:lnTo>
                      <a:pt x="117" y="363"/>
                    </a:lnTo>
                    <a:lnTo>
                      <a:pt x="114" y="357"/>
                    </a:lnTo>
                    <a:lnTo>
                      <a:pt x="106" y="348"/>
                    </a:lnTo>
                    <a:lnTo>
                      <a:pt x="103" y="335"/>
                    </a:lnTo>
                    <a:lnTo>
                      <a:pt x="101" y="327"/>
                    </a:lnTo>
                    <a:lnTo>
                      <a:pt x="106" y="325"/>
                    </a:lnTo>
                    <a:lnTo>
                      <a:pt x="103" y="325"/>
                    </a:lnTo>
                    <a:lnTo>
                      <a:pt x="98" y="322"/>
                    </a:lnTo>
                    <a:lnTo>
                      <a:pt x="96" y="316"/>
                    </a:lnTo>
                    <a:lnTo>
                      <a:pt x="92" y="314"/>
                    </a:lnTo>
                    <a:lnTo>
                      <a:pt x="91" y="309"/>
                    </a:lnTo>
                    <a:lnTo>
                      <a:pt x="89" y="309"/>
                    </a:lnTo>
                    <a:lnTo>
                      <a:pt x="86" y="306"/>
                    </a:lnTo>
                    <a:lnTo>
                      <a:pt x="82" y="297"/>
                    </a:lnTo>
                    <a:lnTo>
                      <a:pt x="66" y="290"/>
                    </a:lnTo>
                    <a:lnTo>
                      <a:pt x="60" y="289"/>
                    </a:lnTo>
                    <a:lnTo>
                      <a:pt x="44" y="286"/>
                    </a:lnTo>
                    <a:lnTo>
                      <a:pt x="3" y="290"/>
                    </a:lnTo>
                    <a:lnTo>
                      <a:pt x="0" y="287"/>
                    </a:lnTo>
                    <a:lnTo>
                      <a:pt x="0" y="259"/>
                    </a:lnTo>
                    <a:lnTo>
                      <a:pt x="0" y="254"/>
                    </a:lnTo>
                    <a:lnTo>
                      <a:pt x="3" y="239"/>
                    </a:lnTo>
                    <a:lnTo>
                      <a:pt x="3" y="218"/>
                    </a:lnTo>
                    <a:lnTo>
                      <a:pt x="3" y="204"/>
                    </a:lnTo>
                    <a:lnTo>
                      <a:pt x="7" y="197"/>
                    </a:lnTo>
                    <a:lnTo>
                      <a:pt x="14" y="182"/>
                    </a:lnTo>
                    <a:lnTo>
                      <a:pt x="15" y="172"/>
                    </a:lnTo>
                    <a:lnTo>
                      <a:pt x="17" y="164"/>
                    </a:lnTo>
                    <a:lnTo>
                      <a:pt x="23" y="157"/>
                    </a:lnTo>
                    <a:lnTo>
                      <a:pt x="33" y="150"/>
                    </a:lnTo>
                    <a:lnTo>
                      <a:pt x="33" y="146"/>
                    </a:lnTo>
                    <a:lnTo>
                      <a:pt x="36" y="145"/>
                    </a:lnTo>
                    <a:lnTo>
                      <a:pt x="36" y="144"/>
                    </a:lnTo>
                    <a:lnTo>
                      <a:pt x="36" y="141"/>
                    </a:lnTo>
                    <a:lnTo>
                      <a:pt x="33" y="138"/>
                    </a:lnTo>
                    <a:lnTo>
                      <a:pt x="33" y="136"/>
                    </a:lnTo>
                    <a:lnTo>
                      <a:pt x="34" y="131"/>
                    </a:lnTo>
                    <a:lnTo>
                      <a:pt x="37" y="129"/>
                    </a:lnTo>
                    <a:lnTo>
                      <a:pt x="39" y="129"/>
                    </a:lnTo>
                    <a:lnTo>
                      <a:pt x="40" y="129"/>
                    </a:lnTo>
                    <a:lnTo>
                      <a:pt x="40" y="116"/>
                    </a:lnTo>
                    <a:lnTo>
                      <a:pt x="38" y="106"/>
                    </a:lnTo>
                    <a:lnTo>
                      <a:pt x="37" y="103"/>
                    </a:lnTo>
                    <a:lnTo>
                      <a:pt x="30" y="96"/>
                    </a:lnTo>
                    <a:lnTo>
                      <a:pt x="29" y="93"/>
                    </a:lnTo>
                    <a:lnTo>
                      <a:pt x="30" y="85"/>
                    </a:lnTo>
                    <a:lnTo>
                      <a:pt x="33" y="82"/>
                    </a:lnTo>
                    <a:lnTo>
                      <a:pt x="33" y="75"/>
                    </a:lnTo>
                    <a:lnTo>
                      <a:pt x="33" y="58"/>
                    </a:lnTo>
                    <a:lnTo>
                      <a:pt x="33" y="52"/>
                    </a:lnTo>
                    <a:lnTo>
                      <a:pt x="34" y="49"/>
                    </a:lnTo>
                    <a:lnTo>
                      <a:pt x="38" y="46"/>
                    </a:lnTo>
                    <a:lnTo>
                      <a:pt x="43" y="44"/>
                    </a:lnTo>
                    <a:lnTo>
                      <a:pt x="46" y="39"/>
                    </a:lnTo>
                    <a:lnTo>
                      <a:pt x="51" y="30"/>
                    </a:lnTo>
                    <a:lnTo>
                      <a:pt x="53" y="17"/>
                    </a:lnTo>
                    <a:lnTo>
                      <a:pt x="55" y="15"/>
                    </a:lnTo>
                    <a:lnTo>
                      <a:pt x="66" y="6"/>
                    </a:lnTo>
                    <a:lnTo>
                      <a:pt x="81" y="3"/>
                    </a:lnTo>
                    <a:lnTo>
                      <a:pt x="92" y="4"/>
                    </a:lnTo>
                    <a:lnTo>
                      <a:pt x="97" y="3"/>
                    </a:lnTo>
                    <a:lnTo>
                      <a:pt x="103" y="0"/>
                    </a:lnTo>
                    <a:lnTo>
                      <a:pt x="113" y="0"/>
                    </a:lnTo>
                    <a:lnTo>
                      <a:pt x="139" y="14"/>
                    </a:lnTo>
                    <a:lnTo>
                      <a:pt x="155" y="27"/>
                    </a:lnTo>
                    <a:lnTo>
                      <a:pt x="160" y="30"/>
                    </a:lnTo>
                    <a:lnTo>
                      <a:pt x="163" y="33"/>
                    </a:lnTo>
                    <a:lnTo>
                      <a:pt x="168" y="33"/>
                    </a:lnTo>
                    <a:lnTo>
                      <a:pt x="175" y="26"/>
                    </a:lnTo>
                    <a:lnTo>
                      <a:pt x="186" y="20"/>
                    </a:lnTo>
                    <a:lnTo>
                      <a:pt x="192" y="19"/>
                    </a:lnTo>
                    <a:lnTo>
                      <a:pt x="201" y="19"/>
                    </a:lnTo>
                    <a:lnTo>
                      <a:pt x="213" y="25"/>
                    </a:lnTo>
                    <a:lnTo>
                      <a:pt x="230" y="35"/>
                    </a:lnTo>
                    <a:lnTo>
                      <a:pt x="237" y="37"/>
                    </a:lnTo>
                    <a:lnTo>
                      <a:pt x="254" y="41"/>
                    </a:lnTo>
                    <a:lnTo>
                      <a:pt x="263" y="39"/>
                    </a:lnTo>
                    <a:lnTo>
                      <a:pt x="275" y="32"/>
                    </a:lnTo>
                    <a:lnTo>
                      <a:pt x="285" y="22"/>
                    </a:lnTo>
                    <a:lnTo>
                      <a:pt x="291" y="20"/>
                    </a:lnTo>
                    <a:lnTo>
                      <a:pt x="310" y="19"/>
                    </a:lnTo>
                    <a:lnTo>
                      <a:pt x="323" y="20"/>
                    </a:lnTo>
                    <a:lnTo>
                      <a:pt x="330" y="17"/>
                    </a:lnTo>
                    <a:lnTo>
                      <a:pt x="344" y="16"/>
                    </a:lnTo>
                    <a:lnTo>
                      <a:pt x="349" y="17"/>
                    </a:lnTo>
                    <a:lnTo>
                      <a:pt x="354" y="20"/>
                    </a:lnTo>
                    <a:lnTo>
                      <a:pt x="361" y="22"/>
                    </a:lnTo>
                    <a:lnTo>
                      <a:pt x="364" y="25"/>
                    </a:lnTo>
                    <a:lnTo>
                      <a:pt x="371" y="24"/>
                    </a:lnTo>
                    <a:lnTo>
                      <a:pt x="377" y="22"/>
                    </a:lnTo>
                    <a:lnTo>
                      <a:pt x="383" y="15"/>
                    </a:lnTo>
                    <a:lnTo>
                      <a:pt x="383" y="14"/>
                    </a:lnTo>
                    <a:lnTo>
                      <a:pt x="388" y="11"/>
                    </a:lnTo>
                    <a:lnTo>
                      <a:pt x="392" y="10"/>
                    </a:lnTo>
                    <a:lnTo>
                      <a:pt x="397" y="10"/>
                    </a:lnTo>
                    <a:lnTo>
                      <a:pt x="402" y="3"/>
                    </a:lnTo>
                    <a:lnTo>
                      <a:pt x="403" y="3"/>
                    </a:lnTo>
                    <a:lnTo>
                      <a:pt x="403" y="0"/>
                    </a:lnTo>
                    <a:lnTo>
                      <a:pt x="406" y="8"/>
                    </a:lnTo>
                    <a:lnTo>
                      <a:pt x="409" y="14"/>
                    </a:lnTo>
                    <a:lnTo>
                      <a:pt x="414" y="20"/>
                    </a:lnTo>
                    <a:lnTo>
                      <a:pt x="422" y="24"/>
                    </a:lnTo>
                    <a:lnTo>
                      <a:pt x="425" y="30"/>
                    </a:lnTo>
                    <a:lnTo>
                      <a:pt x="431" y="46"/>
                    </a:lnTo>
                    <a:lnTo>
                      <a:pt x="438" y="51"/>
                    </a:lnTo>
                    <a:lnTo>
                      <a:pt x="440" y="52"/>
                    </a:lnTo>
                    <a:lnTo>
                      <a:pt x="446" y="55"/>
                    </a:lnTo>
                    <a:lnTo>
                      <a:pt x="448" y="56"/>
                    </a:lnTo>
                    <a:lnTo>
                      <a:pt x="450" y="57"/>
                    </a:lnTo>
                    <a:lnTo>
                      <a:pt x="451" y="61"/>
                    </a:lnTo>
                    <a:lnTo>
                      <a:pt x="451" y="73"/>
                    </a:lnTo>
                    <a:lnTo>
                      <a:pt x="452" y="82"/>
                    </a:lnTo>
                    <a:lnTo>
                      <a:pt x="438" y="92"/>
                    </a:lnTo>
                    <a:lnTo>
                      <a:pt x="437" y="93"/>
                    </a:lnTo>
                    <a:lnTo>
                      <a:pt x="425" y="97"/>
                    </a:lnTo>
                    <a:lnTo>
                      <a:pt x="422" y="99"/>
                    </a:lnTo>
                    <a:lnTo>
                      <a:pt x="416" y="105"/>
                    </a:lnTo>
                    <a:lnTo>
                      <a:pt x="413" y="109"/>
                    </a:lnTo>
                    <a:lnTo>
                      <a:pt x="411" y="114"/>
                    </a:lnTo>
                    <a:lnTo>
                      <a:pt x="406" y="131"/>
                    </a:lnTo>
                    <a:lnTo>
                      <a:pt x="399" y="143"/>
                    </a:lnTo>
                    <a:lnTo>
                      <a:pt x="397" y="150"/>
                    </a:lnTo>
                    <a:lnTo>
                      <a:pt x="396" y="159"/>
                    </a:lnTo>
                    <a:lnTo>
                      <a:pt x="390" y="178"/>
                    </a:lnTo>
                    <a:lnTo>
                      <a:pt x="388" y="186"/>
                    </a:lnTo>
                    <a:lnTo>
                      <a:pt x="388" y="191"/>
                    </a:lnTo>
                    <a:lnTo>
                      <a:pt x="387" y="194"/>
                    </a:lnTo>
                    <a:lnTo>
                      <a:pt x="375" y="198"/>
                    </a:lnTo>
                    <a:lnTo>
                      <a:pt x="368" y="207"/>
                    </a:lnTo>
                    <a:lnTo>
                      <a:pt x="364" y="218"/>
                    </a:lnTo>
                    <a:lnTo>
                      <a:pt x="361" y="229"/>
                    </a:lnTo>
                    <a:lnTo>
                      <a:pt x="359" y="233"/>
                    </a:lnTo>
                    <a:lnTo>
                      <a:pt x="352" y="249"/>
                    </a:lnTo>
                    <a:lnTo>
                      <a:pt x="339" y="271"/>
                    </a:lnTo>
                    <a:lnTo>
                      <a:pt x="339" y="277"/>
                    </a:lnTo>
                    <a:lnTo>
                      <a:pt x="336" y="281"/>
                    </a:lnTo>
                    <a:lnTo>
                      <a:pt x="330" y="284"/>
                    </a:lnTo>
                    <a:lnTo>
                      <a:pt x="321" y="283"/>
                    </a:lnTo>
                    <a:lnTo>
                      <a:pt x="314" y="278"/>
                    </a:lnTo>
                    <a:lnTo>
                      <a:pt x="311" y="277"/>
                    </a:lnTo>
                    <a:lnTo>
                      <a:pt x="311" y="275"/>
                    </a:lnTo>
                    <a:lnTo>
                      <a:pt x="310" y="273"/>
                    </a:lnTo>
                    <a:lnTo>
                      <a:pt x="302" y="266"/>
                    </a:lnTo>
                    <a:lnTo>
                      <a:pt x="291" y="265"/>
                    </a:lnTo>
                    <a:lnTo>
                      <a:pt x="275" y="268"/>
                    </a:lnTo>
                    <a:lnTo>
                      <a:pt x="265" y="268"/>
                    </a:lnTo>
                    <a:lnTo>
                      <a:pt x="263" y="268"/>
                    </a:lnTo>
                    <a:lnTo>
                      <a:pt x="261" y="280"/>
                    </a:lnTo>
                    <a:lnTo>
                      <a:pt x="253" y="283"/>
                    </a:lnTo>
                    <a:lnTo>
                      <a:pt x="248" y="289"/>
                    </a:lnTo>
                    <a:lnTo>
                      <a:pt x="243" y="296"/>
                    </a:lnTo>
                    <a:lnTo>
                      <a:pt x="235" y="307"/>
                    </a:lnTo>
                    <a:lnTo>
                      <a:pt x="233" y="318"/>
                    </a:lnTo>
                    <a:lnTo>
                      <a:pt x="232" y="328"/>
                    </a:lnTo>
                    <a:lnTo>
                      <a:pt x="230" y="334"/>
                    </a:lnTo>
                    <a:lnTo>
                      <a:pt x="225" y="34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5" name="Freeform 61"/>
              <p:cNvSpPr>
                <a:spLocks/>
              </p:cNvSpPr>
              <p:nvPr/>
            </p:nvSpPr>
            <p:spPr bwMode="auto">
              <a:xfrm>
                <a:off x="1390" y="1962"/>
                <a:ext cx="483" cy="389"/>
              </a:xfrm>
              <a:custGeom>
                <a:avLst/>
                <a:gdLst>
                  <a:gd name="T0" fmla="*/ 17479 w 452"/>
                  <a:gd name="T1" fmla="*/ 9565 h 370"/>
                  <a:gd name="T2" fmla="*/ 16694 w 452"/>
                  <a:gd name="T3" fmla="*/ 9565 h 370"/>
                  <a:gd name="T4" fmla="*/ 14878 w 452"/>
                  <a:gd name="T5" fmla="*/ 9761 h 370"/>
                  <a:gd name="T6" fmla="*/ 13190 w 452"/>
                  <a:gd name="T7" fmla="*/ 9723 h 370"/>
                  <a:gd name="T8" fmla="*/ 12526 w 452"/>
                  <a:gd name="T9" fmla="*/ 9959 h 370"/>
                  <a:gd name="T10" fmla="*/ 11741 w 452"/>
                  <a:gd name="T11" fmla="*/ 9965 h 370"/>
                  <a:gd name="T12" fmla="*/ 10678 w 452"/>
                  <a:gd name="T13" fmla="*/ 9959 h 370"/>
                  <a:gd name="T14" fmla="*/ 9352 w 452"/>
                  <a:gd name="T15" fmla="*/ 9925 h 370"/>
                  <a:gd name="T16" fmla="*/ 8316 w 452"/>
                  <a:gd name="T17" fmla="*/ 9098 h 370"/>
                  <a:gd name="T18" fmla="*/ 8316 w 452"/>
                  <a:gd name="T19" fmla="*/ 8831 h 370"/>
                  <a:gd name="T20" fmla="*/ 7293 w 452"/>
                  <a:gd name="T21" fmla="*/ 8575 h 370"/>
                  <a:gd name="T22" fmla="*/ 6825 w 452"/>
                  <a:gd name="T23" fmla="*/ 8334 h 370"/>
                  <a:gd name="T24" fmla="*/ 4817 w 452"/>
                  <a:gd name="T25" fmla="*/ 7836 h 370"/>
                  <a:gd name="T26" fmla="*/ 0 w 452"/>
                  <a:gd name="T27" fmla="*/ 7827 h 370"/>
                  <a:gd name="T28" fmla="*/ 3 w 452"/>
                  <a:gd name="T29" fmla="*/ 6494 h 370"/>
                  <a:gd name="T30" fmla="*/ 7 w 452"/>
                  <a:gd name="T31" fmla="*/ 5353 h 370"/>
                  <a:gd name="T32" fmla="*/ 1297 w 452"/>
                  <a:gd name="T33" fmla="*/ 4472 h 370"/>
                  <a:gd name="T34" fmla="*/ 2652 w 452"/>
                  <a:gd name="T35" fmla="*/ 3963 h 370"/>
                  <a:gd name="T36" fmla="*/ 2878 w 452"/>
                  <a:gd name="T37" fmla="*/ 3848 h 370"/>
                  <a:gd name="T38" fmla="*/ 2693 w 452"/>
                  <a:gd name="T39" fmla="*/ 3570 h 370"/>
                  <a:gd name="T40" fmla="*/ 3236 w 452"/>
                  <a:gd name="T41" fmla="*/ 3514 h 370"/>
                  <a:gd name="T42" fmla="*/ 3028 w 452"/>
                  <a:gd name="T43" fmla="*/ 2791 h 370"/>
                  <a:gd name="T44" fmla="*/ 2358 w 452"/>
                  <a:gd name="T45" fmla="*/ 2332 h 370"/>
                  <a:gd name="T46" fmla="*/ 2652 w 452"/>
                  <a:gd name="T47" fmla="*/ 1568 h 370"/>
                  <a:gd name="T48" fmla="*/ 3075 w 452"/>
                  <a:gd name="T49" fmla="*/ 1228 h 370"/>
                  <a:gd name="T50" fmla="*/ 4055 w 452"/>
                  <a:gd name="T51" fmla="*/ 823 h 370"/>
                  <a:gd name="T52" fmla="*/ 5287 w 452"/>
                  <a:gd name="T53" fmla="*/ 6 h 370"/>
                  <a:gd name="T54" fmla="*/ 7787 w 452"/>
                  <a:gd name="T55" fmla="*/ 3 h 370"/>
                  <a:gd name="T56" fmla="*/ 11022 w 452"/>
                  <a:gd name="T57" fmla="*/ 370 h 370"/>
                  <a:gd name="T58" fmla="*/ 13029 w 452"/>
                  <a:gd name="T59" fmla="*/ 903 h 370"/>
                  <a:gd name="T60" fmla="*/ 14878 w 452"/>
                  <a:gd name="T61" fmla="*/ 499 h 370"/>
                  <a:gd name="T62" fmla="*/ 16988 w 452"/>
                  <a:gd name="T63" fmla="*/ 641 h 370"/>
                  <a:gd name="T64" fmla="*/ 20298 w 452"/>
                  <a:gd name="T65" fmla="*/ 1103 h 370"/>
                  <a:gd name="T66" fmla="*/ 22755 w 452"/>
                  <a:gd name="T67" fmla="*/ 552 h 370"/>
                  <a:gd name="T68" fmla="*/ 25721 w 452"/>
                  <a:gd name="T69" fmla="*/ 499 h 370"/>
                  <a:gd name="T70" fmla="*/ 27809 w 452"/>
                  <a:gd name="T71" fmla="*/ 430 h 370"/>
                  <a:gd name="T72" fmla="*/ 29219 w 452"/>
                  <a:gd name="T73" fmla="*/ 641 h 370"/>
                  <a:gd name="T74" fmla="*/ 30568 w 452"/>
                  <a:gd name="T75" fmla="*/ 389 h 370"/>
                  <a:gd name="T76" fmla="*/ 31337 w 452"/>
                  <a:gd name="T77" fmla="*/ 303 h 370"/>
                  <a:gd name="T78" fmla="*/ 32147 w 452"/>
                  <a:gd name="T79" fmla="*/ 3 h 370"/>
                  <a:gd name="T80" fmla="*/ 32664 w 452"/>
                  <a:gd name="T81" fmla="*/ 370 h 370"/>
                  <a:gd name="T82" fmla="*/ 33879 w 452"/>
                  <a:gd name="T83" fmla="*/ 823 h 370"/>
                  <a:gd name="T84" fmla="*/ 35032 w 452"/>
                  <a:gd name="T85" fmla="*/ 1418 h 370"/>
                  <a:gd name="T86" fmla="*/ 35836 w 452"/>
                  <a:gd name="T87" fmla="*/ 1563 h 370"/>
                  <a:gd name="T88" fmla="*/ 35942 w 452"/>
                  <a:gd name="T89" fmla="*/ 2227 h 370"/>
                  <a:gd name="T90" fmla="*/ 33879 w 452"/>
                  <a:gd name="T91" fmla="*/ 2603 h 370"/>
                  <a:gd name="T92" fmla="*/ 32863 w 452"/>
                  <a:gd name="T93" fmla="*/ 2995 h 370"/>
                  <a:gd name="T94" fmla="*/ 31754 w 452"/>
                  <a:gd name="T95" fmla="*/ 3884 h 370"/>
                  <a:gd name="T96" fmla="*/ 31246 w 452"/>
                  <a:gd name="T97" fmla="*/ 4843 h 370"/>
                  <a:gd name="T98" fmla="*/ 30855 w 452"/>
                  <a:gd name="T99" fmla="*/ 5250 h 370"/>
                  <a:gd name="T100" fmla="*/ 29219 w 452"/>
                  <a:gd name="T101" fmla="*/ 5917 h 370"/>
                  <a:gd name="T102" fmla="*/ 28042 w 452"/>
                  <a:gd name="T103" fmla="*/ 6743 h 370"/>
                  <a:gd name="T104" fmla="*/ 26774 w 452"/>
                  <a:gd name="T105" fmla="*/ 7691 h 370"/>
                  <a:gd name="T106" fmla="*/ 25056 w 452"/>
                  <a:gd name="T107" fmla="*/ 7547 h 370"/>
                  <a:gd name="T108" fmla="*/ 24768 w 452"/>
                  <a:gd name="T109" fmla="*/ 7445 h 370"/>
                  <a:gd name="T110" fmla="*/ 21943 w 452"/>
                  <a:gd name="T111" fmla="*/ 7332 h 370"/>
                  <a:gd name="T112" fmla="*/ 20728 w 452"/>
                  <a:gd name="T113" fmla="*/ 7600 h 370"/>
                  <a:gd name="T114" fmla="*/ 19395 w 452"/>
                  <a:gd name="T115" fmla="*/ 8105 h 370"/>
                  <a:gd name="T116" fmla="*/ 18460 w 452"/>
                  <a:gd name="T117" fmla="*/ 8979 h 3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2"/>
                  <a:gd name="T178" fmla="*/ 0 h 370"/>
                  <a:gd name="T179" fmla="*/ 452 w 452"/>
                  <a:gd name="T180" fmla="*/ 370 h 3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2" h="370">
                    <a:moveTo>
                      <a:pt x="225" y="341"/>
                    </a:moveTo>
                    <a:lnTo>
                      <a:pt x="220" y="345"/>
                    </a:lnTo>
                    <a:lnTo>
                      <a:pt x="220" y="352"/>
                    </a:lnTo>
                    <a:lnTo>
                      <a:pt x="216" y="347"/>
                    </a:lnTo>
                    <a:lnTo>
                      <a:pt x="213" y="345"/>
                    </a:lnTo>
                    <a:lnTo>
                      <a:pt x="211" y="352"/>
                    </a:lnTo>
                    <a:lnTo>
                      <a:pt x="210" y="360"/>
                    </a:lnTo>
                    <a:lnTo>
                      <a:pt x="194" y="359"/>
                    </a:lnTo>
                    <a:lnTo>
                      <a:pt x="186" y="360"/>
                    </a:lnTo>
                    <a:lnTo>
                      <a:pt x="170" y="353"/>
                    </a:lnTo>
                    <a:lnTo>
                      <a:pt x="167" y="358"/>
                    </a:lnTo>
                    <a:lnTo>
                      <a:pt x="164" y="359"/>
                    </a:lnTo>
                    <a:lnTo>
                      <a:pt x="162" y="363"/>
                    </a:lnTo>
                    <a:lnTo>
                      <a:pt x="158" y="364"/>
                    </a:lnTo>
                    <a:lnTo>
                      <a:pt x="157" y="364"/>
                    </a:lnTo>
                    <a:lnTo>
                      <a:pt x="155" y="366"/>
                    </a:lnTo>
                    <a:lnTo>
                      <a:pt x="151" y="364"/>
                    </a:lnTo>
                    <a:lnTo>
                      <a:pt x="148" y="365"/>
                    </a:lnTo>
                    <a:lnTo>
                      <a:pt x="147" y="364"/>
                    </a:lnTo>
                    <a:lnTo>
                      <a:pt x="134" y="370"/>
                    </a:lnTo>
                    <a:lnTo>
                      <a:pt x="134" y="364"/>
                    </a:lnTo>
                    <a:lnTo>
                      <a:pt x="127" y="364"/>
                    </a:lnTo>
                    <a:lnTo>
                      <a:pt x="126" y="365"/>
                    </a:lnTo>
                    <a:lnTo>
                      <a:pt x="117" y="363"/>
                    </a:lnTo>
                    <a:lnTo>
                      <a:pt x="114" y="357"/>
                    </a:lnTo>
                    <a:lnTo>
                      <a:pt x="106" y="348"/>
                    </a:lnTo>
                    <a:lnTo>
                      <a:pt x="103" y="335"/>
                    </a:lnTo>
                    <a:lnTo>
                      <a:pt x="101" y="327"/>
                    </a:lnTo>
                    <a:lnTo>
                      <a:pt x="106" y="325"/>
                    </a:lnTo>
                    <a:lnTo>
                      <a:pt x="103" y="325"/>
                    </a:lnTo>
                    <a:lnTo>
                      <a:pt x="98" y="322"/>
                    </a:lnTo>
                    <a:lnTo>
                      <a:pt x="96" y="316"/>
                    </a:lnTo>
                    <a:lnTo>
                      <a:pt x="92" y="314"/>
                    </a:lnTo>
                    <a:lnTo>
                      <a:pt x="91" y="309"/>
                    </a:lnTo>
                    <a:lnTo>
                      <a:pt x="89" y="309"/>
                    </a:lnTo>
                    <a:lnTo>
                      <a:pt x="86" y="306"/>
                    </a:lnTo>
                    <a:lnTo>
                      <a:pt x="82" y="297"/>
                    </a:lnTo>
                    <a:lnTo>
                      <a:pt x="66" y="290"/>
                    </a:lnTo>
                    <a:lnTo>
                      <a:pt x="60" y="289"/>
                    </a:lnTo>
                    <a:lnTo>
                      <a:pt x="44" y="286"/>
                    </a:lnTo>
                    <a:lnTo>
                      <a:pt x="3" y="290"/>
                    </a:lnTo>
                    <a:lnTo>
                      <a:pt x="0" y="287"/>
                    </a:lnTo>
                    <a:lnTo>
                      <a:pt x="0" y="259"/>
                    </a:lnTo>
                    <a:lnTo>
                      <a:pt x="0" y="254"/>
                    </a:lnTo>
                    <a:lnTo>
                      <a:pt x="3" y="239"/>
                    </a:lnTo>
                    <a:lnTo>
                      <a:pt x="3" y="218"/>
                    </a:lnTo>
                    <a:lnTo>
                      <a:pt x="3" y="204"/>
                    </a:lnTo>
                    <a:lnTo>
                      <a:pt x="7" y="197"/>
                    </a:lnTo>
                    <a:lnTo>
                      <a:pt x="14" y="182"/>
                    </a:lnTo>
                    <a:lnTo>
                      <a:pt x="15" y="172"/>
                    </a:lnTo>
                    <a:lnTo>
                      <a:pt x="17" y="164"/>
                    </a:lnTo>
                    <a:lnTo>
                      <a:pt x="23" y="157"/>
                    </a:lnTo>
                    <a:lnTo>
                      <a:pt x="33" y="150"/>
                    </a:lnTo>
                    <a:lnTo>
                      <a:pt x="33" y="146"/>
                    </a:lnTo>
                    <a:lnTo>
                      <a:pt x="36" y="145"/>
                    </a:lnTo>
                    <a:lnTo>
                      <a:pt x="36" y="144"/>
                    </a:lnTo>
                    <a:lnTo>
                      <a:pt x="36" y="141"/>
                    </a:lnTo>
                    <a:lnTo>
                      <a:pt x="33" y="138"/>
                    </a:lnTo>
                    <a:lnTo>
                      <a:pt x="33" y="136"/>
                    </a:lnTo>
                    <a:lnTo>
                      <a:pt x="34" y="131"/>
                    </a:lnTo>
                    <a:lnTo>
                      <a:pt x="37" y="129"/>
                    </a:lnTo>
                    <a:lnTo>
                      <a:pt x="39" y="129"/>
                    </a:lnTo>
                    <a:lnTo>
                      <a:pt x="40" y="129"/>
                    </a:lnTo>
                    <a:lnTo>
                      <a:pt x="40" y="116"/>
                    </a:lnTo>
                    <a:lnTo>
                      <a:pt x="38" y="106"/>
                    </a:lnTo>
                    <a:lnTo>
                      <a:pt x="37" y="103"/>
                    </a:lnTo>
                    <a:lnTo>
                      <a:pt x="30" y="96"/>
                    </a:lnTo>
                    <a:lnTo>
                      <a:pt x="29" y="93"/>
                    </a:lnTo>
                    <a:lnTo>
                      <a:pt x="30" y="85"/>
                    </a:lnTo>
                    <a:lnTo>
                      <a:pt x="33" y="82"/>
                    </a:lnTo>
                    <a:lnTo>
                      <a:pt x="33" y="75"/>
                    </a:lnTo>
                    <a:lnTo>
                      <a:pt x="33" y="58"/>
                    </a:lnTo>
                    <a:lnTo>
                      <a:pt x="33" y="52"/>
                    </a:lnTo>
                    <a:lnTo>
                      <a:pt x="34" y="49"/>
                    </a:lnTo>
                    <a:lnTo>
                      <a:pt x="38" y="46"/>
                    </a:lnTo>
                    <a:lnTo>
                      <a:pt x="43" y="44"/>
                    </a:lnTo>
                    <a:lnTo>
                      <a:pt x="46" y="39"/>
                    </a:lnTo>
                    <a:lnTo>
                      <a:pt x="51" y="30"/>
                    </a:lnTo>
                    <a:lnTo>
                      <a:pt x="53" y="17"/>
                    </a:lnTo>
                    <a:lnTo>
                      <a:pt x="55" y="15"/>
                    </a:lnTo>
                    <a:lnTo>
                      <a:pt x="66" y="6"/>
                    </a:lnTo>
                    <a:lnTo>
                      <a:pt x="81" y="3"/>
                    </a:lnTo>
                    <a:lnTo>
                      <a:pt x="92" y="4"/>
                    </a:lnTo>
                    <a:lnTo>
                      <a:pt x="97" y="3"/>
                    </a:lnTo>
                    <a:lnTo>
                      <a:pt x="103" y="0"/>
                    </a:lnTo>
                    <a:lnTo>
                      <a:pt x="113" y="0"/>
                    </a:lnTo>
                    <a:lnTo>
                      <a:pt x="139" y="14"/>
                    </a:lnTo>
                    <a:lnTo>
                      <a:pt x="155" y="27"/>
                    </a:lnTo>
                    <a:lnTo>
                      <a:pt x="160" y="30"/>
                    </a:lnTo>
                    <a:lnTo>
                      <a:pt x="163" y="33"/>
                    </a:lnTo>
                    <a:lnTo>
                      <a:pt x="168" y="33"/>
                    </a:lnTo>
                    <a:lnTo>
                      <a:pt x="175" y="26"/>
                    </a:lnTo>
                    <a:lnTo>
                      <a:pt x="186" y="20"/>
                    </a:lnTo>
                    <a:lnTo>
                      <a:pt x="192" y="19"/>
                    </a:lnTo>
                    <a:lnTo>
                      <a:pt x="201" y="19"/>
                    </a:lnTo>
                    <a:lnTo>
                      <a:pt x="213" y="25"/>
                    </a:lnTo>
                    <a:lnTo>
                      <a:pt x="230" y="35"/>
                    </a:lnTo>
                    <a:lnTo>
                      <a:pt x="237" y="37"/>
                    </a:lnTo>
                    <a:lnTo>
                      <a:pt x="254" y="41"/>
                    </a:lnTo>
                    <a:lnTo>
                      <a:pt x="263" y="39"/>
                    </a:lnTo>
                    <a:lnTo>
                      <a:pt x="275" y="32"/>
                    </a:lnTo>
                    <a:lnTo>
                      <a:pt x="285" y="22"/>
                    </a:lnTo>
                    <a:lnTo>
                      <a:pt x="291" y="20"/>
                    </a:lnTo>
                    <a:lnTo>
                      <a:pt x="310" y="19"/>
                    </a:lnTo>
                    <a:lnTo>
                      <a:pt x="323" y="20"/>
                    </a:lnTo>
                    <a:lnTo>
                      <a:pt x="330" y="17"/>
                    </a:lnTo>
                    <a:lnTo>
                      <a:pt x="344" y="16"/>
                    </a:lnTo>
                    <a:lnTo>
                      <a:pt x="349" y="17"/>
                    </a:lnTo>
                    <a:lnTo>
                      <a:pt x="354" y="20"/>
                    </a:lnTo>
                    <a:lnTo>
                      <a:pt x="361" y="22"/>
                    </a:lnTo>
                    <a:lnTo>
                      <a:pt x="364" y="25"/>
                    </a:lnTo>
                    <a:lnTo>
                      <a:pt x="371" y="24"/>
                    </a:lnTo>
                    <a:lnTo>
                      <a:pt x="377" y="22"/>
                    </a:lnTo>
                    <a:lnTo>
                      <a:pt x="383" y="15"/>
                    </a:lnTo>
                    <a:lnTo>
                      <a:pt x="383" y="14"/>
                    </a:lnTo>
                    <a:lnTo>
                      <a:pt x="388" y="11"/>
                    </a:lnTo>
                    <a:lnTo>
                      <a:pt x="392" y="10"/>
                    </a:lnTo>
                    <a:lnTo>
                      <a:pt x="397" y="10"/>
                    </a:lnTo>
                    <a:lnTo>
                      <a:pt x="402" y="3"/>
                    </a:lnTo>
                    <a:lnTo>
                      <a:pt x="403" y="3"/>
                    </a:lnTo>
                    <a:lnTo>
                      <a:pt x="403" y="0"/>
                    </a:lnTo>
                    <a:lnTo>
                      <a:pt x="406" y="8"/>
                    </a:lnTo>
                    <a:lnTo>
                      <a:pt x="409" y="14"/>
                    </a:lnTo>
                    <a:lnTo>
                      <a:pt x="414" y="20"/>
                    </a:lnTo>
                    <a:lnTo>
                      <a:pt x="422" y="24"/>
                    </a:lnTo>
                    <a:lnTo>
                      <a:pt x="425" y="30"/>
                    </a:lnTo>
                    <a:lnTo>
                      <a:pt x="431" y="46"/>
                    </a:lnTo>
                    <a:lnTo>
                      <a:pt x="438" y="51"/>
                    </a:lnTo>
                    <a:lnTo>
                      <a:pt x="440" y="52"/>
                    </a:lnTo>
                    <a:lnTo>
                      <a:pt x="446" y="55"/>
                    </a:lnTo>
                    <a:lnTo>
                      <a:pt x="448" y="56"/>
                    </a:lnTo>
                    <a:lnTo>
                      <a:pt x="450" y="57"/>
                    </a:lnTo>
                    <a:lnTo>
                      <a:pt x="451" y="61"/>
                    </a:lnTo>
                    <a:lnTo>
                      <a:pt x="451" y="73"/>
                    </a:lnTo>
                    <a:lnTo>
                      <a:pt x="452" y="82"/>
                    </a:lnTo>
                    <a:lnTo>
                      <a:pt x="438" y="92"/>
                    </a:lnTo>
                    <a:lnTo>
                      <a:pt x="437" y="93"/>
                    </a:lnTo>
                    <a:lnTo>
                      <a:pt x="425" y="97"/>
                    </a:lnTo>
                    <a:lnTo>
                      <a:pt x="422" y="99"/>
                    </a:lnTo>
                    <a:lnTo>
                      <a:pt x="416" y="105"/>
                    </a:lnTo>
                    <a:lnTo>
                      <a:pt x="413" y="109"/>
                    </a:lnTo>
                    <a:lnTo>
                      <a:pt x="411" y="114"/>
                    </a:lnTo>
                    <a:lnTo>
                      <a:pt x="406" y="131"/>
                    </a:lnTo>
                    <a:lnTo>
                      <a:pt x="399" y="143"/>
                    </a:lnTo>
                    <a:lnTo>
                      <a:pt x="397" y="150"/>
                    </a:lnTo>
                    <a:lnTo>
                      <a:pt x="396" y="159"/>
                    </a:lnTo>
                    <a:lnTo>
                      <a:pt x="390" y="178"/>
                    </a:lnTo>
                    <a:lnTo>
                      <a:pt x="388" y="186"/>
                    </a:lnTo>
                    <a:lnTo>
                      <a:pt x="388" y="191"/>
                    </a:lnTo>
                    <a:lnTo>
                      <a:pt x="387" y="194"/>
                    </a:lnTo>
                    <a:lnTo>
                      <a:pt x="375" y="198"/>
                    </a:lnTo>
                    <a:lnTo>
                      <a:pt x="368" y="207"/>
                    </a:lnTo>
                    <a:lnTo>
                      <a:pt x="364" y="218"/>
                    </a:lnTo>
                    <a:lnTo>
                      <a:pt x="361" y="229"/>
                    </a:lnTo>
                    <a:lnTo>
                      <a:pt x="359" y="233"/>
                    </a:lnTo>
                    <a:lnTo>
                      <a:pt x="352" y="249"/>
                    </a:lnTo>
                    <a:lnTo>
                      <a:pt x="339" y="271"/>
                    </a:lnTo>
                    <a:lnTo>
                      <a:pt x="339" y="277"/>
                    </a:lnTo>
                    <a:lnTo>
                      <a:pt x="336" y="281"/>
                    </a:lnTo>
                    <a:lnTo>
                      <a:pt x="330" y="284"/>
                    </a:lnTo>
                    <a:lnTo>
                      <a:pt x="321" y="283"/>
                    </a:lnTo>
                    <a:lnTo>
                      <a:pt x="314" y="278"/>
                    </a:lnTo>
                    <a:lnTo>
                      <a:pt x="311" y="277"/>
                    </a:lnTo>
                    <a:lnTo>
                      <a:pt x="311" y="275"/>
                    </a:lnTo>
                    <a:lnTo>
                      <a:pt x="310" y="273"/>
                    </a:lnTo>
                    <a:lnTo>
                      <a:pt x="302" y="266"/>
                    </a:lnTo>
                    <a:lnTo>
                      <a:pt x="291" y="265"/>
                    </a:lnTo>
                    <a:lnTo>
                      <a:pt x="275" y="268"/>
                    </a:lnTo>
                    <a:lnTo>
                      <a:pt x="265" y="268"/>
                    </a:lnTo>
                    <a:lnTo>
                      <a:pt x="263" y="268"/>
                    </a:lnTo>
                    <a:lnTo>
                      <a:pt x="261" y="280"/>
                    </a:lnTo>
                    <a:lnTo>
                      <a:pt x="253" y="283"/>
                    </a:lnTo>
                    <a:lnTo>
                      <a:pt x="248" y="289"/>
                    </a:lnTo>
                    <a:lnTo>
                      <a:pt x="243" y="296"/>
                    </a:lnTo>
                    <a:lnTo>
                      <a:pt x="235" y="307"/>
                    </a:lnTo>
                    <a:lnTo>
                      <a:pt x="233" y="318"/>
                    </a:lnTo>
                    <a:lnTo>
                      <a:pt x="232" y="328"/>
                    </a:lnTo>
                    <a:lnTo>
                      <a:pt x="230" y="334"/>
                    </a:lnTo>
                    <a:lnTo>
                      <a:pt x="225" y="341"/>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6" name="Freeform 62"/>
              <p:cNvSpPr>
                <a:spLocks/>
              </p:cNvSpPr>
              <p:nvPr/>
            </p:nvSpPr>
            <p:spPr bwMode="auto">
              <a:xfrm>
                <a:off x="1308" y="2021"/>
                <a:ext cx="124" cy="248"/>
              </a:xfrm>
              <a:custGeom>
                <a:avLst/>
                <a:gdLst>
                  <a:gd name="T0" fmla="*/ 6171 w 116"/>
                  <a:gd name="T1" fmla="*/ 6094 h 236"/>
                  <a:gd name="T2" fmla="*/ 3780 w 116"/>
                  <a:gd name="T3" fmla="*/ 6254 h 236"/>
                  <a:gd name="T4" fmla="*/ 3306 w 116"/>
                  <a:gd name="T5" fmla="*/ 6047 h 236"/>
                  <a:gd name="T6" fmla="*/ 3093 w 116"/>
                  <a:gd name="T7" fmla="*/ 5663 h 236"/>
                  <a:gd name="T8" fmla="*/ 3306 w 116"/>
                  <a:gd name="T9" fmla="*/ 4274 h 236"/>
                  <a:gd name="T10" fmla="*/ 3093 w 116"/>
                  <a:gd name="T11" fmla="*/ 3734 h 236"/>
                  <a:gd name="T12" fmla="*/ 2708 w 116"/>
                  <a:gd name="T13" fmla="*/ 3446 h 236"/>
                  <a:gd name="T14" fmla="*/ 2217 w 116"/>
                  <a:gd name="T15" fmla="*/ 2920 h 236"/>
                  <a:gd name="T16" fmla="*/ 996 w 116"/>
                  <a:gd name="T17" fmla="*/ 2204 h 236"/>
                  <a:gd name="T18" fmla="*/ 7 w 116"/>
                  <a:gd name="T19" fmla="*/ 2204 h 236"/>
                  <a:gd name="T20" fmla="*/ 0 w 116"/>
                  <a:gd name="T21" fmla="*/ 2064 h 236"/>
                  <a:gd name="T22" fmla="*/ 0 w 116"/>
                  <a:gd name="T23" fmla="*/ 1693 h 236"/>
                  <a:gd name="T24" fmla="*/ 3 w 116"/>
                  <a:gd name="T25" fmla="*/ 1440 h 236"/>
                  <a:gd name="T26" fmla="*/ 7 w 116"/>
                  <a:gd name="T27" fmla="*/ 1334 h 236"/>
                  <a:gd name="T28" fmla="*/ 816 w 116"/>
                  <a:gd name="T29" fmla="*/ 1241 h 236"/>
                  <a:gd name="T30" fmla="*/ 1065 w 116"/>
                  <a:gd name="T31" fmla="*/ 1124 h 236"/>
                  <a:gd name="T32" fmla="*/ 1390 w 116"/>
                  <a:gd name="T33" fmla="*/ 1124 h 236"/>
                  <a:gd name="T34" fmla="*/ 2072 w 116"/>
                  <a:gd name="T35" fmla="*/ 877 h 236"/>
                  <a:gd name="T36" fmla="*/ 2895 w 116"/>
                  <a:gd name="T37" fmla="*/ 943 h 236"/>
                  <a:gd name="T38" fmla="*/ 3778 w 116"/>
                  <a:gd name="T39" fmla="*/ 943 h 236"/>
                  <a:gd name="T40" fmla="*/ 4727 w 116"/>
                  <a:gd name="T41" fmla="*/ 667 h 236"/>
                  <a:gd name="T42" fmla="*/ 4727 w 116"/>
                  <a:gd name="T43" fmla="*/ 575 h 236"/>
                  <a:gd name="T44" fmla="*/ 5086 w 116"/>
                  <a:gd name="T45" fmla="*/ 427 h 236"/>
                  <a:gd name="T46" fmla="*/ 5437 w 116"/>
                  <a:gd name="T47" fmla="*/ 367 h 236"/>
                  <a:gd name="T48" fmla="*/ 4936 w 116"/>
                  <a:gd name="T49" fmla="*/ 5 h 236"/>
                  <a:gd name="T50" fmla="*/ 6027 w 116"/>
                  <a:gd name="T51" fmla="*/ 3 h 236"/>
                  <a:gd name="T52" fmla="*/ 6641 w 116"/>
                  <a:gd name="T53" fmla="*/ 0 h 236"/>
                  <a:gd name="T54" fmla="*/ 7977 w 116"/>
                  <a:gd name="T55" fmla="*/ 406 h 236"/>
                  <a:gd name="T56" fmla="*/ 8993 w 116"/>
                  <a:gd name="T57" fmla="*/ 667 h 236"/>
                  <a:gd name="T58" fmla="*/ 8429 w 116"/>
                  <a:gd name="T59" fmla="*/ 969 h 236"/>
                  <a:gd name="T60" fmla="*/ 9115 w 116"/>
                  <a:gd name="T61" fmla="*/ 1241 h 236"/>
                  <a:gd name="T62" fmla="*/ 9545 w 116"/>
                  <a:gd name="T63" fmla="*/ 1611 h 236"/>
                  <a:gd name="T64" fmla="*/ 9390 w 116"/>
                  <a:gd name="T65" fmla="*/ 1964 h 236"/>
                  <a:gd name="T66" fmla="*/ 8993 w 116"/>
                  <a:gd name="T67" fmla="*/ 1996 h 236"/>
                  <a:gd name="T68" fmla="*/ 8784 w 116"/>
                  <a:gd name="T69" fmla="*/ 2191 h 236"/>
                  <a:gd name="T70" fmla="*/ 9010 w 116"/>
                  <a:gd name="T71" fmla="*/ 2316 h 236"/>
                  <a:gd name="T72" fmla="*/ 8993 w 116"/>
                  <a:gd name="T73" fmla="*/ 2395 h 236"/>
                  <a:gd name="T74" fmla="*/ 8058 w 116"/>
                  <a:gd name="T75" fmla="*/ 2671 h 236"/>
                  <a:gd name="T76" fmla="*/ 7364 w 116"/>
                  <a:gd name="T77" fmla="*/ 3068 h 236"/>
                  <a:gd name="T78" fmla="*/ 6641 w 116"/>
                  <a:gd name="T79" fmla="*/ 3734 h 236"/>
                  <a:gd name="T80" fmla="*/ 6443 w 116"/>
                  <a:gd name="T81" fmla="*/ 4289 h 236"/>
                  <a:gd name="T82" fmla="*/ 6171 w 116"/>
                  <a:gd name="T83" fmla="*/ 5230 h 2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6"/>
                  <a:gd name="T127" fmla="*/ 0 h 236"/>
                  <a:gd name="T128" fmla="*/ 116 w 116"/>
                  <a:gd name="T129" fmla="*/ 236 h 2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6" h="236">
                    <a:moveTo>
                      <a:pt x="75" y="203"/>
                    </a:moveTo>
                    <a:lnTo>
                      <a:pt x="76" y="231"/>
                    </a:lnTo>
                    <a:lnTo>
                      <a:pt x="78" y="234"/>
                    </a:lnTo>
                    <a:lnTo>
                      <a:pt x="47" y="236"/>
                    </a:lnTo>
                    <a:lnTo>
                      <a:pt x="43" y="235"/>
                    </a:lnTo>
                    <a:lnTo>
                      <a:pt x="40" y="229"/>
                    </a:lnTo>
                    <a:lnTo>
                      <a:pt x="37" y="220"/>
                    </a:lnTo>
                    <a:lnTo>
                      <a:pt x="37" y="214"/>
                    </a:lnTo>
                    <a:lnTo>
                      <a:pt x="40" y="197"/>
                    </a:lnTo>
                    <a:lnTo>
                      <a:pt x="40" y="161"/>
                    </a:lnTo>
                    <a:lnTo>
                      <a:pt x="40" y="148"/>
                    </a:lnTo>
                    <a:lnTo>
                      <a:pt x="37" y="141"/>
                    </a:lnTo>
                    <a:lnTo>
                      <a:pt x="36" y="135"/>
                    </a:lnTo>
                    <a:lnTo>
                      <a:pt x="34" y="130"/>
                    </a:lnTo>
                    <a:lnTo>
                      <a:pt x="32" y="125"/>
                    </a:lnTo>
                    <a:lnTo>
                      <a:pt x="28" y="110"/>
                    </a:lnTo>
                    <a:lnTo>
                      <a:pt x="22" y="96"/>
                    </a:lnTo>
                    <a:lnTo>
                      <a:pt x="13" y="84"/>
                    </a:lnTo>
                    <a:lnTo>
                      <a:pt x="10" y="84"/>
                    </a:lnTo>
                    <a:lnTo>
                      <a:pt x="7" y="84"/>
                    </a:lnTo>
                    <a:lnTo>
                      <a:pt x="3" y="80"/>
                    </a:lnTo>
                    <a:lnTo>
                      <a:pt x="0" y="78"/>
                    </a:lnTo>
                    <a:lnTo>
                      <a:pt x="0" y="72"/>
                    </a:lnTo>
                    <a:lnTo>
                      <a:pt x="0" y="64"/>
                    </a:lnTo>
                    <a:lnTo>
                      <a:pt x="3" y="60"/>
                    </a:lnTo>
                    <a:lnTo>
                      <a:pt x="3" y="54"/>
                    </a:lnTo>
                    <a:lnTo>
                      <a:pt x="5" y="53"/>
                    </a:lnTo>
                    <a:lnTo>
                      <a:pt x="7" y="50"/>
                    </a:lnTo>
                    <a:lnTo>
                      <a:pt x="10" y="50"/>
                    </a:lnTo>
                    <a:lnTo>
                      <a:pt x="10" y="47"/>
                    </a:lnTo>
                    <a:lnTo>
                      <a:pt x="13" y="45"/>
                    </a:lnTo>
                    <a:lnTo>
                      <a:pt x="14" y="43"/>
                    </a:lnTo>
                    <a:lnTo>
                      <a:pt x="15" y="43"/>
                    </a:lnTo>
                    <a:lnTo>
                      <a:pt x="18" y="43"/>
                    </a:lnTo>
                    <a:lnTo>
                      <a:pt x="24" y="35"/>
                    </a:lnTo>
                    <a:lnTo>
                      <a:pt x="25" y="33"/>
                    </a:lnTo>
                    <a:lnTo>
                      <a:pt x="30" y="33"/>
                    </a:lnTo>
                    <a:lnTo>
                      <a:pt x="36" y="36"/>
                    </a:lnTo>
                    <a:lnTo>
                      <a:pt x="41" y="35"/>
                    </a:lnTo>
                    <a:lnTo>
                      <a:pt x="46" y="36"/>
                    </a:lnTo>
                    <a:lnTo>
                      <a:pt x="50" y="35"/>
                    </a:lnTo>
                    <a:lnTo>
                      <a:pt x="58" y="26"/>
                    </a:lnTo>
                    <a:lnTo>
                      <a:pt x="60" y="25"/>
                    </a:lnTo>
                    <a:lnTo>
                      <a:pt x="58" y="23"/>
                    </a:lnTo>
                    <a:lnTo>
                      <a:pt x="61" y="21"/>
                    </a:lnTo>
                    <a:lnTo>
                      <a:pt x="63" y="17"/>
                    </a:lnTo>
                    <a:lnTo>
                      <a:pt x="63" y="16"/>
                    </a:lnTo>
                    <a:lnTo>
                      <a:pt x="67" y="14"/>
                    </a:lnTo>
                    <a:lnTo>
                      <a:pt x="63" y="7"/>
                    </a:lnTo>
                    <a:lnTo>
                      <a:pt x="61" y="5"/>
                    </a:lnTo>
                    <a:lnTo>
                      <a:pt x="70" y="3"/>
                    </a:lnTo>
                    <a:lnTo>
                      <a:pt x="73" y="3"/>
                    </a:lnTo>
                    <a:lnTo>
                      <a:pt x="79" y="0"/>
                    </a:lnTo>
                    <a:lnTo>
                      <a:pt x="82" y="0"/>
                    </a:lnTo>
                    <a:lnTo>
                      <a:pt x="89" y="9"/>
                    </a:lnTo>
                    <a:lnTo>
                      <a:pt x="98" y="16"/>
                    </a:lnTo>
                    <a:lnTo>
                      <a:pt x="103" y="20"/>
                    </a:lnTo>
                    <a:lnTo>
                      <a:pt x="109" y="26"/>
                    </a:lnTo>
                    <a:lnTo>
                      <a:pt x="105" y="29"/>
                    </a:lnTo>
                    <a:lnTo>
                      <a:pt x="104" y="37"/>
                    </a:lnTo>
                    <a:lnTo>
                      <a:pt x="105" y="40"/>
                    </a:lnTo>
                    <a:lnTo>
                      <a:pt x="112" y="47"/>
                    </a:lnTo>
                    <a:lnTo>
                      <a:pt x="113" y="50"/>
                    </a:lnTo>
                    <a:lnTo>
                      <a:pt x="116" y="61"/>
                    </a:lnTo>
                    <a:lnTo>
                      <a:pt x="116" y="73"/>
                    </a:lnTo>
                    <a:lnTo>
                      <a:pt x="115" y="74"/>
                    </a:lnTo>
                    <a:lnTo>
                      <a:pt x="112" y="74"/>
                    </a:lnTo>
                    <a:lnTo>
                      <a:pt x="109" y="76"/>
                    </a:lnTo>
                    <a:lnTo>
                      <a:pt x="108" y="80"/>
                    </a:lnTo>
                    <a:lnTo>
                      <a:pt x="108" y="83"/>
                    </a:lnTo>
                    <a:lnTo>
                      <a:pt x="111" y="86"/>
                    </a:lnTo>
                    <a:lnTo>
                      <a:pt x="111" y="88"/>
                    </a:lnTo>
                    <a:lnTo>
                      <a:pt x="111" y="89"/>
                    </a:lnTo>
                    <a:lnTo>
                      <a:pt x="109" y="90"/>
                    </a:lnTo>
                    <a:lnTo>
                      <a:pt x="109" y="94"/>
                    </a:lnTo>
                    <a:lnTo>
                      <a:pt x="99" y="101"/>
                    </a:lnTo>
                    <a:lnTo>
                      <a:pt x="93" y="109"/>
                    </a:lnTo>
                    <a:lnTo>
                      <a:pt x="90" y="116"/>
                    </a:lnTo>
                    <a:lnTo>
                      <a:pt x="89" y="126"/>
                    </a:lnTo>
                    <a:lnTo>
                      <a:pt x="82" y="141"/>
                    </a:lnTo>
                    <a:lnTo>
                      <a:pt x="79" y="148"/>
                    </a:lnTo>
                    <a:lnTo>
                      <a:pt x="78" y="162"/>
                    </a:lnTo>
                    <a:lnTo>
                      <a:pt x="79" y="183"/>
                    </a:lnTo>
                    <a:lnTo>
                      <a:pt x="76" y="198"/>
                    </a:lnTo>
                    <a:lnTo>
                      <a:pt x="75" y="203"/>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7" name="Freeform 63"/>
              <p:cNvSpPr>
                <a:spLocks/>
              </p:cNvSpPr>
              <p:nvPr/>
            </p:nvSpPr>
            <p:spPr bwMode="auto">
              <a:xfrm>
                <a:off x="1308" y="2021"/>
                <a:ext cx="124" cy="248"/>
              </a:xfrm>
              <a:custGeom>
                <a:avLst/>
                <a:gdLst>
                  <a:gd name="T0" fmla="*/ 6171 w 116"/>
                  <a:gd name="T1" fmla="*/ 6094 h 236"/>
                  <a:gd name="T2" fmla="*/ 3780 w 116"/>
                  <a:gd name="T3" fmla="*/ 6254 h 236"/>
                  <a:gd name="T4" fmla="*/ 3306 w 116"/>
                  <a:gd name="T5" fmla="*/ 6047 h 236"/>
                  <a:gd name="T6" fmla="*/ 3093 w 116"/>
                  <a:gd name="T7" fmla="*/ 5663 h 236"/>
                  <a:gd name="T8" fmla="*/ 3306 w 116"/>
                  <a:gd name="T9" fmla="*/ 4274 h 236"/>
                  <a:gd name="T10" fmla="*/ 3093 w 116"/>
                  <a:gd name="T11" fmla="*/ 3734 h 236"/>
                  <a:gd name="T12" fmla="*/ 2708 w 116"/>
                  <a:gd name="T13" fmla="*/ 3446 h 236"/>
                  <a:gd name="T14" fmla="*/ 2217 w 116"/>
                  <a:gd name="T15" fmla="*/ 2920 h 236"/>
                  <a:gd name="T16" fmla="*/ 996 w 116"/>
                  <a:gd name="T17" fmla="*/ 2204 h 236"/>
                  <a:gd name="T18" fmla="*/ 7 w 116"/>
                  <a:gd name="T19" fmla="*/ 2204 h 236"/>
                  <a:gd name="T20" fmla="*/ 0 w 116"/>
                  <a:gd name="T21" fmla="*/ 2064 h 236"/>
                  <a:gd name="T22" fmla="*/ 0 w 116"/>
                  <a:gd name="T23" fmla="*/ 1693 h 236"/>
                  <a:gd name="T24" fmla="*/ 3 w 116"/>
                  <a:gd name="T25" fmla="*/ 1440 h 236"/>
                  <a:gd name="T26" fmla="*/ 7 w 116"/>
                  <a:gd name="T27" fmla="*/ 1334 h 236"/>
                  <a:gd name="T28" fmla="*/ 816 w 116"/>
                  <a:gd name="T29" fmla="*/ 1241 h 236"/>
                  <a:gd name="T30" fmla="*/ 1065 w 116"/>
                  <a:gd name="T31" fmla="*/ 1124 h 236"/>
                  <a:gd name="T32" fmla="*/ 1390 w 116"/>
                  <a:gd name="T33" fmla="*/ 1124 h 236"/>
                  <a:gd name="T34" fmla="*/ 2072 w 116"/>
                  <a:gd name="T35" fmla="*/ 877 h 236"/>
                  <a:gd name="T36" fmla="*/ 2895 w 116"/>
                  <a:gd name="T37" fmla="*/ 943 h 236"/>
                  <a:gd name="T38" fmla="*/ 3778 w 116"/>
                  <a:gd name="T39" fmla="*/ 943 h 236"/>
                  <a:gd name="T40" fmla="*/ 4727 w 116"/>
                  <a:gd name="T41" fmla="*/ 667 h 236"/>
                  <a:gd name="T42" fmla="*/ 4727 w 116"/>
                  <a:gd name="T43" fmla="*/ 575 h 236"/>
                  <a:gd name="T44" fmla="*/ 5086 w 116"/>
                  <a:gd name="T45" fmla="*/ 427 h 236"/>
                  <a:gd name="T46" fmla="*/ 5437 w 116"/>
                  <a:gd name="T47" fmla="*/ 367 h 236"/>
                  <a:gd name="T48" fmla="*/ 4936 w 116"/>
                  <a:gd name="T49" fmla="*/ 5 h 236"/>
                  <a:gd name="T50" fmla="*/ 6027 w 116"/>
                  <a:gd name="T51" fmla="*/ 3 h 236"/>
                  <a:gd name="T52" fmla="*/ 6641 w 116"/>
                  <a:gd name="T53" fmla="*/ 0 h 236"/>
                  <a:gd name="T54" fmla="*/ 7977 w 116"/>
                  <a:gd name="T55" fmla="*/ 406 h 236"/>
                  <a:gd name="T56" fmla="*/ 8993 w 116"/>
                  <a:gd name="T57" fmla="*/ 667 h 236"/>
                  <a:gd name="T58" fmla="*/ 8429 w 116"/>
                  <a:gd name="T59" fmla="*/ 969 h 236"/>
                  <a:gd name="T60" fmla="*/ 9115 w 116"/>
                  <a:gd name="T61" fmla="*/ 1241 h 236"/>
                  <a:gd name="T62" fmla="*/ 9545 w 116"/>
                  <a:gd name="T63" fmla="*/ 1611 h 236"/>
                  <a:gd name="T64" fmla="*/ 9390 w 116"/>
                  <a:gd name="T65" fmla="*/ 1964 h 236"/>
                  <a:gd name="T66" fmla="*/ 8993 w 116"/>
                  <a:gd name="T67" fmla="*/ 1996 h 236"/>
                  <a:gd name="T68" fmla="*/ 8784 w 116"/>
                  <a:gd name="T69" fmla="*/ 2191 h 236"/>
                  <a:gd name="T70" fmla="*/ 9010 w 116"/>
                  <a:gd name="T71" fmla="*/ 2316 h 236"/>
                  <a:gd name="T72" fmla="*/ 8993 w 116"/>
                  <a:gd name="T73" fmla="*/ 2395 h 236"/>
                  <a:gd name="T74" fmla="*/ 8058 w 116"/>
                  <a:gd name="T75" fmla="*/ 2671 h 236"/>
                  <a:gd name="T76" fmla="*/ 7364 w 116"/>
                  <a:gd name="T77" fmla="*/ 3068 h 236"/>
                  <a:gd name="T78" fmla="*/ 6641 w 116"/>
                  <a:gd name="T79" fmla="*/ 3734 h 236"/>
                  <a:gd name="T80" fmla="*/ 6443 w 116"/>
                  <a:gd name="T81" fmla="*/ 4289 h 236"/>
                  <a:gd name="T82" fmla="*/ 6171 w 116"/>
                  <a:gd name="T83" fmla="*/ 5230 h 2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6"/>
                  <a:gd name="T127" fmla="*/ 0 h 236"/>
                  <a:gd name="T128" fmla="*/ 116 w 116"/>
                  <a:gd name="T129" fmla="*/ 236 h 2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6" h="236">
                    <a:moveTo>
                      <a:pt x="75" y="203"/>
                    </a:moveTo>
                    <a:lnTo>
                      <a:pt x="76" y="231"/>
                    </a:lnTo>
                    <a:lnTo>
                      <a:pt x="78" y="234"/>
                    </a:lnTo>
                    <a:lnTo>
                      <a:pt x="47" y="236"/>
                    </a:lnTo>
                    <a:lnTo>
                      <a:pt x="43" y="235"/>
                    </a:lnTo>
                    <a:lnTo>
                      <a:pt x="40" y="229"/>
                    </a:lnTo>
                    <a:lnTo>
                      <a:pt x="37" y="220"/>
                    </a:lnTo>
                    <a:lnTo>
                      <a:pt x="37" y="214"/>
                    </a:lnTo>
                    <a:lnTo>
                      <a:pt x="40" y="197"/>
                    </a:lnTo>
                    <a:lnTo>
                      <a:pt x="40" y="161"/>
                    </a:lnTo>
                    <a:lnTo>
                      <a:pt x="40" y="148"/>
                    </a:lnTo>
                    <a:lnTo>
                      <a:pt x="37" y="141"/>
                    </a:lnTo>
                    <a:lnTo>
                      <a:pt x="36" y="135"/>
                    </a:lnTo>
                    <a:lnTo>
                      <a:pt x="34" y="130"/>
                    </a:lnTo>
                    <a:lnTo>
                      <a:pt x="32" y="125"/>
                    </a:lnTo>
                    <a:lnTo>
                      <a:pt x="28" y="110"/>
                    </a:lnTo>
                    <a:lnTo>
                      <a:pt x="22" y="96"/>
                    </a:lnTo>
                    <a:lnTo>
                      <a:pt x="13" y="84"/>
                    </a:lnTo>
                    <a:lnTo>
                      <a:pt x="10" y="84"/>
                    </a:lnTo>
                    <a:lnTo>
                      <a:pt x="7" y="84"/>
                    </a:lnTo>
                    <a:lnTo>
                      <a:pt x="3" y="80"/>
                    </a:lnTo>
                    <a:lnTo>
                      <a:pt x="0" y="78"/>
                    </a:lnTo>
                    <a:lnTo>
                      <a:pt x="0" y="72"/>
                    </a:lnTo>
                    <a:lnTo>
                      <a:pt x="0" y="64"/>
                    </a:lnTo>
                    <a:lnTo>
                      <a:pt x="3" y="60"/>
                    </a:lnTo>
                    <a:lnTo>
                      <a:pt x="3" y="54"/>
                    </a:lnTo>
                    <a:lnTo>
                      <a:pt x="5" y="53"/>
                    </a:lnTo>
                    <a:lnTo>
                      <a:pt x="7" y="50"/>
                    </a:lnTo>
                    <a:lnTo>
                      <a:pt x="10" y="50"/>
                    </a:lnTo>
                    <a:lnTo>
                      <a:pt x="10" y="47"/>
                    </a:lnTo>
                    <a:lnTo>
                      <a:pt x="13" y="45"/>
                    </a:lnTo>
                    <a:lnTo>
                      <a:pt x="14" y="43"/>
                    </a:lnTo>
                    <a:lnTo>
                      <a:pt x="15" y="43"/>
                    </a:lnTo>
                    <a:lnTo>
                      <a:pt x="18" y="43"/>
                    </a:lnTo>
                    <a:lnTo>
                      <a:pt x="24" y="35"/>
                    </a:lnTo>
                    <a:lnTo>
                      <a:pt x="25" y="33"/>
                    </a:lnTo>
                    <a:lnTo>
                      <a:pt x="30" y="33"/>
                    </a:lnTo>
                    <a:lnTo>
                      <a:pt x="36" y="36"/>
                    </a:lnTo>
                    <a:lnTo>
                      <a:pt x="41" y="35"/>
                    </a:lnTo>
                    <a:lnTo>
                      <a:pt x="46" y="36"/>
                    </a:lnTo>
                    <a:lnTo>
                      <a:pt x="50" y="35"/>
                    </a:lnTo>
                    <a:lnTo>
                      <a:pt x="58" y="26"/>
                    </a:lnTo>
                    <a:lnTo>
                      <a:pt x="60" y="25"/>
                    </a:lnTo>
                    <a:lnTo>
                      <a:pt x="58" y="23"/>
                    </a:lnTo>
                    <a:lnTo>
                      <a:pt x="61" y="21"/>
                    </a:lnTo>
                    <a:lnTo>
                      <a:pt x="63" y="17"/>
                    </a:lnTo>
                    <a:lnTo>
                      <a:pt x="63" y="16"/>
                    </a:lnTo>
                    <a:lnTo>
                      <a:pt x="67" y="14"/>
                    </a:lnTo>
                    <a:lnTo>
                      <a:pt x="63" y="7"/>
                    </a:lnTo>
                    <a:lnTo>
                      <a:pt x="61" y="5"/>
                    </a:lnTo>
                    <a:lnTo>
                      <a:pt x="70" y="3"/>
                    </a:lnTo>
                    <a:lnTo>
                      <a:pt x="73" y="3"/>
                    </a:lnTo>
                    <a:lnTo>
                      <a:pt x="79" y="0"/>
                    </a:lnTo>
                    <a:lnTo>
                      <a:pt x="82" y="0"/>
                    </a:lnTo>
                    <a:lnTo>
                      <a:pt x="89" y="9"/>
                    </a:lnTo>
                    <a:lnTo>
                      <a:pt x="98" y="16"/>
                    </a:lnTo>
                    <a:lnTo>
                      <a:pt x="103" y="20"/>
                    </a:lnTo>
                    <a:lnTo>
                      <a:pt x="109" y="26"/>
                    </a:lnTo>
                    <a:lnTo>
                      <a:pt x="105" y="29"/>
                    </a:lnTo>
                    <a:lnTo>
                      <a:pt x="104" y="37"/>
                    </a:lnTo>
                    <a:lnTo>
                      <a:pt x="105" y="40"/>
                    </a:lnTo>
                    <a:lnTo>
                      <a:pt x="112" y="47"/>
                    </a:lnTo>
                    <a:lnTo>
                      <a:pt x="113" y="50"/>
                    </a:lnTo>
                    <a:lnTo>
                      <a:pt x="116" y="61"/>
                    </a:lnTo>
                    <a:lnTo>
                      <a:pt x="116" y="73"/>
                    </a:lnTo>
                    <a:lnTo>
                      <a:pt x="115" y="74"/>
                    </a:lnTo>
                    <a:lnTo>
                      <a:pt x="112" y="74"/>
                    </a:lnTo>
                    <a:lnTo>
                      <a:pt x="109" y="76"/>
                    </a:lnTo>
                    <a:lnTo>
                      <a:pt x="108" y="80"/>
                    </a:lnTo>
                    <a:lnTo>
                      <a:pt x="108" y="83"/>
                    </a:lnTo>
                    <a:lnTo>
                      <a:pt x="111" y="86"/>
                    </a:lnTo>
                    <a:lnTo>
                      <a:pt x="111" y="88"/>
                    </a:lnTo>
                    <a:lnTo>
                      <a:pt x="111" y="89"/>
                    </a:lnTo>
                    <a:lnTo>
                      <a:pt x="109" y="90"/>
                    </a:lnTo>
                    <a:lnTo>
                      <a:pt x="109" y="94"/>
                    </a:lnTo>
                    <a:lnTo>
                      <a:pt x="99" y="101"/>
                    </a:lnTo>
                    <a:lnTo>
                      <a:pt x="93" y="109"/>
                    </a:lnTo>
                    <a:lnTo>
                      <a:pt x="90" y="116"/>
                    </a:lnTo>
                    <a:lnTo>
                      <a:pt x="89" y="126"/>
                    </a:lnTo>
                    <a:lnTo>
                      <a:pt x="82" y="141"/>
                    </a:lnTo>
                    <a:lnTo>
                      <a:pt x="79" y="148"/>
                    </a:lnTo>
                    <a:lnTo>
                      <a:pt x="78" y="162"/>
                    </a:lnTo>
                    <a:lnTo>
                      <a:pt x="79" y="183"/>
                    </a:lnTo>
                    <a:lnTo>
                      <a:pt x="76" y="198"/>
                    </a:lnTo>
                    <a:lnTo>
                      <a:pt x="75" y="203"/>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8" name="Freeform 64"/>
              <p:cNvSpPr>
                <a:spLocks/>
              </p:cNvSpPr>
              <p:nvPr/>
            </p:nvSpPr>
            <p:spPr bwMode="auto">
              <a:xfrm>
                <a:off x="1582" y="1010"/>
                <a:ext cx="164" cy="283"/>
              </a:xfrm>
              <a:custGeom>
                <a:avLst/>
                <a:gdLst>
                  <a:gd name="T0" fmla="*/ 5013 w 153"/>
                  <a:gd name="T1" fmla="*/ 461 h 269"/>
                  <a:gd name="T2" fmla="*/ 5227 w 153"/>
                  <a:gd name="T3" fmla="*/ 356 h 269"/>
                  <a:gd name="T4" fmla="*/ 6173 w 153"/>
                  <a:gd name="T5" fmla="*/ 7 h 269"/>
                  <a:gd name="T6" fmla="*/ 7787 w 153"/>
                  <a:gd name="T7" fmla="*/ 0 h 269"/>
                  <a:gd name="T8" fmla="*/ 9364 w 153"/>
                  <a:gd name="T9" fmla="*/ 0 h 269"/>
                  <a:gd name="T10" fmla="*/ 10642 w 153"/>
                  <a:gd name="T11" fmla="*/ 5 h 269"/>
                  <a:gd name="T12" fmla="*/ 10881 w 153"/>
                  <a:gd name="T13" fmla="*/ 395 h 269"/>
                  <a:gd name="T14" fmla="*/ 11649 w 153"/>
                  <a:gd name="T15" fmla="*/ 565 h 269"/>
                  <a:gd name="T16" fmla="*/ 12428 w 153"/>
                  <a:gd name="T17" fmla="*/ 485 h 269"/>
                  <a:gd name="T18" fmla="*/ 13251 w 153"/>
                  <a:gd name="T19" fmla="*/ 321 h 269"/>
                  <a:gd name="T20" fmla="*/ 14116 w 153"/>
                  <a:gd name="T21" fmla="*/ 461 h 269"/>
                  <a:gd name="T22" fmla="*/ 12428 w 153"/>
                  <a:gd name="T23" fmla="*/ 909 h 269"/>
                  <a:gd name="T24" fmla="*/ 11810 w 153"/>
                  <a:gd name="T25" fmla="*/ 1232 h 269"/>
                  <a:gd name="T26" fmla="*/ 12362 w 153"/>
                  <a:gd name="T27" fmla="*/ 1588 h 269"/>
                  <a:gd name="T28" fmla="*/ 13251 w 153"/>
                  <a:gd name="T29" fmla="*/ 1724 h 269"/>
                  <a:gd name="T30" fmla="*/ 14048 w 153"/>
                  <a:gd name="T31" fmla="*/ 2145 h 269"/>
                  <a:gd name="T32" fmla="*/ 13401 w 153"/>
                  <a:gd name="T33" fmla="*/ 2628 h 269"/>
                  <a:gd name="T34" fmla="*/ 12502 w 153"/>
                  <a:gd name="T35" fmla="*/ 2909 h 269"/>
                  <a:gd name="T36" fmla="*/ 11407 w 153"/>
                  <a:gd name="T37" fmla="*/ 3090 h 269"/>
                  <a:gd name="T38" fmla="*/ 10289 w 153"/>
                  <a:gd name="T39" fmla="*/ 3251 h 269"/>
                  <a:gd name="T40" fmla="*/ 10279 w 153"/>
                  <a:gd name="T41" fmla="*/ 3521 h 269"/>
                  <a:gd name="T42" fmla="*/ 9364 w 153"/>
                  <a:gd name="T43" fmla="*/ 3694 h 269"/>
                  <a:gd name="T44" fmla="*/ 10289 w 153"/>
                  <a:gd name="T45" fmla="*/ 3943 h 269"/>
                  <a:gd name="T46" fmla="*/ 11220 w 153"/>
                  <a:gd name="T47" fmla="*/ 3982 h 269"/>
                  <a:gd name="T48" fmla="*/ 11810 w 153"/>
                  <a:gd name="T49" fmla="*/ 4088 h 269"/>
                  <a:gd name="T50" fmla="*/ 12502 w 153"/>
                  <a:gd name="T51" fmla="*/ 4088 h 269"/>
                  <a:gd name="T52" fmla="*/ 13401 w 153"/>
                  <a:gd name="T53" fmla="*/ 4364 h 269"/>
                  <a:gd name="T54" fmla="*/ 13819 w 153"/>
                  <a:gd name="T55" fmla="*/ 4525 h 269"/>
                  <a:gd name="T56" fmla="*/ 14364 w 153"/>
                  <a:gd name="T57" fmla="*/ 4523 h 269"/>
                  <a:gd name="T58" fmla="*/ 14813 w 153"/>
                  <a:gd name="T59" fmla="*/ 4580 h 269"/>
                  <a:gd name="T60" fmla="*/ 14364 w 153"/>
                  <a:gd name="T61" fmla="*/ 5364 h 269"/>
                  <a:gd name="T62" fmla="*/ 12227 w 153"/>
                  <a:gd name="T63" fmla="*/ 5833 h 269"/>
                  <a:gd name="T64" fmla="*/ 11220 w 153"/>
                  <a:gd name="T65" fmla="*/ 6137 h 269"/>
                  <a:gd name="T66" fmla="*/ 9976 w 153"/>
                  <a:gd name="T67" fmla="*/ 6286 h 269"/>
                  <a:gd name="T68" fmla="*/ 10279 w 153"/>
                  <a:gd name="T69" fmla="*/ 6954 h 269"/>
                  <a:gd name="T70" fmla="*/ 9928 w 153"/>
                  <a:gd name="T71" fmla="*/ 7314 h 269"/>
                  <a:gd name="T72" fmla="*/ 8354 w 153"/>
                  <a:gd name="T73" fmla="*/ 7607 h 269"/>
                  <a:gd name="T74" fmla="*/ 7397 w 153"/>
                  <a:gd name="T75" fmla="*/ 7563 h 269"/>
                  <a:gd name="T76" fmla="*/ 6173 w 153"/>
                  <a:gd name="T77" fmla="*/ 5677 h 269"/>
                  <a:gd name="T78" fmla="*/ 4472 w 153"/>
                  <a:gd name="T79" fmla="*/ 5500 h 269"/>
                  <a:gd name="T80" fmla="*/ 2998 w 153"/>
                  <a:gd name="T81" fmla="*/ 5006 h 269"/>
                  <a:gd name="T82" fmla="*/ 2271 w 153"/>
                  <a:gd name="T83" fmla="*/ 4555 h 269"/>
                  <a:gd name="T84" fmla="*/ 6 w 153"/>
                  <a:gd name="T85" fmla="*/ 3943 h 269"/>
                  <a:gd name="T86" fmla="*/ 0 w 153"/>
                  <a:gd name="T87" fmla="*/ 3694 h 269"/>
                  <a:gd name="T88" fmla="*/ 921 w 153"/>
                  <a:gd name="T89" fmla="*/ 3521 h 269"/>
                  <a:gd name="T90" fmla="*/ 1216 w 153"/>
                  <a:gd name="T91" fmla="*/ 3387 h 269"/>
                  <a:gd name="T92" fmla="*/ 1977 w 153"/>
                  <a:gd name="T93" fmla="*/ 3181 h 269"/>
                  <a:gd name="T94" fmla="*/ 3631 w 153"/>
                  <a:gd name="T95" fmla="*/ 2765 h 269"/>
                  <a:gd name="T96" fmla="*/ 4070 w 153"/>
                  <a:gd name="T97" fmla="*/ 2221 h 269"/>
                  <a:gd name="T98" fmla="*/ 3797 w 153"/>
                  <a:gd name="T99" fmla="*/ 1724 h 269"/>
                  <a:gd name="T100" fmla="*/ 3631 w 153"/>
                  <a:gd name="T101" fmla="*/ 1444 h 269"/>
                  <a:gd name="T102" fmla="*/ 3892 w 153"/>
                  <a:gd name="T103" fmla="*/ 892 h 269"/>
                  <a:gd name="T104" fmla="*/ 3631 w 153"/>
                  <a:gd name="T105" fmla="*/ 766 h 269"/>
                  <a:gd name="T106" fmla="*/ 4549 w 153"/>
                  <a:gd name="T107" fmla="*/ 510 h 2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53"/>
                  <a:gd name="T163" fmla="*/ 0 h 269"/>
                  <a:gd name="T164" fmla="*/ 153 w 153"/>
                  <a:gd name="T165" fmla="*/ 269 h 2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53" h="269">
                    <a:moveTo>
                      <a:pt x="47" y="19"/>
                    </a:moveTo>
                    <a:lnTo>
                      <a:pt x="51" y="17"/>
                    </a:lnTo>
                    <a:lnTo>
                      <a:pt x="52" y="14"/>
                    </a:lnTo>
                    <a:lnTo>
                      <a:pt x="54" y="12"/>
                    </a:lnTo>
                    <a:lnTo>
                      <a:pt x="57" y="10"/>
                    </a:lnTo>
                    <a:lnTo>
                      <a:pt x="63" y="7"/>
                    </a:lnTo>
                    <a:lnTo>
                      <a:pt x="71" y="4"/>
                    </a:lnTo>
                    <a:lnTo>
                      <a:pt x="79" y="0"/>
                    </a:lnTo>
                    <a:lnTo>
                      <a:pt x="89" y="0"/>
                    </a:lnTo>
                    <a:lnTo>
                      <a:pt x="96" y="0"/>
                    </a:lnTo>
                    <a:lnTo>
                      <a:pt x="109" y="4"/>
                    </a:lnTo>
                    <a:lnTo>
                      <a:pt x="108" y="5"/>
                    </a:lnTo>
                    <a:lnTo>
                      <a:pt x="109" y="7"/>
                    </a:lnTo>
                    <a:lnTo>
                      <a:pt x="112" y="14"/>
                    </a:lnTo>
                    <a:lnTo>
                      <a:pt x="112" y="19"/>
                    </a:lnTo>
                    <a:lnTo>
                      <a:pt x="119" y="21"/>
                    </a:lnTo>
                    <a:lnTo>
                      <a:pt x="122" y="19"/>
                    </a:lnTo>
                    <a:lnTo>
                      <a:pt x="127" y="18"/>
                    </a:lnTo>
                    <a:lnTo>
                      <a:pt x="132" y="14"/>
                    </a:lnTo>
                    <a:lnTo>
                      <a:pt x="135" y="10"/>
                    </a:lnTo>
                    <a:lnTo>
                      <a:pt x="141" y="10"/>
                    </a:lnTo>
                    <a:lnTo>
                      <a:pt x="144" y="17"/>
                    </a:lnTo>
                    <a:lnTo>
                      <a:pt x="136" y="30"/>
                    </a:lnTo>
                    <a:lnTo>
                      <a:pt x="127" y="32"/>
                    </a:lnTo>
                    <a:lnTo>
                      <a:pt x="122" y="35"/>
                    </a:lnTo>
                    <a:lnTo>
                      <a:pt x="121" y="44"/>
                    </a:lnTo>
                    <a:lnTo>
                      <a:pt x="122" y="53"/>
                    </a:lnTo>
                    <a:lnTo>
                      <a:pt x="126" y="56"/>
                    </a:lnTo>
                    <a:lnTo>
                      <a:pt x="132" y="57"/>
                    </a:lnTo>
                    <a:lnTo>
                      <a:pt x="135" y="61"/>
                    </a:lnTo>
                    <a:lnTo>
                      <a:pt x="141" y="65"/>
                    </a:lnTo>
                    <a:lnTo>
                      <a:pt x="143" y="75"/>
                    </a:lnTo>
                    <a:lnTo>
                      <a:pt x="144" y="78"/>
                    </a:lnTo>
                    <a:lnTo>
                      <a:pt x="138" y="92"/>
                    </a:lnTo>
                    <a:lnTo>
                      <a:pt x="134" y="97"/>
                    </a:lnTo>
                    <a:lnTo>
                      <a:pt x="129" y="102"/>
                    </a:lnTo>
                    <a:lnTo>
                      <a:pt x="121" y="108"/>
                    </a:lnTo>
                    <a:lnTo>
                      <a:pt x="116" y="109"/>
                    </a:lnTo>
                    <a:lnTo>
                      <a:pt x="112" y="113"/>
                    </a:lnTo>
                    <a:lnTo>
                      <a:pt x="106" y="115"/>
                    </a:lnTo>
                    <a:lnTo>
                      <a:pt x="105" y="118"/>
                    </a:lnTo>
                    <a:lnTo>
                      <a:pt x="105" y="124"/>
                    </a:lnTo>
                    <a:lnTo>
                      <a:pt x="96" y="122"/>
                    </a:lnTo>
                    <a:lnTo>
                      <a:pt x="96" y="129"/>
                    </a:lnTo>
                    <a:lnTo>
                      <a:pt x="99" y="136"/>
                    </a:lnTo>
                    <a:lnTo>
                      <a:pt x="106" y="139"/>
                    </a:lnTo>
                    <a:lnTo>
                      <a:pt x="110" y="141"/>
                    </a:lnTo>
                    <a:lnTo>
                      <a:pt x="115" y="141"/>
                    </a:lnTo>
                    <a:lnTo>
                      <a:pt x="118" y="139"/>
                    </a:lnTo>
                    <a:lnTo>
                      <a:pt x="121" y="143"/>
                    </a:lnTo>
                    <a:lnTo>
                      <a:pt x="124" y="146"/>
                    </a:lnTo>
                    <a:lnTo>
                      <a:pt x="129" y="143"/>
                    </a:lnTo>
                    <a:lnTo>
                      <a:pt x="132" y="143"/>
                    </a:lnTo>
                    <a:lnTo>
                      <a:pt x="138" y="154"/>
                    </a:lnTo>
                    <a:lnTo>
                      <a:pt x="138" y="156"/>
                    </a:lnTo>
                    <a:lnTo>
                      <a:pt x="141" y="158"/>
                    </a:lnTo>
                    <a:lnTo>
                      <a:pt x="145" y="158"/>
                    </a:lnTo>
                    <a:lnTo>
                      <a:pt x="148" y="157"/>
                    </a:lnTo>
                    <a:lnTo>
                      <a:pt x="153" y="160"/>
                    </a:lnTo>
                    <a:lnTo>
                      <a:pt x="151" y="161"/>
                    </a:lnTo>
                    <a:lnTo>
                      <a:pt x="153" y="183"/>
                    </a:lnTo>
                    <a:lnTo>
                      <a:pt x="148" y="189"/>
                    </a:lnTo>
                    <a:lnTo>
                      <a:pt x="144" y="192"/>
                    </a:lnTo>
                    <a:lnTo>
                      <a:pt x="124" y="204"/>
                    </a:lnTo>
                    <a:lnTo>
                      <a:pt x="122" y="211"/>
                    </a:lnTo>
                    <a:lnTo>
                      <a:pt x="115" y="215"/>
                    </a:lnTo>
                    <a:lnTo>
                      <a:pt x="105" y="218"/>
                    </a:lnTo>
                    <a:lnTo>
                      <a:pt x="102" y="222"/>
                    </a:lnTo>
                    <a:lnTo>
                      <a:pt x="102" y="228"/>
                    </a:lnTo>
                    <a:lnTo>
                      <a:pt x="105" y="245"/>
                    </a:lnTo>
                    <a:lnTo>
                      <a:pt x="105" y="251"/>
                    </a:lnTo>
                    <a:lnTo>
                      <a:pt x="101" y="257"/>
                    </a:lnTo>
                    <a:lnTo>
                      <a:pt x="95" y="262"/>
                    </a:lnTo>
                    <a:lnTo>
                      <a:pt x="86" y="267"/>
                    </a:lnTo>
                    <a:lnTo>
                      <a:pt x="78" y="269"/>
                    </a:lnTo>
                    <a:lnTo>
                      <a:pt x="76" y="265"/>
                    </a:lnTo>
                    <a:lnTo>
                      <a:pt x="73" y="243"/>
                    </a:lnTo>
                    <a:lnTo>
                      <a:pt x="63" y="200"/>
                    </a:lnTo>
                    <a:lnTo>
                      <a:pt x="61" y="200"/>
                    </a:lnTo>
                    <a:lnTo>
                      <a:pt x="46" y="192"/>
                    </a:lnTo>
                    <a:lnTo>
                      <a:pt x="31" y="186"/>
                    </a:lnTo>
                    <a:lnTo>
                      <a:pt x="31" y="174"/>
                    </a:lnTo>
                    <a:lnTo>
                      <a:pt x="26" y="163"/>
                    </a:lnTo>
                    <a:lnTo>
                      <a:pt x="23" y="160"/>
                    </a:lnTo>
                    <a:lnTo>
                      <a:pt x="9" y="155"/>
                    </a:lnTo>
                    <a:lnTo>
                      <a:pt x="6" y="139"/>
                    </a:lnTo>
                    <a:lnTo>
                      <a:pt x="1" y="132"/>
                    </a:lnTo>
                    <a:lnTo>
                      <a:pt x="0" y="129"/>
                    </a:lnTo>
                    <a:lnTo>
                      <a:pt x="1" y="129"/>
                    </a:lnTo>
                    <a:lnTo>
                      <a:pt x="9" y="124"/>
                    </a:lnTo>
                    <a:lnTo>
                      <a:pt x="9" y="123"/>
                    </a:lnTo>
                    <a:lnTo>
                      <a:pt x="13" y="119"/>
                    </a:lnTo>
                    <a:lnTo>
                      <a:pt x="20" y="118"/>
                    </a:lnTo>
                    <a:lnTo>
                      <a:pt x="20" y="112"/>
                    </a:lnTo>
                    <a:lnTo>
                      <a:pt x="34" y="103"/>
                    </a:lnTo>
                    <a:lnTo>
                      <a:pt x="37" y="97"/>
                    </a:lnTo>
                    <a:lnTo>
                      <a:pt x="42" y="82"/>
                    </a:lnTo>
                    <a:lnTo>
                      <a:pt x="42" y="78"/>
                    </a:lnTo>
                    <a:lnTo>
                      <a:pt x="39" y="75"/>
                    </a:lnTo>
                    <a:lnTo>
                      <a:pt x="39" y="61"/>
                    </a:lnTo>
                    <a:lnTo>
                      <a:pt x="36" y="56"/>
                    </a:lnTo>
                    <a:lnTo>
                      <a:pt x="37" y="51"/>
                    </a:lnTo>
                    <a:lnTo>
                      <a:pt x="41" y="34"/>
                    </a:lnTo>
                    <a:lnTo>
                      <a:pt x="40" y="31"/>
                    </a:lnTo>
                    <a:lnTo>
                      <a:pt x="36" y="30"/>
                    </a:lnTo>
                    <a:lnTo>
                      <a:pt x="37" y="27"/>
                    </a:lnTo>
                    <a:lnTo>
                      <a:pt x="43" y="22"/>
                    </a:lnTo>
                    <a:lnTo>
                      <a:pt x="47" y="19"/>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 name="Freeform 65"/>
              <p:cNvSpPr>
                <a:spLocks/>
              </p:cNvSpPr>
              <p:nvPr/>
            </p:nvSpPr>
            <p:spPr bwMode="auto">
              <a:xfrm>
                <a:off x="1582" y="1010"/>
                <a:ext cx="164" cy="283"/>
              </a:xfrm>
              <a:custGeom>
                <a:avLst/>
                <a:gdLst>
                  <a:gd name="T0" fmla="*/ 5013 w 153"/>
                  <a:gd name="T1" fmla="*/ 461 h 269"/>
                  <a:gd name="T2" fmla="*/ 5227 w 153"/>
                  <a:gd name="T3" fmla="*/ 356 h 269"/>
                  <a:gd name="T4" fmla="*/ 6173 w 153"/>
                  <a:gd name="T5" fmla="*/ 7 h 269"/>
                  <a:gd name="T6" fmla="*/ 7787 w 153"/>
                  <a:gd name="T7" fmla="*/ 0 h 269"/>
                  <a:gd name="T8" fmla="*/ 9364 w 153"/>
                  <a:gd name="T9" fmla="*/ 0 h 269"/>
                  <a:gd name="T10" fmla="*/ 10642 w 153"/>
                  <a:gd name="T11" fmla="*/ 5 h 269"/>
                  <a:gd name="T12" fmla="*/ 10881 w 153"/>
                  <a:gd name="T13" fmla="*/ 395 h 269"/>
                  <a:gd name="T14" fmla="*/ 11649 w 153"/>
                  <a:gd name="T15" fmla="*/ 565 h 269"/>
                  <a:gd name="T16" fmla="*/ 12428 w 153"/>
                  <a:gd name="T17" fmla="*/ 485 h 269"/>
                  <a:gd name="T18" fmla="*/ 13251 w 153"/>
                  <a:gd name="T19" fmla="*/ 321 h 269"/>
                  <a:gd name="T20" fmla="*/ 14116 w 153"/>
                  <a:gd name="T21" fmla="*/ 461 h 269"/>
                  <a:gd name="T22" fmla="*/ 12428 w 153"/>
                  <a:gd name="T23" fmla="*/ 909 h 269"/>
                  <a:gd name="T24" fmla="*/ 11810 w 153"/>
                  <a:gd name="T25" fmla="*/ 1232 h 269"/>
                  <a:gd name="T26" fmla="*/ 12362 w 153"/>
                  <a:gd name="T27" fmla="*/ 1588 h 269"/>
                  <a:gd name="T28" fmla="*/ 13251 w 153"/>
                  <a:gd name="T29" fmla="*/ 1724 h 269"/>
                  <a:gd name="T30" fmla="*/ 14048 w 153"/>
                  <a:gd name="T31" fmla="*/ 2145 h 269"/>
                  <a:gd name="T32" fmla="*/ 13401 w 153"/>
                  <a:gd name="T33" fmla="*/ 2628 h 269"/>
                  <a:gd name="T34" fmla="*/ 12502 w 153"/>
                  <a:gd name="T35" fmla="*/ 2909 h 269"/>
                  <a:gd name="T36" fmla="*/ 11407 w 153"/>
                  <a:gd name="T37" fmla="*/ 3090 h 269"/>
                  <a:gd name="T38" fmla="*/ 10289 w 153"/>
                  <a:gd name="T39" fmla="*/ 3251 h 269"/>
                  <a:gd name="T40" fmla="*/ 10279 w 153"/>
                  <a:gd name="T41" fmla="*/ 3521 h 269"/>
                  <a:gd name="T42" fmla="*/ 9364 w 153"/>
                  <a:gd name="T43" fmla="*/ 3694 h 269"/>
                  <a:gd name="T44" fmla="*/ 10289 w 153"/>
                  <a:gd name="T45" fmla="*/ 3943 h 269"/>
                  <a:gd name="T46" fmla="*/ 11220 w 153"/>
                  <a:gd name="T47" fmla="*/ 3982 h 269"/>
                  <a:gd name="T48" fmla="*/ 11810 w 153"/>
                  <a:gd name="T49" fmla="*/ 4088 h 269"/>
                  <a:gd name="T50" fmla="*/ 12502 w 153"/>
                  <a:gd name="T51" fmla="*/ 4088 h 269"/>
                  <a:gd name="T52" fmla="*/ 13401 w 153"/>
                  <a:gd name="T53" fmla="*/ 4364 h 269"/>
                  <a:gd name="T54" fmla="*/ 13819 w 153"/>
                  <a:gd name="T55" fmla="*/ 4525 h 269"/>
                  <a:gd name="T56" fmla="*/ 14364 w 153"/>
                  <a:gd name="T57" fmla="*/ 4523 h 269"/>
                  <a:gd name="T58" fmla="*/ 14813 w 153"/>
                  <a:gd name="T59" fmla="*/ 4580 h 269"/>
                  <a:gd name="T60" fmla="*/ 14364 w 153"/>
                  <a:gd name="T61" fmla="*/ 5364 h 269"/>
                  <a:gd name="T62" fmla="*/ 12227 w 153"/>
                  <a:gd name="T63" fmla="*/ 5833 h 269"/>
                  <a:gd name="T64" fmla="*/ 11220 w 153"/>
                  <a:gd name="T65" fmla="*/ 6137 h 269"/>
                  <a:gd name="T66" fmla="*/ 9976 w 153"/>
                  <a:gd name="T67" fmla="*/ 6286 h 269"/>
                  <a:gd name="T68" fmla="*/ 10279 w 153"/>
                  <a:gd name="T69" fmla="*/ 6954 h 269"/>
                  <a:gd name="T70" fmla="*/ 9928 w 153"/>
                  <a:gd name="T71" fmla="*/ 7314 h 269"/>
                  <a:gd name="T72" fmla="*/ 8354 w 153"/>
                  <a:gd name="T73" fmla="*/ 7607 h 269"/>
                  <a:gd name="T74" fmla="*/ 7397 w 153"/>
                  <a:gd name="T75" fmla="*/ 7563 h 269"/>
                  <a:gd name="T76" fmla="*/ 6173 w 153"/>
                  <a:gd name="T77" fmla="*/ 5677 h 269"/>
                  <a:gd name="T78" fmla="*/ 4472 w 153"/>
                  <a:gd name="T79" fmla="*/ 5500 h 269"/>
                  <a:gd name="T80" fmla="*/ 2998 w 153"/>
                  <a:gd name="T81" fmla="*/ 5006 h 269"/>
                  <a:gd name="T82" fmla="*/ 2271 w 153"/>
                  <a:gd name="T83" fmla="*/ 4555 h 269"/>
                  <a:gd name="T84" fmla="*/ 6 w 153"/>
                  <a:gd name="T85" fmla="*/ 3943 h 269"/>
                  <a:gd name="T86" fmla="*/ 0 w 153"/>
                  <a:gd name="T87" fmla="*/ 3694 h 269"/>
                  <a:gd name="T88" fmla="*/ 921 w 153"/>
                  <a:gd name="T89" fmla="*/ 3521 h 269"/>
                  <a:gd name="T90" fmla="*/ 1216 w 153"/>
                  <a:gd name="T91" fmla="*/ 3387 h 269"/>
                  <a:gd name="T92" fmla="*/ 1977 w 153"/>
                  <a:gd name="T93" fmla="*/ 3181 h 269"/>
                  <a:gd name="T94" fmla="*/ 3631 w 153"/>
                  <a:gd name="T95" fmla="*/ 2765 h 269"/>
                  <a:gd name="T96" fmla="*/ 4070 w 153"/>
                  <a:gd name="T97" fmla="*/ 2221 h 269"/>
                  <a:gd name="T98" fmla="*/ 3797 w 153"/>
                  <a:gd name="T99" fmla="*/ 1724 h 269"/>
                  <a:gd name="T100" fmla="*/ 3631 w 153"/>
                  <a:gd name="T101" fmla="*/ 1444 h 269"/>
                  <a:gd name="T102" fmla="*/ 3892 w 153"/>
                  <a:gd name="T103" fmla="*/ 892 h 269"/>
                  <a:gd name="T104" fmla="*/ 3631 w 153"/>
                  <a:gd name="T105" fmla="*/ 766 h 269"/>
                  <a:gd name="T106" fmla="*/ 4549 w 153"/>
                  <a:gd name="T107" fmla="*/ 510 h 2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53"/>
                  <a:gd name="T163" fmla="*/ 0 h 269"/>
                  <a:gd name="T164" fmla="*/ 153 w 153"/>
                  <a:gd name="T165" fmla="*/ 269 h 2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53" h="269">
                    <a:moveTo>
                      <a:pt x="47" y="19"/>
                    </a:moveTo>
                    <a:lnTo>
                      <a:pt x="51" y="17"/>
                    </a:lnTo>
                    <a:lnTo>
                      <a:pt x="52" y="14"/>
                    </a:lnTo>
                    <a:lnTo>
                      <a:pt x="54" y="12"/>
                    </a:lnTo>
                    <a:lnTo>
                      <a:pt x="57" y="10"/>
                    </a:lnTo>
                    <a:lnTo>
                      <a:pt x="63" y="7"/>
                    </a:lnTo>
                    <a:lnTo>
                      <a:pt x="71" y="4"/>
                    </a:lnTo>
                    <a:lnTo>
                      <a:pt x="79" y="0"/>
                    </a:lnTo>
                    <a:lnTo>
                      <a:pt x="89" y="0"/>
                    </a:lnTo>
                    <a:lnTo>
                      <a:pt x="96" y="0"/>
                    </a:lnTo>
                    <a:lnTo>
                      <a:pt x="109" y="4"/>
                    </a:lnTo>
                    <a:lnTo>
                      <a:pt x="108" y="5"/>
                    </a:lnTo>
                    <a:lnTo>
                      <a:pt x="109" y="7"/>
                    </a:lnTo>
                    <a:lnTo>
                      <a:pt x="112" y="14"/>
                    </a:lnTo>
                    <a:lnTo>
                      <a:pt x="112" y="19"/>
                    </a:lnTo>
                    <a:lnTo>
                      <a:pt x="119" y="21"/>
                    </a:lnTo>
                    <a:lnTo>
                      <a:pt x="122" y="19"/>
                    </a:lnTo>
                    <a:lnTo>
                      <a:pt x="127" y="18"/>
                    </a:lnTo>
                    <a:lnTo>
                      <a:pt x="132" y="14"/>
                    </a:lnTo>
                    <a:lnTo>
                      <a:pt x="135" y="10"/>
                    </a:lnTo>
                    <a:lnTo>
                      <a:pt x="141" y="10"/>
                    </a:lnTo>
                    <a:lnTo>
                      <a:pt x="144" y="17"/>
                    </a:lnTo>
                    <a:lnTo>
                      <a:pt x="136" y="30"/>
                    </a:lnTo>
                    <a:lnTo>
                      <a:pt x="127" y="32"/>
                    </a:lnTo>
                    <a:lnTo>
                      <a:pt x="122" y="35"/>
                    </a:lnTo>
                    <a:lnTo>
                      <a:pt x="121" y="44"/>
                    </a:lnTo>
                    <a:lnTo>
                      <a:pt x="122" y="53"/>
                    </a:lnTo>
                    <a:lnTo>
                      <a:pt x="126" y="56"/>
                    </a:lnTo>
                    <a:lnTo>
                      <a:pt x="132" y="57"/>
                    </a:lnTo>
                    <a:lnTo>
                      <a:pt x="135" y="61"/>
                    </a:lnTo>
                    <a:lnTo>
                      <a:pt x="141" y="65"/>
                    </a:lnTo>
                    <a:lnTo>
                      <a:pt x="143" y="75"/>
                    </a:lnTo>
                    <a:lnTo>
                      <a:pt x="144" y="78"/>
                    </a:lnTo>
                    <a:lnTo>
                      <a:pt x="138" y="92"/>
                    </a:lnTo>
                    <a:lnTo>
                      <a:pt x="134" y="97"/>
                    </a:lnTo>
                    <a:lnTo>
                      <a:pt x="129" y="102"/>
                    </a:lnTo>
                    <a:lnTo>
                      <a:pt x="121" y="108"/>
                    </a:lnTo>
                    <a:lnTo>
                      <a:pt x="116" y="109"/>
                    </a:lnTo>
                    <a:lnTo>
                      <a:pt x="112" y="113"/>
                    </a:lnTo>
                    <a:lnTo>
                      <a:pt x="106" y="115"/>
                    </a:lnTo>
                    <a:lnTo>
                      <a:pt x="105" y="118"/>
                    </a:lnTo>
                    <a:lnTo>
                      <a:pt x="105" y="124"/>
                    </a:lnTo>
                    <a:lnTo>
                      <a:pt x="96" y="122"/>
                    </a:lnTo>
                    <a:lnTo>
                      <a:pt x="96" y="129"/>
                    </a:lnTo>
                    <a:lnTo>
                      <a:pt x="99" y="136"/>
                    </a:lnTo>
                    <a:lnTo>
                      <a:pt x="106" y="139"/>
                    </a:lnTo>
                    <a:lnTo>
                      <a:pt x="110" y="141"/>
                    </a:lnTo>
                    <a:lnTo>
                      <a:pt x="115" y="141"/>
                    </a:lnTo>
                    <a:lnTo>
                      <a:pt x="118" y="139"/>
                    </a:lnTo>
                    <a:lnTo>
                      <a:pt x="121" y="143"/>
                    </a:lnTo>
                    <a:lnTo>
                      <a:pt x="124" y="146"/>
                    </a:lnTo>
                    <a:lnTo>
                      <a:pt x="129" y="143"/>
                    </a:lnTo>
                    <a:lnTo>
                      <a:pt x="132" y="143"/>
                    </a:lnTo>
                    <a:lnTo>
                      <a:pt x="138" y="154"/>
                    </a:lnTo>
                    <a:lnTo>
                      <a:pt x="138" y="156"/>
                    </a:lnTo>
                    <a:lnTo>
                      <a:pt x="141" y="158"/>
                    </a:lnTo>
                    <a:lnTo>
                      <a:pt x="145" y="158"/>
                    </a:lnTo>
                    <a:lnTo>
                      <a:pt x="148" y="157"/>
                    </a:lnTo>
                    <a:lnTo>
                      <a:pt x="153" y="160"/>
                    </a:lnTo>
                    <a:lnTo>
                      <a:pt x="151" y="161"/>
                    </a:lnTo>
                    <a:lnTo>
                      <a:pt x="153" y="183"/>
                    </a:lnTo>
                    <a:lnTo>
                      <a:pt x="148" y="189"/>
                    </a:lnTo>
                    <a:lnTo>
                      <a:pt x="144" y="192"/>
                    </a:lnTo>
                    <a:lnTo>
                      <a:pt x="124" y="204"/>
                    </a:lnTo>
                    <a:lnTo>
                      <a:pt x="122" y="211"/>
                    </a:lnTo>
                    <a:lnTo>
                      <a:pt x="115" y="215"/>
                    </a:lnTo>
                    <a:lnTo>
                      <a:pt x="105" y="218"/>
                    </a:lnTo>
                    <a:lnTo>
                      <a:pt x="102" y="222"/>
                    </a:lnTo>
                    <a:lnTo>
                      <a:pt x="102" y="228"/>
                    </a:lnTo>
                    <a:lnTo>
                      <a:pt x="105" y="245"/>
                    </a:lnTo>
                    <a:lnTo>
                      <a:pt x="105" y="251"/>
                    </a:lnTo>
                    <a:lnTo>
                      <a:pt x="101" y="257"/>
                    </a:lnTo>
                    <a:lnTo>
                      <a:pt x="95" y="262"/>
                    </a:lnTo>
                    <a:lnTo>
                      <a:pt x="86" y="267"/>
                    </a:lnTo>
                    <a:lnTo>
                      <a:pt x="78" y="269"/>
                    </a:lnTo>
                    <a:lnTo>
                      <a:pt x="76" y="265"/>
                    </a:lnTo>
                    <a:lnTo>
                      <a:pt x="73" y="243"/>
                    </a:lnTo>
                    <a:lnTo>
                      <a:pt x="63" y="200"/>
                    </a:lnTo>
                    <a:lnTo>
                      <a:pt x="61" y="200"/>
                    </a:lnTo>
                    <a:lnTo>
                      <a:pt x="46" y="192"/>
                    </a:lnTo>
                    <a:lnTo>
                      <a:pt x="31" y="186"/>
                    </a:lnTo>
                    <a:lnTo>
                      <a:pt x="31" y="174"/>
                    </a:lnTo>
                    <a:lnTo>
                      <a:pt x="26" y="163"/>
                    </a:lnTo>
                    <a:lnTo>
                      <a:pt x="23" y="160"/>
                    </a:lnTo>
                    <a:lnTo>
                      <a:pt x="9" y="155"/>
                    </a:lnTo>
                    <a:lnTo>
                      <a:pt x="6" y="139"/>
                    </a:lnTo>
                    <a:lnTo>
                      <a:pt x="1" y="132"/>
                    </a:lnTo>
                    <a:lnTo>
                      <a:pt x="0" y="129"/>
                    </a:lnTo>
                    <a:lnTo>
                      <a:pt x="1" y="129"/>
                    </a:lnTo>
                    <a:lnTo>
                      <a:pt x="9" y="124"/>
                    </a:lnTo>
                    <a:lnTo>
                      <a:pt x="9" y="123"/>
                    </a:lnTo>
                    <a:lnTo>
                      <a:pt x="13" y="119"/>
                    </a:lnTo>
                    <a:lnTo>
                      <a:pt x="20" y="118"/>
                    </a:lnTo>
                    <a:lnTo>
                      <a:pt x="20" y="112"/>
                    </a:lnTo>
                    <a:lnTo>
                      <a:pt x="34" y="103"/>
                    </a:lnTo>
                    <a:lnTo>
                      <a:pt x="37" y="97"/>
                    </a:lnTo>
                    <a:lnTo>
                      <a:pt x="42" y="82"/>
                    </a:lnTo>
                    <a:lnTo>
                      <a:pt x="42" y="78"/>
                    </a:lnTo>
                    <a:lnTo>
                      <a:pt x="39" y="75"/>
                    </a:lnTo>
                    <a:lnTo>
                      <a:pt x="39" y="61"/>
                    </a:lnTo>
                    <a:lnTo>
                      <a:pt x="36" y="56"/>
                    </a:lnTo>
                    <a:lnTo>
                      <a:pt x="37" y="51"/>
                    </a:lnTo>
                    <a:lnTo>
                      <a:pt x="41" y="34"/>
                    </a:lnTo>
                    <a:lnTo>
                      <a:pt x="40" y="31"/>
                    </a:lnTo>
                    <a:lnTo>
                      <a:pt x="36" y="30"/>
                    </a:lnTo>
                    <a:lnTo>
                      <a:pt x="37" y="27"/>
                    </a:lnTo>
                    <a:lnTo>
                      <a:pt x="43" y="22"/>
                    </a:lnTo>
                    <a:lnTo>
                      <a:pt x="47" y="19"/>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0" name="Freeform 66"/>
              <p:cNvSpPr>
                <a:spLocks/>
              </p:cNvSpPr>
              <p:nvPr/>
            </p:nvSpPr>
            <p:spPr bwMode="auto">
              <a:xfrm>
                <a:off x="1626" y="2005"/>
                <a:ext cx="317" cy="451"/>
              </a:xfrm>
              <a:custGeom>
                <a:avLst/>
                <a:gdLst>
                  <a:gd name="T0" fmla="*/ 4337 w 296"/>
                  <a:gd name="T1" fmla="*/ 11081 h 429"/>
                  <a:gd name="T2" fmla="*/ 4975 w 296"/>
                  <a:gd name="T3" fmla="*/ 10026 h 429"/>
                  <a:gd name="T4" fmla="*/ 4337 w 296"/>
                  <a:gd name="T5" fmla="*/ 9671 h 429"/>
                  <a:gd name="T6" fmla="*/ 4034 w 296"/>
                  <a:gd name="T7" fmla="*/ 9463 h 429"/>
                  <a:gd name="T8" fmla="*/ 4337 w 296"/>
                  <a:gd name="T9" fmla="*/ 9184 h 429"/>
                  <a:gd name="T10" fmla="*/ 3531 w 296"/>
                  <a:gd name="T11" fmla="*/ 9184 h 429"/>
                  <a:gd name="T12" fmla="*/ 1552 w 296"/>
                  <a:gd name="T13" fmla="*/ 8951 h 429"/>
                  <a:gd name="T14" fmla="*/ 5 w 296"/>
                  <a:gd name="T15" fmla="*/ 8596 h 429"/>
                  <a:gd name="T16" fmla="*/ 0 w 296"/>
                  <a:gd name="T17" fmla="*/ 8420 h 429"/>
                  <a:gd name="T18" fmla="*/ 896 w 296"/>
                  <a:gd name="T19" fmla="*/ 7922 h 429"/>
                  <a:gd name="T20" fmla="*/ 1263 w 296"/>
                  <a:gd name="T21" fmla="*/ 7179 h 429"/>
                  <a:gd name="T22" fmla="*/ 2875 w 296"/>
                  <a:gd name="T23" fmla="*/ 6557 h 429"/>
                  <a:gd name="T24" fmla="*/ 4034 w 296"/>
                  <a:gd name="T25" fmla="*/ 6167 h 429"/>
                  <a:gd name="T26" fmla="*/ 7506 w 296"/>
                  <a:gd name="T27" fmla="*/ 6085 h 429"/>
                  <a:gd name="T28" fmla="*/ 8362 w 296"/>
                  <a:gd name="T29" fmla="*/ 6396 h 429"/>
                  <a:gd name="T30" fmla="*/ 10268 w 296"/>
                  <a:gd name="T31" fmla="*/ 6612 h 429"/>
                  <a:gd name="T32" fmla="*/ 10999 w 296"/>
                  <a:gd name="T33" fmla="*/ 6237 h 429"/>
                  <a:gd name="T34" fmla="*/ 12931 w 296"/>
                  <a:gd name="T35" fmla="*/ 5107 h 429"/>
                  <a:gd name="T36" fmla="*/ 14464 w 296"/>
                  <a:gd name="T37" fmla="*/ 4253 h 429"/>
                  <a:gd name="T38" fmla="*/ 15497 w 296"/>
                  <a:gd name="T39" fmla="*/ 3934 h 429"/>
                  <a:gd name="T40" fmla="*/ 16331 w 296"/>
                  <a:gd name="T41" fmla="*/ 2991 h 429"/>
                  <a:gd name="T42" fmla="*/ 17766 w 296"/>
                  <a:gd name="T43" fmla="*/ 2004 h 429"/>
                  <a:gd name="T44" fmla="*/ 18578 w 296"/>
                  <a:gd name="T45" fmla="*/ 1564 h 429"/>
                  <a:gd name="T46" fmla="*/ 20091 w 296"/>
                  <a:gd name="T47" fmla="*/ 1413 h 429"/>
                  <a:gd name="T48" fmla="*/ 21308 w 296"/>
                  <a:gd name="T49" fmla="*/ 497 h 429"/>
                  <a:gd name="T50" fmla="*/ 20867 w 296"/>
                  <a:gd name="T51" fmla="*/ 368 h 429"/>
                  <a:gd name="T52" fmla="*/ 20381 w 296"/>
                  <a:gd name="T53" fmla="*/ 302 h 429"/>
                  <a:gd name="T54" fmla="*/ 21997 w 296"/>
                  <a:gd name="T55" fmla="*/ 0 h 429"/>
                  <a:gd name="T56" fmla="*/ 22453 w 296"/>
                  <a:gd name="T57" fmla="*/ 497 h 429"/>
                  <a:gd name="T58" fmla="*/ 23031 w 296"/>
                  <a:gd name="T59" fmla="*/ 1222 h 429"/>
                  <a:gd name="T60" fmla="*/ 22820 w 296"/>
                  <a:gd name="T61" fmla="*/ 1817 h 429"/>
                  <a:gd name="T62" fmla="*/ 24439 w 296"/>
                  <a:gd name="T63" fmla="*/ 2711 h 429"/>
                  <a:gd name="T64" fmla="*/ 24259 w 296"/>
                  <a:gd name="T65" fmla="*/ 2991 h 429"/>
                  <a:gd name="T66" fmla="*/ 20892 w 296"/>
                  <a:gd name="T67" fmla="*/ 2862 h 429"/>
                  <a:gd name="T68" fmla="*/ 20091 w 296"/>
                  <a:gd name="T69" fmla="*/ 3063 h 429"/>
                  <a:gd name="T70" fmla="*/ 20892 w 296"/>
                  <a:gd name="T71" fmla="*/ 3839 h 429"/>
                  <a:gd name="T72" fmla="*/ 22820 w 296"/>
                  <a:gd name="T73" fmla="*/ 4061 h 429"/>
                  <a:gd name="T74" fmla="*/ 24068 w 296"/>
                  <a:gd name="T75" fmla="*/ 4805 h 429"/>
                  <a:gd name="T76" fmla="*/ 24639 w 296"/>
                  <a:gd name="T77" fmla="*/ 5506 h 429"/>
                  <a:gd name="T78" fmla="*/ 23376 w 296"/>
                  <a:gd name="T79" fmla="*/ 6362 h 429"/>
                  <a:gd name="T80" fmla="*/ 21589 w 296"/>
                  <a:gd name="T81" fmla="*/ 7072 h 429"/>
                  <a:gd name="T82" fmla="*/ 21822 w 296"/>
                  <a:gd name="T83" fmla="*/ 7934 h 429"/>
                  <a:gd name="T84" fmla="*/ 23031 w 296"/>
                  <a:gd name="T85" fmla="*/ 8852 h 429"/>
                  <a:gd name="T86" fmla="*/ 26814 w 296"/>
                  <a:gd name="T87" fmla="*/ 10400 h 429"/>
                  <a:gd name="T88" fmla="*/ 27340 w 296"/>
                  <a:gd name="T89" fmla="*/ 11410 h 429"/>
                  <a:gd name="T90" fmla="*/ 25229 w 296"/>
                  <a:gd name="T91" fmla="*/ 11259 h 429"/>
                  <a:gd name="T92" fmla="*/ 22820 w 296"/>
                  <a:gd name="T93" fmla="*/ 11093 h 429"/>
                  <a:gd name="T94" fmla="*/ 16596 w 296"/>
                  <a:gd name="T95" fmla="*/ 11029 h 429"/>
                  <a:gd name="T96" fmla="*/ 12011 w 296"/>
                  <a:gd name="T97" fmla="*/ 10994 h 429"/>
                  <a:gd name="T98" fmla="*/ 7506 w 296"/>
                  <a:gd name="T99" fmla="*/ 11029 h 4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96"/>
                  <a:gd name="T151" fmla="*/ 0 h 429"/>
                  <a:gd name="T152" fmla="*/ 296 w 296"/>
                  <a:gd name="T153" fmla="*/ 429 h 42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96" h="429">
                    <a:moveTo>
                      <a:pt x="82" y="406"/>
                    </a:moveTo>
                    <a:lnTo>
                      <a:pt x="52" y="406"/>
                    </a:lnTo>
                    <a:lnTo>
                      <a:pt x="48" y="408"/>
                    </a:lnTo>
                    <a:lnTo>
                      <a:pt x="52" y="385"/>
                    </a:lnTo>
                    <a:lnTo>
                      <a:pt x="55" y="373"/>
                    </a:lnTo>
                    <a:lnTo>
                      <a:pt x="55" y="369"/>
                    </a:lnTo>
                    <a:lnTo>
                      <a:pt x="56" y="367"/>
                    </a:lnTo>
                    <a:lnTo>
                      <a:pt x="53" y="362"/>
                    </a:lnTo>
                    <a:lnTo>
                      <a:pt x="48" y="357"/>
                    </a:lnTo>
                    <a:lnTo>
                      <a:pt x="48" y="354"/>
                    </a:lnTo>
                    <a:lnTo>
                      <a:pt x="44" y="350"/>
                    </a:lnTo>
                    <a:lnTo>
                      <a:pt x="44" y="348"/>
                    </a:lnTo>
                    <a:lnTo>
                      <a:pt x="46" y="347"/>
                    </a:lnTo>
                    <a:lnTo>
                      <a:pt x="48" y="343"/>
                    </a:lnTo>
                    <a:lnTo>
                      <a:pt x="48" y="338"/>
                    </a:lnTo>
                    <a:lnTo>
                      <a:pt x="44" y="336"/>
                    </a:lnTo>
                    <a:lnTo>
                      <a:pt x="41" y="336"/>
                    </a:lnTo>
                    <a:lnTo>
                      <a:pt x="39" y="338"/>
                    </a:lnTo>
                    <a:lnTo>
                      <a:pt x="36" y="340"/>
                    </a:lnTo>
                    <a:lnTo>
                      <a:pt x="22" y="334"/>
                    </a:lnTo>
                    <a:lnTo>
                      <a:pt x="18" y="328"/>
                    </a:lnTo>
                    <a:lnTo>
                      <a:pt x="14" y="317"/>
                    </a:lnTo>
                    <a:lnTo>
                      <a:pt x="8" y="317"/>
                    </a:lnTo>
                    <a:lnTo>
                      <a:pt x="5" y="317"/>
                    </a:lnTo>
                    <a:lnTo>
                      <a:pt x="1" y="316"/>
                    </a:lnTo>
                    <a:lnTo>
                      <a:pt x="1" y="311"/>
                    </a:lnTo>
                    <a:lnTo>
                      <a:pt x="0" y="310"/>
                    </a:lnTo>
                    <a:lnTo>
                      <a:pt x="0" y="304"/>
                    </a:lnTo>
                    <a:lnTo>
                      <a:pt x="5" y="300"/>
                    </a:lnTo>
                    <a:lnTo>
                      <a:pt x="10" y="293"/>
                    </a:lnTo>
                    <a:lnTo>
                      <a:pt x="11" y="287"/>
                    </a:lnTo>
                    <a:lnTo>
                      <a:pt x="13" y="277"/>
                    </a:lnTo>
                    <a:lnTo>
                      <a:pt x="15" y="266"/>
                    </a:lnTo>
                    <a:lnTo>
                      <a:pt x="22" y="255"/>
                    </a:lnTo>
                    <a:lnTo>
                      <a:pt x="27" y="247"/>
                    </a:lnTo>
                    <a:lnTo>
                      <a:pt x="32" y="242"/>
                    </a:lnTo>
                    <a:lnTo>
                      <a:pt x="41" y="239"/>
                    </a:lnTo>
                    <a:lnTo>
                      <a:pt x="43" y="227"/>
                    </a:lnTo>
                    <a:lnTo>
                      <a:pt x="44" y="227"/>
                    </a:lnTo>
                    <a:lnTo>
                      <a:pt x="55" y="227"/>
                    </a:lnTo>
                    <a:lnTo>
                      <a:pt x="70" y="224"/>
                    </a:lnTo>
                    <a:lnTo>
                      <a:pt x="82" y="225"/>
                    </a:lnTo>
                    <a:lnTo>
                      <a:pt x="89" y="232"/>
                    </a:lnTo>
                    <a:lnTo>
                      <a:pt x="91" y="234"/>
                    </a:lnTo>
                    <a:lnTo>
                      <a:pt x="91" y="236"/>
                    </a:lnTo>
                    <a:lnTo>
                      <a:pt x="94" y="237"/>
                    </a:lnTo>
                    <a:lnTo>
                      <a:pt x="101" y="242"/>
                    </a:lnTo>
                    <a:lnTo>
                      <a:pt x="110" y="243"/>
                    </a:lnTo>
                    <a:lnTo>
                      <a:pt x="116" y="240"/>
                    </a:lnTo>
                    <a:lnTo>
                      <a:pt x="118" y="236"/>
                    </a:lnTo>
                    <a:lnTo>
                      <a:pt x="119" y="230"/>
                    </a:lnTo>
                    <a:lnTo>
                      <a:pt x="132" y="208"/>
                    </a:lnTo>
                    <a:lnTo>
                      <a:pt x="139" y="192"/>
                    </a:lnTo>
                    <a:lnTo>
                      <a:pt x="141" y="188"/>
                    </a:lnTo>
                    <a:lnTo>
                      <a:pt x="144" y="177"/>
                    </a:lnTo>
                    <a:lnTo>
                      <a:pt x="148" y="166"/>
                    </a:lnTo>
                    <a:lnTo>
                      <a:pt x="155" y="157"/>
                    </a:lnTo>
                    <a:lnTo>
                      <a:pt x="166" y="153"/>
                    </a:lnTo>
                    <a:lnTo>
                      <a:pt x="168" y="150"/>
                    </a:lnTo>
                    <a:lnTo>
                      <a:pt x="168" y="145"/>
                    </a:lnTo>
                    <a:lnTo>
                      <a:pt x="170" y="136"/>
                    </a:lnTo>
                    <a:lnTo>
                      <a:pt x="176" y="118"/>
                    </a:lnTo>
                    <a:lnTo>
                      <a:pt x="177" y="109"/>
                    </a:lnTo>
                    <a:lnTo>
                      <a:pt x="179" y="102"/>
                    </a:lnTo>
                    <a:lnTo>
                      <a:pt x="186" y="90"/>
                    </a:lnTo>
                    <a:lnTo>
                      <a:pt x="191" y="73"/>
                    </a:lnTo>
                    <a:lnTo>
                      <a:pt x="193" y="68"/>
                    </a:lnTo>
                    <a:lnTo>
                      <a:pt x="196" y="64"/>
                    </a:lnTo>
                    <a:lnTo>
                      <a:pt x="202" y="58"/>
                    </a:lnTo>
                    <a:lnTo>
                      <a:pt x="206" y="56"/>
                    </a:lnTo>
                    <a:lnTo>
                      <a:pt x="217" y="52"/>
                    </a:lnTo>
                    <a:lnTo>
                      <a:pt x="218" y="51"/>
                    </a:lnTo>
                    <a:lnTo>
                      <a:pt x="232" y="41"/>
                    </a:lnTo>
                    <a:lnTo>
                      <a:pt x="231" y="32"/>
                    </a:lnTo>
                    <a:lnTo>
                      <a:pt x="231" y="20"/>
                    </a:lnTo>
                    <a:lnTo>
                      <a:pt x="230" y="16"/>
                    </a:lnTo>
                    <a:lnTo>
                      <a:pt x="228" y="15"/>
                    </a:lnTo>
                    <a:lnTo>
                      <a:pt x="226" y="14"/>
                    </a:lnTo>
                    <a:lnTo>
                      <a:pt x="220" y="11"/>
                    </a:lnTo>
                    <a:lnTo>
                      <a:pt x="218" y="10"/>
                    </a:lnTo>
                    <a:lnTo>
                      <a:pt x="221" y="10"/>
                    </a:lnTo>
                    <a:lnTo>
                      <a:pt x="227" y="0"/>
                    </a:lnTo>
                    <a:lnTo>
                      <a:pt x="233" y="0"/>
                    </a:lnTo>
                    <a:lnTo>
                      <a:pt x="239" y="0"/>
                    </a:lnTo>
                    <a:lnTo>
                      <a:pt x="240" y="0"/>
                    </a:lnTo>
                    <a:lnTo>
                      <a:pt x="240" y="1"/>
                    </a:lnTo>
                    <a:lnTo>
                      <a:pt x="244" y="20"/>
                    </a:lnTo>
                    <a:lnTo>
                      <a:pt x="247" y="26"/>
                    </a:lnTo>
                    <a:lnTo>
                      <a:pt x="251" y="32"/>
                    </a:lnTo>
                    <a:lnTo>
                      <a:pt x="249" y="46"/>
                    </a:lnTo>
                    <a:lnTo>
                      <a:pt x="247" y="54"/>
                    </a:lnTo>
                    <a:lnTo>
                      <a:pt x="247" y="61"/>
                    </a:lnTo>
                    <a:lnTo>
                      <a:pt x="247" y="67"/>
                    </a:lnTo>
                    <a:lnTo>
                      <a:pt x="252" y="81"/>
                    </a:lnTo>
                    <a:lnTo>
                      <a:pt x="264" y="95"/>
                    </a:lnTo>
                    <a:lnTo>
                      <a:pt x="265" y="100"/>
                    </a:lnTo>
                    <a:lnTo>
                      <a:pt x="266" y="106"/>
                    </a:lnTo>
                    <a:lnTo>
                      <a:pt x="265" y="109"/>
                    </a:lnTo>
                    <a:lnTo>
                      <a:pt x="263" y="109"/>
                    </a:lnTo>
                    <a:lnTo>
                      <a:pt x="247" y="106"/>
                    </a:lnTo>
                    <a:lnTo>
                      <a:pt x="237" y="105"/>
                    </a:lnTo>
                    <a:lnTo>
                      <a:pt x="227" y="106"/>
                    </a:lnTo>
                    <a:lnTo>
                      <a:pt x="224" y="107"/>
                    </a:lnTo>
                    <a:lnTo>
                      <a:pt x="221" y="109"/>
                    </a:lnTo>
                    <a:lnTo>
                      <a:pt x="218" y="113"/>
                    </a:lnTo>
                    <a:lnTo>
                      <a:pt x="218" y="123"/>
                    </a:lnTo>
                    <a:lnTo>
                      <a:pt x="220" y="131"/>
                    </a:lnTo>
                    <a:lnTo>
                      <a:pt x="227" y="141"/>
                    </a:lnTo>
                    <a:lnTo>
                      <a:pt x="232" y="145"/>
                    </a:lnTo>
                    <a:lnTo>
                      <a:pt x="239" y="147"/>
                    </a:lnTo>
                    <a:lnTo>
                      <a:pt x="247" y="150"/>
                    </a:lnTo>
                    <a:lnTo>
                      <a:pt x="249" y="151"/>
                    </a:lnTo>
                    <a:lnTo>
                      <a:pt x="254" y="157"/>
                    </a:lnTo>
                    <a:lnTo>
                      <a:pt x="262" y="177"/>
                    </a:lnTo>
                    <a:lnTo>
                      <a:pt x="264" y="189"/>
                    </a:lnTo>
                    <a:lnTo>
                      <a:pt x="265" y="202"/>
                    </a:lnTo>
                    <a:lnTo>
                      <a:pt x="266" y="204"/>
                    </a:lnTo>
                    <a:lnTo>
                      <a:pt x="268" y="205"/>
                    </a:lnTo>
                    <a:lnTo>
                      <a:pt x="261" y="224"/>
                    </a:lnTo>
                    <a:lnTo>
                      <a:pt x="254" y="234"/>
                    </a:lnTo>
                    <a:lnTo>
                      <a:pt x="247" y="245"/>
                    </a:lnTo>
                    <a:lnTo>
                      <a:pt x="241" y="255"/>
                    </a:lnTo>
                    <a:lnTo>
                      <a:pt x="234" y="263"/>
                    </a:lnTo>
                    <a:lnTo>
                      <a:pt x="233" y="273"/>
                    </a:lnTo>
                    <a:lnTo>
                      <a:pt x="236" y="283"/>
                    </a:lnTo>
                    <a:lnTo>
                      <a:pt x="236" y="294"/>
                    </a:lnTo>
                    <a:lnTo>
                      <a:pt x="236" y="306"/>
                    </a:lnTo>
                    <a:lnTo>
                      <a:pt x="243" y="317"/>
                    </a:lnTo>
                    <a:lnTo>
                      <a:pt x="249" y="326"/>
                    </a:lnTo>
                    <a:lnTo>
                      <a:pt x="268" y="359"/>
                    </a:lnTo>
                    <a:lnTo>
                      <a:pt x="274" y="369"/>
                    </a:lnTo>
                    <a:lnTo>
                      <a:pt x="292" y="382"/>
                    </a:lnTo>
                    <a:lnTo>
                      <a:pt x="296" y="380"/>
                    </a:lnTo>
                    <a:lnTo>
                      <a:pt x="295" y="390"/>
                    </a:lnTo>
                    <a:lnTo>
                      <a:pt x="296" y="420"/>
                    </a:lnTo>
                    <a:lnTo>
                      <a:pt x="294" y="427"/>
                    </a:lnTo>
                    <a:lnTo>
                      <a:pt x="292" y="429"/>
                    </a:lnTo>
                    <a:lnTo>
                      <a:pt x="274" y="416"/>
                    </a:lnTo>
                    <a:lnTo>
                      <a:pt x="268" y="416"/>
                    </a:lnTo>
                    <a:lnTo>
                      <a:pt x="258" y="413"/>
                    </a:lnTo>
                    <a:lnTo>
                      <a:pt x="247" y="411"/>
                    </a:lnTo>
                    <a:lnTo>
                      <a:pt x="240" y="406"/>
                    </a:lnTo>
                    <a:lnTo>
                      <a:pt x="186" y="406"/>
                    </a:lnTo>
                    <a:lnTo>
                      <a:pt x="180" y="406"/>
                    </a:lnTo>
                    <a:lnTo>
                      <a:pt x="155" y="405"/>
                    </a:lnTo>
                    <a:lnTo>
                      <a:pt x="144" y="403"/>
                    </a:lnTo>
                    <a:lnTo>
                      <a:pt x="130" y="405"/>
                    </a:lnTo>
                    <a:lnTo>
                      <a:pt x="119" y="403"/>
                    </a:lnTo>
                    <a:lnTo>
                      <a:pt x="109" y="406"/>
                    </a:lnTo>
                    <a:lnTo>
                      <a:pt x="82" y="406"/>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1" name="Freeform 67"/>
              <p:cNvSpPr>
                <a:spLocks/>
              </p:cNvSpPr>
              <p:nvPr/>
            </p:nvSpPr>
            <p:spPr bwMode="auto">
              <a:xfrm>
                <a:off x="1626" y="2005"/>
                <a:ext cx="317" cy="451"/>
              </a:xfrm>
              <a:custGeom>
                <a:avLst/>
                <a:gdLst>
                  <a:gd name="T0" fmla="*/ 4337 w 296"/>
                  <a:gd name="T1" fmla="*/ 11081 h 429"/>
                  <a:gd name="T2" fmla="*/ 4975 w 296"/>
                  <a:gd name="T3" fmla="*/ 10026 h 429"/>
                  <a:gd name="T4" fmla="*/ 4337 w 296"/>
                  <a:gd name="T5" fmla="*/ 9671 h 429"/>
                  <a:gd name="T6" fmla="*/ 4034 w 296"/>
                  <a:gd name="T7" fmla="*/ 9463 h 429"/>
                  <a:gd name="T8" fmla="*/ 4337 w 296"/>
                  <a:gd name="T9" fmla="*/ 9184 h 429"/>
                  <a:gd name="T10" fmla="*/ 3531 w 296"/>
                  <a:gd name="T11" fmla="*/ 9184 h 429"/>
                  <a:gd name="T12" fmla="*/ 1552 w 296"/>
                  <a:gd name="T13" fmla="*/ 8951 h 429"/>
                  <a:gd name="T14" fmla="*/ 5 w 296"/>
                  <a:gd name="T15" fmla="*/ 8596 h 429"/>
                  <a:gd name="T16" fmla="*/ 0 w 296"/>
                  <a:gd name="T17" fmla="*/ 8420 h 429"/>
                  <a:gd name="T18" fmla="*/ 896 w 296"/>
                  <a:gd name="T19" fmla="*/ 7922 h 429"/>
                  <a:gd name="T20" fmla="*/ 1263 w 296"/>
                  <a:gd name="T21" fmla="*/ 7179 h 429"/>
                  <a:gd name="T22" fmla="*/ 2875 w 296"/>
                  <a:gd name="T23" fmla="*/ 6557 h 429"/>
                  <a:gd name="T24" fmla="*/ 4034 w 296"/>
                  <a:gd name="T25" fmla="*/ 6167 h 429"/>
                  <a:gd name="T26" fmla="*/ 7506 w 296"/>
                  <a:gd name="T27" fmla="*/ 6085 h 429"/>
                  <a:gd name="T28" fmla="*/ 8362 w 296"/>
                  <a:gd name="T29" fmla="*/ 6396 h 429"/>
                  <a:gd name="T30" fmla="*/ 10268 w 296"/>
                  <a:gd name="T31" fmla="*/ 6612 h 429"/>
                  <a:gd name="T32" fmla="*/ 10999 w 296"/>
                  <a:gd name="T33" fmla="*/ 6237 h 429"/>
                  <a:gd name="T34" fmla="*/ 12931 w 296"/>
                  <a:gd name="T35" fmla="*/ 5107 h 429"/>
                  <a:gd name="T36" fmla="*/ 14464 w 296"/>
                  <a:gd name="T37" fmla="*/ 4253 h 429"/>
                  <a:gd name="T38" fmla="*/ 15497 w 296"/>
                  <a:gd name="T39" fmla="*/ 3934 h 429"/>
                  <a:gd name="T40" fmla="*/ 16331 w 296"/>
                  <a:gd name="T41" fmla="*/ 2991 h 429"/>
                  <a:gd name="T42" fmla="*/ 17766 w 296"/>
                  <a:gd name="T43" fmla="*/ 2004 h 429"/>
                  <a:gd name="T44" fmla="*/ 18578 w 296"/>
                  <a:gd name="T45" fmla="*/ 1564 h 429"/>
                  <a:gd name="T46" fmla="*/ 20091 w 296"/>
                  <a:gd name="T47" fmla="*/ 1413 h 429"/>
                  <a:gd name="T48" fmla="*/ 21308 w 296"/>
                  <a:gd name="T49" fmla="*/ 497 h 429"/>
                  <a:gd name="T50" fmla="*/ 20867 w 296"/>
                  <a:gd name="T51" fmla="*/ 368 h 429"/>
                  <a:gd name="T52" fmla="*/ 20381 w 296"/>
                  <a:gd name="T53" fmla="*/ 302 h 429"/>
                  <a:gd name="T54" fmla="*/ 21997 w 296"/>
                  <a:gd name="T55" fmla="*/ 0 h 429"/>
                  <a:gd name="T56" fmla="*/ 22453 w 296"/>
                  <a:gd name="T57" fmla="*/ 497 h 429"/>
                  <a:gd name="T58" fmla="*/ 23031 w 296"/>
                  <a:gd name="T59" fmla="*/ 1222 h 429"/>
                  <a:gd name="T60" fmla="*/ 22820 w 296"/>
                  <a:gd name="T61" fmla="*/ 1817 h 429"/>
                  <a:gd name="T62" fmla="*/ 24439 w 296"/>
                  <a:gd name="T63" fmla="*/ 2711 h 429"/>
                  <a:gd name="T64" fmla="*/ 24259 w 296"/>
                  <a:gd name="T65" fmla="*/ 2991 h 429"/>
                  <a:gd name="T66" fmla="*/ 20892 w 296"/>
                  <a:gd name="T67" fmla="*/ 2862 h 429"/>
                  <a:gd name="T68" fmla="*/ 20091 w 296"/>
                  <a:gd name="T69" fmla="*/ 3063 h 429"/>
                  <a:gd name="T70" fmla="*/ 20892 w 296"/>
                  <a:gd name="T71" fmla="*/ 3839 h 429"/>
                  <a:gd name="T72" fmla="*/ 22820 w 296"/>
                  <a:gd name="T73" fmla="*/ 4061 h 429"/>
                  <a:gd name="T74" fmla="*/ 24068 w 296"/>
                  <a:gd name="T75" fmla="*/ 4805 h 429"/>
                  <a:gd name="T76" fmla="*/ 24639 w 296"/>
                  <a:gd name="T77" fmla="*/ 5506 h 429"/>
                  <a:gd name="T78" fmla="*/ 23376 w 296"/>
                  <a:gd name="T79" fmla="*/ 6362 h 429"/>
                  <a:gd name="T80" fmla="*/ 21589 w 296"/>
                  <a:gd name="T81" fmla="*/ 7072 h 429"/>
                  <a:gd name="T82" fmla="*/ 21822 w 296"/>
                  <a:gd name="T83" fmla="*/ 7934 h 429"/>
                  <a:gd name="T84" fmla="*/ 23031 w 296"/>
                  <a:gd name="T85" fmla="*/ 8852 h 429"/>
                  <a:gd name="T86" fmla="*/ 26814 w 296"/>
                  <a:gd name="T87" fmla="*/ 10400 h 429"/>
                  <a:gd name="T88" fmla="*/ 27340 w 296"/>
                  <a:gd name="T89" fmla="*/ 11410 h 429"/>
                  <a:gd name="T90" fmla="*/ 25229 w 296"/>
                  <a:gd name="T91" fmla="*/ 11259 h 429"/>
                  <a:gd name="T92" fmla="*/ 22820 w 296"/>
                  <a:gd name="T93" fmla="*/ 11093 h 429"/>
                  <a:gd name="T94" fmla="*/ 16596 w 296"/>
                  <a:gd name="T95" fmla="*/ 11029 h 429"/>
                  <a:gd name="T96" fmla="*/ 12011 w 296"/>
                  <a:gd name="T97" fmla="*/ 10994 h 429"/>
                  <a:gd name="T98" fmla="*/ 7506 w 296"/>
                  <a:gd name="T99" fmla="*/ 11029 h 4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96"/>
                  <a:gd name="T151" fmla="*/ 0 h 429"/>
                  <a:gd name="T152" fmla="*/ 296 w 296"/>
                  <a:gd name="T153" fmla="*/ 429 h 42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96" h="429">
                    <a:moveTo>
                      <a:pt x="82" y="406"/>
                    </a:moveTo>
                    <a:lnTo>
                      <a:pt x="52" y="406"/>
                    </a:lnTo>
                    <a:lnTo>
                      <a:pt x="48" y="408"/>
                    </a:lnTo>
                    <a:lnTo>
                      <a:pt x="52" y="385"/>
                    </a:lnTo>
                    <a:lnTo>
                      <a:pt x="55" y="373"/>
                    </a:lnTo>
                    <a:lnTo>
                      <a:pt x="55" y="369"/>
                    </a:lnTo>
                    <a:lnTo>
                      <a:pt x="56" y="367"/>
                    </a:lnTo>
                    <a:lnTo>
                      <a:pt x="53" y="362"/>
                    </a:lnTo>
                    <a:lnTo>
                      <a:pt x="48" y="357"/>
                    </a:lnTo>
                    <a:lnTo>
                      <a:pt x="48" y="354"/>
                    </a:lnTo>
                    <a:lnTo>
                      <a:pt x="44" y="350"/>
                    </a:lnTo>
                    <a:lnTo>
                      <a:pt x="44" y="348"/>
                    </a:lnTo>
                    <a:lnTo>
                      <a:pt x="46" y="347"/>
                    </a:lnTo>
                    <a:lnTo>
                      <a:pt x="48" y="343"/>
                    </a:lnTo>
                    <a:lnTo>
                      <a:pt x="48" y="338"/>
                    </a:lnTo>
                    <a:lnTo>
                      <a:pt x="44" y="336"/>
                    </a:lnTo>
                    <a:lnTo>
                      <a:pt x="41" y="336"/>
                    </a:lnTo>
                    <a:lnTo>
                      <a:pt x="39" y="338"/>
                    </a:lnTo>
                    <a:lnTo>
                      <a:pt x="36" y="340"/>
                    </a:lnTo>
                    <a:lnTo>
                      <a:pt x="22" y="334"/>
                    </a:lnTo>
                    <a:lnTo>
                      <a:pt x="18" y="328"/>
                    </a:lnTo>
                    <a:lnTo>
                      <a:pt x="14" y="317"/>
                    </a:lnTo>
                    <a:lnTo>
                      <a:pt x="8" y="317"/>
                    </a:lnTo>
                    <a:lnTo>
                      <a:pt x="5" y="317"/>
                    </a:lnTo>
                    <a:lnTo>
                      <a:pt x="1" y="316"/>
                    </a:lnTo>
                    <a:lnTo>
                      <a:pt x="1" y="311"/>
                    </a:lnTo>
                    <a:lnTo>
                      <a:pt x="0" y="310"/>
                    </a:lnTo>
                    <a:lnTo>
                      <a:pt x="0" y="304"/>
                    </a:lnTo>
                    <a:lnTo>
                      <a:pt x="5" y="300"/>
                    </a:lnTo>
                    <a:lnTo>
                      <a:pt x="10" y="293"/>
                    </a:lnTo>
                    <a:lnTo>
                      <a:pt x="11" y="287"/>
                    </a:lnTo>
                    <a:lnTo>
                      <a:pt x="13" y="277"/>
                    </a:lnTo>
                    <a:lnTo>
                      <a:pt x="15" y="266"/>
                    </a:lnTo>
                    <a:lnTo>
                      <a:pt x="22" y="255"/>
                    </a:lnTo>
                    <a:lnTo>
                      <a:pt x="27" y="247"/>
                    </a:lnTo>
                    <a:lnTo>
                      <a:pt x="32" y="242"/>
                    </a:lnTo>
                    <a:lnTo>
                      <a:pt x="41" y="239"/>
                    </a:lnTo>
                    <a:lnTo>
                      <a:pt x="43" y="227"/>
                    </a:lnTo>
                    <a:lnTo>
                      <a:pt x="44" y="227"/>
                    </a:lnTo>
                    <a:lnTo>
                      <a:pt x="55" y="227"/>
                    </a:lnTo>
                    <a:lnTo>
                      <a:pt x="70" y="224"/>
                    </a:lnTo>
                    <a:lnTo>
                      <a:pt x="82" y="225"/>
                    </a:lnTo>
                    <a:lnTo>
                      <a:pt x="89" y="232"/>
                    </a:lnTo>
                    <a:lnTo>
                      <a:pt x="91" y="234"/>
                    </a:lnTo>
                    <a:lnTo>
                      <a:pt x="91" y="236"/>
                    </a:lnTo>
                    <a:lnTo>
                      <a:pt x="94" y="237"/>
                    </a:lnTo>
                    <a:lnTo>
                      <a:pt x="101" y="242"/>
                    </a:lnTo>
                    <a:lnTo>
                      <a:pt x="110" y="243"/>
                    </a:lnTo>
                    <a:lnTo>
                      <a:pt x="116" y="240"/>
                    </a:lnTo>
                    <a:lnTo>
                      <a:pt x="118" y="236"/>
                    </a:lnTo>
                    <a:lnTo>
                      <a:pt x="119" y="230"/>
                    </a:lnTo>
                    <a:lnTo>
                      <a:pt x="132" y="208"/>
                    </a:lnTo>
                    <a:lnTo>
                      <a:pt x="139" y="192"/>
                    </a:lnTo>
                    <a:lnTo>
                      <a:pt x="141" y="188"/>
                    </a:lnTo>
                    <a:lnTo>
                      <a:pt x="144" y="177"/>
                    </a:lnTo>
                    <a:lnTo>
                      <a:pt x="148" y="166"/>
                    </a:lnTo>
                    <a:lnTo>
                      <a:pt x="155" y="157"/>
                    </a:lnTo>
                    <a:lnTo>
                      <a:pt x="166" y="153"/>
                    </a:lnTo>
                    <a:lnTo>
                      <a:pt x="168" y="150"/>
                    </a:lnTo>
                    <a:lnTo>
                      <a:pt x="168" y="145"/>
                    </a:lnTo>
                    <a:lnTo>
                      <a:pt x="170" y="136"/>
                    </a:lnTo>
                    <a:lnTo>
                      <a:pt x="176" y="118"/>
                    </a:lnTo>
                    <a:lnTo>
                      <a:pt x="177" y="109"/>
                    </a:lnTo>
                    <a:lnTo>
                      <a:pt x="179" y="102"/>
                    </a:lnTo>
                    <a:lnTo>
                      <a:pt x="186" y="90"/>
                    </a:lnTo>
                    <a:lnTo>
                      <a:pt x="191" y="73"/>
                    </a:lnTo>
                    <a:lnTo>
                      <a:pt x="193" y="68"/>
                    </a:lnTo>
                    <a:lnTo>
                      <a:pt x="196" y="64"/>
                    </a:lnTo>
                    <a:lnTo>
                      <a:pt x="202" y="58"/>
                    </a:lnTo>
                    <a:lnTo>
                      <a:pt x="206" y="56"/>
                    </a:lnTo>
                    <a:lnTo>
                      <a:pt x="217" y="52"/>
                    </a:lnTo>
                    <a:lnTo>
                      <a:pt x="218" y="51"/>
                    </a:lnTo>
                    <a:lnTo>
                      <a:pt x="232" y="41"/>
                    </a:lnTo>
                    <a:lnTo>
                      <a:pt x="231" y="32"/>
                    </a:lnTo>
                    <a:lnTo>
                      <a:pt x="231" y="20"/>
                    </a:lnTo>
                    <a:lnTo>
                      <a:pt x="230" y="16"/>
                    </a:lnTo>
                    <a:lnTo>
                      <a:pt x="228" y="15"/>
                    </a:lnTo>
                    <a:lnTo>
                      <a:pt x="226" y="14"/>
                    </a:lnTo>
                    <a:lnTo>
                      <a:pt x="220" y="11"/>
                    </a:lnTo>
                    <a:lnTo>
                      <a:pt x="218" y="10"/>
                    </a:lnTo>
                    <a:lnTo>
                      <a:pt x="221" y="10"/>
                    </a:lnTo>
                    <a:lnTo>
                      <a:pt x="227" y="0"/>
                    </a:lnTo>
                    <a:lnTo>
                      <a:pt x="233" y="0"/>
                    </a:lnTo>
                    <a:lnTo>
                      <a:pt x="239" y="0"/>
                    </a:lnTo>
                    <a:lnTo>
                      <a:pt x="240" y="0"/>
                    </a:lnTo>
                    <a:lnTo>
                      <a:pt x="240" y="1"/>
                    </a:lnTo>
                    <a:lnTo>
                      <a:pt x="244" y="20"/>
                    </a:lnTo>
                    <a:lnTo>
                      <a:pt x="247" y="26"/>
                    </a:lnTo>
                    <a:lnTo>
                      <a:pt x="251" y="32"/>
                    </a:lnTo>
                    <a:lnTo>
                      <a:pt x="249" y="46"/>
                    </a:lnTo>
                    <a:lnTo>
                      <a:pt x="247" y="54"/>
                    </a:lnTo>
                    <a:lnTo>
                      <a:pt x="247" y="61"/>
                    </a:lnTo>
                    <a:lnTo>
                      <a:pt x="247" y="67"/>
                    </a:lnTo>
                    <a:lnTo>
                      <a:pt x="252" y="81"/>
                    </a:lnTo>
                    <a:lnTo>
                      <a:pt x="264" y="95"/>
                    </a:lnTo>
                    <a:lnTo>
                      <a:pt x="265" y="100"/>
                    </a:lnTo>
                    <a:lnTo>
                      <a:pt x="266" y="106"/>
                    </a:lnTo>
                    <a:lnTo>
                      <a:pt x="265" y="109"/>
                    </a:lnTo>
                    <a:lnTo>
                      <a:pt x="263" y="109"/>
                    </a:lnTo>
                    <a:lnTo>
                      <a:pt x="247" y="106"/>
                    </a:lnTo>
                    <a:lnTo>
                      <a:pt x="237" y="105"/>
                    </a:lnTo>
                    <a:lnTo>
                      <a:pt x="227" y="106"/>
                    </a:lnTo>
                    <a:lnTo>
                      <a:pt x="224" y="107"/>
                    </a:lnTo>
                    <a:lnTo>
                      <a:pt x="221" y="109"/>
                    </a:lnTo>
                    <a:lnTo>
                      <a:pt x="218" y="113"/>
                    </a:lnTo>
                    <a:lnTo>
                      <a:pt x="218" y="123"/>
                    </a:lnTo>
                    <a:lnTo>
                      <a:pt x="220" y="131"/>
                    </a:lnTo>
                    <a:lnTo>
                      <a:pt x="227" y="141"/>
                    </a:lnTo>
                    <a:lnTo>
                      <a:pt x="232" y="145"/>
                    </a:lnTo>
                    <a:lnTo>
                      <a:pt x="239" y="147"/>
                    </a:lnTo>
                    <a:lnTo>
                      <a:pt x="247" y="150"/>
                    </a:lnTo>
                    <a:lnTo>
                      <a:pt x="249" y="151"/>
                    </a:lnTo>
                    <a:lnTo>
                      <a:pt x="254" y="157"/>
                    </a:lnTo>
                    <a:lnTo>
                      <a:pt x="262" y="177"/>
                    </a:lnTo>
                    <a:lnTo>
                      <a:pt x="264" y="189"/>
                    </a:lnTo>
                    <a:lnTo>
                      <a:pt x="265" y="202"/>
                    </a:lnTo>
                    <a:lnTo>
                      <a:pt x="266" y="204"/>
                    </a:lnTo>
                    <a:lnTo>
                      <a:pt x="268" y="205"/>
                    </a:lnTo>
                    <a:lnTo>
                      <a:pt x="261" y="224"/>
                    </a:lnTo>
                    <a:lnTo>
                      <a:pt x="254" y="234"/>
                    </a:lnTo>
                    <a:lnTo>
                      <a:pt x="247" y="245"/>
                    </a:lnTo>
                    <a:lnTo>
                      <a:pt x="241" y="255"/>
                    </a:lnTo>
                    <a:lnTo>
                      <a:pt x="234" y="263"/>
                    </a:lnTo>
                    <a:lnTo>
                      <a:pt x="233" y="273"/>
                    </a:lnTo>
                    <a:lnTo>
                      <a:pt x="236" y="283"/>
                    </a:lnTo>
                    <a:lnTo>
                      <a:pt x="236" y="294"/>
                    </a:lnTo>
                    <a:lnTo>
                      <a:pt x="236" y="306"/>
                    </a:lnTo>
                    <a:lnTo>
                      <a:pt x="243" y="317"/>
                    </a:lnTo>
                    <a:lnTo>
                      <a:pt x="249" y="326"/>
                    </a:lnTo>
                    <a:lnTo>
                      <a:pt x="268" y="359"/>
                    </a:lnTo>
                    <a:lnTo>
                      <a:pt x="274" y="369"/>
                    </a:lnTo>
                    <a:lnTo>
                      <a:pt x="292" y="382"/>
                    </a:lnTo>
                    <a:lnTo>
                      <a:pt x="296" y="380"/>
                    </a:lnTo>
                    <a:lnTo>
                      <a:pt x="295" y="390"/>
                    </a:lnTo>
                    <a:lnTo>
                      <a:pt x="296" y="420"/>
                    </a:lnTo>
                    <a:lnTo>
                      <a:pt x="294" y="427"/>
                    </a:lnTo>
                    <a:lnTo>
                      <a:pt x="292" y="429"/>
                    </a:lnTo>
                    <a:lnTo>
                      <a:pt x="274" y="416"/>
                    </a:lnTo>
                    <a:lnTo>
                      <a:pt x="268" y="416"/>
                    </a:lnTo>
                    <a:lnTo>
                      <a:pt x="258" y="413"/>
                    </a:lnTo>
                    <a:lnTo>
                      <a:pt x="247" y="411"/>
                    </a:lnTo>
                    <a:lnTo>
                      <a:pt x="240" y="406"/>
                    </a:lnTo>
                    <a:lnTo>
                      <a:pt x="186" y="406"/>
                    </a:lnTo>
                    <a:lnTo>
                      <a:pt x="180" y="406"/>
                    </a:lnTo>
                    <a:lnTo>
                      <a:pt x="155" y="405"/>
                    </a:lnTo>
                    <a:lnTo>
                      <a:pt x="144" y="403"/>
                    </a:lnTo>
                    <a:lnTo>
                      <a:pt x="130" y="405"/>
                    </a:lnTo>
                    <a:lnTo>
                      <a:pt x="119" y="403"/>
                    </a:lnTo>
                    <a:lnTo>
                      <a:pt x="109" y="406"/>
                    </a:lnTo>
                    <a:lnTo>
                      <a:pt x="82" y="406"/>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2" name="Freeform 68"/>
              <p:cNvSpPr>
                <a:spLocks/>
              </p:cNvSpPr>
              <p:nvPr/>
            </p:nvSpPr>
            <p:spPr bwMode="auto">
              <a:xfrm>
                <a:off x="1736" y="2373"/>
                <a:ext cx="314" cy="355"/>
              </a:xfrm>
              <a:custGeom>
                <a:avLst/>
                <a:gdLst>
                  <a:gd name="T0" fmla="*/ 4166 w 293"/>
                  <a:gd name="T1" fmla="*/ 8425 h 338"/>
                  <a:gd name="T2" fmla="*/ 2566 w 293"/>
                  <a:gd name="T3" fmla="*/ 8224 h 338"/>
                  <a:gd name="T4" fmla="*/ 1199 w 293"/>
                  <a:gd name="T5" fmla="*/ 7821 h 338"/>
                  <a:gd name="T6" fmla="*/ 0 w 293"/>
                  <a:gd name="T7" fmla="*/ 7553 h 338"/>
                  <a:gd name="T8" fmla="*/ 4 w 293"/>
                  <a:gd name="T9" fmla="*/ 7128 h 338"/>
                  <a:gd name="T10" fmla="*/ 1946 w 293"/>
                  <a:gd name="T11" fmla="*/ 7105 h 338"/>
                  <a:gd name="T12" fmla="*/ 1946 w 293"/>
                  <a:gd name="T13" fmla="*/ 6750 h 338"/>
                  <a:gd name="T14" fmla="*/ 1816 w 293"/>
                  <a:gd name="T15" fmla="*/ 6244 h 338"/>
                  <a:gd name="T16" fmla="*/ 2750 w 293"/>
                  <a:gd name="T17" fmla="*/ 5975 h 338"/>
                  <a:gd name="T18" fmla="*/ 5050 w 293"/>
                  <a:gd name="T19" fmla="*/ 5639 h 338"/>
                  <a:gd name="T20" fmla="*/ 6216 w 293"/>
                  <a:gd name="T21" fmla="*/ 5559 h 338"/>
                  <a:gd name="T22" fmla="*/ 8591 w 293"/>
                  <a:gd name="T23" fmla="*/ 5712 h 338"/>
                  <a:gd name="T24" fmla="*/ 10782 w 293"/>
                  <a:gd name="T25" fmla="*/ 5913 h 338"/>
                  <a:gd name="T26" fmla="*/ 11344 w 293"/>
                  <a:gd name="T27" fmla="*/ 4930 h 338"/>
                  <a:gd name="T28" fmla="*/ 11694 w 293"/>
                  <a:gd name="T29" fmla="*/ 4428 h 338"/>
                  <a:gd name="T30" fmla="*/ 10782 w 293"/>
                  <a:gd name="T31" fmla="*/ 3659 h 338"/>
                  <a:gd name="T32" fmla="*/ 11769 w 293"/>
                  <a:gd name="T33" fmla="*/ 2832 h 338"/>
                  <a:gd name="T34" fmla="*/ 11243 w 293"/>
                  <a:gd name="T35" fmla="*/ 2216 h 338"/>
                  <a:gd name="T36" fmla="*/ 8025 w 293"/>
                  <a:gd name="T37" fmla="*/ 2479 h 338"/>
                  <a:gd name="T38" fmla="*/ 7651 w 293"/>
                  <a:gd name="T39" fmla="*/ 2103 h 338"/>
                  <a:gd name="T40" fmla="*/ 7953 w 293"/>
                  <a:gd name="T41" fmla="*/ 1491 h 338"/>
                  <a:gd name="T42" fmla="*/ 13947 w 293"/>
                  <a:gd name="T43" fmla="*/ 1589 h 338"/>
                  <a:gd name="T44" fmla="*/ 16018 w 293"/>
                  <a:gd name="T45" fmla="*/ 1728 h 338"/>
                  <a:gd name="T46" fmla="*/ 18050 w 293"/>
                  <a:gd name="T47" fmla="*/ 2031 h 338"/>
                  <a:gd name="T48" fmla="*/ 18566 w 293"/>
                  <a:gd name="T49" fmla="*/ 1821 h 338"/>
                  <a:gd name="T50" fmla="*/ 18566 w 293"/>
                  <a:gd name="T51" fmla="*/ 831 h 338"/>
                  <a:gd name="T52" fmla="*/ 20288 w 293"/>
                  <a:gd name="T53" fmla="*/ 312 h 338"/>
                  <a:gd name="T54" fmla="*/ 23089 w 293"/>
                  <a:gd name="T55" fmla="*/ 0 h 338"/>
                  <a:gd name="T56" fmla="*/ 25568 w 293"/>
                  <a:gd name="T57" fmla="*/ 297 h 338"/>
                  <a:gd name="T58" fmla="*/ 27867 w 293"/>
                  <a:gd name="T59" fmla="*/ 4 h 338"/>
                  <a:gd name="T60" fmla="*/ 28279 w 293"/>
                  <a:gd name="T61" fmla="*/ 312 h 338"/>
                  <a:gd name="T62" fmla="*/ 26517 w 293"/>
                  <a:gd name="T63" fmla="*/ 1306 h 338"/>
                  <a:gd name="T64" fmla="*/ 25336 w 293"/>
                  <a:gd name="T65" fmla="*/ 2524 h 338"/>
                  <a:gd name="T66" fmla="*/ 24708 w 293"/>
                  <a:gd name="T67" fmla="*/ 4239 h 338"/>
                  <a:gd name="T68" fmla="*/ 23808 w 293"/>
                  <a:gd name="T69" fmla="*/ 4558 h 338"/>
                  <a:gd name="T70" fmla="*/ 21127 w 293"/>
                  <a:gd name="T71" fmla="*/ 5028 h 338"/>
                  <a:gd name="T72" fmla="*/ 18931 w 293"/>
                  <a:gd name="T73" fmla="*/ 6102 h 338"/>
                  <a:gd name="T74" fmla="*/ 18759 w 293"/>
                  <a:gd name="T75" fmla="*/ 6765 h 338"/>
                  <a:gd name="T76" fmla="*/ 17557 w 293"/>
                  <a:gd name="T77" fmla="*/ 7462 h 338"/>
                  <a:gd name="T78" fmla="*/ 15717 w 293"/>
                  <a:gd name="T79" fmla="*/ 7864 h 338"/>
                  <a:gd name="T80" fmla="*/ 12913 w 293"/>
                  <a:gd name="T81" fmla="*/ 8336 h 338"/>
                  <a:gd name="T82" fmla="*/ 11769 w 293"/>
                  <a:gd name="T83" fmla="*/ 7980 h 338"/>
                  <a:gd name="T84" fmla="*/ 10815 w 293"/>
                  <a:gd name="T85" fmla="*/ 7937 h 338"/>
                  <a:gd name="T86" fmla="*/ 9374 w 293"/>
                  <a:gd name="T87" fmla="*/ 8182 h 338"/>
                  <a:gd name="T88" fmla="*/ 8025 w 293"/>
                  <a:gd name="T89" fmla="*/ 8381 h 338"/>
                  <a:gd name="T90" fmla="*/ 6722 w 293"/>
                  <a:gd name="T91" fmla="*/ 8022 h 338"/>
                  <a:gd name="T92" fmla="*/ 5412 w 293"/>
                  <a:gd name="T93" fmla="*/ 8054 h 3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3"/>
                  <a:gd name="T142" fmla="*/ 0 h 338"/>
                  <a:gd name="T143" fmla="*/ 293 w 293"/>
                  <a:gd name="T144" fmla="*/ 338 h 33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3" h="338">
                    <a:moveTo>
                      <a:pt x="52" y="327"/>
                    </a:moveTo>
                    <a:lnTo>
                      <a:pt x="44" y="331"/>
                    </a:lnTo>
                    <a:lnTo>
                      <a:pt x="34" y="338"/>
                    </a:lnTo>
                    <a:lnTo>
                      <a:pt x="27" y="322"/>
                    </a:lnTo>
                    <a:lnTo>
                      <a:pt x="23" y="316"/>
                    </a:lnTo>
                    <a:lnTo>
                      <a:pt x="13" y="306"/>
                    </a:lnTo>
                    <a:lnTo>
                      <a:pt x="8" y="299"/>
                    </a:lnTo>
                    <a:lnTo>
                      <a:pt x="0" y="296"/>
                    </a:lnTo>
                    <a:lnTo>
                      <a:pt x="1" y="285"/>
                    </a:lnTo>
                    <a:lnTo>
                      <a:pt x="4" y="280"/>
                    </a:lnTo>
                    <a:lnTo>
                      <a:pt x="13" y="277"/>
                    </a:lnTo>
                    <a:lnTo>
                      <a:pt x="20" y="279"/>
                    </a:lnTo>
                    <a:lnTo>
                      <a:pt x="23" y="274"/>
                    </a:lnTo>
                    <a:lnTo>
                      <a:pt x="20" y="264"/>
                    </a:lnTo>
                    <a:lnTo>
                      <a:pt x="17" y="256"/>
                    </a:lnTo>
                    <a:lnTo>
                      <a:pt x="19" y="246"/>
                    </a:lnTo>
                    <a:lnTo>
                      <a:pt x="22" y="241"/>
                    </a:lnTo>
                    <a:lnTo>
                      <a:pt x="29" y="235"/>
                    </a:lnTo>
                    <a:lnTo>
                      <a:pt x="46" y="228"/>
                    </a:lnTo>
                    <a:lnTo>
                      <a:pt x="52" y="222"/>
                    </a:lnTo>
                    <a:lnTo>
                      <a:pt x="60" y="215"/>
                    </a:lnTo>
                    <a:lnTo>
                      <a:pt x="64" y="218"/>
                    </a:lnTo>
                    <a:lnTo>
                      <a:pt x="71" y="226"/>
                    </a:lnTo>
                    <a:lnTo>
                      <a:pt x="89" y="225"/>
                    </a:lnTo>
                    <a:lnTo>
                      <a:pt x="102" y="236"/>
                    </a:lnTo>
                    <a:lnTo>
                      <a:pt x="112" y="232"/>
                    </a:lnTo>
                    <a:lnTo>
                      <a:pt x="116" y="220"/>
                    </a:lnTo>
                    <a:lnTo>
                      <a:pt x="118" y="194"/>
                    </a:lnTo>
                    <a:lnTo>
                      <a:pt x="120" y="185"/>
                    </a:lnTo>
                    <a:lnTo>
                      <a:pt x="122" y="174"/>
                    </a:lnTo>
                    <a:lnTo>
                      <a:pt x="113" y="153"/>
                    </a:lnTo>
                    <a:lnTo>
                      <a:pt x="112" y="144"/>
                    </a:lnTo>
                    <a:lnTo>
                      <a:pt x="112" y="133"/>
                    </a:lnTo>
                    <a:lnTo>
                      <a:pt x="123" y="111"/>
                    </a:lnTo>
                    <a:lnTo>
                      <a:pt x="123" y="96"/>
                    </a:lnTo>
                    <a:lnTo>
                      <a:pt x="116" y="87"/>
                    </a:lnTo>
                    <a:lnTo>
                      <a:pt x="96" y="82"/>
                    </a:lnTo>
                    <a:lnTo>
                      <a:pt x="84" y="98"/>
                    </a:lnTo>
                    <a:lnTo>
                      <a:pt x="79" y="95"/>
                    </a:lnTo>
                    <a:lnTo>
                      <a:pt x="79" y="82"/>
                    </a:lnTo>
                    <a:lnTo>
                      <a:pt x="79" y="68"/>
                    </a:lnTo>
                    <a:lnTo>
                      <a:pt x="82" y="58"/>
                    </a:lnTo>
                    <a:lnTo>
                      <a:pt x="137" y="58"/>
                    </a:lnTo>
                    <a:lnTo>
                      <a:pt x="144" y="63"/>
                    </a:lnTo>
                    <a:lnTo>
                      <a:pt x="155" y="64"/>
                    </a:lnTo>
                    <a:lnTo>
                      <a:pt x="165" y="67"/>
                    </a:lnTo>
                    <a:lnTo>
                      <a:pt x="171" y="67"/>
                    </a:lnTo>
                    <a:lnTo>
                      <a:pt x="188" y="80"/>
                    </a:lnTo>
                    <a:lnTo>
                      <a:pt x="191" y="78"/>
                    </a:lnTo>
                    <a:lnTo>
                      <a:pt x="192" y="71"/>
                    </a:lnTo>
                    <a:lnTo>
                      <a:pt x="192" y="40"/>
                    </a:lnTo>
                    <a:lnTo>
                      <a:pt x="192" y="32"/>
                    </a:lnTo>
                    <a:lnTo>
                      <a:pt x="198" y="23"/>
                    </a:lnTo>
                    <a:lnTo>
                      <a:pt x="211" y="11"/>
                    </a:lnTo>
                    <a:lnTo>
                      <a:pt x="229" y="3"/>
                    </a:lnTo>
                    <a:lnTo>
                      <a:pt x="240" y="0"/>
                    </a:lnTo>
                    <a:lnTo>
                      <a:pt x="254" y="7"/>
                    </a:lnTo>
                    <a:lnTo>
                      <a:pt x="265" y="10"/>
                    </a:lnTo>
                    <a:lnTo>
                      <a:pt x="277" y="8"/>
                    </a:lnTo>
                    <a:lnTo>
                      <a:pt x="289" y="4"/>
                    </a:lnTo>
                    <a:lnTo>
                      <a:pt x="292" y="0"/>
                    </a:lnTo>
                    <a:lnTo>
                      <a:pt x="293" y="11"/>
                    </a:lnTo>
                    <a:lnTo>
                      <a:pt x="289" y="25"/>
                    </a:lnTo>
                    <a:lnTo>
                      <a:pt x="275" y="51"/>
                    </a:lnTo>
                    <a:lnTo>
                      <a:pt x="268" y="68"/>
                    </a:lnTo>
                    <a:lnTo>
                      <a:pt x="262" y="99"/>
                    </a:lnTo>
                    <a:lnTo>
                      <a:pt x="262" y="145"/>
                    </a:lnTo>
                    <a:lnTo>
                      <a:pt x="256" y="167"/>
                    </a:lnTo>
                    <a:lnTo>
                      <a:pt x="256" y="171"/>
                    </a:lnTo>
                    <a:lnTo>
                      <a:pt x="246" y="179"/>
                    </a:lnTo>
                    <a:lnTo>
                      <a:pt x="232" y="186"/>
                    </a:lnTo>
                    <a:lnTo>
                      <a:pt x="219" y="197"/>
                    </a:lnTo>
                    <a:lnTo>
                      <a:pt x="203" y="223"/>
                    </a:lnTo>
                    <a:lnTo>
                      <a:pt x="197" y="238"/>
                    </a:lnTo>
                    <a:lnTo>
                      <a:pt x="195" y="253"/>
                    </a:lnTo>
                    <a:lnTo>
                      <a:pt x="195" y="266"/>
                    </a:lnTo>
                    <a:lnTo>
                      <a:pt x="192" y="277"/>
                    </a:lnTo>
                    <a:lnTo>
                      <a:pt x="183" y="293"/>
                    </a:lnTo>
                    <a:lnTo>
                      <a:pt x="173" y="304"/>
                    </a:lnTo>
                    <a:lnTo>
                      <a:pt x="163" y="309"/>
                    </a:lnTo>
                    <a:lnTo>
                      <a:pt x="147" y="323"/>
                    </a:lnTo>
                    <a:lnTo>
                      <a:pt x="133" y="328"/>
                    </a:lnTo>
                    <a:lnTo>
                      <a:pt x="125" y="327"/>
                    </a:lnTo>
                    <a:lnTo>
                      <a:pt x="123" y="314"/>
                    </a:lnTo>
                    <a:lnTo>
                      <a:pt x="123" y="311"/>
                    </a:lnTo>
                    <a:lnTo>
                      <a:pt x="113" y="312"/>
                    </a:lnTo>
                    <a:lnTo>
                      <a:pt x="103" y="315"/>
                    </a:lnTo>
                    <a:lnTo>
                      <a:pt x="97" y="319"/>
                    </a:lnTo>
                    <a:lnTo>
                      <a:pt x="93" y="327"/>
                    </a:lnTo>
                    <a:lnTo>
                      <a:pt x="84" y="330"/>
                    </a:lnTo>
                    <a:lnTo>
                      <a:pt x="74" y="323"/>
                    </a:lnTo>
                    <a:lnTo>
                      <a:pt x="70" y="315"/>
                    </a:lnTo>
                    <a:lnTo>
                      <a:pt x="63" y="312"/>
                    </a:lnTo>
                    <a:lnTo>
                      <a:pt x="56" y="316"/>
                    </a:lnTo>
                    <a:lnTo>
                      <a:pt x="52" y="3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3" name="Freeform 69"/>
              <p:cNvSpPr>
                <a:spLocks/>
              </p:cNvSpPr>
              <p:nvPr/>
            </p:nvSpPr>
            <p:spPr bwMode="auto">
              <a:xfrm>
                <a:off x="1736" y="2373"/>
                <a:ext cx="314" cy="355"/>
              </a:xfrm>
              <a:custGeom>
                <a:avLst/>
                <a:gdLst>
                  <a:gd name="T0" fmla="*/ 4166 w 293"/>
                  <a:gd name="T1" fmla="*/ 8425 h 338"/>
                  <a:gd name="T2" fmla="*/ 2566 w 293"/>
                  <a:gd name="T3" fmla="*/ 8224 h 338"/>
                  <a:gd name="T4" fmla="*/ 1199 w 293"/>
                  <a:gd name="T5" fmla="*/ 7821 h 338"/>
                  <a:gd name="T6" fmla="*/ 0 w 293"/>
                  <a:gd name="T7" fmla="*/ 7553 h 338"/>
                  <a:gd name="T8" fmla="*/ 4 w 293"/>
                  <a:gd name="T9" fmla="*/ 7128 h 338"/>
                  <a:gd name="T10" fmla="*/ 1946 w 293"/>
                  <a:gd name="T11" fmla="*/ 7105 h 338"/>
                  <a:gd name="T12" fmla="*/ 1946 w 293"/>
                  <a:gd name="T13" fmla="*/ 6750 h 338"/>
                  <a:gd name="T14" fmla="*/ 1816 w 293"/>
                  <a:gd name="T15" fmla="*/ 6244 h 338"/>
                  <a:gd name="T16" fmla="*/ 2750 w 293"/>
                  <a:gd name="T17" fmla="*/ 5975 h 338"/>
                  <a:gd name="T18" fmla="*/ 5050 w 293"/>
                  <a:gd name="T19" fmla="*/ 5639 h 338"/>
                  <a:gd name="T20" fmla="*/ 6216 w 293"/>
                  <a:gd name="T21" fmla="*/ 5559 h 338"/>
                  <a:gd name="T22" fmla="*/ 8591 w 293"/>
                  <a:gd name="T23" fmla="*/ 5712 h 338"/>
                  <a:gd name="T24" fmla="*/ 10782 w 293"/>
                  <a:gd name="T25" fmla="*/ 5913 h 338"/>
                  <a:gd name="T26" fmla="*/ 11344 w 293"/>
                  <a:gd name="T27" fmla="*/ 4930 h 338"/>
                  <a:gd name="T28" fmla="*/ 11694 w 293"/>
                  <a:gd name="T29" fmla="*/ 4428 h 338"/>
                  <a:gd name="T30" fmla="*/ 10782 w 293"/>
                  <a:gd name="T31" fmla="*/ 3659 h 338"/>
                  <a:gd name="T32" fmla="*/ 11769 w 293"/>
                  <a:gd name="T33" fmla="*/ 2832 h 338"/>
                  <a:gd name="T34" fmla="*/ 11243 w 293"/>
                  <a:gd name="T35" fmla="*/ 2216 h 338"/>
                  <a:gd name="T36" fmla="*/ 8025 w 293"/>
                  <a:gd name="T37" fmla="*/ 2479 h 338"/>
                  <a:gd name="T38" fmla="*/ 7651 w 293"/>
                  <a:gd name="T39" fmla="*/ 2103 h 338"/>
                  <a:gd name="T40" fmla="*/ 7953 w 293"/>
                  <a:gd name="T41" fmla="*/ 1491 h 338"/>
                  <a:gd name="T42" fmla="*/ 13947 w 293"/>
                  <a:gd name="T43" fmla="*/ 1589 h 338"/>
                  <a:gd name="T44" fmla="*/ 16018 w 293"/>
                  <a:gd name="T45" fmla="*/ 1728 h 338"/>
                  <a:gd name="T46" fmla="*/ 18050 w 293"/>
                  <a:gd name="T47" fmla="*/ 2031 h 338"/>
                  <a:gd name="T48" fmla="*/ 18566 w 293"/>
                  <a:gd name="T49" fmla="*/ 1821 h 338"/>
                  <a:gd name="T50" fmla="*/ 18566 w 293"/>
                  <a:gd name="T51" fmla="*/ 831 h 338"/>
                  <a:gd name="T52" fmla="*/ 20288 w 293"/>
                  <a:gd name="T53" fmla="*/ 312 h 338"/>
                  <a:gd name="T54" fmla="*/ 23089 w 293"/>
                  <a:gd name="T55" fmla="*/ 0 h 338"/>
                  <a:gd name="T56" fmla="*/ 25568 w 293"/>
                  <a:gd name="T57" fmla="*/ 297 h 338"/>
                  <a:gd name="T58" fmla="*/ 27867 w 293"/>
                  <a:gd name="T59" fmla="*/ 4 h 338"/>
                  <a:gd name="T60" fmla="*/ 28279 w 293"/>
                  <a:gd name="T61" fmla="*/ 312 h 338"/>
                  <a:gd name="T62" fmla="*/ 26517 w 293"/>
                  <a:gd name="T63" fmla="*/ 1306 h 338"/>
                  <a:gd name="T64" fmla="*/ 25336 w 293"/>
                  <a:gd name="T65" fmla="*/ 2524 h 338"/>
                  <a:gd name="T66" fmla="*/ 24708 w 293"/>
                  <a:gd name="T67" fmla="*/ 4239 h 338"/>
                  <a:gd name="T68" fmla="*/ 23808 w 293"/>
                  <a:gd name="T69" fmla="*/ 4558 h 338"/>
                  <a:gd name="T70" fmla="*/ 21127 w 293"/>
                  <a:gd name="T71" fmla="*/ 5028 h 338"/>
                  <a:gd name="T72" fmla="*/ 18931 w 293"/>
                  <a:gd name="T73" fmla="*/ 6102 h 338"/>
                  <a:gd name="T74" fmla="*/ 18759 w 293"/>
                  <a:gd name="T75" fmla="*/ 6765 h 338"/>
                  <a:gd name="T76" fmla="*/ 17557 w 293"/>
                  <a:gd name="T77" fmla="*/ 7462 h 338"/>
                  <a:gd name="T78" fmla="*/ 15717 w 293"/>
                  <a:gd name="T79" fmla="*/ 7864 h 338"/>
                  <a:gd name="T80" fmla="*/ 12913 w 293"/>
                  <a:gd name="T81" fmla="*/ 8336 h 338"/>
                  <a:gd name="T82" fmla="*/ 11769 w 293"/>
                  <a:gd name="T83" fmla="*/ 7980 h 338"/>
                  <a:gd name="T84" fmla="*/ 10815 w 293"/>
                  <a:gd name="T85" fmla="*/ 7937 h 338"/>
                  <a:gd name="T86" fmla="*/ 9374 w 293"/>
                  <a:gd name="T87" fmla="*/ 8182 h 338"/>
                  <a:gd name="T88" fmla="*/ 8025 w 293"/>
                  <a:gd name="T89" fmla="*/ 8381 h 338"/>
                  <a:gd name="T90" fmla="*/ 6722 w 293"/>
                  <a:gd name="T91" fmla="*/ 8022 h 338"/>
                  <a:gd name="T92" fmla="*/ 5412 w 293"/>
                  <a:gd name="T93" fmla="*/ 8054 h 3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3"/>
                  <a:gd name="T142" fmla="*/ 0 h 338"/>
                  <a:gd name="T143" fmla="*/ 293 w 293"/>
                  <a:gd name="T144" fmla="*/ 338 h 33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3" h="338">
                    <a:moveTo>
                      <a:pt x="52" y="327"/>
                    </a:moveTo>
                    <a:lnTo>
                      <a:pt x="44" y="331"/>
                    </a:lnTo>
                    <a:lnTo>
                      <a:pt x="34" y="338"/>
                    </a:lnTo>
                    <a:lnTo>
                      <a:pt x="27" y="322"/>
                    </a:lnTo>
                    <a:lnTo>
                      <a:pt x="23" y="316"/>
                    </a:lnTo>
                    <a:lnTo>
                      <a:pt x="13" y="306"/>
                    </a:lnTo>
                    <a:lnTo>
                      <a:pt x="8" y="299"/>
                    </a:lnTo>
                    <a:lnTo>
                      <a:pt x="0" y="296"/>
                    </a:lnTo>
                    <a:lnTo>
                      <a:pt x="1" y="285"/>
                    </a:lnTo>
                    <a:lnTo>
                      <a:pt x="4" y="280"/>
                    </a:lnTo>
                    <a:lnTo>
                      <a:pt x="13" y="277"/>
                    </a:lnTo>
                    <a:lnTo>
                      <a:pt x="20" y="279"/>
                    </a:lnTo>
                    <a:lnTo>
                      <a:pt x="23" y="274"/>
                    </a:lnTo>
                    <a:lnTo>
                      <a:pt x="20" y="264"/>
                    </a:lnTo>
                    <a:lnTo>
                      <a:pt x="17" y="256"/>
                    </a:lnTo>
                    <a:lnTo>
                      <a:pt x="19" y="246"/>
                    </a:lnTo>
                    <a:lnTo>
                      <a:pt x="22" y="241"/>
                    </a:lnTo>
                    <a:lnTo>
                      <a:pt x="29" y="235"/>
                    </a:lnTo>
                    <a:lnTo>
                      <a:pt x="46" y="228"/>
                    </a:lnTo>
                    <a:lnTo>
                      <a:pt x="52" y="222"/>
                    </a:lnTo>
                    <a:lnTo>
                      <a:pt x="60" y="215"/>
                    </a:lnTo>
                    <a:lnTo>
                      <a:pt x="64" y="218"/>
                    </a:lnTo>
                    <a:lnTo>
                      <a:pt x="71" y="226"/>
                    </a:lnTo>
                    <a:lnTo>
                      <a:pt x="89" y="225"/>
                    </a:lnTo>
                    <a:lnTo>
                      <a:pt x="102" y="236"/>
                    </a:lnTo>
                    <a:lnTo>
                      <a:pt x="112" y="232"/>
                    </a:lnTo>
                    <a:lnTo>
                      <a:pt x="116" y="220"/>
                    </a:lnTo>
                    <a:lnTo>
                      <a:pt x="118" y="194"/>
                    </a:lnTo>
                    <a:lnTo>
                      <a:pt x="120" y="185"/>
                    </a:lnTo>
                    <a:lnTo>
                      <a:pt x="122" y="174"/>
                    </a:lnTo>
                    <a:lnTo>
                      <a:pt x="113" y="153"/>
                    </a:lnTo>
                    <a:lnTo>
                      <a:pt x="112" y="144"/>
                    </a:lnTo>
                    <a:lnTo>
                      <a:pt x="112" y="133"/>
                    </a:lnTo>
                    <a:lnTo>
                      <a:pt x="123" y="111"/>
                    </a:lnTo>
                    <a:lnTo>
                      <a:pt x="123" y="96"/>
                    </a:lnTo>
                    <a:lnTo>
                      <a:pt x="116" y="87"/>
                    </a:lnTo>
                    <a:lnTo>
                      <a:pt x="96" y="82"/>
                    </a:lnTo>
                    <a:lnTo>
                      <a:pt x="84" y="98"/>
                    </a:lnTo>
                    <a:lnTo>
                      <a:pt x="79" y="95"/>
                    </a:lnTo>
                    <a:lnTo>
                      <a:pt x="79" y="82"/>
                    </a:lnTo>
                    <a:lnTo>
                      <a:pt x="79" y="68"/>
                    </a:lnTo>
                    <a:lnTo>
                      <a:pt x="82" y="58"/>
                    </a:lnTo>
                    <a:lnTo>
                      <a:pt x="137" y="58"/>
                    </a:lnTo>
                    <a:lnTo>
                      <a:pt x="144" y="63"/>
                    </a:lnTo>
                    <a:lnTo>
                      <a:pt x="155" y="64"/>
                    </a:lnTo>
                    <a:lnTo>
                      <a:pt x="165" y="67"/>
                    </a:lnTo>
                    <a:lnTo>
                      <a:pt x="171" y="67"/>
                    </a:lnTo>
                    <a:lnTo>
                      <a:pt x="188" y="80"/>
                    </a:lnTo>
                    <a:lnTo>
                      <a:pt x="191" y="78"/>
                    </a:lnTo>
                    <a:lnTo>
                      <a:pt x="192" y="71"/>
                    </a:lnTo>
                    <a:lnTo>
                      <a:pt x="192" y="40"/>
                    </a:lnTo>
                    <a:lnTo>
                      <a:pt x="192" y="32"/>
                    </a:lnTo>
                    <a:lnTo>
                      <a:pt x="198" y="23"/>
                    </a:lnTo>
                    <a:lnTo>
                      <a:pt x="211" y="11"/>
                    </a:lnTo>
                    <a:lnTo>
                      <a:pt x="229" y="3"/>
                    </a:lnTo>
                    <a:lnTo>
                      <a:pt x="240" y="0"/>
                    </a:lnTo>
                    <a:lnTo>
                      <a:pt x="254" y="7"/>
                    </a:lnTo>
                    <a:lnTo>
                      <a:pt x="265" y="10"/>
                    </a:lnTo>
                    <a:lnTo>
                      <a:pt x="277" y="8"/>
                    </a:lnTo>
                    <a:lnTo>
                      <a:pt x="289" y="4"/>
                    </a:lnTo>
                    <a:lnTo>
                      <a:pt x="292" y="0"/>
                    </a:lnTo>
                    <a:lnTo>
                      <a:pt x="293" y="11"/>
                    </a:lnTo>
                    <a:lnTo>
                      <a:pt x="289" y="25"/>
                    </a:lnTo>
                    <a:lnTo>
                      <a:pt x="275" y="51"/>
                    </a:lnTo>
                    <a:lnTo>
                      <a:pt x="268" y="68"/>
                    </a:lnTo>
                    <a:lnTo>
                      <a:pt x="262" y="99"/>
                    </a:lnTo>
                    <a:lnTo>
                      <a:pt x="262" y="145"/>
                    </a:lnTo>
                    <a:lnTo>
                      <a:pt x="256" y="167"/>
                    </a:lnTo>
                    <a:lnTo>
                      <a:pt x="256" y="171"/>
                    </a:lnTo>
                    <a:lnTo>
                      <a:pt x="246" y="179"/>
                    </a:lnTo>
                    <a:lnTo>
                      <a:pt x="232" y="186"/>
                    </a:lnTo>
                    <a:lnTo>
                      <a:pt x="219" y="197"/>
                    </a:lnTo>
                    <a:lnTo>
                      <a:pt x="203" y="223"/>
                    </a:lnTo>
                    <a:lnTo>
                      <a:pt x="197" y="238"/>
                    </a:lnTo>
                    <a:lnTo>
                      <a:pt x="195" y="253"/>
                    </a:lnTo>
                    <a:lnTo>
                      <a:pt x="195" y="266"/>
                    </a:lnTo>
                    <a:lnTo>
                      <a:pt x="192" y="277"/>
                    </a:lnTo>
                    <a:lnTo>
                      <a:pt x="183" y="293"/>
                    </a:lnTo>
                    <a:lnTo>
                      <a:pt x="173" y="304"/>
                    </a:lnTo>
                    <a:lnTo>
                      <a:pt x="163" y="309"/>
                    </a:lnTo>
                    <a:lnTo>
                      <a:pt x="147" y="323"/>
                    </a:lnTo>
                    <a:lnTo>
                      <a:pt x="133" y="328"/>
                    </a:lnTo>
                    <a:lnTo>
                      <a:pt x="125" y="327"/>
                    </a:lnTo>
                    <a:lnTo>
                      <a:pt x="123" y="314"/>
                    </a:lnTo>
                    <a:lnTo>
                      <a:pt x="123" y="311"/>
                    </a:lnTo>
                    <a:lnTo>
                      <a:pt x="113" y="312"/>
                    </a:lnTo>
                    <a:lnTo>
                      <a:pt x="103" y="315"/>
                    </a:lnTo>
                    <a:lnTo>
                      <a:pt x="97" y="319"/>
                    </a:lnTo>
                    <a:lnTo>
                      <a:pt x="93" y="327"/>
                    </a:lnTo>
                    <a:lnTo>
                      <a:pt x="84" y="330"/>
                    </a:lnTo>
                    <a:lnTo>
                      <a:pt x="74" y="323"/>
                    </a:lnTo>
                    <a:lnTo>
                      <a:pt x="70" y="315"/>
                    </a:lnTo>
                    <a:lnTo>
                      <a:pt x="63" y="312"/>
                    </a:lnTo>
                    <a:lnTo>
                      <a:pt x="56" y="316"/>
                    </a:lnTo>
                    <a:lnTo>
                      <a:pt x="52" y="327"/>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4" name="Freeform 70"/>
              <p:cNvSpPr>
                <a:spLocks/>
              </p:cNvSpPr>
              <p:nvPr/>
            </p:nvSpPr>
            <p:spPr bwMode="auto">
              <a:xfrm>
                <a:off x="1664" y="2434"/>
                <a:ext cx="78" cy="49"/>
              </a:xfrm>
              <a:custGeom>
                <a:avLst/>
                <a:gdLst>
                  <a:gd name="T0" fmla="*/ 5750 w 73"/>
                  <a:gd name="T1" fmla="*/ 628 h 47"/>
                  <a:gd name="T2" fmla="*/ 1928 w 73"/>
                  <a:gd name="T3" fmla="*/ 655 h 47"/>
                  <a:gd name="T4" fmla="*/ 761 w 73"/>
                  <a:gd name="T5" fmla="*/ 731 h 47"/>
                  <a:gd name="T6" fmla="*/ 761 w 73"/>
                  <a:gd name="T7" fmla="*/ 683 h 47"/>
                  <a:gd name="T8" fmla="*/ 0 w 73"/>
                  <a:gd name="T9" fmla="*/ 594 h 47"/>
                  <a:gd name="T10" fmla="*/ 712 w 73"/>
                  <a:gd name="T11" fmla="*/ 364 h 47"/>
                  <a:gd name="T12" fmla="*/ 761 w 73"/>
                  <a:gd name="T13" fmla="*/ 260 h 47"/>
                  <a:gd name="T14" fmla="*/ 993 w 73"/>
                  <a:gd name="T15" fmla="*/ 8 h 47"/>
                  <a:gd name="T16" fmla="*/ 993 w 73"/>
                  <a:gd name="T17" fmla="*/ 2 h 47"/>
                  <a:gd name="T18" fmla="*/ 1212 w 73"/>
                  <a:gd name="T19" fmla="*/ 0 h 47"/>
                  <a:gd name="T20" fmla="*/ 3615 w 73"/>
                  <a:gd name="T21" fmla="*/ 0 h 47"/>
                  <a:gd name="T22" fmla="*/ 5750 w 73"/>
                  <a:gd name="T23" fmla="*/ 0 h 47"/>
                  <a:gd name="T24" fmla="*/ 5573 w 73"/>
                  <a:gd name="T25" fmla="*/ 10 h 47"/>
                  <a:gd name="T26" fmla="*/ 5573 w 73"/>
                  <a:gd name="T27" fmla="*/ 395 h 47"/>
                  <a:gd name="T28" fmla="*/ 5648 w 73"/>
                  <a:gd name="T29" fmla="*/ 628 h 47"/>
                  <a:gd name="T30" fmla="*/ 5750 w 73"/>
                  <a:gd name="T31" fmla="*/ 628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3"/>
                  <a:gd name="T49" fmla="*/ 0 h 47"/>
                  <a:gd name="T50" fmla="*/ 73 w 73"/>
                  <a:gd name="T51" fmla="*/ 47 h 4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3" h="47">
                    <a:moveTo>
                      <a:pt x="73" y="40"/>
                    </a:moveTo>
                    <a:lnTo>
                      <a:pt x="24" y="42"/>
                    </a:lnTo>
                    <a:lnTo>
                      <a:pt x="9" y="47"/>
                    </a:lnTo>
                    <a:lnTo>
                      <a:pt x="9" y="44"/>
                    </a:lnTo>
                    <a:lnTo>
                      <a:pt x="0" y="37"/>
                    </a:lnTo>
                    <a:lnTo>
                      <a:pt x="8" y="25"/>
                    </a:lnTo>
                    <a:lnTo>
                      <a:pt x="9" y="17"/>
                    </a:lnTo>
                    <a:lnTo>
                      <a:pt x="13" y="8"/>
                    </a:lnTo>
                    <a:lnTo>
                      <a:pt x="13" y="2"/>
                    </a:lnTo>
                    <a:lnTo>
                      <a:pt x="16" y="0"/>
                    </a:lnTo>
                    <a:lnTo>
                      <a:pt x="46" y="0"/>
                    </a:lnTo>
                    <a:lnTo>
                      <a:pt x="73" y="0"/>
                    </a:lnTo>
                    <a:lnTo>
                      <a:pt x="70" y="10"/>
                    </a:lnTo>
                    <a:lnTo>
                      <a:pt x="70" y="27"/>
                    </a:lnTo>
                    <a:lnTo>
                      <a:pt x="72" y="40"/>
                    </a:lnTo>
                    <a:lnTo>
                      <a:pt x="73"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5" name="Freeform 71"/>
              <p:cNvSpPr>
                <a:spLocks/>
              </p:cNvSpPr>
              <p:nvPr/>
            </p:nvSpPr>
            <p:spPr bwMode="auto">
              <a:xfrm>
                <a:off x="1664" y="2434"/>
                <a:ext cx="78" cy="49"/>
              </a:xfrm>
              <a:custGeom>
                <a:avLst/>
                <a:gdLst>
                  <a:gd name="T0" fmla="*/ 5750 w 73"/>
                  <a:gd name="T1" fmla="*/ 628 h 47"/>
                  <a:gd name="T2" fmla="*/ 1928 w 73"/>
                  <a:gd name="T3" fmla="*/ 655 h 47"/>
                  <a:gd name="T4" fmla="*/ 761 w 73"/>
                  <a:gd name="T5" fmla="*/ 731 h 47"/>
                  <a:gd name="T6" fmla="*/ 761 w 73"/>
                  <a:gd name="T7" fmla="*/ 683 h 47"/>
                  <a:gd name="T8" fmla="*/ 0 w 73"/>
                  <a:gd name="T9" fmla="*/ 594 h 47"/>
                  <a:gd name="T10" fmla="*/ 712 w 73"/>
                  <a:gd name="T11" fmla="*/ 364 h 47"/>
                  <a:gd name="T12" fmla="*/ 761 w 73"/>
                  <a:gd name="T13" fmla="*/ 260 h 47"/>
                  <a:gd name="T14" fmla="*/ 993 w 73"/>
                  <a:gd name="T15" fmla="*/ 8 h 47"/>
                  <a:gd name="T16" fmla="*/ 993 w 73"/>
                  <a:gd name="T17" fmla="*/ 2 h 47"/>
                  <a:gd name="T18" fmla="*/ 1212 w 73"/>
                  <a:gd name="T19" fmla="*/ 0 h 47"/>
                  <a:gd name="T20" fmla="*/ 3615 w 73"/>
                  <a:gd name="T21" fmla="*/ 0 h 47"/>
                  <a:gd name="T22" fmla="*/ 5750 w 73"/>
                  <a:gd name="T23" fmla="*/ 0 h 47"/>
                  <a:gd name="T24" fmla="*/ 5573 w 73"/>
                  <a:gd name="T25" fmla="*/ 10 h 47"/>
                  <a:gd name="T26" fmla="*/ 5573 w 73"/>
                  <a:gd name="T27" fmla="*/ 395 h 47"/>
                  <a:gd name="T28" fmla="*/ 5648 w 73"/>
                  <a:gd name="T29" fmla="*/ 628 h 47"/>
                  <a:gd name="T30" fmla="*/ 5750 w 73"/>
                  <a:gd name="T31" fmla="*/ 628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3"/>
                  <a:gd name="T49" fmla="*/ 0 h 47"/>
                  <a:gd name="T50" fmla="*/ 73 w 73"/>
                  <a:gd name="T51" fmla="*/ 47 h 4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3" h="47">
                    <a:moveTo>
                      <a:pt x="73" y="40"/>
                    </a:moveTo>
                    <a:lnTo>
                      <a:pt x="24" y="42"/>
                    </a:lnTo>
                    <a:lnTo>
                      <a:pt x="9" y="47"/>
                    </a:lnTo>
                    <a:lnTo>
                      <a:pt x="9" y="44"/>
                    </a:lnTo>
                    <a:lnTo>
                      <a:pt x="0" y="37"/>
                    </a:lnTo>
                    <a:lnTo>
                      <a:pt x="8" y="25"/>
                    </a:lnTo>
                    <a:lnTo>
                      <a:pt x="9" y="17"/>
                    </a:lnTo>
                    <a:lnTo>
                      <a:pt x="13" y="8"/>
                    </a:lnTo>
                    <a:lnTo>
                      <a:pt x="13" y="2"/>
                    </a:lnTo>
                    <a:lnTo>
                      <a:pt x="16" y="0"/>
                    </a:lnTo>
                    <a:lnTo>
                      <a:pt x="46" y="0"/>
                    </a:lnTo>
                    <a:lnTo>
                      <a:pt x="73" y="0"/>
                    </a:lnTo>
                    <a:lnTo>
                      <a:pt x="70" y="10"/>
                    </a:lnTo>
                    <a:lnTo>
                      <a:pt x="70" y="27"/>
                    </a:lnTo>
                    <a:lnTo>
                      <a:pt x="72" y="40"/>
                    </a:lnTo>
                    <a:lnTo>
                      <a:pt x="73" y="4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 name="Freeform 72"/>
              <p:cNvSpPr>
                <a:spLocks/>
              </p:cNvSpPr>
              <p:nvPr/>
            </p:nvSpPr>
            <p:spPr bwMode="auto">
              <a:xfrm>
                <a:off x="1775" y="2704"/>
                <a:ext cx="41" cy="55"/>
              </a:xfrm>
              <a:custGeom>
                <a:avLst/>
                <a:gdLst>
                  <a:gd name="T0" fmla="*/ 2564 w 38"/>
                  <a:gd name="T1" fmla="*/ 483 h 53"/>
                  <a:gd name="T2" fmla="*/ 2564 w 38"/>
                  <a:gd name="T3" fmla="*/ 562 h 53"/>
                  <a:gd name="T4" fmla="*/ 1626 w 38"/>
                  <a:gd name="T5" fmla="*/ 603 h 53"/>
                  <a:gd name="T6" fmla="*/ 6 w 38"/>
                  <a:gd name="T7" fmla="*/ 542 h 53"/>
                  <a:gd name="T8" fmla="*/ 4 w 38"/>
                  <a:gd name="T9" fmla="*/ 501 h 53"/>
                  <a:gd name="T10" fmla="*/ 4 w 38"/>
                  <a:gd name="T11" fmla="*/ 418 h 53"/>
                  <a:gd name="T12" fmla="*/ 2 w 38"/>
                  <a:gd name="T13" fmla="*/ 299 h 53"/>
                  <a:gd name="T14" fmla="*/ 0 w 38"/>
                  <a:gd name="T15" fmla="*/ 258 h 53"/>
                  <a:gd name="T16" fmla="*/ 1397 w 38"/>
                  <a:gd name="T17" fmla="*/ 199 h 53"/>
                  <a:gd name="T18" fmla="*/ 2376 w 38"/>
                  <a:gd name="T19" fmla="*/ 12 h 53"/>
                  <a:gd name="T20" fmla="*/ 3220 w 38"/>
                  <a:gd name="T21" fmla="*/ 2 h 53"/>
                  <a:gd name="T22" fmla="*/ 4044 w 38"/>
                  <a:gd name="T23" fmla="*/ 0 h 53"/>
                  <a:gd name="T24" fmla="*/ 5101 w 38"/>
                  <a:gd name="T25" fmla="*/ 1 h 53"/>
                  <a:gd name="T26" fmla="*/ 5654 w 38"/>
                  <a:gd name="T27" fmla="*/ 9 h 53"/>
                  <a:gd name="T28" fmla="*/ 5101 w 38"/>
                  <a:gd name="T29" fmla="*/ 11 h 53"/>
                  <a:gd name="T30" fmla="*/ 4173 w 38"/>
                  <a:gd name="T31" fmla="*/ 185 h 53"/>
                  <a:gd name="T32" fmla="*/ 3323 w 38"/>
                  <a:gd name="T33" fmla="*/ 231 h 53"/>
                  <a:gd name="T34" fmla="*/ 2984 w 38"/>
                  <a:gd name="T35" fmla="*/ 334 h 53"/>
                  <a:gd name="T36" fmla="*/ 2564 w 38"/>
                  <a:gd name="T37" fmla="*/ 483 h 5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8"/>
                  <a:gd name="T58" fmla="*/ 0 h 53"/>
                  <a:gd name="T59" fmla="*/ 38 w 38"/>
                  <a:gd name="T60" fmla="*/ 53 h 5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8" h="53">
                    <a:moveTo>
                      <a:pt x="17" y="41"/>
                    </a:moveTo>
                    <a:lnTo>
                      <a:pt x="17" y="50"/>
                    </a:lnTo>
                    <a:lnTo>
                      <a:pt x="11" y="53"/>
                    </a:lnTo>
                    <a:lnTo>
                      <a:pt x="6" y="48"/>
                    </a:lnTo>
                    <a:lnTo>
                      <a:pt x="4" y="43"/>
                    </a:lnTo>
                    <a:lnTo>
                      <a:pt x="4" y="37"/>
                    </a:lnTo>
                    <a:lnTo>
                      <a:pt x="2" y="28"/>
                    </a:lnTo>
                    <a:lnTo>
                      <a:pt x="0" y="24"/>
                    </a:lnTo>
                    <a:lnTo>
                      <a:pt x="9" y="17"/>
                    </a:lnTo>
                    <a:lnTo>
                      <a:pt x="16" y="12"/>
                    </a:lnTo>
                    <a:lnTo>
                      <a:pt x="21" y="2"/>
                    </a:lnTo>
                    <a:lnTo>
                      <a:pt x="27" y="0"/>
                    </a:lnTo>
                    <a:lnTo>
                      <a:pt x="34" y="1"/>
                    </a:lnTo>
                    <a:lnTo>
                      <a:pt x="38" y="9"/>
                    </a:lnTo>
                    <a:lnTo>
                      <a:pt x="34" y="11"/>
                    </a:lnTo>
                    <a:lnTo>
                      <a:pt x="28" y="15"/>
                    </a:lnTo>
                    <a:lnTo>
                      <a:pt x="22" y="21"/>
                    </a:lnTo>
                    <a:lnTo>
                      <a:pt x="19" y="31"/>
                    </a:lnTo>
                    <a:lnTo>
                      <a:pt x="17"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7" name="Freeform 73"/>
              <p:cNvSpPr>
                <a:spLocks/>
              </p:cNvSpPr>
              <p:nvPr/>
            </p:nvSpPr>
            <p:spPr bwMode="auto">
              <a:xfrm>
                <a:off x="1775" y="2704"/>
                <a:ext cx="41" cy="55"/>
              </a:xfrm>
              <a:custGeom>
                <a:avLst/>
                <a:gdLst>
                  <a:gd name="T0" fmla="*/ 2564 w 38"/>
                  <a:gd name="T1" fmla="*/ 483 h 53"/>
                  <a:gd name="T2" fmla="*/ 2564 w 38"/>
                  <a:gd name="T3" fmla="*/ 562 h 53"/>
                  <a:gd name="T4" fmla="*/ 1626 w 38"/>
                  <a:gd name="T5" fmla="*/ 603 h 53"/>
                  <a:gd name="T6" fmla="*/ 6 w 38"/>
                  <a:gd name="T7" fmla="*/ 542 h 53"/>
                  <a:gd name="T8" fmla="*/ 4 w 38"/>
                  <a:gd name="T9" fmla="*/ 501 h 53"/>
                  <a:gd name="T10" fmla="*/ 4 w 38"/>
                  <a:gd name="T11" fmla="*/ 418 h 53"/>
                  <a:gd name="T12" fmla="*/ 2 w 38"/>
                  <a:gd name="T13" fmla="*/ 299 h 53"/>
                  <a:gd name="T14" fmla="*/ 0 w 38"/>
                  <a:gd name="T15" fmla="*/ 258 h 53"/>
                  <a:gd name="T16" fmla="*/ 1397 w 38"/>
                  <a:gd name="T17" fmla="*/ 199 h 53"/>
                  <a:gd name="T18" fmla="*/ 2376 w 38"/>
                  <a:gd name="T19" fmla="*/ 12 h 53"/>
                  <a:gd name="T20" fmla="*/ 3220 w 38"/>
                  <a:gd name="T21" fmla="*/ 2 h 53"/>
                  <a:gd name="T22" fmla="*/ 4044 w 38"/>
                  <a:gd name="T23" fmla="*/ 0 h 53"/>
                  <a:gd name="T24" fmla="*/ 5101 w 38"/>
                  <a:gd name="T25" fmla="*/ 1 h 53"/>
                  <a:gd name="T26" fmla="*/ 5654 w 38"/>
                  <a:gd name="T27" fmla="*/ 9 h 53"/>
                  <a:gd name="T28" fmla="*/ 5101 w 38"/>
                  <a:gd name="T29" fmla="*/ 11 h 53"/>
                  <a:gd name="T30" fmla="*/ 4173 w 38"/>
                  <a:gd name="T31" fmla="*/ 185 h 53"/>
                  <a:gd name="T32" fmla="*/ 3323 w 38"/>
                  <a:gd name="T33" fmla="*/ 231 h 53"/>
                  <a:gd name="T34" fmla="*/ 2984 w 38"/>
                  <a:gd name="T35" fmla="*/ 334 h 53"/>
                  <a:gd name="T36" fmla="*/ 2564 w 38"/>
                  <a:gd name="T37" fmla="*/ 483 h 5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8"/>
                  <a:gd name="T58" fmla="*/ 0 h 53"/>
                  <a:gd name="T59" fmla="*/ 38 w 38"/>
                  <a:gd name="T60" fmla="*/ 53 h 5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8" h="53">
                    <a:moveTo>
                      <a:pt x="17" y="41"/>
                    </a:moveTo>
                    <a:lnTo>
                      <a:pt x="17" y="50"/>
                    </a:lnTo>
                    <a:lnTo>
                      <a:pt x="11" y="53"/>
                    </a:lnTo>
                    <a:lnTo>
                      <a:pt x="6" y="48"/>
                    </a:lnTo>
                    <a:lnTo>
                      <a:pt x="4" y="43"/>
                    </a:lnTo>
                    <a:lnTo>
                      <a:pt x="4" y="37"/>
                    </a:lnTo>
                    <a:lnTo>
                      <a:pt x="2" y="28"/>
                    </a:lnTo>
                    <a:lnTo>
                      <a:pt x="0" y="24"/>
                    </a:lnTo>
                    <a:lnTo>
                      <a:pt x="9" y="17"/>
                    </a:lnTo>
                    <a:lnTo>
                      <a:pt x="16" y="12"/>
                    </a:lnTo>
                    <a:lnTo>
                      <a:pt x="21" y="2"/>
                    </a:lnTo>
                    <a:lnTo>
                      <a:pt x="27" y="0"/>
                    </a:lnTo>
                    <a:lnTo>
                      <a:pt x="34" y="1"/>
                    </a:lnTo>
                    <a:lnTo>
                      <a:pt x="38" y="9"/>
                    </a:lnTo>
                    <a:lnTo>
                      <a:pt x="34" y="11"/>
                    </a:lnTo>
                    <a:lnTo>
                      <a:pt x="28" y="15"/>
                    </a:lnTo>
                    <a:lnTo>
                      <a:pt x="22" y="21"/>
                    </a:lnTo>
                    <a:lnTo>
                      <a:pt x="19" y="31"/>
                    </a:lnTo>
                    <a:lnTo>
                      <a:pt x="17" y="41"/>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8" name="Freeform 74"/>
              <p:cNvSpPr>
                <a:spLocks/>
              </p:cNvSpPr>
              <p:nvPr/>
            </p:nvSpPr>
            <p:spPr bwMode="auto">
              <a:xfrm>
                <a:off x="1640" y="2434"/>
                <a:ext cx="229" cy="250"/>
              </a:xfrm>
              <a:custGeom>
                <a:avLst/>
                <a:gdLst>
                  <a:gd name="T0" fmla="*/ 2607 w 214"/>
                  <a:gd name="T1" fmla="*/ 1238 h 238"/>
                  <a:gd name="T2" fmla="*/ 3966 w 214"/>
                  <a:gd name="T3" fmla="*/ 1076 h 238"/>
                  <a:gd name="T4" fmla="*/ 8248 w 214"/>
                  <a:gd name="T5" fmla="*/ 1017 h 238"/>
                  <a:gd name="T6" fmla="*/ 8200 w 214"/>
                  <a:gd name="T7" fmla="*/ 299 h 238"/>
                  <a:gd name="T8" fmla="*/ 15034 w 214"/>
                  <a:gd name="T9" fmla="*/ 0 h 238"/>
                  <a:gd name="T10" fmla="*/ 14944 w 214"/>
                  <a:gd name="T11" fmla="*/ 593 h 238"/>
                  <a:gd name="T12" fmla="*/ 15175 w 214"/>
                  <a:gd name="T13" fmla="*/ 1017 h 238"/>
                  <a:gd name="T14" fmla="*/ 18180 w 214"/>
                  <a:gd name="T15" fmla="*/ 758 h 238"/>
                  <a:gd name="T16" fmla="*/ 18838 w 214"/>
                  <a:gd name="T17" fmla="*/ 1366 h 238"/>
                  <a:gd name="T18" fmla="*/ 17679 w 214"/>
                  <a:gd name="T19" fmla="*/ 2221 h 238"/>
                  <a:gd name="T20" fmla="*/ 18486 w 214"/>
                  <a:gd name="T21" fmla="*/ 2984 h 238"/>
                  <a:gd name="T22" fmla="*/ 18311 w 214"/>
                  <a:gd name="T23" fmla="*/ 3478 h 238"/>
                  <a:gd name="T24" fmla="*/ 17679 w 214"/>
                  <a:gd name="T25" fmla="*/ 4446 h 238"/>
                  <a:gd name="T26" fmla="*/ 15651 w 214"/>
                  <a:gd name="T27" fmla="*/ 4263 h 238"/>
                  <a:gd name="T28" fmla="*/ 13483 w 214"/>
                  <a:gd name="T29" fmla="*/ 4124 h 238"/>
                  <a:gd name="T30" fmla="*/ 12384 w 214"/>
                  <a:gd name="T31" fmla="*/ 4222 h 238"/>
                  <a:gd name="T32" fmla="*/ 10423 w 214"/>
                  <a:gd name="T33" fmla="*/ 4561 h 238"/>
                  <a:gd name="T34" fmla="*/ 9567 w 214"/>
                  <a:gd name="T35" fmla="*/ 4805 h 238"/>
                  <a:gd name="T36" fmla="*/ 9609 w 214"/>
                  <a:gd name="T37" fmla="*/ 5292 h 238"/>
                  <a:gd name="T38" fmla="*/ 9609 w 214"/>
                  <a:gd name="T39" fmla="*/ 5653 h 238"/>
                  <a:gd name="T40" fmla="*/ 8248 w 214"/>
                  <a:gd name="T41" fmla="*/ 5680 h 238"/>
                  <a:gd name="T42" fmla="*/ 7807 w 214"/>
                  <a:gd name="T43" fmla="*/ 6133 h 238"/>
                  <a:gd name="T44" fmla="*/ 6818 w 214"/>
                  <a:gd name="T45" fmla="*/ 5680 h 238"/>
                  <a:gd name="T46" fmla="*/ 3706 w 214"/>
                  <a:gd name="T47" fmla="*/ 4805 h 238"/>
                  <a:gd name="T48" fmla="*/ 2641 w 214"/>
                  <a:gd name="T49" fmla="*/ 4435 h 238"/>
                  <a:gd name="T50" fmla="*/ 1622 w 214"/>
                  <a:gd name="T51" fmla="*/ 4058 h 238"/>
                  <a:gd name="T52" fmla="*/ 823 w 214"/>
                  <a:gd name="T53" fmla="*/ 3405 h 238"/>
                  <a:gd name="T54" fmla="*/ 0 w 214"/>
                  <a:gd name="T55" fmla="*/ 2933 h 238"/>
                  <a:gd name="T56" fmla="*/ 7 w 214"/>
                  <a:gd name="T57" fmla="*/ 2857 h 238"/>
                  <a:gd name="T58" fmla="*/ 1417 w 214"/>
                  <a:gd name="T59" fmla="*/ 2589 h 238"/>
                  <a:gd name="T60" fmla="*/ 1622 w 214"/>
                  <a:gd name="T61" fmla="*/ 1941 h 238"/>
                  <a:gd name="T62" fmla="*/ 2276 w 214"/>
                  <a:gd name="T63" fmla="*/ 2025 h 238"/>
                  <a:gd name="T64" fmla="*/ 3463 w 214"/>
                  <a:gd name="T65" fmla="*/ 2072 h 238"/>
                  <a:gd name="T66" fmla="*/ 3463 w 214"/>
                  <a:gd name="T67" fmla="*/ 2013 h 238"/>
                  <a:gd name="T68" fmla="*/ 2436 w 214"/>
                  <a:gd name="T69" fmla="*/ 1848 h 238"/>
                  <a:gd name="T70" fmla="*/ 1858 w 214"/>
                  <a:gd name="T71" fmla="*/ 1675 h 238"/>
                  <a:gd name="T72" fmla="*/ 2436 w 214"/>
                  <a:gd name="T73" fmla="*/ 1574 h 2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4"/>
                  <a:gd name="T112" fmla="*/ 0 h 238"/>
                  <a:gd name="T113" fmla="*/ 214 w 214"/>
                  <a:gd name="T114" fmla="*/ 238 h 2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4" h="238">
                    <a:moveTo>
                      <a:pt x="30" y="58"/>
                    </a:moveTo>
                    <a:lnTo>
                      <a:pt x="30" y="48"/>
                    </a:lnTo>
                    <a:lnTo>
                      <a:pt x="30" y="47"/>
                    </a:lnTo>
                    <a:lnTo>
                      <a:pt x="46" y="43"/>
                    </a:lnTo>
                    <a:lnTo>
                      <a:pt x="96" y="41"/>
                    </a:lnTo>
                    <a:lnTo>
                      <a:pt x="94" y="40"/>
                    </a:lnTo>
                    <a:lnTo>
                      <a:pt x="94" y="27"/>
                    </a:lnTo>
                    <a:lnTo>
                      <a:pt x="93" y="10"/>
                    </a:lnTo>
                    <a:lnTo>
                      <a:pt x="96" y="0"/>
                    </a:lnTo>
                    <a:lnTo>
                      <a:pt x="172" y="0"/>
                    </a:lnTo>
                    <a:lnTo>
                      <a:pt x="169" y="11"/>
                    </a:lnTo>
                    <a:lnTo>
                      <a:pt x="169" y="24"/>
                    </a:lnTo>
                    <a:lnTo>
                      <a:pt x="169" y="37"/>
                    </a:lnTo>
                    <a:lnTo>
                      <a:pt x="174" y="40"/>
                    </a:lnTo>
                    <a:lnTo>
                      <a:pt x="186" y="24"/>
                    </a:lnTo>
                    <a:lnTo>
                      <a:pt x="207" y="29"/>
                    </a:lnTo>
                    <a:lnTo>
                      <a:pt x="214" y="38"/>
                    </a:lnTo>
                    <a:lnTo>
                      <a:pt x="214" y="53"/>
                    </a:lnTo>
                    <a:lnTo>
                      <a:pt x="202" y="75"/>
                    </a:lnTo>
                    <a:lnTo>
                      <a:pt x="202" y="86"/>
                    </a:lnTo>
                    <a:lnTo>
                      <a:pt x="203" y="95"/>
                    </a:lnTo>
                    <a:lnTo>
                      <a:pt x="212" y="116"/>
                    </a:lnTo>
                    <a:lnTo>
                      <a:pt x="210" y="127"/>
                    </a:lnTo>
                    <a:lnTo>
                      <a:pt x="208" y="136"/>
                    </a:lnTo>
                    <a:lnTo>
                      <a:pt x="207" y="162"/>
                    </a:lnTo>
                    <a:lnTo>
                      <a:pt x="202" y="174"/>
                    </a:lnTo>
                    <a:lnTo>
                      <a:pt x="192" y="178"/>
                    </a:lnTo>
                    <a:lnTo>
                      <a:pt x="179" y="167"/>
                    </a:lnTo>
                    <a:lnTo>
                      <a:pt x="161" y="168"/>
                    </a:lnTo>
                    <a:lnTo>
                      <a:pt x="154" y="160"/>
                    </a:lnTo>
                    <a:lnTo>
                      <a:pt x="150" y="157"/>
                    </a:lnTo>
                    <a:lnTo>
                      <a:pt x="142" y="164"/>
                    </a:lnTo>
                    <a:lnTo>
                      <a:pt x="136" y="170"/>
                    </a:lnTo>
                    <a:lnTo>
                      <a:pt x="119" y="177"/>
                    </a:lnTo>
                    <a:lnTo>
                      <a:pt x="112" y="182"/>
                    </a:lnTo>
                    <a:lnTo>
                      <a:pt x="109" y="188"/>
                    </a:lnTo>
                    <a:lnTo>
                      <a:pt x="107" y="197"/>
                    </a:lnTo>
                    <a:lnTo>
                      <a:pt x="110" y="206"/>
                    </a:lnTo>
                    <a:lnTo>
                      <a:pt x="113" y="215"/>
                    </a:lnTo>
                    <a:lnTo>
                      <a:pt x="110" y="220"/>
                    </a:lnTo>
                    <a:lnTo>
                      <a:pt x="103" y="219"/>
                    </a:lnTo>
                    <a:lnTo>
                      <a:pt x="94" y="222"/>
                    </a:lnTo>
                    <a:lnTo>
                      <a:pt x="91" y="227"/>
                    </a:lnTo>
                    <a:lnTo>
                      <a:pt x="89" y="238"/>
                    </a:lnTo>
                    <a:lnTo>
                      <a:pt x="84" y="228"/>
                    </a:lnTo>
                    <a:lnTo>
                      <a:pt x="78" y="222"/>
                    </a:lnTo>
                    <a:lnTo>
                      <a:pt x="68" y="210"/>
                    </a:lnTo>
                    <a:lnTo>
                      <a:pt x="43" y="188"/>
                    </a:lnTo>
                    <a:lnTo>
                      <a:pt x="37" y="180"/>
                    </a:lnTo>
                    <a:lnTo>
                      <a:pt x="31" y="172"/>
                    </a:lnTo>
                    <a:lnTo>
                      <a:pt x="24" y="164"/>
                    </a:lnTo>
                    <a:lnTo>
                      <a:pt x="19" y="159"/>
                    </a:lnTo>
                    <a:lnTo>
                      <a:pt x="12" y="142"/>
                    </a:lnTo>
                    <a:lnTo>
                      <a:pt x="9" y="133"/>
                    </a:lnTo>
                    <a:lnTo>
                      <a:pt x="3" y="120"/>
                    </a:lnTo>
                    <a:lnTo>
                      <a:pt x="0" y="114"/>
                    </a:lnTo>
                    <a:lnTo>
                      <a:pt x="3" y="113"/>
                    </a:lnTo>
                    <a:lnTo>
                      <a:pt x="7" y="111"/>
                    </a:lnTo>
                    <a:lnTo>
                      <a:pt x="12" y="106"/>
                    </a:lnTo>
                    <a:lnTo>
                      <a:pt x="17" y="101"/>
                    </a:lnTo>
                    <a:lnTo>
                      <a:pt x="18" y="92"/>
                    </a:lnTo>
                    <a:lnTo>
                      <a:pt x="19" y="76"/>
                    </a:lnTo>
                    <a:lnTo>
                      <a:pt x="22" y="76"/>
                    </a:lnTo>
                    <a:lnTo>
                      <a:pt x="26" y="79"/>
                    </a:lnTo>
                    <a:lnTo>
                      <a:pt x="31" y="81"/>
                    </a:lnTo>
                    <a:lnTo>
                      <a:pt x="40" y="81"/>
                    </a:lnTo>
                    <a:lnTo>
                      <a:pt x="41" y="79"/>
                    </a:lnTo>
                    <a:lnTo>
                      <a:pt x="40" y="78"/>
                    </a:lnTo>
                    <a:lnTo>
                      <a:pt x="33" y="76"/>
                    </a:lnTo>
                    <a:lnTo>
                      <a:pt x="28" y="72"/>
                    </a:lnTo>
                    <a:lnTo>
                      <a:pt x="24" y="69"/>
                    </a:lnTo>
                    <a:lnTo>
                      <a:pt x="21" y="66"/>
                    </a:lnTo>
                    <a:lnTo>
                      <a:pt x="22" y="62"/>
                    </a:lnTo>
                    <a:lnTo>
                      <a:pt x="28" y="61"/>
                    </a:lnTo>
                    <a:lnTo>
                      <a:pt x="30" y="58"/>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9" name="Freeform 75"/>
              <p:cNvSpPr>
                <a:spLocks/>
              </p:cNvSpPr>
              <p:nvPr/>
            </p:nvSpPr>
            <p:spPr bwMode="auto">
              <a:xfrm>
                <a:off x="1640" y="2434"/>
                <a:ext cx="229" cy="250"/>
              </a:xfrm>
              <a:custGeom>
                <a:avLst/>
                <a:gdLst>
                  <a:gd name="T0" fmla="*/ 2607 w 214"/>
                  <a:gd name="T1" fmla="*/ 1238 h 238"/>
                  <a:gd name="T2" fmla="*/ 3966 w 214"/>
                  <a:gd name="T3" fmla="*/ 1076 h 238"/>
                  <a:gd name="T4" fmla="*/ 8248 w 214"/>
                  <a:gd name="T5" fmla="*/ 1017 h 238"/>
                  <a:gd name="T6" fmla="*/ 8200 w 214"/>
                  <a:gd name="T7" fmla="*/ 299 h 238"/>
                  <a:gd name="T8" fmla="*/ 15034 w 214"/>
                  <a:gd name="T9" fmla="*/ 0 h 238"/>
                  <a:gd name="T10" fmla="*/ 14944 w 214"/>
                  <a:gd name="T11" fmla="*/ 593 h 238"/>
                  <a:gd name="T12" fmla="*/ 15175 w 214"/>
                  <a:gd name="T13" fmla="*/ 1017 h 238"/>
                  <a:gd name="T14" fmla="*/ 18180 w 214"/>
                  <a:gd name="T15" fmla="*/ 758 h 238"/>
                  <a:gd name="T16" fmla="*/ 18838 w 214"/>
                  <a:gd name="T17" fmla="*/ 1366 h 238"/>
                  <a:gd name="T18" fmla="*/ 17679 w 214"/>
                  <a:gd name="T19" fmla="*/ 2221 h 238"/>
                  <a:gd name="T20" fmla="*/ 18486 w 214"/>
                  <a:gd name="T21" fmla="*/ 2984 h 238"/>
                  <a:gd name="T22" fmla="*/ 18311 w 214"/>
                  <a:gd name="T23" fmla="*/ 3478 h 238"/>
                  <a:gd name="T24" fmla="*/ 17679 w 214"/>
                  <a:gd name="T25" fmla="*/ 4446 h 238"/>
                  <a:gd name="T26" fmla="*/ 15651 w 214"/>
                  <a:gd name="T27" fmla="*/ 4263 h 238"/>
                  <a:gd name="T28" fmla="*/ 13483 w 214"/>
                  <a:gd name="T29" fmla="*/ 4124 h 238"/>
                  <a:gd name="T30" fmla="*/ 12384 w 214"/>
                  <a:gd name="T31" fmla="*/ 4222 h 238"/>
                  <a:gd name="T32" fmla="*/ 10423 w 214"/>
                  <a:gd name="T33" fmla="*/ 4561 h 238"/>
                  <a:gd name="T34" fmla="*/ 9567 w 214"/>
                  <a:gd name="T35" fmla="*/ 4805 h 238"/>
                  <a:gd name="T36" fmla="*/ 9609 w 214"/>
                  <a:gd name="T37" fmla="*/ 5292 h 238"/>
                  <a:gd name="T38" fmla="*/ 9609 w 214"/>
                  <a:gd name="T39" fmla="*/ 5653 h 238"/>
                  <a:gd name="T40" fmla="*/ 8248 w 214"/>
                  <a:gd name="T41" fmla="*/ 5680 h 238"/>
                  <a:gd name="T42" fmla="*/ 7807 w 214"/>
                  <a:gd name="T43" fmla="*/ 6133 h 238"/>
                  <a:gd name="T44" fmla="*/ 6818 w 214"/>
                  <a:gd name="T45" fmla="*/ 5680 h 238"/>
                  <a:gd name="T46" fmla="*/ 3706 w 214"/>
                  <a:gd name="T47" fmla="*/ 4805 h 238"/>
                  <a:gd name="T48" fmla="*/ 2641 w 214"/>
                  <a:gd name="T49" fmla="*/ 4435 h 238"/>
                  <a:gd name="T50" fmla="*/ 1622 w 214"/>
                  <a:gd name="T51" fmla="*/ 4058 h 238"/>
                  <a:gd name="T52" fmla="*/ 823 w 214"/>
                  <a:gd name="T53" fmla="*/ 3405 h 238"/>
                  <a:gd name="T54" fmla="*/ 0 w 214"/>
                  <a:gd name="T55" fmla="*/ 2933 h 238"/>
                  <a:gd name="T56" fmla="*/ 7 w 214"/>
                  <a:gd name="T57" fmla="*/ 2857 h 238"/>
                  <a:gd name="T58" fmla="*/ 1417 w 214"/>
                  <a:gd name="T59" fmla="*/ 2589 h 238"/>
                  <a:gd name="T60" fmla="*/ 1622 w 214"/>
                  <a:gd name="T61" fmla="*/ 1941 h 238"/>
                  <a:gd name="T62" fmla="*/ 2276 w 214"/>
                  <a:gd name="T63" fmla="*/ 2025 h 238"/>
                  <a:gd name="T64" fmla="*/ 3463 w 214"/>
                  <a:gd name="T65" fmla="*/ 2072 h 238"/>
                  <a:gd name="T66" fmla="*/ 3463 w 214"/>
                  <a:gd name="T67" fmla="*/ 2013 h 238"/>
                  <a:gd name="T68" fmla="*/ 2436 w 214"/>
                  <a:gd name="T69" fmla="*/ 1848 h 238"/>
                  <a:gd name="T70" fmla="*/ 1858 w 214"/>
                  <a:gd name="T71" fmla="*/ 1675 h 238"/>
                  <a:gd name="T72" fmla="*/ 2436 w 214"/>
                  <a:gd name="T73" fmla="*/ 1574 h 2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4"/>
                  <a:gd name="T112" fmla="*/ 0 h 238"/>
                  <a:gd name="T113" fmla="*/ 214 w 214"/>
                  <a:gd name="T114" fmla="*/ 238 h 2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4" h="238">
                    <a:moveTo>
                      <a:pt x="30" y="58"/>
                    </a:moveTo>
                    <a:lnTo>
                      <a:pt x="30" y="48"/>
                    </a:lnTo>
                    <a:lnTo>
                      <a:pt x="30" y="47"/>
                    </a:lnTo>
                    <a:lnTo>
                      <a:pt x="46" y="43"/>
                    </a:lnTo>
                    <a:lnTo>
                      <a:pt x="96" y="41"/>
                    </a:lnTo>
                    <a:lnTo>
                      <a:pt x="94" y="40"/>
                    </a:lnTo>
                    <a:lnTo>
                      <a:pt x="94" y="27"/>
                    </a:lnTo>
                    <a:lnTo>
                      <a:pt x="93" y="10"/>
                    </a:lnTo>
                    <a:lnTo>
                      <a:pt x="96" y="0"/>
                    </a:lnTo>
                    <a:lnTo>
                      <a:pt x="172" y="0"/>
                    </a:lnTo>
                    <a:lnTo>
                      <a:pt x="169" y="11"/>
                    </a:lnTo>
                    <a:lnTo>
                      <a:pt x="169" y="24"/>
                    </a:lnTo>
                    <a:lnTo>
                      <a:pt x="169" y="37"/>
                    </a:lnTo>
                    <a:lnTo>
                      <a:pt x="174" y="40"/>
                    </a:lnTo>
                    <a:lnTo>
                      <a:pt x="186" y="24"/>
                    </a:lnTo>
                    <a:lnTo>
                      <a:pt x="207" y="29"/>
                    </a:lnTo>
                    <a:lnTo>
                      <a:pt x="214" y="38"/>
                    </a:lnTo>
                    <a:lnTo>
                      <a:pt x="214" y="53"/>
                    </a:lnTo>
                    <a:lnTo>
                      <a:pt x="202" y="75"/>
                    </a:lnTo>
                    <a:lnTo>
                      <a:pt x="202" y="86"/>
                    </a:lnTo>
                    <a:lnTo>
                      <a:pt x="203" y="95"/>
                    </a:lnTo>
                    <a:lnTo>
                      <a:pt x="212" y="116"/>
                    </a:lnTo>
                    <a:lnTo>
                      <a:pt x="210" y="127"/>
                    </a:lnTo>
                    <a:lnTo>
                      <a:pt x="208" y="136"/>
                    </a:lnTo>
                    <a:lnTo>
                      <a:pt x="207" y="162"/>
                    </a:lnTo>
                    <a:lnTo>
                      <a:pt x="202" y="174"/>
                    </a:lnTo>
                    <a:lnTo>
                      <a:pt x="192" y="178"/>
                    </a:lnTo>
                    <a:lnTo>
                      <a:pt x="179" y="167"/>
                    </a:lnTo>
                    <a:lnTo>
                      <a:pt x="161" y="168"/>
                    </a:lnTo>
                    <a:lnTo>
                      <a:pt x="154" y="160"/>
                    </a:lnTo>
                    <a:lnTo>
                      <a:pt x="150" y="157"/>
                    </a:lnTo>
                    <a:lnTo>
                      <a:pt x="142" y="164"/>
                    </a:lnTo>
                    <a:lnTo>
                      <a:pt x="136" y="170"/>
                    </a:lnTo>
                    <a:lnTo>
                      <a:pt x="119" y="177"/>
                    </a:lnTo>
                    <a:lnTo>
                      <a:pt x="112" y="182"/>
                    </a:lnTo>
                    <a:lnTo>
                      <a:pt x="109" y="188"/>
                    </a:lnTo>
                    <a:lnTo>
                      <a:pt x="107" y="197"/>
                    </a:lnTo>
                    <a:lnTo>
                      <a:pt x="110" y="206"/>
                    </a:lnTo>
                    <a:lnTo>
                      <a:pt x="113" y="215"/>
                    </a:lnTo>
                    <a:lnTo>
                      <a:pt x="110" y="220"/>
                    </a:lnTo>
                    <a:lnTo>
                      <a:pt x="103" y="219"/>
                    </a:lnTo>
                    <a:lnTo>
                      <a:pt x="94" y="222"/>
                    </a:lnTo>
                    <a:lnTo>
                      <a:pt x="91" y="227"/>
                    </a:lnTo>
                    <a:lnTo>
                      <a:pt x="89" y="238"/>
                    </a:lnTo>
                    <a:lnTo>
                      <a:pt x="84" y="228"/>
                    </a:lnTo>
                    <a:lnTo>
                      <a:pt x="78" y="222"/>
                    </a:lnTo>
                    <a:lnTo>
                      <a:pt x="68" y="210"/>
                    </a:lnTo>
                    <a:lnTo>
                      <a:pt x="43" y="188"/>
                    </a:lnTo>
                    <a:lnTo>
                      <a:pt x="37" y="180"/>
                    </a:lnTo>
                    <a:lnTo>
                      <a:pt x="31" y="172"/>
                    </a:lnTo>
                    <a:lnTo>
                      <a:pt x="24" y="164"/>
                    </a:lnTo>
                    <a:lnTo>
                      <a:pt x="19" y="159"/>
                    </a:lnTo>
                    <a:lnTo>
                      <a:pt x="12" y="142"/>
                    </a:lnTo>
                    <a:lnTo>
                      <a:pt x="9" y="133"/>
                    </a:lnTo>
                    <a:lnTo>
                      <a:pt x="3" y="120"/>
                    </a:lnTo>
                    <a:lnTo>
                      <a:pt x="0" y="114"/>
                    </a:lnTo>
                    <a:lnTo>
                      <a:pt x="3" y="113"/>
                    </a:lnTo>
                    <a:lnTo>
                      <a:pt x="7" y="111"/>
                    </a:lnTo>
                    <a:lnTo>
                      <a:pt x="12" y="106"/>
                    </a:lnTo>
                    <a:lnTo>
                      <a:pt x="17" y="101"/>
                    </a:lnTo>
                    <a:lnTo>
                      <a:pt x="18" y="92"/>
                    </a:lnTo>
                    <a:lnTo>
                      <a:pt x="19" y="76"/>
                    </a:lnTo>
                    <a:lnTo>
                      <a:pt x="22" y="76"/>
                    </a:lnTo>
                    <a:lnTo>
                      <a:pt x="26" y="79"/>
                    </a:lnTo>
                    <a:lnTo>
                      <a:pt x="31" y="81"/>
                    </a:lnTo>
                    <a:lnTo>
                      <a:pt x="40" y="81"/>
                    </a:lnTo>
                    <a:lnTo>
                      <a:pt x="41" y="79"/>
                    </a:lnTo>
                    <a:lnTo>
                      <a:pt x="40" y="78"/>
                    </a:lnTo>
                    <a:lnTo>
                      <a:pt x="33" y="76"/>
                    </a:lnTo>
                    <a:lnTo>
                      <a:pt x="28" y="72"/>
                    </a:lnTo>
                    <a:lnTo>
                      <a:pt x="24" y="69"/>
                    </a:lnTo>
                    <a:lnTo>
                      <a:pt x="21" y="66"/>
                    </a:lnTo>
                    <a:lnTo>
                      <a:pt x="22" y="62"/>
                    </a:lnTo>
                    <a:lnTo>
                      <a:pt x="28" y="61"/>
                    </a:lnTo>
                    <a:lnTo>
                      <a:pt x="30" y="58"/>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80" name="Freeform 76"/>
              <p:cNvSpPr>
                <a:spLocks/>
              </p:cNvSpPr>
              <p:nvPr/>
            </p:nvSpPr>
            <p:spPr bwMode="auto">
              <a:xfrm>
                <a:off x="1787" y="2310"/>
                <a:ext cx="786" cy="750"/>
              </a:xfrm>
              <a:custGeom>
                <a:avLst/>
                <a:gdLst>
                  <a:gd name="T0" fmla="*/ 0 w 735"/>
                  <a:gd name="T1" fmla="*/ 585 h 715"/>
                  <a:gd name="T2" fmla="*/ 14 w 735"/>
                  <a:gd name="T3" fmla="*/ 545 h 715"/>
                  <a:gd name="T4" fmla="*/ 56 w 735"/>
                  <a:gd name="T5" fmla="*/ 525 h 715"/>
                  <a:gd name="T6" fmla="*/ 113 w 735"/>
                  <a:gd name="T7" fmla="*/ 500 h 715"/>
                  <a:gd name="T8" fmla="*/ 174 w 735"/>
                  <a:gd name="T9" fmla="*/ 499 h 715"/>
                  <a:gd name="T10" fmla="*/ 224 w 735"/>
                  <a:gd name="T11" fmla="*/ 420 h 715"/>
                  <a:gd name="T12" fmla="*/ 298 w 735"/>
                  <a:gd name="T13" fmla="*/ 321 h 715"/>
                  <a:gd name="T14" fmla="*/ 332 w 735"/>
                  <a:gd name="T15" fmla="*/ 171 h 715"/>
                  <a:gd name="T16" fmla="*/ 381 w 735"/>
                  <a:gd name="T17" fmla="*/ 78 h 715"/>
                  <a:gd name="T18" fmla="*/ 395 w 735"/>
                  <a:gd name="T19" fmla="*/ 20 h 715"/>
                  <a:gd name="T20" fmla="*/ 457 w 735"/>
                  <a:gd name="T21" fmla="*/ 16 h 715"/>
                  <a:gd name="T22" fmla="*/ 511 w 735"/>
                  <a:gd name="T23" fmla="*/ 44 h 715"/>
                  <a:gd name="T24" fmla="*/ 612 w 735"/>
                  <a:gd name="T25" fmla="*/ 21 h 715"/>
                  <a:gd name="T26" fmla="*/ 698 w 735"/>
                  <a:gd name="T27" fmla="*/ 16 h 715"/>
                  <a:gd name="T28" fmla="*/ 727 w 735"/>
                  <a:gd name="T29" fmla="*/ 18 h 715"/>
                  <a:gd name="T30" fmla="*/ 793 w 735"/>
                  <a:gd name="T31" fmla="*/ 3 h 715"/>
                  <a:gd name="T32" fmla="*/ 853 w 735"/>
                  <a:gd name="T33" fmla="*/ 3 h 715"/>
                  <a:gd name="T34" fmla="*/ 915 w 735"/>
                  <a:gd name="T35" fmla="*/ 40 h 715"/>
                  <a:gd name="T36" fmla="*/ 992 w 735"/>
                  <a:gd name="T37" fmla="*/ 44 h 715"/>
                  <a:gd name="T38" fmla="*/ 1069 w 735"/>
                  <a:gd name="T39" fmla="*/ 79 h 715"/>
                  <a:gd name="T40" fmla="*/ 1074 w 735"/>
                  <a:gd name="T41" fmla="*/ 112 h 715"/>
                  <a:gd name="T42" fmla="*/ 1095 w 735"/>
                  <a:gd name="T43" fmla="*/ 153 h 715"/>
                  <a:gd name="T44" fmla="*/ 1057 w 735"/>
                  <a:gd name="T45" fmla="*/ 192 h 715"/>
                  <a:gd name="T46" fmla="*/ 1043 w 735"/>
                  <a:gd name="T47" fmla="*/ 221 h 715"/>
                  <a:gd name="T48" fmla="*/ 1015 w 735"/>
                  <a:gd name="T49" fmla="*/ 290 h 715"/>
                  <a:gd name="T50" fmla="*/ 992 w 735"/>
                  <a:gd name="T51" fmla="*/ 355 h 715"/>
                  <a:gd name="T52" fmla="*/ 970 w 735"/>
                  <a:gd name="T53" fmla="*/ 404 h 715"/>
                  <a:gd name="T54" fmla="*/ 986 w 735"/>
                  <a:gd name="T55" fmla="*/ 453 h 715"/>
                  <a:gd name="T56" fmla="*/ 980 w 735"/>
                  <a:gd name="T57" fmla="*/ 488 h 715"/>
                  <a:gd name="T58" fmla="*/ 990 w 735"/>
                  <a:gd name="T59" fmla="*/ 565 h 715"/>
                  <a:gd name="T60" fmla="*/ 1004 w 735"/>
                  <a:gd name="T61" fmla="*/ 628 h 715"/>
                  <a:gd name="T62" fmla="*/ 1057 w 735"/>
                  <a:gd name="T63" fmla="*/ 695 h 715"/>
                  <a:gd name="T64" fmla="*/ 964 w 735"/>
                  <a:gd name="T65" fmla="*/ 729 h 715"/>
                  <a:gd name="T66" fmla="*/ 961 w 735"/>
                  <a:gd name="T67" fmla="*/ 773 h 715"/>
                  <a:gd name="T68" fmla="*/ 941 w 735"/>
                  <a:gd name="T69" fmla="*/ 863 h 715"/>
                  <a:gd name="T70" fmla="*/ 961 w 735"/>
                  <a:gd name="T71" fmla="*/ 900 h 715"/>
                  <a:gd name="T72" fmla="*/ 1006 w 735"/>
                  <a:gd name="T73" fmla="*/ 903 h 715"/>
                  <a:gd name="T74" fmla="*/ 1011 w 735"/>
                  <a:gd name="T75" fmla="*/ 961 h 715"/>
                  <a:gd name="T76" fmla="*/ 991 w 735"/>
                  <a:gd name="T77" fmla="*/ 948 h 715"/>
                  <a:gd name="T78" fmla="*/ 946 w 735"/>
                  <a:gd name="T79" fmla="*/ 940 h 715"/>
                  <a:gd name="T80" fmla="*/ 904 w 735"/>
                  <a:gd name="T81" fmla="*/ 904 h 715"/>
                  <a:gd name="T82" fmla="*/ 843 w 735"/>
                  <a:gd name="T83" fmla="*/ 879 h 715"/>
                  <a:gd name="T84" fmla="*/ 774 w 735"/>
                  <a:gd name="T85" fmla="*/ 872 h 715"/>
                  <a:gd name="T86" fmla="*/ 733 w 735"/>
                  <a:gd name="T87" fmla="*/ 850 h 715"/>
                  <a:gd name="T88" fmla="*/ 703 w 735"/>
                  <a:gd name="T89" fmla="*/ 853 h 715"/>
                  <a:gd name="T90" fmla="*/ 680 w 735"/>
                  <a:gd name="T91" fmla="*/ 833 h 715"/>
                  <a:gd name="T92" fmla="*/ 645 w 735"/>
                  <a:gd name="T93" fmla="*/ 842 h 715"/>
                  <a:gd name="T94" fmla="*/ 579 w 735"/>
                  <a:gd name="T95" fmla="*/ 856 h 715"/>
                  <a:gd name="T96" fmla="*/ 559 w 735"/>
                  <a:gd name="T97" fmla="*/ 844 h 715"/>
                  <a:gd name="T98" fmla="*/ 568 w 735"/>
                  <a:gd name="T99" fmla="*/ 804 h 715"/>
                  <a:gd name="T100" fmla="*/ 553 w 735"/>
                  <a:gd name="T101" fmla="*/ 738 h 715"/>
                  <a:gd name="T102" fmla="*/ 545 w 735"/>
                  <a:gd name="T103" fmla="*/ 660 h 715"/>
                  <a:gd name="T104" fmla="*/ 465 w 735"/>
                  <a:gd name="T105" fmla="*/ 628 h 715"/>
                  <a:gd name="T106" fmla="*/ 415 w 735"/>
                  <a:gd name="T107" fmla="*/ 659 h 715"/>
                  <a:gd name="T108" fmla="*/ 385 w 735"/>
                  <a:gd name="T109" fmla="*/ 685 h 715"/>
                  <a:gd name="T110" fmla="*/ 303 w 735"/>
                  <a:gd name="T111" fmla="*/ 687 h 715"/>
                  <a:gd name="T112" fmla="*/ 257 w 735"/>
                  <a:gd name="T113" fmla="*/ 618 h 715"/>
                  <a:gd name="T114" fmla="*/ 236 w 735"/>
                  <a:gd name="T115" fmla="*/ 582 h 715"/>
                  <a:gd name="T116" fmla="*/ 161 w 735"/>
                  <a:gd name="T117" fmla="*/ 572 h 715"/>
                  <a:gd name="T118" fmla="*/ 73 w 735"/>
                  <a:gd name="T119" fmla="*/ 572 h 715"/>
                  <a:gd name="T120" fmla="*/ 5 w 735"/>
                  <a:gd name="T121" fmla="*/ 589 h 71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5"/>
                  <a:gd name="T184" fmla="*/ 0 h 715"/>
                  <a:gd name="T185" fmla="*/ 735 w 735"/>
                  <a:gd name="T186" fmla="*/ 715 h 71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5" h="715">
                    <a:moveTo>
                      <a:pt x="5" y="439"/>
                    </a:moveTo>
                    <a:lnTo>
                      <a:pt x="0" y="441"/>
                    </a:lnTo>
                    <a:lnTo>
                      <a:pt x="0" y="444"/>
                    </a:lnTo>
                    <a:lnTo>
                      <a:pt x="0" y="440"/>
                    </a:lnTo>
                    <a:lnTo>
                      <a:pt x="0" y="436"/>
                    </a:lnTo>
                    <a:lnTo>
                      <a:pt x="0" y="431"/>
                    </a:lnTo>
                    <a:lnTo>
                      <a:pt x="0" y="428"/>
                    </a:lnTo>
                    <a:lnTo>
                      <a:pt x="6" y="426"/>
                    </a:lnTo>
                    <a:lnTo>
                      <a:pt x="6" y="416"/>
                    </a:lnTo>
                    <a:lnTo>
                      <a:pt x="8" y="406"/>
                    </a:lnTo>
                    <a:lnTo>
                      <a:pt x="11" y="395"/>
                    </a:lnTo>
                    <a:lnTo>
                      <a:pt x="18" y="388"/>
                    </a:lnTo>
                    <a:lnTo>
                      <a:pt x="23" y="385"/>
                    </a:lnTo>
                    <a:lnTo>
                      <a:pt x="27" y="383"/>
                    </a:lnTo>
                    <a:lnTo>
                      <a:pt x="37" y="390"/>
                    </a:lnTo>
                    <a:lnTo>
                      <a:pt x="46" y="388"/>
                    </a:lnTo>
                    <a:lnTo>
                      <a:pt x="51" y="380"/>
                    </a:lnTo>
                    <a:lnTo>
                      <a:pt x="56" y="375"/>
                    </a:lnTo>
                    <a:lnTo>
                      <a:pt x="67" y="373"/>
                    </a:lnTo>
                    <a:lnTo>
                      <a:pt x="76" y="371"/>
                    </a:lnTo>
                    <a:lnTo>
                      <a:pt x="77" y="374"/>
                    </a:lnTo>
                    <a:lnTo>
                      <a:pt x="79" y="387"/>
                    </a:lnTo>
                    <a:lnTo>
                      <a:pt x="86" y="388"/>
                    </a:lnTo>
                    <a:lnTo>
                      <a:pt x="101" y="383"/>
                    </a:lnTo>
                    <a:lnTo>
                      <a:pt x="116" y="370"/>
                    </a:lnTo>
                    <a:lnTo>
                      <a:pt x="127" y="364"/>
                    </a:lnTo>
                    <a:lnTo>
                      <a:pt x="137" y="354"/>
                    </a:lnTo>
                    <a:lnTo>
                      <a:pt x="146" y="337"/>
                    </a:lnTo>
                    <a:lnTo>
                      <a:pt x="149" y="326"/>
                    </a:lnTo>
                    <a:lnTo>
                      <a:pt x="149" y="313"/>
                    </a:lnTo>
                    <a:lnTo>
                      <a:pt x="150" y="298"/>
                    </a:lnTo>
                    <a:lnTo>
                      <a:pt x="156" y="283"/>
                    </a:lnTo>
                    <a:lnTo>
                      <a:pt x="172" y="257"/>
                    </a:lnTo>
                    <a:lnTo>
                      <a:pt x="185" y="246"/>
                    </a:lnTo>
                    <a:lnTo>
                      <a:pt x="199" y="239"/>
                    </a:lnTo>
                    <a:lnTo>
                      <a:pt x="209" y="231"/>
                    </a:lnTo>
                    <a:lnTo>
                      <a:pt x="209" y="227"/>
                    </a:lnTo>
                    <a:lnTo>
                      <a:pt x="215" y="205"/>
                    </a:lnTo>
                    <a:lnTo>
                      <a:pt x="216" y="159"/>
                    </a:lnTo>
                    <a:lnTo>
                      <a:pt x="222" y="128"/>
                    </a:lnTo>
                    <a:lnTo>
                      <a:pt x="229" y="111"/>
                    </a:lnTo>
                    <a:lnTo>
                      <a:pt x="242" y="85"/>
                    </a:lnTo>
                    <a:lnTo>
                      <a:pt x="246" y="71"/>
                    </a:lnTo>
                    <a:lnTo>
                      <a:pt x="245" y="59"/>
                    </a:lnTo>
                    <a:lnTo>
                      <a:pt x="254" y="58"/>
                    </a:lnTo>
                    <a:lnTo>
                      <a:pt x="252" y="52"/>
                    </a:lnTo>
                    <a:lnTo>
                      <a:pt x="252" y="38"/>
                    </a:lnTo>
                    <a:lnTo>
                      <a:pt x="256" y="28"/>
                    </a:lnTo>
                    <a:lnTo>
                      <a:pt x="261" y="26"/>
                    </a:lnTo>
                    <a:lnTo>
                      <a:pt x="264" y="14"/>
                    </a:lnTo>
                    <a:lnTo>
                      <a:pt x="269" y="10"/>
                    </a:lnTo>
                    <a:lnTo>
                      <a:pt x="279" y="3"/>
                    </a:lnTo>
                    <a:lnTo>
                      <a:pt x="289" y="3"/>
                    </a:lnTo>
                    <a:lnTo>
                      <a:pt x="301" y="4"/>
                    </a:lnTo>
                    <a:lnTo>
                      <a:pt x="305" y="10"/>
                    </a:lnTo>
                    <a:lnTo>
                      <a:pt x="307" y="17"/>
                    </a:lnTo>
                    <a:lnTo>
                      <a:pt x="321" y="29"/>
                    </a:lnTo>
                    <a:lnTo>
                      <a:pt x="327" y="30"/>
                    </a:lnTo>
                    <a:lnTo>
                      <a:pt x="332" y="26"/>
                    </a:lnTo>
                    <a:lnTo>
                      <a:pt x="342" y="32"/>
                    </a:lnTo>
                    <a:lnTo>
                      <a:pt x="358" y="36"/>
                    </a:lnTo>
                    <a:lnTo>
                      <a:pt x="393" y="36"/>
                    </a:lnTo>
                    <a:lnTo>
                      <a:pt x="399" y="33"/>
                    </a:lnTo>
                    <a:lnTo>
                      <a:pt x="400" y="22"/>
                    </a:lnTo>
                    <a:lnTo>
                      <a:pt x="410" y="15"/>
                    </a:lnTo>
                    <a:lnTo>
                      <a:pt x="423" y="18"/>
                    </a:lnTo>
                    <a:lnTo>
                      <a:pt x="429" y="22"/>
                    </a:lnTo>
                    <a:lnTo>
                      <a:pt x="442" y="18"/>
                    </a:lnTo>
                    <a:lnTo>
                      <a:pt x="449" y="13"/>
                    </a:lnTo>
                    <a:lnTo>
                      <a:pt x="467" y="10"/>
                    </a:lnTo>
                    <a:lnTo>
                      <a:pt x="476" y="7"/>
                    </a:lnTo>
                    <a:lnTo>
                      <a:pt x="480" y="7"/>
                    </a:lnTo>
                    <a:lnTo>
                      <a:pt x="482" y="10"/>
                    </a:lnTo>
                    <a:lnTo>
                      <a:pt x="480" y="10"/>
                    </a:lnTo>
                    <a:lnTo>
                      <a:pt x="486" y="12"/>
                    </a:lnTo>
                    <a:lnTo>
                      <a:pt x="490" y="10"/>
                    </a:lnTo>
                    <a:lnTo>
                      <a:pt x="500" y="10"/>
                    </a:lnTo>
                    <a:lnTo>
                      <a:pt x="502" y="1"/>
                    </a:lnTo>
                    <a:lnTo>
                      <a:pt x="516" y="5"/>
                    </a:lnTo>
                    <a:lnTo>
                      <a:pt x="531" y="3"/>
                    </a:lnTo>
                    <a:lnTo>
                      <a:pt x="543" y="0"/>
                    </a:lnTo>
                    <a:lnTo>
                      <a:pt x="553" y="10"/>
                    </a:lnTo>
                    <a:lnTo>
                      <a:pt x="558" y="5"/>
                    </a:lnTo>
                    <a:lnTo>
                      <a:pt x="565" y="10"/>
                    </a:lnTo>
                    <a:lnTo>
                      <a:pt x="571" y="3"/>
                    </a:lnTo>
                    <a:lnTo>
                      <a:pt x="590" y="3"/>
                    </a:lnTo>
                    <a:lnTo>
                      <a:pt x="596" y="10"/>
                    </a:lnTo>
                    <a:lnTo>
                      <a:pt x="604" y="17"/>
                    </a:lnTo>
                    <a:lnTo>
                      <a:pt x="609" y="22"/>
                    </a:lnTo>
                    <a:lnTo>
                      <a:pt x="612" y="29"/>
                    </a:lnTo>
                    <a:lnTo>
                      <a:pt x="628" y="36"/>
                    </a:lnTo>
                    <a:lnTo>
                      <a:pt x="633" y="33"/>
                    </a:lnTo>
                    <a:lnTo>
                      <a:pt x="638" y="28"/>
                    </a:lnTo>
                    <a:lnTo>
                      <a:pt x="655" y="33"/>
                    </a:lnTo>
                    <a:lnTo>
                      <a:pt x="664" y="32"/>
                    </a:lnTo>
                    <a:lnTo>
                      <a:pt x="673" y="23"/>
                    </a:lnTo>
                    <a:lnTo>
                      <a:pt x="680" y="29"/>
                    </a:lnTo>
                    <a:lnTo>
                      <a:pt x="698" y="48"/>
                    </a:lnTo>
                    <a:lnTo>
                      <a:pt x="708" y="52"/>
                    </a:lnTo>
                    <a:lnTo>
                      <a:pt x="714" y="59"/>
                    </a:lnTo>
                    <a:lnTo>
                      <a:pt x="718" y="63"/>
                    </a:lnTo>
                    <a:lnTo>
                      <a:pt x="723" y="63"/>
                    </a:lnTo>
                    <a:lnTo>
                      <a:pt x="723" y="64"/>
                    </a:lnTo>
                    <a:lnTo>
                      <a:pt x="720" y="71"/>
                    </a:lnTo>
                    <a:lnTo>
                      <a:pt x="718" y="84"/>
                    </a:lnTo>
                    <a:lnTo>
                      <a:pt x="718" y="99"/>
                    </a:lnTo>
                    <a:lnTo>
                      <a:pt x="721" y="106"/>
                    </a:lnTo>
                    <a:lnTo>
                      <a:pt x="724" y="109"/>
                    </a:lnTo>
                    <a:lnTo>
                      <a:pt x="728" y="111"/>
                    </a:lnTo>
                    <a:lnTo>
                      <a:pt x="733" y="114"/>
                    </a:lnTo>
                    <a:lnTo>
                      <a:pt x="735" y="117"/>
                    </a:lnTo>
                    <a:lnTo>
                      <a:pt x="733" y="119"/>
                    </a:lnTo>
                    <a:lnTo>
                      <a:pt x="728" y="125"/>
                    </a:lnTo>
                    <a:lnTo>
                      <a:pt x="716" y="134"/>
                    </a:lnTo>
                    <a:lnTo>
                      <a:pt x="707" y="143"/>
                    </a:lnTo>
                    <a:lnTo>
                      <a:pt x="704" y="148"/>
                    </a:lnTo>
                    <a:lnTo>
                      <a:pt x="704" y="155"/>
                    </a:lnTo>
                    <a:lnTo>
                      <a:pt x="705" y="155"/>
                    </a:lnTo>
                    <a:lnTo>
                      <a:pt x="707" y="155"/>
                    </a:lnTo>
                    <a:lnTo>
                      <a:pt x="698" y="164"/>
                    </a:lnTo>
                    <a:lnTo>
                      <a:pt x="690" y="174"/>
                    </a:lnTo>
                    <a:lnTo>
                      <a:pt x="687" y="178"/>
                    </a:lnTo>
                    <a:lnTo>
                      <a:pt x="683" y="186"/>
                    </a:lnTo>
                    <a:lnTo>
                      <a:pt x="678" y="207"/>
                    </a:lnTo>
                    <a:lnTo>
                      <a:pt x="678" y="216"/>
                    </a:lnTo>
                    <a:lnTo>
                      <a:pt x="676" y="237"/>
                    </a:lnTo>
                    <a:lnTo>
                      <a:pt x="676" y="251"/>
                    </a:lnTo>
                    <a:lnTo>
                      <a:pt x="673" y="253"/>
                    </a:lnTo>
                    <a:lnTo>
                      <a:pt x="669" y="257"/>
                    </a:lnTo>
                    <a:lnTo>
                      <a:pt x="664" y="265"/>
                    </a:lnTo>
                    <a:lnTo>
                      <a:pt x="659" y="276"/>
                    </a:lnTo>
                    <a:lnTo>
                      <a:pt x="655" y="283"/>
                    </a:lnTo>
                    <a:lnTo>
                      <a:pt x="649" y="294"/>
                    </a:lnTo>
                    <a:lnTo>
                      <a:pt x="649" y="298"/>
                    </a:lnTo>
                    <a:lnTo>
                      <a:pt x="649" y="301"/>
                    </a:lnTo>
                    <a:lnTo>
                      <a:pt x="654" y="306"/>
                    </a:lnTo>
                    <a:lnTo>
                      <a:pt x="657" y="310"/>
                    </a:lnTo>
                    <a:lnTo>
                      <a:pt x="660" y="314"/>
                    </a:lnTo>
                    <a:lnTo>
                      <a:pt x="660" y="330"/>
                    </a:lnTo>
                    <a:lnTo>
                      <a:pt x="659" y="336"/>
                    </a:lnTo>
                    <a:lnTo>
                      <a:pt x="657" y="344"/>
                    </a:lnTo>
                    <a:lnTo>
                      <a:pt x="654" y="355"/>
                    </a:lnTo>
                    <a:lnTo>
                      <a:pt x="652" y="362"/>
                    </a:lnTo>
                    <a:lnTo>
                      <a:pt x="654" y="366"/>
                    </a:lnTo>
                    <a:lnTo>
                      <a:pt x="655" y="365"/>
                    </a:lnTo>
                    <a:lnTo>
                      <a:pt x="657" y="371"/>
                    </a:lnTo>
                    <a:lnTo>
                      <a:pt x="654" y="388"/>
                    </a:lnTo>
                    <a:lnTo>
                      <a:pt x="652" y="399"/>
                    </a:lnTo>
                    <a:lnTo>
                      <a:pt x="657" y="412"/>
                    </a:lnTo>
                    <a:lnTo>
                      <a:pt x="662" y="421"/>
                    </a:lnTo>
                    <a:lnTo>
                      <a:pt x="662" y="429"/>
                    </a:lnTo>
                    <a:lnTo>
                      <a:pt x="660" y="438"/>
                    </a:lnTo>
                    <a:lnTo>
                      <a:pt x="663" y="449"/>
                    </a:lnTo>
                    <a:lnTo>
                      <a:pt x="666" y="455"/>
                    </a:lnTo>
                    <a:lnTo>
                      <a:pt x="671" y="467"/>
                    </a:lnTo>
                    <a:lnTo>
                      <a:pt x="676" y="472"/>
                    </a:lnTo>
                    <a:lnTo>
                      <a:pt x="685" y="481"/>
                    </a:lnTo>
                    <a:lnTo>
                      <a:pt x="695" y="485"/>
                    </a:lnTo>
                    <a:lnTo>
                      <a:pt x="702" y="493"/>
                    </a:lnTo>
                    <a:lnTo>
                      <a:pt x="707" y="518"/>
                    </a:lnTo>
                    <a:lnTo>
                      <a:pt x="664" y="527"/>
                    </a:lnTo>
                    <a:lnTo>
                      <a:pt x="655" y="529"/>
                    </a:lnTo>
                    <a:lnTo>
                      <a:pt x="652" y="532"/>
                    </a:lnTo>
                    <a:lnTo>
                      <a:pt x="649" y="534"/>
                    </a:lnTo>
                    <a:lnTo>
                      <a:pt x="644" y="543"/>
                    </a:lnTo>
                    <a:lnTo>
                      <a:pt x="641" y="548"/>
                    </a:lnTo>
                    <a:lnTo>
                      <a:pt x="638" y="554"/>
                    </a:lnTo>
                    <a:lnTo>
                      <a:pt x="638" y="557"/>
                    </a:lnTo>
                    <a:lnTo>
                      <a:pt x="638" y="564"/>
                    </a:lnTo>
                    <a:lnTo>
                      <a:pt x="642" y="576"/>
                    </a:lnTo>
                    <a:lnTo>
                      <a:pt x="644" y="587"/>
                    </a:lnTo>
                    <a:lnTo>
                      <a:pt x="644" y="604"/>
                    </a:lnTo>
                    <a:lnTo>
                      <a:pt x="642" y="610"/>
                    </a:lnTo>
                    <a:lnTo>
                      <a:pt x="632" y="636"/>
                    </a:lnTo>
                    <a:lnTo>
                      <a:pt x="629" y="643"/>
                    </a:lnTo>
                    <a:lnTo>
                      <a:pt x="628" y="649"/>
                    </a:lnTo>
                    <a:lnTo>
                      <a:pt x="629" y="655"/>
                    </a:lnTo>
                    <a:lnTo>
                      <a:pt x="629" y="658"/>
                    </a:lnTo>
                    <a:lnTo>
                      <a:pt x="634" y="662"/>
                    </a:lnTo>
                    <a:lnTo>
                      <a:pt x="642" y="671"/>
                    </a:lnTo>
                    <a:lnTo>
                      <a:pt x="647" y="673"/>
                    </a:lnTo>
                    <a:lnTo>
                      <a:pt x="655" y="674"/>
                    </a:lnTo>
                    <a:lnTo>
                      <a:pt x="663" y="676"/>
                    </a:lnTo>
                    <a:lnTo>
                      <a:pt x="670" y="673"/>
                    </a:lnTo>
                    <a:lnTo>
                      <a:pt x="673" y="673"/>
                    </a:lnTo>
                    <a:lnTo>
                      <a:pt x="676" y="678"/>
                    </a:lnTo>
                    <a:lnTo>
                      <a:pt x="676" y="703"/>
                    </a:lnTo>
                    <a:lnTo>
                      <a:pt x="676" y="707"/>
                    </a:lnTo>
                    <a:lnTo>
                      <a:pt x="676" y="712"/>
                    </a:lnTo>
                    <a:lnTo>
                      <a:pt x="676" y="715"/>
                    </a:lnTo>
                    <a:lnTo>
                      <a:pt x="673" y="715"/>
                    </a:lnTo>
                    <a:lnTo>
                      <a:pt x="670" y="714"/>
                    </a:lnTo>
                    <a:lnTo>
                      <a:pt x="666" y="707"/>
                    </a:lnTo>
                    <a:lnTo>
                      <a:pt x="665" y="707"/>
                    </a:lnTo>
                    <a:lnTo>
                      <a:pt x="663" y="707"/>
                    </a:lnTo>
                    <a:lnTo>
                      <a:pt x="660" y="710"/>
                    </a:lnTo>
                    <a:lnTo>
                      <a:pt x="655" y="710"/>
                    </a:lnTo>
                    <a:lnTo>
                      <a:pt x="649" y="709"/>
                    </a:lnTo>
                    <a:lnTo>
                      <a:pt x="642" y="707"/>
                    </a:lnTo>
                    <a:lnTo>
                      <a:pt x="633" y="700"/>
                    </a:lnTo>
                    <a:lnTo>
                      <a:pt x="622" y="693"/>
                    </a:lnTo>
                    <a:lnTo>
                      <a:pt x="621" y="688"/>
                    </a:lnTo>
                    <a:lnTo>
                      <a:pt x="617" y="680"/>
                    </a:lnTo>
                    <a:lnTo>
                      <a:pt x="612" y="674"/>
                    </a:lnTo>
                    <a:lnTo>
                      <a:pt x="604" y="674"/>
                    </a:lnTo>
                    <a:lnTo>
                      <a:pt x="596" y="673"/>
                    </a:lnTo>
                    <a:lnTo>
                      <a:pt x="587" y="668"/>
                    </a:lnTo>
                    <a:lnTo>
                      <a:pt x="573" y="655"/>
                    </a:lnTo>
                    <a:lnTo>
                      <a:pt x="569" y="654"/>
                    </a:lnTo>
                    <a:lnTo>
                      <a:pt x="563" y="655"/>
                    </a:lnTo>
                    <a:lnTo>
                      <a:pt x="554" y="659"/>
                    </a:lnTo>
                    <a:lnTo>
                      <a:pt x="548" y="661"/>
                    </a:lnTo>
                    <a:lnTo>
                      <a:pt x="540" y="659"/>
                    </a:lnTo>
                    <a:lnTo>
                      <a:pt x="527" y="655"/>
                    </a:lnTo>
                    <a:lnTo>
                      <a:pt x="518" y="649"/>
                    </a:lnTo>
                    <a:lnTo>
                      <a:pt x="509" y="646"/>
                    </a:lnTo>
                    <a:lnTo>
                      <a:pt x="505" y="642"/>
                    </a:lnTo>
                    <a:lnTo>
                      <a:pt x="504" y="636"/>
                    </a:lnTo>
                    <a:lnTo>
                      <a:pt x="499" y="630"/>
                    </a:lnTo>
                    <a:lnTo>
                      <a:pt x="490" y="633"/>
                    </a:lnTo>
                    <a:lnTo>
                      <a:pt x="486" y="633"/>
                    </a:lnTo>
                    <a:lnTo>
                      <a:pt x="483" y="635"/>
                    </a:lnTo>
                    <a:lnTo>
                      <a:pt x="473" y="638"/>
                    </a:lnTo>
                    <a:lnTo>
                      <a:pt x="471" y="638"/>
                    </a:lnTo>
                    <a:lnTo>
                      <a:pt x="469" y="635"/>
                    </a:lnTo>
                    <a:lnTo>
                      <a:pt x="470" y="625"/>
                    </a:lnTo>
                    <a:lnTo>
                      <a:pt x="466" y="618"/>
                    </a:lnTo>
                    <a:lnTo>
                      <a:pt x="464" y="617"/>
                    </a:lnTo>
                    <a:lnTo>
                      <a:pt x="461" y="618"/>
                    </a:lnTo>
                    <a:lnTo>
                      <a:pt x="454" y="621"/>
                    </a:lnTo>
                    <a:lnTo>
                      <a:pt x="452" y="621"/>
                    </a:lnTo>
                    <a:lnTo>
                      <a:pt x="447" y="624"/>
                    </a:lnTo>
                    <a:lnTo>
                      <a:pt x="445" y="624"/>
                    </a:lnTo>
                    <a:lnTo>
                      <a:pt x="439" y="623"/>
                    </a:lnTo>
                    <a:lnTo>
                      <a:pt x="431" y="627"/>
                    </a:lnTo>
                    <a:lnTo>
                      <a:pt x="396" y="627"/>
                    </a:lnTo>
                    <a:lnTo>
                      <a:pt x="392" y="628"/>
                    </a:lnTo>
                    <a:lnTo>
                      <a:pt x="391" y="633"/>
                    </a:lnTo>
                    <a:lnTo>
                      <a:pt x="388" y="637"/>
                    </a:lnTo>
                    <a:lnTo>
                      <a:pt x="386" y="638"/>
                    </a:lnTo>
                    <a:lnTo>
                      <a:pt x="381" y="637"/>
                    </a:lnTo>
                    <a:lnTo>
                      <a:pt x="378" y="632"/>
                    </a:lnTo>
                    <a:lnTo>
                      <a:pt x="375" y="632"/>
                    </a:lnTo>
                    <a:lnTo>
                      <a:pt x="375" y="630"/>
                    </a:lnTo>
                    <a:lnTo>
                      <a:pt x="373" y="628"/>
                    </a:lnTo>
                    <a:lnTo>
                      <a:pt x="373" y="627"/>
                    </a:lnTo>
                    <a:lnTo>
                      <a:pt x="381" y="618"/>
                    </a:lnTo>
                    <a:lnTo>
                      <a:pt x="384" y="614"/>
                    </a:lnTo>
                    <a:lnTo>
                      <a:pt x="385" y="610"/>
                    </a:lnTo>
                    <a:lnTo>
                      <a:pt x="381" y="598"/>
                    </a:lnTo>
                    <a:lnTo>
                      <a:pt x="376" y="583"/>
                    </a:lnTo>
                    <a:lnTo>
                      <a:pt x="370" y="573"/>
                    </a:lnTo>
                    <a:lnTo>
                      <a:pt x="368" y="567"/>
                    </a:lnTo>
                    <a:lnTo>
                      <a:pt x="369" y="558"/>
                    </a:lnTo>
                    <a:lnTo>
                      <a:pt x="370" y="549"/>
                    </a:lnTo>
                    <a:lnTo>
                      <a:pt x="370" y="546"/>
                    </a:lnTo>
                    <a:lnTo>
                      <a:pt x="369" y="534"/>
                    </a:lnTo>
                    <a:lnTo>
                      <a:pt x="369" y="523"/>
                    </a:lnTo>
                    <a:lnTo>
                      <a:pt x="368" y="515"/>
                    </a:lnTo>
                    <a:lnTo>
                      <a:pt x="365" y="491"/>
                    </a:lnTo>
                    <a:lnTo>
                      <a:pt x="363" y="486"/>
                    </a:lnTo>
                    <a:lnTo>
                      <a:pt x="362" y="484"/>
                    </a:lnTo>
                    <a:lnTo>
                      <a:pt x="327" y="482"/>
                    </a:lnTo>
                    <a:lnTo>
                      <a:pt x="328" y="467"/>
                    </a:lnTo>
                    <a:lnTo>
                      <a:pt x="311" y="467"/>
                    </a:lnTo>
                    <a:lnTo>
                      <a:pt x="311" y="471"/>
                    </a:lnTo>
                    <a:lnTo>
                      <a:pt x="280" y="471"/>
                    </a:lnTo>
                    <a:lnTo>
                      <a:pt x="279" y="477"/>
                    </a:lnTo>
                    <a:lnTo>
                      <a:pt x="279" y="485"/>
                    </a:lnTo>
                    <a:lnTo>
                      <a:pt x="277" y="490"/>
                    </a:lnTo>
                    <a:lnTo>
                      <a:pt x="276" y="491"/>
                    </a:lnTo>
                    <a:lnTo>
                      <a:pt x="274" y="494"/>
                    </a:lnTo>
                    <a:lnTo>
                      <a:pt x="274" y="500"/>
                    </a:lnTo>
                    <a:lnTo>
                      <a:pt x="271" y="510"/>
                    </a:lnTo>
                    <a:lnTo>
                      <a:pt x="258" y="510"/>
                    </a:lnTo>
                    <a:lnTo>
                      <a:pt x="245" y="508"/>
                    </a:lnTo>
                    <a:lnTo>
                      <a:pt x="236" y="512"/>
                    </a:lnTo>
                    <a:lnTo>
                      <a:pt x="221" y="516"/>
                    </a:lnTo>
                    <a:lnTo>
                      <a:pt x="211" y="516"/>
                    </a:lnTo>
                    <a:lnTo>
                      <a:pt x="203" y="512"/>
                    </a:lnTo>
                    <a:lnTo>
                      <a:pt x="188" y="493"/>
                    </a:lnTo>
                    <a:lnTo>
                      <a:pt x="180" y="484"/>
                    </a:lnTo>
                    <a:lnTo>
                      <a:pt x="177" y="472"/>
                    </a:lnTo>
                    <a:lnTo>
                      <a:pt x="172" y="464"/>
                    </a:lnTo>
                    <a:lnTo>
                      <a:pt x="170" y="460"/>
                    </a:lnTo>
                    <a:lnTo>
                      <a:pt x="170" y="452"/>
                    </a:lnTo>
                    <a:lnTo>
                      <a:pt x="167" y="438"/>
                    </a:lnTo>
                    <a:lnTo>
                      <a:pt x="163" y="431"/>
                    </a:lnTo>
                    <a:lnTo>
                      <a:pt x="160" y="433"/>
                    </a:lnTo>
                    <a:lnTo>
                      <a:pt x="158" y="433"/>
                    </a:lnTo>
                    <a:lnTo>
                      <a:pt x="154" y="426"/>
                    </a:lnTo>
                    <a:lnTo>
                      <a:pt x="152" y="426"/>
                    </a:lnTo>
                    <a:lnTo>
                      <a:pt x="140" y="426"/>
                    </a:lnTo>
                    <a:lnTo>
                      <a:pt x="118" y="426"/>
                    </a:lnTo>
                    <a:lnTo>
                      <a:pt x="108" y="426"/>
                    </a:lnTo>
                    <a:lnTo>
                      <a:pt x="99" y="428"/>
                    </a:lnTo>
                    <a:lnTo>
                      <a:pt x="86" y="428"/>
                    </a:lnTo>
                    <a:lnTo>
                      <a:pt x="81" y="426"/>
                    </a:lnTo>
                    <a:lnTo>
                      <a:pt x="65" y="428"/>
                    </a:lnTo>
                    <a:lnTo>
                      <a:pt x="49" y="426"/>
                    </a:lnTo>
                    <a:lnTo>
                      <a:pt x="43" y="428"/>
                    </a:lnTo>
                    <a:lnTo>
                      <a:pt x="37" y="428"/>
                    </a:lnTo>
                    <a:lnTo>
                      <a:pt x="27" y="431"/>
                    </a:lnTo>
                    <a:lnTo>
                      <a:pt x="18" y="436"/>
                    </a:lnTo>
                    <a:lnTo>
                      <a:pt x="5" y="439"/>
                    </a:lnTo>
                    <a:close/>
                  </a:path>
                </a:pathLst>
              </a:custGeom>
              <a:solidFill>
                <a:srgbClr val="9CBC5A"/>
              </a:solidFill>
              <a:ln>
                <a:noFill/>
              </a:ln>
              <a:extLst/>
            </p:spPr>
            <p:txBody>
              <a:bodyPr/>
              <a:lstStyle/>
              <a:p>
                <a:pPr>
                  <a:defRPr/>
                </a:pPr>
                <a:endParaRPr lang="en-US">
                  <a:latin typeface="Arial" panose="020B0604020202020204" pitchFamily="34" charset="0"/>
                  <a:ea typeface="ＭＳ Ｐゴシック" panose="020B0600070205080204" pitchFamily="34" charset="-128"/>
                  <a:cs typeface="+mn-cs"/>
                </a:endParaRPr>
              </a:p>
            </p:txBody>
          </p:sp>
          <p:sp>
            <p:nvSpPr>
              <p:cNvPr id="281" name="Freeform 77"/>
              <p:cNvSpPr>
                <a:spLocks/>
              </p:cNvSpPr>
              <p:nvPr/>
            </p:nvSpPr>
            <p:spPr bwMode="auto">
              <a:xfrm>
                <a:off x="1787" y="2310"/>
                <a:ext cx="786" cy="751"/>
              </a:xfrm>
              <a:custGeom>
                <a:avLst/>
                <a:gdLst>
                  <a:gd name="T0" fmla="*/ 0 w 735"/>
                  <a:gd name="T1" fmla="*/ 11170 h 715"/>
                  <a:gd name="T2" fmla="*/ 733 w 735"/>
                  <a:gd name="T3" fmla="*/ 10385 h 715"/>
                  <a:gd name="T4" fmla="*/ 3128 w 735"/>
                  <a:gd name="T5" fmla="*/ 10000 h 715"/>
                  <a:gd name="T6" fmla="*/ 6294 w 735"/>
                  <a:gd name="T7" fmla="*/ 9521 h 715"/>
                  <a:gd name="T8" fmla="*/ 9729 w 735"/>
                  <a:gd name="T9" fmla="*/ 9505 h 715"/>
                  <a:gd name="T10" fmla="*/ 12612 w 735"/>
                  <a:gd name="T11" fmla="*/ 7980 h 715"/>
                  <a:gd name="T12" fmla="*/ 16641 w 735"/>
                  <a:gd name="T13" fmla="*/ 6129 h 715"/>
                  <a:gd name="T14" fmla="*/ 18564 w 735"/>
                  <a:gd name="T15" fmla="*/ 3278 h 715"/>
                  <a:gd name="T16" fmla="*/ 21243 w 735"/>
                  <a:gd name="T17" fmla="*/ 1494 h 715"/>
                  <a:gd name="T18" fmla="*/ 22044 w 735"/>
                  <a:gd name="T19" fmla="*/ 363 h 715"/>
                  <a:gd name="T20" fmla="*/ 25583 w 735"/>
                  <a:gd name="T21" fmla="*/ 298 h 715"/>
                  <a:gd name="T22" fmla="*/ 28626 w 735"/>
                  <a:gd name="T23" fmla="*/ 833 h 715"/>
                  <a:gd name="T24" fmla="*/ 34297 w 735"/>
                  <a:gd name="T25" fmla="*/ 381 h 715"/>
                  <a:gd name="T26" fmla="*/ 39028 w 735"/>
                  <a:gd name="T27" fmla="*/ 298 h 715"/>
                  <a:gd name="T28" fmla="*/ 40736 w 735"/>
                  <a:gd name="T29" fmla="*/ 329 h 715"/>
                  <a:gd name="T30" fmla="*/ 44435 w 735"/>
                  <a:gd name="T31" fmla="*/ 3 h 715"/>
                  <a:gd name="T32" fmla="*/ 47729 w 735"/>
                  <a:gd name="T33" fmla="*/ 3 h 715"/>
                  <a:gd name="T34" fmla="*/ 51294 w 735"/>
                  <a:gd name="T35" fmla="*/ 755 h 715"/>
                  <a:gd name="T36" fmla="*/ 55538 w 735"/>
                  <a:gd name="T37" fmla="*/ 833 h 715"/>
                  <a:gd name="T38" fmla="*/ 59875 w 735"/>
                  <a:gd name="T39" fmla="*/ 1502 h 715"/>
                  <a:gd name="T40" fmla="*/ 60130 w 735"/>
                  <a:gd name="T41" fmla="*/ 2139 h 715"/>
                  <a:gd name="T42" fmla="*/ 61301 w 735"/>
                  <a:gd name="T43" fmla="*/ 2929 h 715"/>
                  <a:gd name="T44" fmla="*/ 59119 w 735"/>
                  <a:gd name="T45" fmla="*/ 3646 h 715"/>
                  <a:gd name="T46" fmla="*/ 58370 w 735"/>
                  <a:gd name="T47" fmla="*/ 4211 h 715"/>
                  <a:gd name="T48" fmla="*/ 56745 w 735"/>
                  <a:gd name="T49" fmla="*/ 5546 h 715"/>
                  <a:gd name="T50" fmla="*/ 55538 w 735"/>
                  <a:gd name="T51" fmla="*/ 6771 h 715"/>
                  <a:gd name="T52" fmla="*/ 54341 w 735"/>
                  <a:gd name="T53" fmla="*/ 7690 h 715"/>
                  <a:gd name="T54" fmla="*/ 55181 w 735"/>
                  <a:gd name="T55" fmla="*/ 8630 h 715"/>
                  <a:gd name="T56" fmla="*/ 54877 w 735"/>
                  <a:gd name="T57" fmla="*/ 9284 h 715"/>
                  <a:gd name="T58" fmla="*/ 55471 w 735"/>
                  <a:gd name="T59" fmla="*/ 10749 h 715"/>
                  <a:gd name="T60" fmla="*/ 56228 w 735"/>
                  <a:gd name="T61" fmla="*/ 11966 h 715"/>
                  <a:gd name="T62" fmla="*/ 59119 w 735"/>
                  <a:gd name="T63" fmla="*/ 13271 h 715"/>
                  <a:gd name="T64" fmla="*/ 54049 w 735"/>
                  <a:gd name="T65" fmla="*/ 13898 h 715"/>
                  <a:gd name="T66" fmla="*/ 53756 w 735"/>
                  <a:gd name="T67" fmla="*/ 14743 h 715"/>
                  <a:gd name="T68" fmla="*/ 52709 w 735"/>
                  <a:gd name="T69" fmla="*/ 16435 h 715"/>
                  <a:gd name="T70" fmla="*/ 53756 w 735"/>
                  <a:gd name="T71" fmla="*/ 17165 h 715"/>
                  <a:gd name="T72" fmla="*/ 56366 w 735"/>
                  <a:gd name="T73" fmla="*/ 17203 h 715"/>
                  <a:gd name="T74" fmla="*/ 56593 w 735"/>
                  <a:gd name="T75" fmla="*/ 18300 h 715"/>
                  <a:gd name="T76" fmla="*/ 55529 w 735"/>
                  <a:gd name="T77" fmla="*/ 18069 h 715"/>
                  <a:gd name="T78" fmla="*/ 52970 w 735"/>
                  <a:gd name="T79" fmla="*/ 17928 h 715"/>
                  <a:gd name="T80" fmla="*/ 50632 w 735"/>
                  <a:gd name="T81" fmla="*/ 17218 h 715"/>
                  <a:gd name="T82" fmla="*/ 47263 w 735"/>
                  <a:gd name="T83" fmla="*/ 16740 h 715"/>
                  <a:gd name="T84" fmla="*/ 43314 w 735"/>
                  <a:gd name="T85" fmla="*/ 16601 h 715"/>
                  <a:gd name="T86" fmla="*/ 40989 w 735"/>
                  <a:gd name="T87" fmla="*/ 16190 h 715"/>
                  <a:gd name="T88" fmla="*/ 39380 w 735"/>
                  <a:gd name="T89" fmla="*/ 16265 h 715"/>
                  <a:gd name="T90" fmla="*/ 38093 w 735"/>
                  <a:gd name="T91" fmla="*/ 15876 h 715"/>
                  <a:gd name="T92" fmla="*/ 36183 w 735"/>
                  <a:gd name="T93" fmla="*/ 16048 h 715"/>
                  <a:gd name="T94" fmla="*/ 32433 w 735"/>
                  <a:gd name="T95" fmla="*/ 16319 h 715"/>
                  <a:gd name="T96" fmla="*/ 31286 w 735"/>
                  <a:gd name="T97" fmla="*/ 16067 h 715"/>
                  <a:gd name="T98" fmla="*/ 31772 w 735"/>
                  <a:gd name="T99" fmla="*/ 15297 h 715"/>
                  <a:gd name="T100" fmla="*/ 30941 w 735"/>
                  <a:gd name="T101" fmla="*/ 14061 h 715"/>
                  <a:gd name="T102" fmla="*/ 30438 w 735"/>
                  <a:gd name="T103" fmla="*/ 12568 h 715"/>
                  <a:gd name="T104" fmla="*/ 25979 w 735"/>
                  <a:gd name="T105" fmla="*/ 11966 h 715"/>
                  <a:gd name="T106" fmla="*/ 23219 w 735"/>
                  <a:gd name="T107" fmla="*/ 12554 h 715"/>
                  <a:gd name="T108" fmla="*/ 21589 w 735"/>
                  <a:gd name="T109" fmla="*/ 13043 h 715"/>
                  <a:gd name="T110" fmla="*/ 16917 w 735"/>
                  <a:gd name="T111" fmla="*/ 13082 h 715"/>
                  <a:gd name="T112" fmla="*/ 14423 w 735"/>
                  <a:gd name="T113" fmla="*/ 11770 h 715"/>
                  <a:gd name="T114" fmla="*/ 13164 w 735"/>
                  <a:gd name="T115" fmla="*/ 11066 h 715"/>
                  <a:gd name="T116" fmla="*/ 9077 w 735"/>
                  <a:gd name="T117" fmla="*/ 10908 h 715"/>
                  <a:gd name="T118" fmla="*/ 4090 w 735"/>
                  <a:gd name="T119" fmla="*/ 10908 h 715"/>
                  <a:gd name="T120" fmla="*/ 5 w 735"/>
                  <a:gd name="T121" fmla="*/ 11209 h 71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5"/>
                  <a:gd name="T184" fmla="*/ 0 h 715"/>
                  <a:gd name="T185" fmla="*/ 735 w 735"/>
                  <a:gd name="T186" fmla="*/ 715 h 71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5" h="715">
                    <a:moveTo>
                      <a:pt x="5" y="439"/>
                    </a:moveTo>
                    <a:lnTo>
                      <a:pt x="0" y="441"/>
                    </a:lnTo>
                    <a:lnTo>
                      <a:pt x="0" y="444"/>
                    </a:lnTo>
                    <a:lnTo>
                      <a:pt x="0" y="440"/>
                    </a:lnTo>
                    <a:lnTo>
                      <a:pt x="0" y="436"/>
                    </a:lnTo>
                    <a:lnTo>
                      <a:pt x="0" y="431"/>
                    </a:lnTo>
                    <a:lnTo>
                      <a:pt x="0" y="428"/>
                    </a:lnTo>
                    <a:lnTo>
                      <a:pt x="6" y="426"/>
                    </a:lnTo>
                    <a:lnTo>
                      <a:pt x="6" y="416"/>
                    </a:lnTo>
                    <a:lnTo>
                      <a:pt x="8" y="406"/>
                    </a:lnTo>
                    <a:lnTo>
                      <a:pt x="11" y="395"/>
                    </a:lnTo>
                    <a:lnTo>
                      <a:pt x="18" y="388"/>
                    </a:lnTo>
                    <a:lnTo>
                      <a:pt x="23" y="385"/>
                    </a:lnTo>
                    <a:lnTo>
                      <a:pt x="27" y="383"/>
                    </a:lnTo>
                    <a:lnTo>
                      <a:pt x="37" y="390"/>
                    </a:lnTo>
                    <a:lnTo>
                      <a:pt x="46" y="388"/>
                    </a:lnTo>
                    <a:lnTo>
                      <a:pt x="51" y="380"/>
                    </a:lnTo>
                    <a:lnTo>
                      <a:pt x="56" y="375"/>
                    </a:lnTo>
                    <a:lnTo>
                      <a:pt x="67" y="373"/>
                    </a:lnTo>
                    <a:lnTo>
                      <a:pt x="76" y="371"/>
                    </a:lnTo>
                    <a:lnTo>
                      <a:pt x="77" y="374"/>
                    </a:lnTo>
                    <a:lnTo>
                      <a:pt x="79" y="387"/>
                    </a:lnTo>
                    <a:lnTo>
                      <a:pt x="86" y="388"/>
                    </a:lnTo>
                    <a:lnTo>
                      <a:pt x="101" y="383"/>
                    </a:lnTo>
                    <a:lnTo>
                      <a:pt x="116" y="370"/>
                    </a:lnTo>
                    <a:lnTo>
                      <a:pt x="127" y="364"/>
                    </a:lnTo>
                    <a:lnTo>
                      <a:pt x="137" y="354"/>
                    </a:lnTo>
                    <a:lnTo>
                      <a:pt x="146" y="337"/>
                    </a:lnTo>
                    <a:lnTo>
                      <a:pt x="149" y="326"/>
                    </a:lnTo>
                    <a:lnTo>
                      <a:pt x="149" y="313"/>
                    </a:lnTo>
                    <a:lnTo>
                      <a:pt x="150" y="298"/>
                    </a:lnTo>
                    <a:lnTo>
                      <a:pt x="156" y="283"/>
                    </a:lnTo>
                    <a:lnTo>
                      <a:pt x="172" y="257"/>
                    </a:lnTo>
                    <a:lnTo>
                      <a:pt x="185" y="246"/>
                    </a:lnTo>
                    <a:lnTo>
                      <a:pt x="199" y="239"/>
                    </a:lnTo>
                    <a:lnTo>
                      <a:pt x="209" y="231"/>
                    </a:lnTo>
                    <a:lnTo>
                      <a:pt x="209" y="227"/>
                    </a:lnTo>
                    <a:lnTo>
                      <a:pt x="215" y="205"/>
                    </a:lnTo>
                    <a:lnTo>
                      <a:pt x="216" y="159"/>
                    </a:lnTo>
                    <a:lnTo>
                      <a:pt x="222" y="128"/>
                    </a:lnTo>
                    <a:lnTo>
                      <a:pt x="229" y="111"/>
                    </a:lnTo>
                    <a:lnTo>
                      <a:pt x="242" y="85"/>
                    </a:lnTo>
                    <a:lnTo>
                      <a:pt x="246" y="71"/>
                    </a:lnTo>
                    <a:lnTo>
                      <a:pt x="245" y="59"/>
                    </a:lnTo>
                    <a:lnTo>
                      <a:pt x="254" y="58"/>
                    </a:lnTo>
                    <a:lnTo>
                      <a:pt x="252" y="52"/>
                    </a:lnTo>
                    <a:lnTo>
                      <a:pt x="252" y="38"/>
                    </a:lnTo>
                    <a:lnTo>
                      <a:pt x="256" y="28"/>
                    </a:lnTo>
                    <a:lnTo>
                      <a:pt x="261" y="26"/>
                    </a:lnTo>
                    <a:lnTo>
                      <a:pt x="264" y="14"/>
                    </a:lnTo>
                    <a:lnTo>
                      <a:pt x="269" y="10"/>
                    </a:lnTo>
                    <a:lnTo>
                      <a:pt x="279" y="3"/>
                    </a:lnTo>
                    <a:lnTo>
                      <a:pt x="289" y="3"/>
                    </a:lnTo>
                    <a:lnTo>
                      <a:pt x="301" y="4"/>
                    </a:lnTo>
                    <a:lnTo>
                      <a:pt x="305" y="10"/>
                    </a:lnTo>
                    <a:lnTo>
                      <a:pt x="307" y="17"/>
                    </a:lnTo>
                    <a:lnTo>
                      <a:pt x="321" y="29"/>
                    </a:lnTo>
                    <a:lnTo>
                      <a:pt x="327" y="30"/>
                    </a:lnTo>
                    <a:lnTo>
                      <a:pt x="332" y="26"/>
                    </a:lnTo>
                    <a:lnTo>
                      <a:pt x="342" y="32"/>
                    </a:lnTo>
                    <a:lnTo>
                      <a:pt x="358" y="36"/>
                    </a:lnTo>
                    <a:lnTo>
                      <a:pt x="393" y="36"/>
                    </a:lnTo>
                    <a:lnTo>
                      <a:pt x="399" y="33"/>
                    </a:lnTo>
                    <a:lnTo>
                      <a:pt x="400" y="22"/>
                    </a:lnTo>
                    <a:lnTo>
                      <a:pt x="410" y="15"/>
                    </a:lnTo>
                    <a:lnTo>
                      <a:pt x="423" y="18"/>
                    </a:lnTo>
                    <a:lnTo>
                      <a:pt x="429" y="22"/>
                    </a:lnTo>
                    <a:lnTo>
                      <a:pt x="442" y="18"/>
                    </a:lnTo>
                    <a:lnTo>
                      <a:pt x="449" y="13"/>
                    </a:lnTo>
                    <a:lnTo>
                      <a:pt x="467" y="10"/>
                    </a:lnTo>
                    <a:lnTo>
                      <a:pt x="476" y="7"/>
                    </a:lnTo>
                    <a:lnTo>
                      <a:pt x="480" y="7"/>
                    </a:lnTo>
                    <a:lnTo>
                      <a:pt x="482" y="10"/>
                    </a:lnTo>
                    <a:lnTo>
                      <a:pt x="480" y="10"/>
                    </a:lnTo>
                    <a:lnTo>
                      <a:pt x="486" y="12"/>
                    </a:lnTo>
                    <a:lnTo>
                      <a:pt x="490" y="10"/>
                    </a:lnTo>
                    <a:lnTo>
                      <a:pt x="500" y="10"/>
                    </a:lnTo>
                    <a:lnTo>
                      <a:pt x="502" y="1"/>
                    </a:lnTo>
                    <a:lnTo>
                      <a:pt x="516" y="5"/>
                    </a:lnTo>
                    <a:lnTo>
                      <a:pt x="531" y="3"/>
                    </a:lnTo>
                    <a:lnTo>
                      <a:pt x="543" y="0"/>
                    </a:lnTo>
                    <a:lnTo>
                      <a:pt x="553" y="10"/>
                    </a:lnTo>
                    <a:lnTo>
                      <a:pt x="558" y="5"/>
                    </a:lnTo>
                    <a:lnTo>
                      <a:pt x="565" y="10"/>
                    </a:lnTo>
                    <a:lnTo>
                      <a:pt x="571" y="3"/>
                    </a:lnTo>
                    <a:lnTo>
                      <a:pt x="590" y="3"/>
                    </a:lnTo>
                    <a:lnTo>
                      <a:pt x="596" y="10"/>
                    </a:lnTo>
                    <a:lnTo>
                      <a:pt x="604" y="17"/>
                    </a:lnTo>
                    <a:lnTo>
                      <a:pt x="609" y="22"/>
                    </a:lnTo>
                    <a:lnTo>
                      <a:pt x="612" y="29"/>
                    </a:lnTo>
                    <a:lnTo>
                      <a:pt x="628" y="36"/>
                    </a:lnTo>
                    <a:lnTo>
                      <a:pt x="633" y="33"/>
                    </a:lnTo>
                    <a:lnTo>
                      <a:pt x="638" y="28"/>
                    </a:lnTo>
                    <a:lnTo>
                      <a:pt x="655" y="33"/>
                    </a:lnTo>
                    <a:lnTo>
                      <a:pt x="664" y="32"/>
                    </a:lnTo>
                    <a:lnTo>
                      <a:pt x="673" y="23"/>
                    </a:lnTo>
                    <a:lnTo>
                      <a:pt x="680" y="29"/>
                    </a:lnTo>
                    <a:lnTo>
                      <a:pt x="698" y="48"/>
                    </a:lnTo>
                    <a:lnTo>
                      <a:pt x="708" y="52"/>
                    </a:lnTo>
                    <a:lnTo>
                      <a:pt x="714" y="59"/>
                    </a:lnTo>
                    <a:lnTo>
                      <a:pt x="718" y="63"/>
                    </a:lnTo>
                    <a:lnTo>
                      <a:pt x="723" y="63"/>
                    </a:lnTo>
                    <a:lnTo>
                      <a:pt x="723" y="64"/>
                    </a:lnTo>
                    <a:lnTo>
                      <a:pt x="720" y="71"/>
                    </a:lnTo>
                    <a:lnTo>
                      <a:pt x="718" y="84"/>
                    </a:lnTo>
                    <a:lnTo>
                      <a:pt x="718" y="99"/>
                    </a:lnTo>
                    <a:lnTo>
                      <a:pt x="721" y="106"/>
                    </a:lnTo>
                    <a:lnTo>
                      <a:pt x="724" y="109"/>
                    </a:lnTo>
                    <a:lnTo>
                      <a:pt x="728" y="111"/>
                    </a:lnTo>
                    <a:lnTo>
                      <a:pt x="733" y="114"/>
                    </a:lnTo>
                    <a:lnTo>
                      <a:pt x="735" y="117"/>
                    </a:lnTo>
                    <a:lnTo>
                      <a:pt x="733" y="119"/>
                    </a:lnTo>
                    <a:lnTo>
                      <a:pt x="728" y="125"/>
                    </a:lnTo>
                    <a:lnTo>
                      <a:pt x="716" y="134"/>
                    </a:lnTo>
                    <a:lnTo>
                      <a:pt x="707" y="143"/>
                    </a:lnTo>
                    <a:lnTo>
                      <a:pt x="704" y="148"/>
                    </a:lnTo>
                    <a:lnTo>
                      <a:pt x="704" y="155"/>
                    </a:lnTo>
                    <a:lnTo>
                      <a:pt x="705" y="155"/>
                    </a:lnTo>
                    <a:lnTo>
                      <a:pt x="707" y="155"/>
                    </a:lnTo>
                    <a:lnTo>
                      <a:pt x="698" y="164"/>
                    </a:lnTo>
                    <a:lnTo>
                      <a:pt x="690" y="174"/>
                    </a:lnTo>
                    <a:lnTo>
                      <a:pt x="687" y="178"/>
                    </a:lnTo>
                    <a:lnTo>
                      <a:pt x="683" y="186"/>
                    </a:lnTo>
                    <a:lnTo>
                      <a:pt x="678" y="207"/>
                    </a:lnTo>
                    <a:lnTo>
                      <a:pt x="678" y="216"/>
                    </a:lnTo>
                    <a:lnTo>
                      <a:pt x="676" y="237"/>
                    </a:lnTo>
                    <a:lnTo>
                      <a:pt x="676" y="251"/>
                    </a:lnTo>
                    <a:lnTo>
                      <a:pt x="673" y="253"/>
                    </a:lnTo>
                    <a:lnTo>
                      <a:pt x="669" y="257"/>
                    </a:lnTo>
                    <a:lnTo>
                      <a:pt x="664" y="265"/>
                    </a:lnTo>
                    <a:lnTo>
                      <a:pt x="659" y="276"/>
                    </a:lnTo>
                    <a:lnTo>
                      <a:pt x="655" y="283"/>
                    </a:lnTo>
                    <a:lnTo>
                      <a:pt x="649" y="294"/>
                    </a:lnTo>
                    <a:lnTo>
                      <a:pt x="649" y="298"/>
                    </a:lnTo>
                    <a:lnTo>
                      <a:pt x="649" y="301"/>
                    </a:lnTo>
                    <a:lnTo>
                      <a:pt x="654" y="306"/>
                    </a:lnTo>
                    <a:lnTo>
                      <a:pt x="657" y="310"/>
                    </a:lnTo>
                    <a:lnTo>
                      <a:pt x="660" y="314"/>
                    </a:lnTo>
                    <a:lnTo>
                      <a:pt x="660" y="330"/>
                    </a:lnTo>
                    <a:lnTo>
                      <a:pt x="659" y="336"/>
                    </a:lnTo>
                    <a:lnTo>
                      <a:pt x="657" y="344"/>
                    </a:lnTo>
                    <a:lnTo>
                      <a:pt x="654" y="355"/>
                    </a:lnTo>
                    <a:lnTo>
                      <a:pt x="652" y="362"/>
                    </a:lnTo>
                    <a:lnTo>
                      <a:pt x="654" y="366"/>
                    </a:lnTo>
                    <a:lnTo>
                      <a:pt x="655" y="365"/>
                    </a:lnTo>
                    <a:lnTo>
                      <a:pt x="657" y="371"/>
                    </a:lnTo>
                    <a:lnTo>
                      <a:pt x="654" y="388"/>
                    </a:lnTo>
                    <a:lnTo>
                      <a:pt x="652" y="399"/>
                    </a:lnTo>
                    <a:lnTo>
                      <a:pt x="657" y="412"/>
                    </a:lnTo>
                    <a:lnTo>
                      <a:pt x="662" y="421"/>
                    </a:lnTo>
                    <a:lnTo>
                      <a:pt x="662" y="429"/>
                    </a:lnTo>
                    <a:lnTo>
                      <a:pt x="660" y="438"/>
                    </a:lnTo>
                    <a:lnTo>
                      <a:pt x="663" y="449"/>
                    </a:lnTo>
                    <a:lnTo>
                      <a:pt x="666" y="455"/>
                    </a:lnTo>
                    <a:lnTo>
                      <a:pt x="671" y="467"/>
                    </a:lnTo>
                    <a:lnTo>
                      <a:pt x="676" y="472"/>
                    </a:lnTo>
                    <a:lnTo>
                      <a:pt x="685" y="481"/>
                    </a:lnTo>
                    <a:lnTo>
                      <a:pt x="695" y="485"/>
                    </a:lnTo>
                    <a:lnTo>
                      <a:pt x="702" y="493"/>
                    </a:lnTo>
                    <a:lnTo>
                      <a:pt x="707" y="518"/>
                    </a:lnTo>
                    <a:lnTo>
                      <a:pt x="664" y="527"/>
                    </a:lnTo>
                    <a:lnTo>
                      <a:pt x="655" y="529"/>
                    </a:lnTo>
                    <a:lnTo>
                      <a:pt x="652" y="532"/>
                    </a:lnTo>
                    <a:lnTo>
                      <a:pt x="649" y="534"/>
                    </a:lnTo>
                    <a:lnTo>
                      <a:pt x="644" y="543"/>
                    </a:lnTo>
                    <a:lnTo>
                      <a:pt x="641" y="548"/>
                    </a:lnTo>
                    <a:lnTo>
                      <a:pt x="638" y="554"/>
                    </a:lnTo>
                    <a:lnTo>
                      <a:pt x="638" y="557"/>
                    </a:lnTo>
                    <a:lnTo>
                      <a:pt x="638" y="564"/>
                    </a:lnTo>
                    <a:lnTo>
                      <a:pt x="642" y="576"/>
                    </a:lnTo>
                    <a:lnTo>
                      <a:pt x="644" y="587"/>
                    </a:lnTo>
                    <a:lnTo>
                      <a:pt x="644" y="604"/>
                    </a:lnTo>
                    <a:lnTo>
                      <a:pt x="642" y="610"/>
                    </a:lnTo>
                    <a:lnTo>
                      <a:pt x="632" y="636"/>
                    </a:lnTo>
                    <a:lnTo>
                      <a:pt x="629" y="643"/>
                    </a:lnTo>
                    <a:lnTo>
                      <a:pt x="628" y="649"/>
                    </a:lnTo>
                    <a:lnTo>
                      <a:pt x="629" y="655"/>
                    </a:lnTo>
                    <a:lnTo>
                      <a:pt x="629" y="658"/>
                    </a:lnTo>
                    <a:lnTo>
                      <a:pt x="634" y="662"/>
                    </a:lnTo>
                    <a:lnTo>
                      <a:pt x="642" y="671"/>
                    </a:lnTo>
                    <a:lnTo>
                      <a:pt x="647" y="673"/>
                    </a:lnTo>
                    <a:lnTo>
                      <a:pt x="655" y="674"/>
                    </a:lnTo>
                    <a:lnTo>
                      <a:pt x="663" y="676"/>
                    </a:lnTo>
                    <a:lnTo>
                      <a:pt x="670" y="673"/>
                    </a:lnTo>
                    <a:lnTo>
                      <a:pt x="673" y="673"/>
                    </a:lnTo>
                    <a:lnTo>
                      <a:pt x="676" y="678"/>
                    </a:lnTo>
                    <a:lnTo>
                      <a:pt x="676" y="703"/>
                    </a:lnTo>
                    <a:lnTo>
                      <a:pt x="676" y="707"/>
                    </a:lnTo>
                    <a:lnTo>
                      <a:pt x="676" y="712"/>
                    </a:lnTo>
                    <a:lnTo>
                      <a:pt x="676" y="715"/>
                    </a:lnTo>
                    <a:lnTo>
                      <a:pt x="673" y="715"/>
                    </a:lnTo>
                    <a:lnTo>
                      <a:pt x="670" y="714"/>
                    </a:lnTo>
                    <a:lnTo>
                      <a:pt x="666" y="707"/>
                    </a:lnTo>
                    <a:lnTo>
                      <a:pt x="665" y="707"/>
                    </a:lnTo>
                    <a:lnTo>
                      <a:pt x="663" y="707"/>
                    </a:lnTo>
                    <a:lnTo>
                      <a:pt x="660" y="710"/>
                    </a:lnTo>
                    <a:lnTo>
                      <a:pt x="655" y="710"/>
                    </a:lnTo>
                    <a:lnTo>
                      <a:pt x="649" y="709"/>
                    </a:lnTo>
                    <a:lnTo>
                      <a:pt x="642" y="707"/>
                    </a:lnTo>
                    <a:lnTo>
                      <a:pt x="633" y="700"/>
                    </a:lnTo>
                    <a:lnTo>
                      <a:pt x="622" y="693"/>
                    </a:lnTo>
                    <a:lnTo>
                      <a:pt x="621" y="688"/>
                    </a:lnTo>
                    <a:lnTo>
                      <a:pt x="617" y="680"/>
                    </a:lnTo>
                    <a:lnTo>
                      <a:pt x="612" y="674"/>
                    </a:lnTo>
                    <a:lnTo>
                      <a:pt x="604" y="674"/>
                    </a:lnTo>
                    <a:lnTo>
                      <a:pt x="596" y="673"/>
                    </a:lnTo>
                    <a:lnTo>
                      <a:pt x="587" y="668"/>
                    </a:lnTo>
                    <a:lnTo>
                      <a:pt x="573" y="655"/>
                    </a:lnTo>
                    <a:lnTo>
                      <a:pt x="569" y="654"/>
                    </a:lnTo>
                    <a:lnTo>
                      <a:pt x="563" y="655"/>
                    </a:lnTo>
                    <a:lnTo>
                      <a:pt x="554" y="659"/>
                    </a:lnTo>
                    <a:lnTo>
                      <a:pt x="548" y="661"/>
                    </a:lnTo>
                    <a:lnTo>
                      <a:pt x="540" y="659"/>
                    </a:lnTo>
                    <a:lnTo>
                      <a:pt x="527" y="655"/>
                    </a:lnTo>
                    <a:lnTo>
                      <a:pt x="518" y="649"/>
                    </a:lnTo>
                    <a:lnTo>
                      <a:pt x="509" y="646"/>
                    </a:lnTo>
                    <a:lnTo>
                      <a:pt x="505" y="642"/>
                    </a:lnTo>
                    <a:lnTo>
                      <a:pt x="504" y="636"/>
                    </a:lnTo>
                    <a:lnTo>
                      <a:pt x="499" y="630"/>
                    </a:lnTo>
                    <a:lnTo>
                      <a:pt x="490" y="633"/>
                    </a:lnTo>
                    <a:lnTo>
                      <a:pt x="486" y="633"/>
                    </a:lnTo>
                    <a:lnTo>
                      <a:pt x="483" y="635"/>
                    </a:lnTo>
                    <a:lnTo>
                      <a:pt x="473" y="638"/>
                    </a:lnTo>
                    <a:lnTo>
                      <a:pt x="471" y="638"/>
                    </a:lnTo>
                    <a:lnTo>
                      <a:pt x="469" y="635"/>
                    </a:lnTo>
                    <a:lnTo>
                      <a:pt x="470" y="625"/>
                    </a:lnTo>
                    <a:lnTo>
                      <a:pt x="466" y="618"/>
                    </a:lnTo>
                    <a:lnTo>
                      <a:pt x="464" y="617"/>
                    </a:lnTo>
                    <a:lnTo>
                      <a:pt x="461" y="618"/>
                    </a:lnTo>
                    <a:lnTo>
                      <a:pt x="454" y="621"/>
                    </a:lnTo>
                    <a:lnTo>
                      <a:pt x="452" y="621"/>
                    </a:lnTo>
                    <a:lnTo>
                      <a:pt x="447" y="624"/>
                    </a:lnTo>
                    <a:lnTo>
                      <a:pt x="445" y="624"/>
                    </a:lnTo>
                    <a:lnTo>
                      <a:pt x="439" y="623"/>
                    </a:lnTo>
                    <a:lnTo>
                      <a:pt x="431" y="627"/>
                    </a:lnTo>
                    <a:lnTo>
                      <a:pt x="396" y="627"/>
                    </a:lnTo>
                    <a:lnTo>
                      <a:pt x="392" y="628"/>
                    </a:lnTo>
                    <a:lnTo>
                      <a:pt x="391" y="633"/>
                    </a:lnTo>
                    <a:lnTo>
                      <a:pt x="388" y="637"/>
                    </a:lnTo>
                    <a:lnTo>
                      <a:pt x="386" y="638"/>
                    </a:lnTo>
                    <a:lnTo>
                      <a:pt x="381" y="637"/>
                    </a:lnTo>
                    <a:lnTo>
                      <a:pt x="378" y="632"/>
                    </a:lnTo>
                    <a:lnTo>
                      <a:pt x="375" y="632"/>
                    </a:lnTo>
                    <a:lnTo>
                      <a:pt x="375" y="630"/>
                    </a:lnTo>
                    <a:lnTo>
                      <a:pt x="373" y="628"/>
                    </a:lnTo>
                    <a:lnTo>
                      <a:pt x="373" y="627"/>
                    </a:lnTo>
                    <a:lnTo>
                      <a:pt x="381" y="618"/>
                    </a:lnTo>
                    <a:lnTo>
                      <a:pt x="384" y="614"/>
                    </a:lnTo>
                    <a:lnTo>
                      <a:pt x="385" y="610"/>
                    </a:lnTo>
                    <a:lnTo>
                      <a:pt x="381" y="598"/>
                    </a:lnTo>
                    <a:lnTo>
                      <a:pt x="376" y="583"/>
                    </a:lnTo>
                    <a:lnTo>
                      <a:pt x="370" y="573"/>
                    </a:lnTo>
                    <a:lnTo>
                      <a:pt x="368" y="567"/>
                    </a:lnTo>
                    <a:lnTo>
                      <a:pt x="369" y="558"/>
                    </a:lnTo>
                    <a:lnTo>
                      <a:pt x="370" y="549"/>
                    </a:lnTo>
                    <a:lnTo>
                      <a:pt x="370" y="546"/>
                    </a:lnTo>
                    <a:lnTo>
                      <a:pt x="369" y="534"/>
                    </a:lnTo>
                    <a:lnTo>
                      <a:pt x="369" y="523"/>
                    </a:lnTo>
                    <a:lnTo>
                      <a:pt x="368" y="515"/>
                    </a:lnTo>
                    <a:lnTo>
                      <a:pt x="365" y="491"/>
                    </a:lnTo>
                    <a:lnTo>
                      <a:pt x="363" y="486"/>
                    </a:lnTo>
                    <a:lnTo>
                      <a:pt x="362" y="484"/>
                    </a:lnTo>
                    <a:lnTo>
                      <a:pt x="327" y="482"/>
                    </a:lnTo>
                    <a:lnTo>
                      <a:pt x="328" y="467"/>
                    </a:lnTo>
                    <a:lnTo>
                      <a:pt x="311" y="467"/>
                    </a:lnTo>
                    <a:lnTo>
                      <a:pt x="311" y="471"/>
                    </a:lnTo>
                    <a:lnTo>
                      <a:pt x="280" y="471"/>
                    </a:lnTo>
                    <a:lnTo>
                      <a:pt x="279" y="477"/>
                    </a:lnTo>
                    <a:lnTo>
                      <a:pt x="279" y="485"/>
                    </a:lnTo>
                    <a:lnTo>
                      <a:pt x="277" y="490"/>
                    </a:lnTo>
                    <a:lnTo>
                      <a:pt x="276" y="491"/>
                    </a:lnTo>
                    <a:lnTo>
                      <a:pt x="274" y="494"/>
                    </a:lnTo>
                    <a:lnTo>
                      <a:pt x="274" y="500"/>
                    </a:lnTo>
                    <a:lnTo>
                      <a:pt x="271" y="510"/>
                    </a:lnTo>
                    <a:lnTo>
                      <a:pt x="258" y="510"/>
                    </a:lnTo>
                    <a:lnTo>
                      <a:pt x="245" y="508"/>
                    </a:lnTo>
                    <a:lnTo>
                      <a:pt x="236" y="512"/>
                    </a:lnTo>
                    <a:lnTo>
                      <a:pt x="221" y="516"/>
                    </a:lnTo>
                    <a:lnTo>
                      <a:pt x="211" y="516"/>
                    </a:lnTo>
                    <a:lnTo>
                      <a:pt x="203" y="512"/>
                    </a:lnTo>
                    <a:lnTo>
                      <a:pt x="188" y="493"/>
                    </a:lnTo>
                    <a:lnTo>
                      <a:pt x="180" y="484"/>
                    </a:lnTo>
                    <a:lnTo>
                      <a:pt x="177" y="472"/>
                    </a:lnTo>
                    <a:lnTo>
                      <a:pt x="172" y="464"/>
                    </a:lnTo>
                    <a:lnTo>
                      <a:pt x="170" y="460"/>
                    </a:lnTo>
                    <a:lnTo>
                      <a:pt x="170" y="452"/>
                    </a:lnTo>
                    <a:lnTo>
                      <a:pt x="167" y="438"/>
                    </a:lnTo>
                    <a:lnTo>
                      <a:pt x="163" y="431"/>
                    </a:lnTo>
                    <a:lnTo>
                      <a:pt x="160" y="433"/>
                    </a:lnTo>
                    <a:lnTo>
                      <a:pt x="158" y="433"/>
                    </a:lnTo>
                    <a:lnTo>
                      <a:pt x="154" y="426"/>
                    </a:lnTo>
                    <a:lnTo>
                      <a:pt x="152" y="426"/>
                    </a:lnTo>
                    <a:lnTo>
                      <a:pt x="140" y="426"/>
                    </a:lnTo>
                    <a:lnTo>
                      <a:pt x="118" y="426"/>
                    </a:lnTo>
                    <a:lnTo>
                      <a:pt x="108" y="426"/>
                    </a:lnTo>
                    <a:lnTo>
                      <a:pt x="99" y="428"/>
                    </a:lnTo>
                    <a:lnTo>
                      <a:pt x="86" y="428"/>
                    </a:lnTo>
                    <a:lnTo>
                      <a:pt x="81" y="426"/>
                    </a:lnTo>
                    <a:lnTo>
                      <a:pt x="65" y="428"/>
                    </a:lnTo>
                    <a:lnTo>
                      <a:pt x="49" y="426"/>
                    </a:lnTo>
                    <a:lnTo>
                      <a:pt x="43" y="428"/>
                    </a:lnTo>
                    <a:lnTo>
                      <a:pt x="37" y="428"/>
                    </a:lnTo>
                    <a:lnTo>
                      <a:pt x="27" y="431"/>
                    </a:lnTo>
                    <a:lnTo>
                      <a:pt x="18" y="436"/>
                    </a:lnTo>
                    <a:lnTo>
                      <a:pt x="5" y="439"/>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82" name="Freeform 78"/>
              <p:cNvSpPr>
                <a:spLocks/>
              </p:cNvSpPr>
              <p:nvPr/>
            </p:nvSpPr>
            <p:spPr bwMode="auto">
              <a:xfrm>
                <a:off x="1878" y="2075"/>
                <a:ext cx="540" cy="332"/>
              </a:xfrm>
              <a:custGeom>
                <a:avLst/>
                <a:gdLst>
                  <a:gd name="T0" fmla="*/ 26508 w 505"/>
                  <a:gd name="T1" fmla="*/ 0 h 316"/>
                  <a:gd name="T2" fmla="*/ 29190 w 505"/>
                  <a:gd name="T3" fmla="*/ 943 h 316"/>
                  <a:gd name="T4" fmla="*/ 28883 w 505"/>
                  <a:gd name="T5" fmla="*/ 1859 h 316"/>
                  <a:gd name="T6" fmla="*/ 30308 w 505"/>
                  <a:gd name="T7" fmla="*/ 2342 h 316"/>
                  <a:gd name="T8" fmla="*/ 32181 w 505"/>
                  <a:gd name="T9" fmla="*/ 2727 h 316"/>
                  <a:gd name="T10" fmla="*/ 34594 w 505"/>
                  <a:gd name="T11" fmla="*/ 3000 h 316"/>
                  <a:gd name="T12" fmla="*/ 34657 w 505"/>
                  <a:gd name="T13" fmla="*/ 3480 h 316"/>
                  <a:gd name="T14" fmla="*/ 37471 w 505"/>
                  <a:gd name="T15" fmla="*/ 4085 h 316"/>
                  <a:gd name="T16" fmla="*/ 38592 w 505"/>
                  <a:gd name="T17" fmla="*/ 4576 h 316"/>
                  <a:gd name="T18" fmla="*/ 39619 w 505"/>
                  <a:gd name="T19" fmla="*/ 5051 h 316"/>
                  <a:gd name="T20" fmla="*/ 41799 w 505"/>
                  <a:gd name="T21" fmla="*/ 5703 h 316"/>
                  <a:gd name="T22" fmla="*/ 40068 w 505"/>
                  <a:gd name="T23" fmla="*/ 6026 h 316"/>
                  <a:gd name="T24" fmla="*/ 38162 w 505"/>
                  <a:gd name="T25" fmla="*/ 5772 h 316"/>
                  <a:gd name="T26" fmla="*/ 34657 w 505"/>
                  <a:gd name="T27" fmla="*/ 5858 h 316"/>
                  <a:gd name="T28" fmla="*/ 33416 w 505"/>
                  <a:gd name="T29" fmla="*/ 6086 h 316"/>
                  <a:gd name="T30" fmla="*/ 32845 w 505"/>
                  <a:gd name="T31" fmla="*/ 5965 h 316"/>
                  <a:gd name="T32" fmla="*/ 30308 w 505"/>
                  <a:gd name="T33" fmla="*/ 6155 h 316"/>
                  <a:gd name="T34" fmla="*/ 28160 w 505"/>
                  <a:gd name="T35" fmla="*/ 6244 h 316"/>
                  <a:gd name="T36" fmla="*/ 26222 w 505"/>
                  <a:gd name="T37" fmla="*/ 6652 h 316"/>
                  <a:gd name="T38" fmla="*/ 21447 w 505"/>
                  <a:gd name="T39" fmla="*/ 6614 h 316"/>
                  <a:gd name="T40" fmla="*/ 19746 w 505"/>
                  <a:gd name="T41" fmla="*/ 6538 h 316"/>
                  <a:gd name="T42" fmla="*/ 17970 w 505"/>
                  <a:gd name="T43" fmla="*/ 5894 h 316"/>
                  <a:gd name="T44" fmla="*/ 15507 w 505"/>
                  <a:gd name="T45" fmla="*/ 6026 h 316"/>
                  <a:gd name="T46" fmla="*/ 14401 w 505"/>
                  <a:gd name="T47" fmla="*/ 6525 h 316"/>
                  <a:gd name="T48" fmla="*/ 14146 w 505"/>
                  <a:gd name="T49" fmla="*/ 7276 h 316"/>
                  <a:gd name="T50" fmla="*/ 12179 w 505"/>
                  <a:gd name="T51" fmla="*/ 7567 h 316"/>
                  <a:gd name="T52" fmla="*/ 9143 w 505"/>
                  <a:gd name="T53" fmla="*/ 7323 h 316"/>
                  <a:gd name="T54" fmla="*/ 5679 w 505"/>
                  <a:gd name="T55" fmla="*/ 7950 h 316"/>
                  <a:gd name="T56" fmla="*/ 3323 w 505"/>
                  <a:gd name="T57" fmla="*/ 7879 h 316"/>
                  <a:gd name="T58" fmla="*/ 834 w 505"/>
                  <a:gd name="T59" fmla="*/ 6538 h 316"/>
                  <a:gd name="T60" fmla="*/ 3 w 505"/>
                  <a:gd name="T61" fmla="*/ 5627 h 316"/>
                  <a:gd name="T62" fmla="*/ 6 w 505"/>
                  <a:gd name="T63" fmla="*/ 4932 h 316"/>
                  <a:gd name="T64" fmla="*/ 2224 w 505"/>
                  <a:gd name="T65" fmla="*/ 4085 h 316"/>
                  <a:gd name="T66" fmla="*/ 3553 w 505"/>
                  <a:gd name="T67" fmla="*/ 3534 h 316"/>
                  <a:gd name="T68" fmla="*/ 4634 w 505"/>
                  <a:gd name="T69" fmla="*/ 3534 h 316"/>
                  <a:gd name="T70" fmla="*/ 6231 w 505"/>
                  <a:gd name="T71" fmla="*/ 3402 h 316"/>
                  <a:gd name="T72" fmla="*/ 6540 w 505"/>
                  <a:gd name="T73" fmla="*/ 3162 h 316"/>
                  <a:gd name="T74" fmla="*/ 7125 w 505"/>
                  <a:gd name="T75" fmla="*/ 3312 h 316"/>
                  <a:gd name="T76" fmla="*/ 7996 w 505"/>
                  <a:gd name="T77" fmla="*/ 3480 h 316"/>
                  <a:gd name="T78" fmla="*/ 9056 w 505"/>
                  <a:gd name="T79" fmla="*/ 3312 h 316"/>
                  <a:gd name="T80" fmla="*/ 10734 w 505"/>
                  <a:gd name="T81" fmla="*/ 3048 h 316"/>
                  <a:gd name="T82" fmla="*/ 12054 w 505"/>
                  <a:gd name="T83" fmla="*/ 3000 h 316"/>
                  <a:gd name="T84" fmla="*/ 13571 w 505"/>
                  <a:gd name="T85" fmla="*/ 2855 h 316"/>
                  <a:gd name="T86" fmla="*/ 14476 w 505"/>
                  <a:gd name="T87" fmla="*/ 2717 h 316"/>
                  <a:gd name="T88" fmla="*/ 14737 w 505"/>
                  <a:gd name="T89" fmla="*/ 2461 h 316"/>
                  <a:gd name="T90" fmla="*/ 14502 w 505"/>
                  <a:gd name="T91" fmla="*/ 2181 h 316"/>
                  <a:gd name="T92" fmla="*/ 15126 w 505"/>
                  <a:gd name="T93" fmla="*/ 2020 h 316"/>
                  <a:gd name="T94" fmla="*/ 17098 w 505"/>
                  <a:gd name="T95" fmla="*/ 1930 h 316"/>
                  <a:gd name="T96" fmla="*/ 18466 w 505"/>
                  <a:gd name="T97" fmla="*/ 1923 h 316"/>
                  <a:gd name="T98" fmla="*/ 19469 w 505"/>
                  <a:gd name="T99" fmla="*/ 1837 h 316"/>
                  <a:gd name="T100" fmla="*/ 20880 w 505"/>
                  <a:gd name="T101" fmla="*/ 1526 h 316"/>
                  <a:gd name="T102" fmla="*/ 22327 w 505"/>
                  <a:gd name="T103" fmla="*/ 991 h 316"/>
                  <a:gd name="T104" fmla="*/ 23182 w 505"/>
                  <a:gd name="T105" fmla="*/ 802 h 316"/>
                  <a:gd name="T106" fmla="*/ 23819 w 505"/>
                  <a:gd name="T107" fmla="*/ 299 h 316"/>
                  <a:gd name="T108" fmla="*/ 25470 w 505"/>
                  <a:gd name="T109" fmla="*/ 3 h 31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05"/>
                  <a:gd name="T166" fmla="*/ 0 h 316"/>
                  <a:gd name="T167" fmla="*/ 505 w 505"/>
                  <a:gd name="T168" fmla="*/ 316 h 31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05" h="316">
                    <a:moveTo>
                      <a:pt x="305" y="3"/>
                    </a:moveTo>
                    <a:lnTo>
                      <a:pt x="311" y="0"/>
                    </a:lnTo>
                    <a:lnTo>
                      <a:pt x="319" y="0"/>
                    </a:lnTo>
                    <a:lnTo>
                      <a:pt x="327" y="10"/>
                    </a:lnTo>
                    <a:lnTo>
                      <a:pt x="338" y="21"/>
                    </a:lnTo>
                    <a:lnTo>
                      <a:pt x="350" y="37"/>
                    </a:lnTo>
                    <a:lnTo>
                      <a:pt x="353" y="48"/>
                    </a:lnTo>
                    <a:lnTo>
                      <a:pt x="350" y="59"/>
                    </a:lnTo>
                    <a:lnTo>
                      <a:pt x="347" y="71"/>
                    </a:lnTo>
                    <a:lnTo>
                      <a:pt x="350" y="81"/>
                    </a:lnTo>
                    <a:lnTo>
                      <a:pt x="356" y="89"/>
                    </a:lnTo>
                    <a:lnTo>
                      <a:pt x="364" y="89"/>
                    </a:lnTo>
                    <a:lnTo>
                      <a:pt x="374" y="92"/>
                    </a:lnTo>
                    <a:lnTo>
                      <a:pt x="377" y="100"/>
                    </a:lnTo>
                    <a:lnTo>
                      <a:pt x="385" y="105"/>
                    </a:lnTo>
                    <a:lnTo>
                      <a:pt x="401" y="105"/>
                    </a:lnTo>
                    <a:lnTo>
                      <a:pt x="407" y="109"/>
                    </a:lnTo>
                    <a:lnTo>
                      <a:pt x="414" y="115"/>
                    </a:lnTo>
                    <a:lnTo>
                      <a:pt x="415" y="118"/>
                    </a:lnTo>
                    <a:lnTo>
                      <a:pt x="414" y="125"/>
                    </a:lnTo>
                    <a:lnTo>
                      <a:pt x="417" y="133"/>
                    </a:lnTo>
                    <a:lnTo>
                      <a:pt x="430" y="141"/>
                    </a:lnTo>
                    <a:lnTo>
                      <a:pt x="443" y="150"/>
                    </a:lnTo>
                    <a:lnTo>
                      <a:pt x="449" y="157"/>
                    </a:lnTo>
                    <a:lnTo>
                      <a:pt x="457" y="162"/>
                    </a:lnTo>
                    <a:lnTo>
                      <a:pt x="461" y="168"/>
                    </a:lnTo>
                    <a:lnTo>
                      <a:pt x="463" y="175"/>
                    </a:lnTo>
                    <a:lnTo>
                      <a:pt x="468" y="182"/>
                    </a:lnTo>
                    <a:lnTo>
                      <a:pt x="468" y="189"/>
                    </a:lnTo>
                    <a:lnTo>
                      <a:pt x="475" y="193"/>
                    </a:lnTo>
                    <a:lnTo>
                      <a:pt x="496" y="206"/>
                    </a:lnTo>
                    <a:lnTo>
                      <a:pt x="501" y="213"/>
                    </a:lnTo>
                    <a:lnTo>
                      <a:pt x="501" y="219"/>
                    </a:lnTo>
                    <a:lnTo>
                      <a:pt x="505" y="225"/>
                    </a:lnTo>
                    <a:lnTo>
                      <a:pt x="486" y="225"/>
                    </a:lnTo>
                    <a:lnTo>
                      <a:pt x="480" y="232"/>
                    </a:lnTo>
                    <a:lnTo>
                      <a:pt x="472" y="227"/>
                    </a:lnTo>
                    <a:lnTo>
                      <a:pt x="468" y="232"/>
                    </a:lnTo>
                    <a:lnTo>
                      <a:pt x="458" y="222"/>
                    </a:lnTo>
                    <a:lnTo>
                      <a:pt x="446" y="225"/>
                    </a:lnTo>
                    <a:lnTo>
                      <a:pt x="430" y="227"/>
                    </a:lnTo>
                    <a:lnTo>
                      <a:pt x="417" y="224"/>
                    </a:lnTo>
                    <a:lnTo>
                      <a:pt x="415" y="232"/>
                    </a:lnTo>
                    <a:lnTo>
                      <a:pt x="405" y="232"/>
                    </a:lnTo>
                    <a:lnTo>
                      <a:pt x="401" y="234"/>
                    </a:lnTo>
                    <a:lnTo>
                      <a:pt x="395" y="232"/>
                    </a:lnTo>
                    <a:lnTo>
                      <a:pt x="397" y="232"/>
                    </a:lnTo>
                    <a:lnTo>
                      <a:pt x="395" y="229"/>
                    </a:lnTo>
                    <a:lnTo>
                      <a:pt x="391" y="229"/>
                    </a:lnTo>
                    <a:lnTo>
                      <a:pt x="382" y="232"/>
                    </a:lnTo>
                    <a:lnTo>
                      <a:pt x="364" y="235"/>
                    </a:lnTo>
                    <a:lnTo>
                      <a:pt x="357" y="240"/>
                    </a:lnTo>
                    <a:lnTo>
                      <a:pt x="345" y="245"/>
                    </a:lnTo>
                    <a:lnTo>
                      <a:pt x="338" y="240"/>
                    </a:lnTo>
                    <a:lnTo>
                      <a:pt x="326" y="237"/>
                    </a:lnTo>
                    <a:lnTo>
                      <a:pt x="316" y="245"/>
                    </a:lnTo>
                    <a:lnTo>
                      <a:pt x="314" y="256"/>
                    </a:lnTo>
                    <a:lnTo>
                      <a:pt x="308" y="258"/>
                    </a:lnTo>
                    <a:lnTo>
                      <a:pt x="273" y="258"/>
                    </a:lnTo>
                    <a:lnTo>
                      <a:pt x="257" y="254"/>
                    </a:lnTo>
                    <a:lnTo>
                      <a:pt x="248" y="248"/>
                    </a:lnTo>
                    <a:lnTo>
                      <a:pt x="242" y="252"/>
                    </a:lnTo>
                    <a:lnTo>
                      <a:pt x="237" y="251"/>
                    </a:lnTo>
                    <a:lnTo>
                      <a:pt x="222" y="239"/>
                    </a:lnTo>
                    <a:lnTo>
                      <a:pt x="220" y="232"/>
                    </a:lnTo>
                    <a:lnTo>
                      <a:pt x="216" y="226"/>
                    </a:lnTo>
                    <a:lnTo>
                      <a:pt x="204" y="225"/>
                    </a:lnTo>
                    <a:lnTo>
                      <a:pt x="195" y="225"/>
                    </a:lnTo>
                    <a:lnTo>
                      <a:pt x="185" y="232"/>
                    </a:lnTo>
                    <a:lnTo>
                      <a:pt x="180" y="237"/>
                    </a:lnTo>
                    <a:lnTo>
                      <a:pt x="177" y="248"/>
                    </a:lnTo>
                    <a:lnTo>
                      <a:pt x="171" y="250"/>
                    </a:lnTo>
                    <a:lnTo>
                      <a:pt x="168" y="261"/>
                    </a:lnTo>
                    <a:lnTo>
                      <a:pt x="167" y="275"/>
                    </a:lnTo>
                    <a:lnTo>
                      <a:pt x="170" y="280"/>
                    </a:lnTo>
                    <a:lnTo>
                      <a:pt x="161" y="282"/>
                    </a:lnTo>
                    <a:lnTo>
                      <a:pt x="157" y="286"/>
                    </a:lnTo>
                    <a:lnTo>
                      <a:pt x="146" y="290"/>
                    </a:lnTo>
                    <a:lnTo>
                      <a:pt x="134" y="292"/>
                    </a:lnTo>
                    <a:lnTo>
                      <a:pt x="123" y="289"/>
                    </a:lnTo>
                    <a:lnTo>
                      <a:pt x="110" y="282"/>
                    </a:lnTo>
                    <a:lnTo>
                      <a:pt x="98" y="285"/>
                    </a:lnTo>
                    <a:lnTo>
                      <a:pt x="81" y="293"/>
                    </a:lnTo>
                    <a:lnTo>
                      <a:pt x="68" y="305"/>
                    </a:lnTo>
                    <a:lnTo>
                      <a:pt x="62" y="314"/>
                    </a:lnTo>
                    <a:lnTo>
                      <a:pt x="58" y="316"/>
                    </a:lnTo>
                    <a:lnTo>
                      <a:pt x="40" y="302"/>
                    </a:lnTo>
                    <a:lnTo>
                      <a:pt x="33" y="292"/>
                    </a:lnTo>
                    <a:lnTo>
                      <a:pt x="15" y="260"/>
                    </a:lnTo>
                    <a:lnTo>
                      <a:pt x="10" y="251"/>
                    </a:lnTo>
                    <a:lnTo>
                      <a:pt x="3" y="239"/>
                    </a:lnTo>
                    <a:lnTo>
                      <a:pt x="1" y="227"/>
                    </a:lnTo>
                    <a:lnTo>
                      <a:pt x="3" y="216"/>
                    </a:lnTo>
                    <a:lnTo>
                      <a:pt x="0" y="206"/>
                    </a:lnTo>
                    <a:lnTo>
                      <a:pt x="0" y="197"/>
                    </a:lnTo>
                    <a:lnTo>
                      <a:pt x="6" y="189"/>
                    </a:lnTo>
                    <a:lnTo>
                      <a:pt x="14" y="178"/>
                    </a:lnTo>
                    <a:lnTo>
                      <a:pt x="20" y="167"/>
                    </a:lnTo>
                    <a:lnTo>
                      <a:pt x="27" y="157"/>
                    </a:lnTo>
                    <a:lnTo>
                      <a:pt x="33" y="138"/>
                    </a:lnTo>
                    <a:lnTo>
                      <a:pt x="37" y="136"/>
                    </a:lnTo>
                    <a:lnTo>
                      <a:pt x="43" y="136"/>
                    </a:lnTo>
                    <a:lnTo>
                      <a:pt x="48" y="135"/>
                    </a:lnTo>
                    <a:lnTo>
                      <a:pt x="51" y="135"/>
                    </a:lnTo>
                    <a:lnTo>
                      <a:pt x="55" y="136"/>
                    </a:lnTo>
                    <a:lnTo>
                      <a:pt x="59" y="136"/>
                    </a:lnTo>
                    <a:lnTo>
                      <a:pt x="65" y="131"/>
                    </a:lnTo>
                    <a:lnTo>
                      <a:pt x="75" y="130"/>
                    </a:lnTo>
                    <a:lnTo>
                      <a:pt x="76" y="124"/>
                    </a:lnTo>
                    <a:lnTo>
                      <a:pt x="78" y="124"/>
                    </a:lnTo>
                    <a:lnTo>
                      <a:pt x="79" y="122"/>
                    </a:lnTo>
                    <a:lnTo>
                      <a:pt x="82" y="122"/>
                    </a:lnTo>
                    <a:lnTo>
                      <a:pt x="84" y="122"/>
                    </a:lnTo>
                    <a:lnTo>
                      <a:pt x="86" y="127"/>
                    </a:lnTo>
                    <a:lnTo>
                      <a:pt x="88" y="128"/>
                    </a:lnTo>
                    <a:lnTo>
                      <a:pt x="94" y="134"/>
                    </a:lnTo>
                    <a:lnTo>
                      <a:pt x="96" y="133"/>
                    </a:lnTo>
                    <a:lnTo>
                      <a:pt x="98" y="130"/>
                    </a:lnTo>
                    <a:lnTo>
                      <a:pt x="103" y="128"/>
                    </a:lnTo>
                    <a:lnTo>
                      <a:pt x="108" y="127"/>
                    </a:lnTo>
                    <a:lnTo>
                      <a:pt x="110" y="125"/>
                    </a:lnTo>
                    <a:lnTo>
                      <a:pt x="114" y="122"/>
                    </a:lnTo>
                    <a:lnTo>
                      <a:pt x="129" y="117"/>
                    </a:lnTo>
                    <a:lnTo>
                      <a:pt x="133" y="117"/>
                    </a:lnTo>
                    <a:lnTo>
                      <a:pt x="139" y="117"/>
                    </a:lnTo>
                    <a:lnTo>
                      <a:pt x="145" y="115"/>
                    </a:lnTo>
                    <a:lnTo>
                      <a:pt x="162" y="115"/>
                    </a:lnTo>
                    <a:lnTo>
                      <a:pt x="163" y="114"/>
                    </a:lnTo>
                    <a:lnTo>
                      <a:pt x="164" y="109"/>
                    </a:lnTo>
                    <a:lnTo>
                      <a:pt x="165" y="107"/>
                    </a:lnTo>
                    <a:lnTo>
                      <a:pt x="168" y="107"/>
                    </a:lnTo>
                    <a:lnTo>
                      <a:pt x="172" y="104"/>
                    </a:lnTo>
                    <a:lnTo>
                      <a:pt x="174" y="99"/>
                    </a:lnTo>
                    <a:lnTo>
                      <a:pt x="178" y="96"/>
                    </a:lnTo>
                    <a:lnTo>
                      <a:pt x="178" y="94"/>
                    </a:lnTo>
                    <a:lnTo>
                      <a:pt x="177" y="89"/>
                    </a:lnTo>
                    <a:lnTo>
                      <a:pt x="173" y="86"/>
                    </a:lnTo>
                    <a:lnTo>
                      <a:pt x="173" y="84"/>
                    </a:lnTo>
                    <a:lnTo>
                      <a:pt x="174" y="80"/>
                    </a:lnTo>
                    <a:lnTo>
                      <a:pt x="175" y="80"/>
                    </a:lnTo>
                    <a:lnTo>
                      <a:pt x="182" y="77"/>
                    </a:lnTo>
                    <a:lnTo>
                      <a:pt x="190" y="76"/>
                    </a:lnTo>
                    <a:lnTo>
                      <a:pt x="204" y="76"/>
                    </a:lnTo>
                    <a:lnTo>
                      <a:pt x="206" y="74"/>
                    </a:lnTo>
                    <a:lnTo>
                      <a:pt x="213" y="74"/>
                    </a:lnTo>
                    <a:lnTo>
                      <a:pt x="218" y="73"/>
                    </a:lnTo>
                    <a:lnTo>
                      <a:pt x="222" y="73"/>
                    </a:lnTo>
                    <a:lnTo>
                      <a:pt x="226" y="73"/>
                    </a:lnTo>
                    <a:lnTo>
                      <a:pt x="232" y="71"/>
                    </a:lnTo>
                    <a:lnTo>
                      <a:pt x="233" y="70"/>
                    </a:lnTo>
                    <a:lnTo>
                      <a:pt x="237" y="64"/>
                    </a:lnTo>
                    <a:lnTo>
                      <a:pt x="242" y="63"/>
                    </a:lnTo>
                    <a:lnTo>
                      <a:pt x="250" y="59"/>
                    </a:lnTo>
                    <a:lnTo>
                      <a:pt x="253" y="58"/>
                    </a:lnTo>
                    <a:lnTo>
                      <a:pt x="256" y="49"/>
                    </a:lnTo>
                    <a:lnTo>
                      <a:pt x="267" y="39"/>
                    </a:lnTo>
                    <a:lnTo>
                      <a:pt x="269" y="38"/>
                    </a:lnTo>
                    <a:lnTo>
                      <a:pt x="273" y="36"/>
                    </a:lnTo>
                    <a:lnTo>
                      <a:pt x="278" y="30"/>
                    </a:lnTo>
                    <a:lnTo>
                      <a:pt x="282" y="28"/>
                    </a:lnTo>
                    <a:lnTo>
                      <a:pt x="282" y="18"/>
                    </a:lnTo>
                    <a:lnTo>
                      <a:pt x="285" y="10"/>
                    </a:lnTo>
                    <a:lnTo>
                      <a:pt x="290" y="5"/>
                    </a:lnTo>
                    <a:lnTo>
                      <a:pt x="295" y="4"/>
                    </a:lnTo>
                    <a:lnTo>
                      <a:pt x="305"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 name="Freeform 79"/>
              <p:cNvSpPr>
                <a:spLocks/>
              </p:cNvSpPr>
              <p:nvPr/>
            </p:nvSpPr>
            <p:spPr bwMode="auto">
              <a:xfrm>
                <a:off x="1878" y="2075"/>
                <a:ext cx="540" cy="332"/>
              </a:xfrm>
              <a:custGeom>
                <a:avLst/>
                <a:gdLst>
                  <a:gd name="T0" fmla="*/ 26508 w 505"/>
                  <a:gd name="T1" fmla="*/ 0 h 316"/>
                  <a:gd name="T2" fmla="*/ 29190 w 505"/>
                  <a:gd name="T3" fmla="*/ 943 h 316"/>
                  <a:gd name="T4" fmla="*/ 28883 w 505"/>
                  <a:gd name="T5" fmla="*/ 1859 h 316"/>
                  <a:gd name="T6" fmla="*/ 30308 w 505"/>
                  <a:gd name="T7" fmla="*/ 2342 h 316"/>
                  <a:gd name="T8" fmla="*/ 32181 w 505"/>
                  <a:gd name="T9" fmla="*/ 2727 h 316"/>
                  <a:gd name="T10" fmla="*/ 34594 w 505"/>
                  <a:gd name="T11" fmla="*/ 3000 h 316"/>
                  <a:gd name="T12" fmla="*/ 34657 w 505"/>
                  <a:gd name="T13" fmla="*/ 3480 h 316"/>
                  <a:gd name="T14" fmla="*/ 37471 w 505"/>
                  <a:gd name="T15" fmla="*/ 4085 h 316"/>
                  <a:gd name="T16" fmla="*/ 38592 w 505"/>
                  <a:gd name="T17" fmla="*/ 4576 h 316"/>
                  <a:gd name="T18" fmla="*/ 39619 w 505"/>
                  <a:gd name="T19" fmla="*/ 5051 h 316"/>
                  <a:gd name="T20" fmla="*/ 41799 w 505"/>
                  <a:gd name="T21" fmla="*/ 5703 h 316"/>
                  <a:gd name="T22" fmla="*/ 40068 w 505"/>
                  <a:gd name="T23" fmla="*/ 6026 h 316"/>
                  <a:gd name="T24" fmla="*/ 38162 w 505"/>
                  <a:gd name="T25" fmla="*/ 5772 h 316"/>
                  <a:gd name="T26" fmla="*/ 34657 w 505"/>
                  <a:gd name="T27" fmla="*/ 5858 h 316"/>
                  <a:gd name="T28" fmla="*/ 33416 w 505"/>
                  <a:gd name="T29" fmla="*/ 6086 h 316"/>
                  <a:gd name="T30" fmla="*/ 32845 w 505"/>
                  <a:gd name="T31" fmla="*/ 5965 h 316"/>
                  <a:gd name="T32" fmla="*/ 30308 w 505"/>
                  <a:gd name="T33" fmla="*/ 6155 h 316"/>
                  <a:gd name="T34" fmla="*/ 28160 w 505"/>
                  <a:gd name="T35" fmla="*/ 6244 h 316"/>
                  <a:gd name="T36" fmla="*/ 26222 w 505"/>
                  <a:gd name="T37" fmla="*/ 6652 h 316"/>
                  <a:gd name="T38" fmla="*/ 21447 w 505"/>
                  <a:gd name="T39" fmla="*/ 6614 h 316"/>
                  <a:gd name="T40" fmla="*/ 19746 w 505"/>
                  <a:gd name="T41" fmla="*/ 6538 h 316"/>
                  <a:gd name="T42" fmla="*/ 17970 w 505"/>
                  <a:gd name="T43" fmla="*/ 5894 h 316"/>
                  <a:gd name="T44" fmla="*/ 15507 w 505"/>
                  <a:gd name="T45" fmla="*/ 6026 h 316"/>
                  <a:gd name="T46" fmla="*/ 14401 w 505"/>
                  <a:gd name="T47" fmla="*/ 6525 h 316"/>
                  <a:gd name="T48" fmla="*/ 14146 w 505"/>
                  <a:gd name="T49" fmla="*/ 7276 h 316"/>
                  <a:gd name="T50" fmla="*/ 12179 w 505"/>
                  <a:gd name="T51" fmla="*/ 7567 h 316"/>
                  <a:gd name="T52" fmla="*/ 9143 w 505"/>
                  <a:gd name="T53" fmla="*/ 7323 h 316"/>
                  <a:gd name="T54" fmla="*/ 5679 w 505"/>
                  <a:gd name="T55" fmla="*/ 7950 h 316"/>
                  <a:gd name="T56" fmla="*/ 3323 w 505"/>
                  <a:gd name="T57" fmla="*/ 7879 h 316"/>
                  <a:gd name="T58" fmla="*/ 834 w 505"/>
                  <a:gd name="T59" fmla="*/ 6538 h 316"/>
                  <a:gd name="T60" fmla="*/ 3 w 505"/>
                  <a:gd name="T61" fmla="*/ 5627 h 316"/>
                  <a:gd name="T62" fmla="*/ 6 w 505"/>
                  <a:gd name="T63" fmla="*/ 4932 h 316"/>
                  <a:gd name="T64" fmla="*/ 2224 w 505"/>
                  <a:gd name="T65" fmla="*/ 4085 h 316"/>
                  <a:gd name="T66" fmla="*/ 3553 w 505"/>
                  <a:gd name="T67" fmla="*/ 3534 h 316"/>
                  <a:gd name="T68" fmla="*/ 4634 w 505"/>
                  <a:gd name="T69" fmla="*/ 3534 h 316"/>
                  <a:gd name="T70" fmla="*/ 6231 w 505"/>
                  <a:gd name="T71" fmla="*/ 3402 h 316"/>
                  <a:gd name="T72" fmla="*/ 6540 w 505"/>
                  <a:gd name="T73" fmla="*/ 3162 h 316"/>
                  <a:gd name="T74" fmla="*/ 7125 w 505"/>
                  <a:gd name="T75" fmla="*/ 3312 h 316"/>
                  <a:gd name="T76" fmla="*/ 7996 w 505"/>
                  <a:gd name="T77" fmla="*/ 3480 h 316"/>
                  <a:gd name="T78" fmla="*/ 9056 w 505"/>
                  <a:gd name="T79" fmla="*/ 3312 h 316"/>
                  <a:gd name="T80" fmla="*/ 10734 w 505"/>
                  <a:gd name="T81" fmla="*/ 3048 h 316"/>
                  <a:gd name="T82" fmla="*/ 12054 w 505"/>
                  <a:gd name="T83" fmla="*/ 3000 h 316"/>
                  <a:gd name="T84" fmla="*/ 13571 w 505"/>
                  <a:gd name="T85" fmla="*/ 2855 h 316"/>
                  <a:gd name="T86" fmla="*/ 14476 w 505"/>
                  <a:gd name="T87" fmla="*/ 2717 h 316"/>
                  <a:gd name="T88" fmla="*/ 14737 w 505"/>
                  <a:gd name="T89" fmla="*/ 2461 h 316"/>
                  <a:gd name="T90" fmla="*/ 14502 w 505"/>
                  <a:gd name="T91" fmla="*/ 2181 h 316"/>
                  <a:gd name="T92" fmla="*/ 15126 w 505"/>
                  <a:gd name="T93" fmla="*/ 2020 h 316"/>
                  <a:gd name="T94" fmla="*/ 17098 w 505"/>
                  <a:gd name="T95" fmla="*/ 1930 h 316"/>
                  <a:gd name="T96" fmla="*/ 18466 w 505"/>
                  <a:gd name="T97" fmla="*/ 1923 h 316"/>
                  <a:gd name="T98" fmla="*/ 19469 w 505"/>
                  <a:gd name="T99" fmla="*/ 1837 h 316"/>
                  <a:gd name="T100" fmla="*/ 20880 w 505"/>
                  <a:gd name="T101" fmla="*/ 1526 h 316"/>
                  <a:gd name="T102" fmla="*/ 22327 w 505"/>
                  <a:gd name="T103" fmla="*/ 991 h 316"/>
                  <a:gd name="T104" fmla="*/ 23182 w 505"/>
                  <a:gd name="T105" fmla="*/ 802 h 316"/>
                  <a:gd name="T106" fmla="*/ 23819 w 505"/>
                  <a:gd name="T107" fmla="*/ 299 h 316"/>
                  <a:gd name="T108" fmla="*/ 25470 w 505"/>
                  <a:gd name="T109" fmla="*/ 3 h 31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05"/>
                  <a:gd name="T166" fmla="*/ 0 h 316"/>
                  <a:gd name="T167" fmla="*/ 505 w 505"/>
                  <a:gd name="T168" fmla="*/ 316 h 31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05" h="316">
                    <a:moveTo>
                      <a:pt x="305" y="3"/>
                    </a:moveTo>
                    <a:lnTo>
                      <a:pt x="311" y="0"/>
                    </a:lnTo>
                    <a:lnTo>
                      <a:pt x="319" y="0"/>
                    </a:lnTo>
                    <a:lnTo>
                      <a:pt x="327" y="10"/>
                    </a:lnTo>
                    <a:lnTo>
                      <a:pt x="338" y="21"/>
                    </a:lnTo>
                    <a:lnTo>
                      <a:pt x="350" y="37"/>
                    </a:lnTo>
                    <a:lnTo>
                      <a:pt x="353" y="48"/>
                    </a:lnTo>
                    <a:lnTo>
                      <a:pt x="350" y="59"/>
                    </a:lnTo>
                    <a:lnTo>
                      <a:pt x="347" y="71"/>
                    </a:lnTo>
                    <a:lnTo>
                      <a:pt x="350" y="81"/>
                    </a:lnTo>
                    <a:lnTo>
                      <a:pt x="356" y="89"/>
                    </a:lnTo>
                    <a:lnTo>
                      <a:pt x="364" y="89"/>
                    </a:lnTo>
                    <a:lnTo>
                      <a:pt x="374" y="92"/>
                    </a:lnTo>
                    <a:lnTo>
                      <a:pt x="377" y="100"/>
                    </a:lnTo>
                    <a:lnTo>
                      <a:pt x="385" y="105"/>
                    </a:lnTo>
                    <a:lnTo>
                      <a:pt x="401" y="105"/>
                    </a:lnTo>
                    <a:lnTo>
                      <a:pt x="407" y="109"/>
                    </a:lnTo>
                    <a:lnTo>
                      <a:pt x="414" y="115"/>
                    </a:lnTo>
                    <a:lnTo>
                      <a:pt x="415" y="118"/>
                    </a:lnTo>
                    <a:lnTo>
                      <a:pt x="414" y="125"/>
                    </a:lnTo>
                    <a:lnTo>
                      <a:pt x="417" y="133"/>
                    </a:lnTo>
                    <a:lnTo>
                      <a:pt x="430" y="141"/>
                    </a:lnTo>
                    <a:lnTo>
                      <a:pt x="443" y="150"/>
                    </a:lnTo>
                    <a:lnTo>
                      <a:pt x="449" y="157"/>
                    </a:lnTo>
                    <a:lnTo>
                      <a:pt x="457" y="162"/>
                    </a:lnTo>
                    <a:lnTo>
                      <a:pt x="461" y="168"/>
                    </a:lnTo>
                    <a:lnTo>
                      <a:pt x="463" y="175"/>
                    </a:lnTo>
                    <a:lnTo>
                      <a:pt x="468" y="182"/>
                    </a:lnTo>
                    <a:lnTo>
                      <a:pt x="468" y="189"/>
                    </a:lnTo>
                    <a:lnTo>
                      <a:pt x="475" y="193"/>
                    </a:lnTo>
                    <a:lnTo>
                      <a:pt x="496" y="206"/>
                    </a:lnTo>
                    <a:lnTo>
                      <a:pt x="501" y="213"/>
                    </a:lnTo>
                    <a:lnTo>
                      <a:pt x="501" y="219"/>
                    </a:lnTo>
                    <a:lnTo>
                      <a:pt x="505" y="225"/>
                    </a:lnTo>
                    <a:lnTo>
                      <a:pt x="486" y="225"/>
                    </a:lnTo>
                    <a:lnTo>
                      <a:pt x="480" y="232"/>
                    </a:lnTo>
                    <a:lnTo>
                      <a:pt x="472" y="227"/>
                    </a:lnTo>
                    <a:lnTo>
                      <a:pt x="468" y="232"/>
                    </a:lnTo>
                    <a:lnTo>
                      <a:pt x="458" y="222"/>
                    </a:lnTo>
                    <a:lnTo>
                      <a:pt x="446" y="225"/>
                    </a:lnTo>
                    <a:lnTo>
                      <a:pt x="430" y="227"/>
                    </a:lnTo>
                    <a:lnTo>
                      <a:pt x="417" y="224"/>
                    </a:lnTo>
                    <a:lnTo>
                      <a:pt x="415" y="232"/>
                    </a:lnTo>
                    <a:lnTo>
                      <a:pt x="405" y="232"/>
                    </a:lnTo>
                    <a:lnTo>
                      <a:pt x="401" y="234"/>
                    </a:lnTo>
                    <a:lnTo>
                      <a:pt x="395" y="232"/>
                    </a:lnTo>
                    <a:lnTo>
                      <a:pt x="397" y="232"/>
                    </a:lnTo>
                    <a:lnTo>
                      <a:pt x="395" y="229"/>
                    </a:lnTo>
                    <a:lnTo>
                      <a:pt x="391" y="229"/>
                    </a:lnTo>
                    <a:lnTo>
                      <a:pt x="382" y="232"/>
                    </a:lnTo>
                    <a:lnTo>
                      <a:pt x="364" y="235"/>
                    </a:lnTo>
                    <a:lnTo>
                      <a:pt x="357" y="240"/>
                    </a:lnTo>
                    <a:lnTo>
                      <a:pt x="345" y="245"/>
                    </a:lnTo>
                    <a:lnTo>
                      <a:pt x="338" y="240"/>
                    </a:lnTo>
                    <a:lnTo>
                      <a:pt x="326" y="237"/>
                    </a:lnTo>
                    <a:lnTo>
                      <a:pt x="316" y="245"/>
                    </a:lnTo>
                    <a:lnTo>
                      <a:pt x="314" y="256"/>
                    </a:lnTo>
                    <a:lnTo>
                      <a:pt x="308" y="258"/>
                    </a:lnTo>
                    <a:lnTo>
                      <a:pt x="273" y="258"/>
                    </a:lnTo>
                    <a:lnTo>
                      <a:pt x="257" y="254"/>
                    </a:lnTo>
                    <a:lnTo>
                      <a:pt x="248" y="248"/>
                    </a:lnTo>
                    <a:lnTo>
                      <a:pt x="242" y="252"/>
                    </a:lnTo>
                    <a:lnTo>
                      <a:pt x="237" y="251"/>
                    </a:lnTo>
                    <a:lnTo>
                      <a:pt x="222" y="239"/>
                    </a:lnTo>
                    <a:lnTo>
                      <a:pt x="220" y="232"/>
                    </a:lnTo>
                    <a:lnTo>
                      <a:pt x="216" y="226"/>
                    </a:lnTo>
                    <a:lnTo>
                      <a:pt x="204" y="225"/>
                    </a:lnTo>
                    <a:lnTo>
                      <a:pt x="195" y="225"/>
                    </a:lnTo>
                    <a:lnTo>
                      <a:pt x="185" y="232"/>
                    </a:lnTo>
                    <a:lnTo>
                      <a:pt x="180" y="237"/>
                    </a:lnTo>
                    <a:lnTo>
                      <a:pt x="177" y="248"/>
                    </a:lnTo>
                    <a:lnTo>
                      <a:pt x="171" y="250"/>
                    </a:lnTo>
                    <a:lnTo>
                      <a:pt x="168" y="261"/>
                    </a:lnTo>
                    <a:lnTo>
                      <a:pt x="167" y="275"/>
                    </a:lnTo>
                    <a:lnTo>
                      <a:pt x="170" y="280"/>
                    </a:lnTo>
                    <a:lnTo>
                      <a:pt x="161" y="282"/>
                    </a:lnTo>
                    <a:lnTo>
                      <a:pt x="157" y="286"/>
                    </a:lnTo>
                    <a:lnTo>
                      <a:pt x="146" y="290"/>
                    </a:lnTo>
                    <a:lnTo>
                      <a:pt x="134" y="292"/>
                    </a:lnTo>
                    <a:lnTo>
                      <a:pt x="123" y="289"/>
                    </a:lnTo>
                    <a:lnTo>
                      <a:pt x="110" y="282"/>
                    </a:lnTo>
                    <a:lnTo>
                      <a:pt x="98" y="285"/>
                    </a:lnTo>
                    <a:lnTo>
                      <a:pt x="81" y="293"/>
                    </a:lnTo>
                    <a:lnTo>
                      <a:pt x="68" y="305"/>
                    </a:lnTo>
                    <a:lnTo>
                      <a:pt x="62" y="314"/>
                    </a:lnTo>
                    <a:lnTo>
                      <a:pt x="58" y="316"/>
                    </a:lnTo>
                    <a:lnTo>
                      <a:pt x="40" y="302"/>
                    </a:lnTo>
                    <a:lnTo>
                      <a:pt x="33" y="292"/>
                    </a:lnTo>
                    <a:lnTo>
                      <a:pt x="15" y="260"/>
                    </a:lnTo>
                    <a:lnTo>
                      <a:pt x="10" y="251"/>
                    </a:lnTo>
                    <a:lnTo>
                      <a:pt x="3" y="239"/>
                    </a:lnTo>
                    <a:lnTo>
                      <a:pt x="1" y="227"/>
                    </a:lnTo>
                    <a:lnTo>
                      <a:pt x="3" y="216"/>
                    </a:lnTo>
                    <a:lnTo>
                      <a:pt x="0" y="206"/>
                    </a:lnTo>
                    <a:lnTo>
                      <a:pt x="0" y="197"/>
                    </a:lnTo>
                    <a:lnTo>
                      <a:pt x="6" y="189"/>
                    </a:lnTo>
                    <a:lnTo>
                      <a:pt x="14" y="178"/>
                    </a:lnTo>
                    <a:lnTo>
                      <a:pt x="20" y="167"/>
                    </a:lnTo>
                    <a:lnTo>
                      <a:pt x="27" y="157"/>
                    </a:lnTo>
                    <a:lnTo>
                      <a:pt x="33" y="138"/>
                    </a:lnTo>
                    <a:lnTo>
                      <a:pt x="37" y="136"/>
                    </a:lnTo>
                    <a:lnTo>
                      <a:pt x="43" y="136"/>
                    </a:lnTo>
                    <a:lnTo>
                      <a:pt x="48" y="135"/>
                    </a:lnTo>
                    <a:lnTo>
                      <a:pt x="51" y="135"/>
                    </a:lnTo>
                    <a:lnTo>
                      <a:pt x="55" y="136"/>
                    </a:lnTo>
                    <a:lnTo>
                      <a:pt x="59" y="136"/>
                    </a:lnTo>
                    <a:lnTo>
                      <a:pt x="65" y="131"/>
                    </a:lnTo>
                    <a:lnTo>
                      <a:pt x="75" y="130"/>
                    </a:lnTo>
                    <a:lnTo>
                      <a:pt x="76" y="124"/>
                    </a:lnTo>
                    <a:lnTo>
                      <a:pt x="78" y="124"/>
                    </a:lnTo>
                    <a:lnTo>
                      <a:pt x="79" y="122"/>
                    </a:lnTo>
                    <a:lnTo>
                      <a:pt x="82" y="122"/>
                    </a:lnTo>
                    <a:lnTo>
                      <a:pt x="84" y="122"/>
                    </a:lnTo>
                    <a:lnTo>
                      <a:pt x="86" y="127"/>
                    </a:lnTo>
                    <a:lnTo>
                      <a:pt x="88" y="128"/>
                    </a:lnTo>
                    <a:lnTo>
                      <a:pt x="94" y="134"/>
                    </a:lnTo>
                    <a:lnTo>
                      <a:pt x="96" y="133"/>
                    </a:lnTo>
                    <a:lnTo>
                      <a:pt x="98" y="130"/>
                    </a:lnTo>
                    <a:lnTo>
                      <a:pt x="103" y="128"/>
                    </a:lnTo>
                    <a:lnTo>
                      <a:pt x="108" y="127"/>
                    </a:lnTo>
                    <a:lnTo>
                      <a:pt x="110" y="125"/>
                    </a:lnTo>
                    <a:lnTo>
                      <a:pt x="114" y="122"/>
                    </a:lnTo>
                    <a:lnTo>
                      <a:pt x="129" y="117"/>
                    </a:lnTo>
                    <a:lnTo>
                      <a:pt x="133" y="117"/>
                    </a:lnTo>
                    <a:lnTo>
                      <a:pt x="139" y="117"/>
                    </a:lnTo>
                    <a:lnTo>
                      <a:pt x="145" y="115"/>
                    </a:lnTo>
                    <a:lnTo>
                      <a:pt x="162" y="115"/>
                    </a:lnTo>
                    <a:lnTo>
                      <a:pt x="163" y="114"/>
                    </a:lnTo>
                    <a:lnTo>
                      <a:pt x="164" y="109"/>
                    </a:lnTo>
                    <a:lnTo>
                      <a:pt x="165" y="107"/>
                    </a:lnTo>
                    <a:lnTo>
                      <a:pt x="168" y="107"/>
                    </a:lnTo>
                    <a:lnTo>
                      <a:pt x="172" y="104"/>
                    </a:lnTo>
                    <a:lnTo>
                      <a:pt x="174" y="99"/>
                    </a:lnTo>
                    <a:lnTo>
                      <a:pt x="178" y="96"/>
                    </a:lnTo>
                    <a:lnTo>
                      <a:pt x="178" y="94"/>
                    </a:lnTo>
                    <a:lnTo>
                      <a:pt x="177" y="89"/>
                    </a:lnTo>
                    <a:lnTo>
                      <a:pt x="173" y="86"/>
                    </a:lnTo>
                    <a:lnTo>
                      <a:pt x="173" y="84"/>
                    </a:lnTo>
                    <a:lnTo>
                      <a:pt x="174" y="80"/>
                    </a:lnTo>
                    <a:lnTo>
                      <a:pt x="175" y="80"/>
                    </a:lnTo>
                    <a:lnTo>
                      <a:pt x="182" y="77"/>
                    </a:lnTo>
                    <a:lnTo>
                      <a:pt x="190" y="76"/>
                    </a:lnTo>
                    <a:lnTo>
                      <a:pt x="204" y="76"/>
                    </a:lnTo>
                    <a:lnTo>
                      <a:pt x="206" y="74"/>
                    </a:lnTo>
                    <a:lnTo>
                      <a:pt x="213" y="74"/>
                    </a:lnTo>
                    <a:lnTo>
                      <a:pt x="218" y="73"/>
                    </a:lnTo>
                    <a:lnTo>
                      <a:pt x="222" y="73"/>
                    </a:lnTo>
                    <a:lnTo>
                      <a:pt x="226" y="73"/>
                    </a:lnTo>
                    <a:lnTo>
                      <a:pt x="232" y="71"/>
                    </a:lnTo>
                    <a:lnTo>
                      <a:pt x="233" y="70"/>
                    </a:lnTo>
                    <a:lnTo>
                      <a:pt x="237" y="64"/>
                    </a:lnTo>
                    <a:lnTo>
                      <a:pt x="242" y="63"/>
                    </a:lnTo>
                    <a:lnTo>
                      <a:pt x="250" y="59"/>
                    </a:lnTo>
                    <a:lnTo>
                      <a:pt x="253" y="58"/>
                    </a:lnTo>
                    <a:lnTo>
                      <a:pt x="256" y="49"/>
                    </a:lnTo>
                    <a:lnTo>
                      <a:pt x="267" y="39"/>
                    </a:lnTo>
                    <a:lnTo>
                      <a:pt x="269" y="38"/>
                    </a:lnTo>
                    <a:lnTo>
                      <a:pt x="273" y="36"/>
                    </a:lnTo>
                    <a:lnTo>
                      <a:pt x="278" y="30"/>
                    </a:lnTo>
                    <a:lnTo>
                      <a:pt x="282" y="28"/>
                    </a:lnTo>
                    <a:lnTo>
                      <a:pt x="282" y="18"/>
                    </a:lnTo>
                    <a:lnTo>
                      <a:pt x="285" y="10"/>
                    </a:lnTo>
                    <a:lnTo>
                      <a:pt x="290" y="5"/>
                    </a:lnTo>
                    <a:lnTo>
                      <a:pt x="295" y="4"/>
                    </a:lnTo>
                    <a:lnTo>
                      <a:pt x="305" y="3"/>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84" name="Freeform 80"/>
              <p:cNvSpPr>
                <a:spLocks/>
              </p:cNvSpPr>
              <p:nvPr/>
            </p:nvSpPr>
            <p:spPr bwMode="auto">
              <a:xfrm>
                <a:off x="2980" y="2041"/>
                <a:ext cx="425" cy="548"/>
              </a:xfrm>
              <a:custGeom>
                <a:avLst/>
                <a:gdLst>
                  <a:gd name="T0" fmla="*/ 7705 w 397"/>
                  <a:gd name="T1" fmla="*/ 398 h 522"/>
                  <a:gd name="T2" fmla="*/ 8443 w 397"/>
                  <a:gd name="T3" fmla="*/ 617 h 522"/>
                  <a:gd name="T4" fmla="*/ 10431 w 397"/>
                  <a:gd name="T5" fmla="*/ 1279 h 522"/>
                  <a:gd name="T6" fmla="*/ 12148 w 397"/>
                  <a:gd name="T7" fmla="*/ 1410 h 522"/>
                  <a:gd name="T8" fmla="*/ 14545 w 397"/>
                  <a:gd name="T9" fmla="*/ 1235 h 522"/>
                  <a:gd name="T10" fmla="*/ 15955 w 397"/>
                  <a:gd name="T11" fmla="*/ 1067 h 522"/>
                  <a:gd name="T12" fmla="*/ 16442 w 397"/>
                  <a:gd name="T13" fmla="*/ 968 h 522"/>
                  <a:gd name="T14" fmla="*/ 17080 w 397"/>
                  <a:gd name="T15" fmla="*/ 1067 h 522"/>
                  <a:gd name="T16" fmla="*/ 18951 w 397"/>
                  <a:gd name="T17" fmla="*/ 1160 h 522"/>
                  <a:gd name="T18" fmla="*/ 20288 w 397"/>
                  <a:gd name="T19" fmla="*/ 955 h 522"/>
                  <a:gd name="T20" fmla="*/ 21719 w 397"/>
                  <a:gd name="T21" fmla="*/ 750 h 522"/>
                  <a:gd name="T22" fmla="*/ 23549 w 397"/>
                  <a:gd name="T23" fmla="*/ 796 h 522"/>
                  <a:gd name="T24" fmla="*/ 25210 w 397"/>
                  <a:gd name="T25" fmla="*/ 750 h 522"/>
                  <a:gd name="T26" fmla="*/ 27083 w 397"/>
                  <a:gd name="T27" fmla="*/ 588 h 522"/>
                  <a:gd name="T28" fmla="*/ 28951 w 397"/>
                  <a:gd name="T29" fmla="*/ 461 h 522"/>
                  <a:gd name="T30" fmla="*/ 30376 w 397"/>
                  <a:gd name="T31" fmla="*/ 398 h 522"/>
                  <a:gd name="T32" fmla="*/ 32503 w 397"/>
                  <a:gd name="T33" fmla="*/ 7 h 522"/>
                  <a:gd name="T34" fmla="*/ 34054 w 397"/>
                  <a:gd name="T35" fmla="*/ 0 h 522"/>
                  <a:gd name="T36" fmla="*/ 35300 w 397"/>
                  <a:gd name="T37" fmla="*/ 6 h 522"/>
                  <a:gd name="T38" fmla="*/ 34760 w 397"/>
                  <a:gd name="T39" fmla="*/ 418 h 522"/>
                  <a:gd name="T40" fmla="*/ 35277 w 397"/>
                  <a:gd name="T41" fmla="*/ 826 h 522"/>
                  <a:gd name="T42" fmla="*/ 34811 w 397"/>
                  <a:gd name="T43" fmla="*/ 1105 h 522"/>
                  <a:gd name="T44" fmla="*/ 34511 w 397"/>
                  <a:gd name="T45" fmla="*/ 1430 h 522"/>
                  <a:gd name="T46" fmla="*/ 34811 w 397"/>
                  <a:gd name="T47" fmla="*/ 1410 h 522"/>
                  <a:gd name="T48" fmla="*/ 35570 w 397"/>
                  <a:gd name="T49" fmla="*/ 1467 h 522"/>
                  <a:gd name="T50" fmla="*/ 35445 w 397"/>
                  <a:gd name="T51" fmla="*/ 1576 h 522"/>
                  <a:gd name="T52" fmla="*/ 34248 w 397"/>
                  <a:gd name="T53" fmla="*/ 1554 h 522"/>
                  <a:gd name="T54" fmla="*/ 33767 w 397"/>
                  <a:gd name="T55" fmla="*/ 2111 h 522"/>
                  <a:gd name="T56" fmla="*/ 33284 w 397"/>
                  <a:gd name="T57" fmla="*/ 2692 h 522"/>
                  <a:gd name="T58" fmla="*/ 32349 w 397"/>
                  <a:gd name="T59" fmla="*/ 3119 h 522"/>
                  <a:gd name="T60" fmla="*/ 31542 w 397"/>
                  <a:gd name="T61" fmla="*/ 3553 h 522"/>
                  <a:gd name="T62" fmla="*/ 30538 w 397"/>
                  <a:gd name="T63" fmla="*/ 3784 h 522"/>
                  <a:gd name="T64" fmla="*/ 29048 w 397"/>
                  <a:gd name="T65" fmla="*/ 4714 h 522"/>
                  <a:gd name="T66" fmla="*/ 27799 w 397"/>
                  <a:gd name="T67" fmla="*/ 5589 h 522"/>
                  <a:gd name="T68" fmla="*/ 26506 w 397"/>
                  <a:gd name="T69" fmla="*/ 6089 h 522"/>
                  <a:gd name="T70" fmla="*/ 25772 w 397"/>
                  <a:gd name="T71" fmla="*/ 6311 h 522"/>
                  <a:gd name="T72" fmla="*/ 24630 w 397"/>
                  <a:gd name="T73" fmla="*/ 6773 h 522"/>
                  <a:gd name="T74" fmla="*/ 23549 w 397"/>
                  <a:gd name="T75" fmla="*/ 7302 h 522"/>
                  <a:gd name="T76" fmla="*/ 21491 w 397"/>
                  <a:gd name="T77" fmla="*/ 7854 h 522"/>
                  <a:gd name="T78" fmla="*/ 19262 w 397"/>
                  <a:gd name="T79" fmla="*/ 8476 h 522"/>
                  <a:gd name="T80" fmla="*/ 18285 w 397"/>
                  <a:gd name="T81" fmla="*/ 8869 h 522"/>
                  <a:gd name="T82" fmla="*/ 15701 w 397"/>
                  <a:gd name="T83" fmla="*/ 9400 h 522"/>
                  <a:gd name="T84" fmla="*/ 14194 w 397"/>
                  <a:gd name="T85" fmla="*/ 9542 h 522"/>
                  <a:gd name="T86" fmla="*/ 8809 w 397"/>
                  <a:gd name="T87" fmla="*/ 10807 h 522"/>
                  <a:gd name="T88" fmla="*/ 6419 w 397"/>
                  <a:gd name="T89" fmla="*/ 11535 h 522"/>
                  <a:gd name="T90" fmla="*/ 5239 w 397"/>
                  <a:gd name="T91" fmla="*/ 11588 h 522"/>
                  <a:gd name="T92" fmla="*/ 5480 w 397"/>
                  <a:gd name="T93" fmla="*/ 11697 h 522"/>
                  <a:gd name="T94" fmla="*/ 4771 w 397"/>
                  <a:gd name="T95" fmla="*/ 12023 h 522"/>
                  <a:gd name="T96" fmla="*/ 2313 w 397"/>
                  <a:gd name="T97" fmla="*/ 12755 h 522"/>
                  <a:gd name="T98" fmla="*/ 1762 w 397"/>
                  <a:gd name="T99" fmla="*/ 12808 h 522"/>
                  <a:gd name="T100" fmla="*/ 0 w 397"/>
                  <a:gd name="T101" fmla="*/ 11412 h 522"/>
                  <a:gd name="T102" fmla="*/ 0 w 397"/>
                  <a:gd name="T103" fmla="*/ 8646 h 522"/>
                  <a:gd name="T104" fmla="*/ 2961 w 397"/>
                  <a:gd name="T105" fmla="*/ 7666 h 522"/>
                  <a:gd name="T106" fmla="*/ 4163 w 397"/>
                  <a:gd name="T107" fmla="*/ 7372 h 522"/>
                  <a:gd name="T108" fmla="*/ 7942 w 397"/>
                  <a:gd name="T109" fmla="*/ 6809 h 522"/>
                  <a:gd name="T110" fmla="*/ 13922 w 397"/>
                  <a:gd name="T111" fmla="*/ 6589 h 522"/>
                  <a:gd name="T112" fmla="*/ 24257 w 397"/>
                  <a:gd name="T113" fmla="*/ 3730 h 522"/>
                  <a:gd name="T114" fmla="*/ 15447 w 397"/>
                  <a:gd name="T115" fmla="*/ 3119 h 522"/>
                  <a:gd name="T116" fmla="*/ 8809 w 397"/>
                  <a:gd name="T117" fmla="*/ 2274 h 522"/>
                  <a:gd name="T118" fmla="*/ 7876 w 397"/>
                  <a:gd name="T119" fmla="*/ 1916 h 522"/>
                  <a:gd name="T120" fmla="*/ 6882 w 397"/>
                  <a:gd name="T121" fmla="*/ 1631 h 522"/>
                  <a:gd name="T122" fmla="*/ 6266 w 397"/>
                  <a:gd name="T123" fmla="*/ 1016 h 522"/>
                  <a:gd name="T124" fmla="*/ 7357 w 397"/>
                  <a:gd name="T125" fmla="*/ 588 h 5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7"/>
                  <a:gd name="T190" fmla="*/ 0 h 522"/>
                  <a:gd name="T191" fmla="*/ 397 w 397"/>
                  <a:gd name="T192" fmla="*/ 522 h 52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7" h="522">
                    <a:moveTo>
                      <a:pt x="81" y="25"/>
                    </a:moveTo>
                    <a:lnTo>
                      <a:pt x="84" y="18"/>
                    </a:lnTo>
                    <a:lnTo>
                      <a:pt x="86" y="17"/>
                    </a:lnTo>
                    <a:lnTo>
                      <a:pt x="87" y="18"/>
                    </a:lnTo>
                    <a:lnTo>
                      <a:pt x="91" y="20"/>
                    </a:lnTo>
                    <a:lnTo>
                      <a:pt x="94" y="26"/>
                    </a:lnTo>
                    <a:lnTo>
                      <a:pt x="97" y="28"/>
                    </a:lnTo>
                    <a:lnTo>
                      <a:pt x="105" y="40"/>
                    </a:lnTo>
                    <a:lnTo>
                      <a:pt x="117" y="51"/>
                    </a:lnTo>
                    <a:lnTo>
                      <a:pt x="125" y="57"/>
                    </a:lnTo>
                    <a:lnTo>
                      <a:pt x="131" y="58"/>
                    </a:lnTo>
                    <a:lnTo>
                      <a:pt x="135" y="57"/>
                    </a:lnTo>
                    <a:lnTo>
                      <a:pt x="151" y="58"/>
                    </a:lnTo>
                    <a:lnTo>
                      <a:pt x="155" y="54"/>
                    </a:lnTo>
                    <a:lnTo>
                      <a:pt x="162" y="50"/>
                    </a:lnTo>
                    <a:lnTo>
                      <a:pt x="168" y="49"/>
                    </a:lnTo>
                    <a:lnTo>
                      <a:pt x="175" y="44"/>
                    </a:lnTo>
                    <a:lnTo>
                      <a:pt x="178" y="44"/>
                    </a:lnTo>
                    <a:lnTo>
                      <a:pt x="179" y="41"/>
                    </a:lnTo>
                    <a:lnTo>
                      <a:pt x="182" y="40"/>
                    </a:lnTo>
                    <a:lnTo>
                      <a:pt x="183" y="40"/>
                    </a:lnTo>
                    <a:lnTo>
                      <a:pt x="186" y="42"/>
                    </a:lnTo>
                    <a:lnTo>
                      <a:pt x="188" y="42"/>
                    </a:lnTo>
                    <a:lnTo>
                      <a:pt x="191" y="44"/>
                    </a:lnTo>
                    <a:lnTo>
                      <a:pt x="199" y="44"/>
                    </a:lnTo>
                    <a:lnTo>
                      <a:pt x="205" y="47"/>
                    </a:lnTo>
                    <a:lnTo>
                      <a:pt x="211" y="47"/>
                    </a:lnTo>
                    <a:lnTo>
                      <a:pt x="220" y="45"/>
                    </a:lnTo>
                    <a:lnTo>
                      <a:pt x="223" y="44"/>
                    </a:lnTo>
                    <a:lnTo>
                      <a:pt x="226" y="39"/>
                    </a:lnTo>
                    <a:lnTo>
                      <a:pt x="234" y="38"/>
                    </a:lnTo>
                    <a:lnTo>
                      <a:pt x="237" y="33"/>
                    </a:lnTo>
                    <a:lnTo>
                      <a:pt x="242" y="30"/>
                    </a:lnTo>
                    <a:lnTo>
                      <a:pt x="248" y="30"/>
                    </a:lnTo>
                    <a:lnTo>
                      <a:pt x="257" y="32"/>
                    </a:lnTo>
                    <a:lnTo>
                      <a:pt x="262" y="32"/>
                    </a:lnTo>
                    <a:lnTo>
                      <a:pt x="269" y="30"/>
                    </a:lnTo>
                    <a:lnTo>
                      <a:pt x="275" y="30"/>
                    </a:lnTo>
                    <a:lnTo>
                      <a:pt x="280" y="30"/>
                    </a:lnTo>
                    <a:lnTo>
                      <a:pt x="290" y="23"/>
                    </a:lnTo>
                    <a:lnTo>
                      <a:pt x="294" y="23"/>
                    </a:lnTo>
                    <a:lnTo>
                      <a:pt x="302" y="25"/>
                    </a:lnTo>
                    <a:lnTo>
                      <a:pt x="315" y="20"/>
                    </a:lnTo>
                    <a:lnTo>
                      <a:pt x="317" y="19"/>
                    </a:lnTo>
                    <a:lnTo>
                      <a:pt x="322" y="20"/>
                    </a:lnTo>
                    <a:lnTo>
                      <a:pt x="325" y="17"/>
                    </a:lnTo>
                    <a:lnTo>
                      <a:pt x="333" y="18"/>
                    </a:lnTo>
                    <a:lnTo>
                      <a:pt x="339" y="17"/>
                    </a:lnTo>
                    <a:lnTo>
                      <a:pt x="349" y="15"/>
                    </a:lnTo>
                    <a:lnTo>
                      <a:pt x="353" y="13"/>
                    </a:lnTo>
                    <a:lnTo>
                      <a:pt x="362" y="7"/>
                    </a:lnTo>
                    <a:lnTo>
                      <a:pt x="365" y="1"/>
                    </a:lnTo>
                    <a:lnTo>
                      <a:pt x="371" y="0"/>
                    </a:lnTo>
                    <a:lnTo>
                      <a:pt x="378" y="0"/>
                    </a:lnTo>
                    <a:lnTo>
                      <a:pt x="385" y="4"/>
                    </a:lnTo>
                    <a:lnTo>
                      <a:pt x="391" y="4"/>
                    </a:lnTo>
                    <a:lnTo>
                      <a:pt x="392" y="6"/>
                    </a:lnTo>
                    <a:lnTo>
                      <a:pt x="391" y="10"/>
                    </a:lnTo>
                    <a:lnTo>
                      <a:pt x="392" y="13"/>
                    </a:lnTo>
                    <a:lnTo>
                      <a:pt x="387" y="18"/>
                    </a:lnTo>
                    <a:lnTo>
                      <a:pt x="386" y="23"/>
                    </a:lnTo>
                    <a:lnTo>
                      <a:pt x="386" y="30"/>
                    </a:lnTo>
                    <a:lnTo>
                      <a:pt x="391" y="33"/>
                    </a:lnTo>
                    <a:lnTo>
                      <a:pt x="389" y="37"/>
                    </a:lnTo>
                    <a:lnTo>
                      <a:pt x="389" y="41"/>
                    </a:lnTo>
                    <a:lnTo>
                      <a:pt x="389" y="45"/>
                    </a:lnTo>
                    <a:lnTo>
                      <a:pt x="389" y="53"/>
                    </a:lnTo>
                    <a:lnTo>
                      <a:pt x="389" y="54"/>
                    </a:lnTo>
                    <a:lnTo>
                      <a:pt x="384" y="58"/>
                    </a:lnTo>
                    <a:lnTo>
                      <a:pt x="384" y="59"/>
                    </a:lnTo>
                    <a:lnTo>
                      <a:pt x="389" y="59"/>
                    </a:lnTo>
                    <a:lnTo>
                      <a:pt x="389" y="57"/>
                    </a:lnTo>
                    <a:lnTo>
                      <a:pt x="391" y="57"/>
                    </a:lnTo>
                    <a:lnTo>
                      <a:pt x="392" y="58"/>
                    </a:lnTo>
                    <a:lnTo>
                      <a:pt x="396" y="59"/>
                    </a:lnTo>
                    <a:lnTo>
                      <a:pt x="397" y="61"/>
                    </a:lnTo>
                    <a:lnTo>
                      <a:pt x="396" y="63"/>
                    </a:lnTo>
                    <a:lnTo>
                      <a:pt x="394" y="64"/>
                    </a:lnTo>
                    <a:lnTo>
                      <a:pt x="389" y="60"/>
                    </a:lnTo>
                    <a:lnTo>
                      <a:pt x="384" y="61"/>
                    </a:lnTo>
                    <a:lnTo>
                      <a:pt x="381" y="63"/>
                    </a:lnTo>
                    <a:lnTo>
                      <a:pt x="381" y="64"/>
                    </a:lnTo>
                    <a:lnTo>
                      <a:pt x="381" y="68"/>
                    </a:lnTo>
                    <a:lnTo>
                      <a:pt x="376" y="86"/>
                    </a:lnTo>
                    <a:lnTo>
                      <a:pt x="376" y="98"/>
                    </a:lnTo>
                    <a:lnTo>
                      <a:pt x="374" y="101"/>
                    </a:lnTo>
                    <a:lnTo>
                      <a:pt x="372" y="109"/>
                    </a:lnTo>
                    <a:lnTo>
                      <a:pt x="369" y="111"/>
                    </a:lnTo>
                    <a:lnTo>
                      <a:pt x="365" y="114"/>
                    </a:lnTo>
                    <a:lnTo>
                      <a:pt x="360" y="127"/>
                    </a:lnTo>
                    <a:lnTo>
                      <a:pt x="355" y="132"/>
                    </a:lnTo>
                    <a:lnTo>
                      <a:pt x="351" y="142"/>
                    </a:lnTo>
                    <a:lnTo>
                      <a:pt x="351" y="143"/>
                    </a:lnTo>
                    <a:lnTo>
                      <a:pt x="347" y="145"/>
                    </a:lnTo>
                    <a:lnTo>
                      <a:pt x="343" y="150"/>
                    </a:lnTo>
                    <a:lnTo>
                      <a:pt x="340" y="153"/>
                    </a:lnTo>
                    <a:lnTo>
                      <a:pt x="339" y="158"/>
                    </a:lnTo>
                    <a:lnTo>
                      <a:pt x="338" y="166"/>
                    </a:lnTo>
                    <a:lnTo>
                      <a:pt x="325" y="190"/>
                    </a:lnTo>
                    <a:lnTo>
                      <a:pt x="315" y="207"/>
                    </a:lnTo>
                    <a:lnTo>
                      <a:pt x="313" y="211"/>
                    </a:lnTo>
                    <a:lnTo>
                      <a:pt x="309" y="227"/>
                    </a:lnTo>
                    <a:lnTo>
                      <a:pt x="303" y="240"/>
                    </a:lnTo>
                    <a:lnTo>
                      <a:pt x="298" y="246"/>
                    </a:lnTo>
                    <a:lnTo>
                      <a:pt x="296" y="247"/>
                    </a:lnTo>
                    <a:lnTo>
                      <a:pt x="293" y="250"/>
                    </a:lnTo>
                    <a:lnTo>
                      <a:pt x="290" y="252"/>
                    </a:lnTo>
                    <a:lnTo>
                      <a:pt x="287" y="253"/>
                    </a:lnTo>
                    <a:lnTo>
                      <a:pt x="279" y="265"/>
                    </a:lnTo>
                    <a:lnTo>
                      <a:pt x="274" y="272"/>
                    </a:lnTo>
                    <a:lnTo>
                      <a:pt x="274" y="273"/>
                    </a:lnTo>
                    <a:lnTo>
                      <a:pt x="274" y="277"/>
                    </a:lnTo>
                    <a:lnTo>
                      <a:pt x="269" y="283"/>
                    </a:lnTo>
                    <a:lnTo>
                      <a:pt x="262" y="294"/>
                    </a:lnTo>
                    <a:lnTo>
                      <a:pt x="255" y="303"/>
                    </a:lnTo>
                    <a:lnTo>
                      <a:pt x="248" y="309"/>
                    </a:lnTo>
                    <a:lnTo>
                      <a:pt x="239" y="318"/>
                    </a:lnTo>
                    <a:lnTo>
                      <a:pt x="236" y="324"/>
                    </a:lnTo>
                    <a:lnTo>
                      <a:pt x="227" y="332"/>
                    </a:lnTo>
                    <a:lnTo>
                      <a:pt x="215" y="342"/>
                    </a:lnTo>
                    <a:lnTo>
                      <a:pt x="210" y="346"/>
                    </a:lnTo>
                    <a:lnTo>
                      <a:pt x="208" y="347"/>
                    </a:lnTo>
                    <a:lnTo>
                      <a:pt x="204" y="356"/>
                    </a:lnTo>
                    <a:lnTo>
                      <a:pt x="194" y="367"/>
                    </a:lnTo>
                    <a:lnTo>
                      <a:pt x="185" y="374"/>
                    </a:lnTo>
                    <a:lnTo>
                      <a:pt x="176" y="381"/>
                    </a:lnTo>
                    <a:lnTo>
                      <a:pt x="172" y="383"/>
                    </a:lnTo>
                    <a:lnTo>
                      <a:pt x="162" y="385"/>
                    </a:lnTo>
                    <a:lnTo>
                      <a:pt x="156" y="387"/>
                    </a:lnTo>
                    <a:lnTo>
                      <a:pt x="151" y="389"/>
                    </a:lnTo>
                    <a:lnTo>
                      <a:pt x="135" y="401"/>
                    </a:lnTo>
                    <a:lnTo>
                      <a:pt x="97" y="437"/>
                    </a:lnTo>
                    <a:lnTo>
                      <a:pt x="84" y="450"/>
                    </a:lnTo>
                    <a:lnTo>
                      <a:pt x="79" y="456"/>
                    </a:lnTo>
                    <a:lnTo>
                      <a:pt x="71" y="465"/>
                    </a:lnTo>
                    <a:lnTo>
                      <a:pt x="64" y="466"/>
                    </a:lnTo>
                    <a:lnTo>
                      <a:pt x="61" y="466"/>
                    </a:lnTo>
                    <a:lnTo>
                      <a:pt x="59" y="468"/>
                    </a:lnTo>
                    <a:lnTo>
                      <a:pt x="61" y="469"/>
                    </a:lnTo>
                    <a:lnTo>
                      <a:pt x="61" y="471"/>
                    </a:lnTo>
                    <a:lnTo>
                      <a:pt x="61" y="472"/>
                    </a:lnTo>
                    <a:lnTo>
                      <a:pt x="59" y="475"/>
                    </a:lnTo>
                    <a:lnTo>
                      <a:pt x="56" y="480"/>
                    </a:lnTo>
                    <a:lnTo>
                      <a:pt x="52" y="487"/>
                    </a:lnTo>
                    <a:lnTo>
                      <a:pt x="41" y="497"/>
                    </a:lnTo>
                    <a:lnTo>
                      <a:pt x="34" y="507"/>
                    </a:lnTo>
                    <a:lnTo>
                      <a:pt x="26" y="514"/>
                    </a:lnTo>
                    <a:lnTo>
                      <a:pt x="22" y="521"/>
                    </a:lnTo>
                    <a:lnTo>
                      <a:pt x="21" y="522"/>
                    </a:lnTo>
                    <a:lnTo>
                      <a:pt x="20" y="518"/>
                    </a:lnTo>
                    <a:lnTo>
                      <a:pt x="3" y="498"/>
                    </a:lnTo>
                    <a:lnTo>
                      <a:pt x="0" y="493"/>
                    </a:lnTo>
                    <a:lnTo>
                      <a:pt x="0" y="462"/>
                    </a:lnTo>
                    <a:lnTo>
                      <a:pt x="0" y="424"/>
                    </a:lnTo>
                    <a:lnTo>
                      <a:pt x="0" y="388"/>
                    </a:lnTo>
                    <a:lnTo>
                      <a:pt x="0" y="350"/>
                    </a:lnTo>
                    <a:lnTo>
                      <a:pt x="1" y="349"/>
                    </a:lnTo>
                    <a:lnTo>
                      <a:pt x="17" y="332"/>
                    </a:lnTo>
                    <a:lnTo>
                      <a:pt x="33" y="309"/>
                    </a:lnTo>
                    <a:lnTo>
                      <a:pt x="33" y="306"/>
                    </a:lnTo>
                    <a:lnTo>
                      <a:pt x="36" y="304"/>
                    </a:lnTo>
                    <a:lnTo>
                      <a:pt x="46" y="299"/>
                    </a:lnTo>
                    <a:lnTo>
                      <a:pt x="70" y="291"/>
                    </a:lnTo>
                    <a:lnTo>
                      <a:pt x="81" y="281"/>
                    </a:lnTo>
                    <a:lnTo>
                      <a:pt x="89" y="276"/>
                    </a:lnTo>
                    <a:lnTo>
                      <a:pt x="103" y="270"/>
                    </a:lnTo>
                    <a:lnTo>
                      <a:pt x="109" y="267"/>
                    </a:lnTo>
                    <a:lnTo>
                      <a:pt x="155" y="265"/>
                    </a:lnTo>
                    <a:lnTo>
                      <a:pt x="213" y="208"/>
                    </a:lnTo>
                    <a:lnTo>
                      <a:pt x="263" y="158"/>
                    </a:lnTo>
                    <a:lnTo>
                      <a:pt x="270" y="150"/>
                    </a:lnTo>
                    <a:lnTo>
                      <a:pt x="271" y="147"/>
                    </a:lnTo>
                    <a:lnTo>
                      <a:pt x="234" y="148"/>
                    </a:lnTo>
                    <a:lnTo>
                      <a:pt x="172" y="127"/>
                    </a:lnTo>
                    <a:lnTo>
                      <a:pt x="117" y="107"/>
                    </a:lnTo>
                    <a:lnTo>
                      <a:pt x="112" y="102"/>
                    </a:lnTo>
                    <a:lnTo>
                      <a:pt x="97" y="91"/>
                    </a:lnTo>
                    <a:lnTo>
                      <a:pt x="93" y="85"/>
                    </a:lnTo>
                    <a:lnTo>
                      <a:pt x="87" y="81"/>
                    </a:lnTo>
                    <a:lnTo>
                      <a:pt x="87" y="78"/>
                    </a:lnTo>
                    <a:lnTo>
                      <a:pt x="82" y="75"/>
                    </a:lnTo>
                    <a:lnTo>
                      <a:pt x="79" y="70"/>
                    </a:lnTo>
                    <a:lnTo>
                      <a:pt x="77" y="66"/>
                    </a:lnTo>
                    <a:lnTo>
                      <a:pt x="71" y="60"/>
                    </a:lnTo>
                    <a:lnTo>
                      <a:pt x="68" y="45"/>
                    </a:lnTo>
                    <a:lnTo>
                      <a:pt x="69" y="42"/>
                    </a:lnTo>
                    <a:lnTo>
                      <a:pt x="72" y="38"/>
                    </a:lnTo>
                    <a:lnTo>
                      <a:pt x="74" y="33"/>
                    </a:lnTo>
                    <a:lnTo>
                      <a:pt x="8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5" name="Freeform 81"/>
              <p:cNvSpPr>
                <a:spLocks/>
              </p:cNvSpPr>
              <p:nvPr/>
            </p:nvSpPr>
            <p:spPr bwMode="auto">
              <a:xfrm>
                <a:off x="2980" y="2041"/>
                <a:ext cx="425" cy="548"/>
              </a:xfrm>
              <a:custGeom>
                <a:avLst/>
                <a:gdLst>
                  <a:gd name="T0" fmla="*/ 7705 w 397"/>
                  <a:gd name="T1" fmla="*/ 398 h 522"/>
                  <a:gd name="T2" fmla="*/ 8443 w 397"/>
                  <a:gd name="T3" fmla="*/ 617 h 522"/>
                  <a:gd name="T4" fmla="*/ 10431 w 397"/>
                  <a:gd name="T5" fmla="*/ 1279 h 522"/>
                  <a:gd name="T6" fmla="*/ 12148 w 397"/>
                  <a:gd name="T7" fmla="*/ 1410 h 522"/>
                  <a:gd name="T8" fmla="*/ 14545 w 397"/>
                  <a:gd name="T9" fmla="*/ 1235 h 522"/>
                  <a:gd name="T10" fmla="*/ 15955 w 397"/>
                  <a:gd name="T11" fmla="*/ 1067 h 522"/>
                  <a:gd name="T12" fmla="*/ 16442 w 397"/>
                  <a:gd name="T13" fmla="*/ 968 h 522"/>
                  <a:gd name="T14" fmla="*/ 17080 w 397"/>
                  <a:gd name="T15" fmla="*/ 1067 h 522"/>
                  <a:gd name="T16" fmla="*/ 18951 w 397"/>
                  <a:gd name="T17" fmla="*/ 1160 h 522"/>
                  <a:gd name="T18" fmla="*/ 20288 w 397"/>
                  <a:gd name="T19" fmla="*/ 955 h 522"/>
                  <a:gd name="T20" fmla="*/ 21719 w 397"/>
                  <a:gd name="T21" fmla="*/ 750 h 522"/>
                  <a:gd name="T22" fmla="*/ 23549 w 397"/>
                  <a:gd name="T23" fmla="*/ 796 h 522"/>
                  <a:gd name="T24" fmla="*/ 25210 w 397"/>
                  <a:gd name="T25" fmla="*/ 750 h 522"/>
                  <a:gd name="T26" fmla="*/ 27083 w 397"/>
                  <a:gd name="T27" fmla="*/ 588 h 522"/>
                  <a:gd name="T28" fmla="*/ 28951 w 397"/>
                  <a:gd name="T29" fmla="*/ 461 h 522"/>
                  <a:gd name="T30" fmla="*/ 30376 w 397"/>
                  <a:gd name="T31" fmla="*/ 398 h 522"/>
                  <a:gd name="T32" fmla="*/ 32503 w 397"/>
                  <a:gd name="T33" fmla="*/ 7 h 522"/>
                  <a:gd name="T34" fmla="*/ 34054 w 397"/>
                  <a:gd name="T35" fmla="*/ 0 h 522"/>
                  <a:gd name="T36" fmla="*/ 35300 w 397"/>
                  <a:gd name="T37" fmla="*/ 6 h 522"/>
                  <a:gd name="T38" fmla="*/ 34760 w 397"/>
                  <a:gd name="T39" fmla="*/ 418 h 522"/>
                  <a:gd name="T40" fmla="*/ 35277 w 397"/>
                  <a:gd name="T41" fmla="*/ 826 h 522"/>
                  <a:gd name="T42" fmla="*/ 34811 w 397"/>
                  <a:gd name="T43" fmla="*/ 1105 h 522"/>
                  <a:gd name="T44" fmla="*/ 34511 w 397"/>
                  <a:gd name="T45" fmla="*/ 1430 h 522"/>
                  <a:gd name="T46" fmla="*/ 34811 w 397"/>
                  <a:gd name="T47" fmla="*/ 1410 h 522"/>
                  <a:gd name="T48" fmla="*/ 35570 w 397"/>
                  <a:gd name="T49" fmla="*/ 1467 h 522"/>
                  <a:gd name="T50" fmla="*/ 35445 w 397"/>
                  <a:gd name="T51" fmla="*/ 1576 h 522"/>
                  <a:gd name="T52" fmla="*/ 34248 w 397"/>
                  <a:gd name="T53" fmla="*/ 1554 h 522"/>
                  <a:gd name="T54" fmla="*/ 33767 w 397"/>
                  <a:gd name="T55" fmla="*/ 2111 h 522"/>
                  <a:gd name="T56" fmla="*/ 33284 w 397"/>
                  <a:gd name="T57" fmla="*/ 2692 h 522"/>
                  <a:gd name="T58" fmla="*/ 32349 w 397"/>
                  <a:gd name="T59" fmla="*/ 3119 h 522"/>
                  <a:gd name="T60" fmla="*/ 31542 w 397"/>
                  <a:gd name="T61" fmla="*/ 3553 h 522"/>
                  <a:gd name="T62" fmla="*/ 30538 w 397"/>
                  <a:gd name="T63" fmla="*/ 3784 h 522"/>
                  <a:gd name="T64" fmla="*/ 29048 w 397"/>
                  <a:gd name="T65" fmla="*/ 4714 h 522"/>
                  <a:gd name="T66" fmla="*/ 27799 w 397"/>
                  <a:gd name="T67" fmla="*/ 5589 h 522"/>
                  <a:gd name="T68" fmla="*/ 26506 w 397"/>
                  <a:gd name="T69" fmla="*/ 6089 h 522"/>
                  <a:gd name="T70" fmla="*/ 25772 w 397"/>
                  <a:gd name="T71" fmla="*/ 6311 h 522"/>
                  <a:gd name="T72" fmla="*/ 24630 w 397"/>
                  <a:gd name="T73" fmla="*/ 6773 h 522"/>
                  <a:gd name="T74" fmla="*/ 23549 w 397"/>
                  <a:gd name="T75" fmla="*/ 7302 h 522"/>
                  <a:gd name="T76" fmla="*/ 21491 w 397"/>
                  <a:gd name="T77" fmla="*/ 7854 h 522"/>
                  <a:gd name="T78" fmla="*/ 19262 w 397"/>
                  <a:gd name="T79" fmla="*/ 8476 h 522"/>
                  <a:gd name="T80" fmla="*/ 18285 w 397"/>
                  <a:gd name="T81" fmla="*/ 8869 h 522"/>
                  <a:gd name="T82" fmla="*/ 15701 w 397"/>
                  <a:gd name="T83" fmla="*/ 9400 h 522"/>
                  <a:gd name="T84" fmla="*/ 14194 w 397"/>
                  <a:gd name="T85" fmla="*/ 9542 h 522"/>
                  <a:gd name="T86" fmla="*/ 8809 w 397"/>
                  <a:gd name="T87" fmla="*/ 10807 h 522"/>
                  <a:gd name="T88" fmla="*/ 6419 w 397"/>
                  <a:gd name="T89" fmla="*/ 11535 h 522"/>
                  <a:gd name="T90" fmla="*/ 5239 w 397"/>
                  <a:gd name="T91" fmla="*/ 11588 h 522"/>
                  <a:gd name="T92" fmla="*/ 5480 w 397"/>
                  <a:gd name="T93" fmla="*/ 11697 h 522"/>
                  <a:gd name="T94" fmla="*/ 4771 w 397"/>
                  <a:gd name="T95" fmla="*/ 12023 h 522"/>
                  <a:gd name="T96" fmla="*/ 2313 w 397"/>
                  <a:gd name="T97" fmla="*/ 12755 h 522"/>
                  <a:gd name="T98" fmla="*/ 1762 w 397"/>
                  <a:gd name="T99" fmla="*/ 12808 h 522"/>
                  <a:gd name="T100" fmla="*/ 0 w 397"/>
                  <a:gd name="T101" fmla="*/ 11412 h 522"/>
                  <a:gd name="T102" fmla="*/ 0 w 397"/>
                  <a:gd name="T103" fmla="*/ 8646 h 522"/>
                  <a:gd name="T104" fmla="*/ 2961 w 397"/>
                  <a:gd name="T105" fmla="*/ 7666 h 522"/>
                  <a:gd name="T106" fmla="*/ 4163 w 397"/>
                  <a:gd name="T107" fmla="*/ 7372 h 522"/>
                  <a:gd name="T108" fmla="*/ 7942 w 397"/>
                  <a:gd name="T109" fmla="*/ 6809 h 522"/>
                  <a:gd name="T110" fmla="*/ 13922 w 397"/>
                  <a:gd name="T111" fmla="*/ 6589 h 522"/>
                  <a:gd name="T112" fmla="*/ 24257 w 397"/>
                  <a:gd name="T113" fmla="*/ 3730 h 522"/>
                  <a:gd name="T114" fmla="*/ 15447 w 397"/>
                  <a:gd name="T115" fmla="*/ 3119 h 522"/>
                  <a:gd name="T116" fmla="*/ 8809 w 397"/>
                  <a:gd name="T117" fmla="*/ 2274 h 522"/>
                  <a:gd name="T118" fmla="*/ 7876 w 397"/>
                  <a:gd name="T119" fmla="*/ 1916 h 522"/>
                  <a:gd name="T120" fmla="*/ 6882 w 397"/>
                  <a:gd name="T121" fmla="*/ 1631 h 522"/>
                  <a:gd name="T122" fmla="*/ 6266 w 397"/>
                  <a:gd name="T123" fmla="*/ 1016 h 522"/>
                  <a:gd name="T124" fmla="*/ 7357 w 397"/>
                  <a:gd name="T125" fmla="*/ 588 h 5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7"/>
                  <a:gd name="T190" fmla="*/ 0 h 522"/>
                  <a:gd name="T191" fmla="*/ 397 w 397"/>
                  <a:gd name="T192" fmla="*/ 522 h 52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7" h="522">
                    <a:moveTo>
                      <a:pt x="81" y="25"/>
                    </a:moveTo>
                    <a:lnTo>
                      <a:pt x="84" y="18"/>
                    </a:lnTo>
                    <a:lnTo>
                      <a:pt x="86" y="17"/>
                    </a:lnTo>
                    <a:lnTo>
                      <a:pt x="87" y="18"/>
                    </a:lnTo>
                    <a:lnTo>
                      <a:pt x="91" y="20"/>
                    </a:lnTo>
                    <a:lnTo>
                      <a:pt x="94" y="26"/>
                    </a:lnTo>
                    <a:lnTo>
                      <a:pt x="97" y="28"/>
                    </a:lnTo>
                    <a:lnTo>
                      <a:pt x="105" y="40"/>
                    </a:lnTo>
                    <a:lnTo>
                      <a:pt x="117" y="51"/>
                    </a:lnTo>
                    <a:lnTo>
                      <a:pt x="125" y="57"/>
                    </a:lnTo>
                    <a:lnTo>
                      <a:pt x="131" y="58"/>
                    </a:lnTo>
                    <a:lnTo>
                      <a:pt x="135" y="57"/>
                    </a:lnTo>
                    <a:lnTo>
                      <a:pt x="151" y="58"/>
                    </a:lnTo>
                    <a:lnTo>
                      <a:pt x="155" y="54"/>
                    </a:lnTo>
                    <a:lnTo>
                      <a:pt x="162" y="50"/>
                    </a:lnTo>
                    <a:lnTo>
                      <a:pt x="168" y="49"/>
                    </a:lnTo>
                    <a:lnTo>
                      <a:pt x="175" y="44"/>
                    </a:lnTo>
                    <a:lnTo>
                      <a:pt x="178" y="44"/>
                    </a:lnTo>
                    <a:lnTo>
                      <a:pt x="179" y="41"/>
                    </a:lnTo>
                    <a:lnTo>
                      <a:pt x="182" y="40"/>
                    </a:lnTo>
                    <a:lnTo>
                      <a:pt x="183" y="40"/>
                    </a:lnTo>
                    <a:lnTo>
                      <a:pt x="186" y="42"/>
                    </a:lnTo>
                    <a:lnTo>
                      <a:pt x="188" y="42"/>
                    </a:lnTo>
                    <a:lnTo>
                      <a:pt x="191" y="44"/>
                    </a:lnTo>
                    <a:lnTo>
                      <a:pt x="199" y="44"/>
                    </a:lnTo>
                    <a:lnTo>
                      <a:pt x="205" y="47"/>
                    </a:lnTo>
                    <a:lnTo>
                      <a:pt x="211" y="47"/>
                    </a:lnTo>
                    <a:lnTo>
                      <a:pt x="220" y="45"/>
                    </a:lnTo>
                    <a:lnTo>
                      <a:pt x="223" y="44"/>
                    </a:lnTo>
                    <a:lnTo>
                      <a:pt x="226" y="39"/>
                    </a:lnTo>
                    <a:lnTo>
                      <a:pt x="234" y="38"/>
                    </a:lnTo>
                    <a:lnTo>
                      <a:pt x="237" y="33"/>
                    </a:lnTo>
                    <a:lnTo>
                      <a:pt x="242" y="30"/>
                    </a:lnTo>
                    <a:lnTo>
                      <a:pt x="248" y="30"/>
                    </a:lnTo>
                    <a:lnTo>
                      <a:pt x="257" y="32"/>
                    </a:lnTo>
                    <a:lnTo>
                      <a:pt x="262" y="32"/>
                    </a:lnTo>
                    <a:lnTo>
                      <a:pt x="269" y="30"/>
                    </a:lnTo>
                    <a:lnTo>
                      <a:pt x="275" y="30"/>
                    </a:lnTo>
                    <a:lnTo>
                      <a:pt x="280" y="30"/>
                    </a:lnTo>
                    <a:lnTo>
                      <a:pt x="290" y="23"/>
                    </a:lnTo>
                    <a:lnTo>
                      <a:pt x="294" y="23"/>
                    </a:lnTo>
                    <a:lnTo>
                      <a:pt x="302" y="25"/>
                    </a:lnTo>
                    <a:lnTo>
                      <a:pt x="315" y="20"/>
                    </a:lnTo>
                    <a:lnTo>
                      <a:pt x="317" y="19"/>
                    </a:lnTo>
                    <a:lnTo>
                      <a:pt x="322" y="20"/>
                    </a:lnTo>
                    <a:lnTo>
                      <a:pt x="325" y="17"/>
                    </a:lnTo>
                    <a:lnTo>
                      <a:pt x="333" y="18"/>
                    </a:lnTo>
                    <a:lnTo>
                      <a:pt x="339" y="17"/>
                    </a:lnTo>
                    <a:lnTo>
                      <a:pt x="349" y="15"/>
                    </a:lnTo>
                    <a:lnTo>
                      <a:pt x="353" y="13"/>
                    </a:lnTo>
                    <a:lnTo>
                      <a:pt x="362" y="7"/>
                    </a:lnTo>
                    <a:lnTo>
                      <a:pt x="365" y="1"/>
                    </a:lnTo>
                    <a:lnTo>
                      <a:pt x="371" y="0"/>
                    </a:lnTo>
                    <a:lnTo>
                      <a:pt x="378" y="0"/>
                    </a:lnTo>
                    <a:lnTo>
                      <a:pt x="385" y="4"/>
                    </a:lnTo>
                    <a:lnTo>
                      <a:pt x="391" y="4"/>
                    </a:lnTo>
                    <a:lnTo>
                      <a:pt x="392" y="6"/>
                    </a:lnTo>
                    <a:lnTo>
                      <a:pt x="391" y="10"/>
                    </a:lnTo>
                    <a:lnTo>
                      <a:pt x="392" y="13"/>
                    </a:lnTo>
                    <a:lnTo>
                      <a:pt x="387" y="18"/>
                    </a:lnTo>
                    <a:lnTo>
                      <a:pt x="386" y="23"/>
                    </a:lnTo>
                    <a:lnTo>
                      <a:pt x="386" y="30"/>
                    </a:lnTo>
                    <a:lnTo>
                      <a:pt x="391" y="33"/>
                    </a:lnTo>
                    <a:lnTo>
                      <a:pt x="389" y="37"/>
                    </a:lnTo>
                    <a:lnTo>
                      <a:pt x="389" y="41"/>
                    </a:lnTo>
                    <a:lnTo>
                      <a:pt x="389" y="45"/>
                    </a:lnTo>
                    <a:lnTo>
                      <a:pt x="389" y="53"/>
                    </a:lnTo>
                    <a:lnTo>
                      <a:pt x="389" y="54"/>
                    </a:lnTo>
                    <a:lnTo>
                      <a:pt x="384" y="58"/>
                    </a:lnTo>
                    <a:lnTo>
                      <a:pt x="384" y="59"/>
                    </a:lnTo>
                    <a:lnTo>
                      <a:pt x="389" y="59"/>
                    </a:lnTo>
                    <a:lnTo>
                      <a:pt x="389" y="57"/>
                    </a:lnTo>
                    <a:lnTo>
                      <a:pt x="391" y="57"/>
                    </a:lnTo>
                    <a:lnTo>
                      <a:pt x="392" y="58"/>
                    </a:lnTo>
                    <a:lnTo>
                      <a:pt x="396" y="59"/>
                    </a:lnTo>
                    <a:lnTo>
                      <a:pt x="397" y="61"/>
                    </a:lnTo>
                    <a:lnTo>
                      <a:pt x="396" y="63"/>
                    </a:lnTo>
                    <a:lnTo>
                      <a:pt x="394" y="64"/>
                    </a:lnTo>
                    <a:lnTo>
                      <a:pt x="389" y="60"/>
                    </a:lnTo>
                    <a:lnTo>
                      <a:pt x="384" y="61"/>
                    </a:lnTo>
                    <a:lnTo>
                      <a:pt x="381" y="63"/>
                    </a:lnTo>
                    <a:lnTo>
                      <a:pt x="381" y="64"/>
                    </a:lnTo>
                    <a:lnTo>
                      <a:pt x="381" y="68"/>
                    </a:lnTo>
                    <a:lnTo>
                      <a:pt x="376" y="86"/>
                    </a:lnTo>
                    <a:lnTo>
                      <a:pt x="376" y="98"/>
                    </a:lnTo>
                    <a:lnTo>
                      <a:pt x="374" y="101"/>
                    </a:lnTo>
                    <a:lnTo>
                      <a:pt x="372" y="109"/>
                    </a:lnTo>
                    <a:lnTo>
                      <a:pt x="369" y="111"/>
                    </a:lnTo>
                    <a:lnTo>
                      <a:pt x="365" y="114"/>
                    </a:lnTo>
                    <a:lnTo>
                      <a:pt x="360" y="127"/>
                    </a:lnTo>
                    <a:lnTo>
                      <a:pt x="355" y="132"/>
                    </a:lnTo>
                    <a:lnTo>
                      <a:pt x="351" y="142"/>
                    </a:lnTo>
                    <a:lnTo>
                      <a:pt x="351" y="143"/>
                    </a:lnTo>
                    <a:lnTo>
                      <a:pt x="347" y="145"/>
                    </a:lnTo>
                    <a:lnTo>
                      <a:pt x="343" y="150"/>
                    </a:lnTo>
                    <a:lnTo>
                      <a:pt x="340" y="153"/>
                    </a:lnTo>
                    <a:lnTo>
                      <a:pt x="339" y="158"/>
                    </a:lnTo>
                    <a:lnTo>
                      <a:pt x="338" y="166"/>
                    </a:lnTo>
                    <a:lnTo>
                      <a:pt x="325" y="190"/>
                    </a:lnTo>
                    <a:lnTo>
                      <a:pt x="315" y="207"/>
                    </a:lnTo>
                    <a:lnTo>
                      <a:pt x="313" y="211"/>
                    </a:lnTo>
                    <a:lnTo>
                      <a:pt x="309" y="227"/>
                    </a:lnTo>
                    <a:lnTo>
                      <a:pt x="303" y="240"/>
                    </a:lnTo>
                    <a:lnTo>
                      <a:pt x="298" y="246"/>
                    </a:lnTo>
                    <a:lnTo>
                      <a:pt x="296" y="247"/>
                    </a:lnTo>
                    <a:lnTo>
                      <a:pt x="293" y="250"/>
                    </a:lnTo>
                    <a:lnTo>
                      <a:pt x="290" y="252"/>
                    </a:lnTo>
                    <a:lnTo>
                      <a:pt x="287" y="253"/>
                    </a:lnTo>
                    <a:lnTo>
                      <a:pt x="279" y="265"/>
                    </a:lnTo>
                    <a:lnTo>
                      <a:pt x="274" y="272"/>
                    </a:lnTo>
                    <a:lnTo>
                      <a:pt x="274" y="273"/>
                    </a:lnTo>
                    <a:lnTo>
                      <a:pt x="274" y="277"/>
                    </a:lnTo>
                    <a:lnTo>
                      <a:pt x="269" y="283"/>
                    </a:lnTo>
                    <a:lnTo>
                      <a:pt x="262" y="294"/>
                    </a:lnTo>
                    <a:lnTo>
                      <a:pt x="255" y="303"/>
                    </a:lnTo>
                    <a:lnTo>
                      <a:pt x="248" y="309"/>
                    </a:lnTo>
                    <a:lnTo>
                      <a:pt x="239" y="318"/>
                    </a:lnTo>
                    <a:lnTo>
                      <a:pt x="236" y="324"/>
                    </a:lnTo>
                    <a:lnTo>
                      <a:pt x="227" y="332"/>
                    </a:lnTo>
                    <a:lnTo>
                      <a:pt x="215" y="342"/>
                    </a:lnTo>
                    <a:lnTo>
                      <a:pt x="210" y="346"/>
                    </a:lnTo>
                    <a:lnTo>
                      <a:pt x="208" y="347"/>
                    </a:lnTo>
                    <a:lnTo>
                      <a:pt x="204" y="356"/>
                    </a:lnTo>
                    <a:lnTo>
                      <a:pt x="194" y="367"/>
                    </a:lnTo>
                    <a:lnTo>
                      <a:pt x="185" y="374"/>
                    </a:lnTo>
                    <a:lnTo>
                      <a:pt x="176" y="381"/>
                    </a:lnTo>
                    <a:lnTo>
                      <a:pt x="172" y="383"/>
                    </a:lnTo>
                    <a:lnTo>
                      <a:pt x="162" y="385"/>
                    </a:lnTo>
                    <a:lnTo>
                      <a:pt x="156" y="387"/>
                    </a:lnTo>
                    <a:lnTo>
                      <a:pt x="151" y="389"/>
                    </a:lnTo>
                    <a:lnTo>
                      <a:pt x="135" y="401"/>
                    </a:lnTo>
                    <a:lnTo>
                      <a:pt x="97" y="437"/>
                    </a:lnTo>
                    <a:lnTo>
                      <a:pt x="84" y="450"/>
                    </a:lnTo>
                    <a:lnTo>
                      <a:pt x="79" y="456"/>
                    </a:lnTo>
                    <a:lnTo>
                      <a:pt x="71" y="465"/>
                    </a:lnTo>
                    <a:lnTo>
                      <a:pt x="64" y="466"/>
                    </a:lnTo>
                    <a:lnTo>
                      <a:pt x="61" y="466"/>
                    </a:lnTo>
                    <a:lnTo>
                      <a:pt x="59" y="468"/>
                    </a:lnTo>
                    <a:lnTo>
                      <a:pt x="61" y="469"/>
                    </a:lnTo>
                    <a:lnTo>
                      <a:pt x="61" y="471"/>
                    </a:lnTo>
                    <a:lnTo>
                      <a:pt x="61" y="472"/>
                    </a:lnTo>
                    <a:lnTo>
                      <a:pt x="59" y="475"/>
                    </a:lnTo>
                    <a:lnTo>
                      <a:pt x="56" y="480"/>
                    </a:lnTo>
                    <a:lnTo>
                      <a:pt x="52" y="487"/>
                    </a:lnTo>
                    <a:lnTo>
                      <a:pt x="41" y="497"/>
                    </a:lnTo>
                    <a:lnTo>
                      <a:pt x="34" y="507"/>
                    </a:lnTo>
                    <a:lnTo>
                      <a:pt x="26" y="514"/>
                    </a:lnTo>
                    <a:lnTo>
                      <a:pt x="22" y="521"/>
                    </a:lnTo>
                    <a:lnTo>
                      <a:pt x="21" y="522"/>
                    </a:lnTo>
                    <a:lnTo>
                      <a:pt x="20" y="518"/>
                    </a:lnTo>
                    <a:lnTo>
                      <a:pt x="3" y="498"/>
                    </a:lnTo>
                    <a:lnTo>
                      <a:pt x="0" y="493"/>
                    </a:lnTo>
                    <a:lnTo>
                      <a:pt x="0" y="462"/>
                    </a:lnTo>
                    <a:lnTo>
                      <a:pt x="0" y="424"/>
                    </a:lnTo>
                    <a:lnTo>
                      <a:pt x="0" y="388"/>
                    </a:lnTo>
                    <a:lnTo>
                      <a:pt x="0" y="350"/>
                    </a:lnTo>
                    <a:lnTo>
                      <a:pt x="1" y="349"/>
                    </a:lnTo>
                    <a:lnTo>
                      <a:pt x="17" y="332"/>
                    </a:lnTo>
                    <a:lnTo>
                      <a:pt x="33" y="309"/>
                    </a:lnTo>
                    <a:lnTo>
                      <a:pt x="33" y="306"/>
                    </a:lnTo>
                    <a:lnTo>
                      <a:pt x="36" y="304"/>
                    </a:lnTo>
                    <a:lnTo>
                      <a:pt x="46" y="299"/>
                    </a:lnTo>
                    <a:lnTo>
                      <a:pt x="70" y="291"/>
                    </a:lnTo>
                    <a:lnTo>
                      <a:pt x="81" y="281"/>
                    </a:lnTo>
                    <a:lnTo>
                      <a:pt x="89" y="276"/>
                    </a:lnTo>
                    <a:lnTo>
                      <a:pt x="103" y="270"/>
                    </a:lnTo>
                    <a:lnTo>
                      <a:pt x="109" y="267"/>
                    </a:lnTo>
                    <a:lnTo>
                      <a:pt x="155" y="265"/>
                    </a:lnTo>
                    <a:lnTo>
                      <a:pt x="213" y="208"/>
                    </a:lnTo>
                    <a:lnTo>
                      <a:pt x="263" y="158"/>
                    </a:lnTo>
                    <a:lnTo>
                      <a:pt x="270" y="150"/>
                    </a:lnTo>
                    <a:lnTo>
                      <a:pt x="271" y="147"/>
                    </a:lnTo>
                    <a:lnTo>
                      <a:pt x="234" y="148"/>
                    </a:lnTo>
                    <a:lnTo>
                      <a:pt x="172" y="127"/>
                    </a:lnTo>
                    <a:lnTo>
                      <a:pt x="117" y="107"/>
                    </a:lnTo>
                    <a:lnTo>
                      <a:pt x="112" y="102"/>
                    </a:lnTo>
                    <a:lnTo>
                      <a:pt x="97" y="91"/>
                    </a:lnTo>
                    <a:lnTo>
                      <a:pt x="93" y="85"/>
                    </a:lnTo>
                    <a:lnTo>
                      <a:pt x="87" y="81"/>
                    </a:lnTo>
                    <a:lnTo>
                      <a:pt x="87" y="78"/>
                    </a:lnTo>
                    <a:lnTo>
                      <a:pt x="82" y="75"/>
                    </a:lnTo>
                    <a:lnTo>
                      <a:pt x="79" y="70"/>
                    </a:lnTo>
                    <a:lnTo>
                      <a:pt x="77" y="66"/>
                    </a:lnTo>
                    <a:lnTo>
                      <a:pt x="71" y="60"/>
                    </a:lnTo>
                    <a:lnTo>
                      <a:pt x="68" y="45"/>
                    </a:lnTo>
                    <a:lnTo>
                      <a:pt x="69" y="42"/>
                    </a:lnTo>
                    <a:lnTo>
                      <a:pt x="72" y="38"/>
                    </a:lnTo>
                    <a:lnTo>
                      <a:pt x="74" y="33"/>
                    </a:lnTo>
                    <a:lnTo>
                      <a:pt x="81" y="25"/>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86" name="Freeform 82"/>
              <p:cNvSpPr>
                <a:spLocks/>
              </p:cNvSpPr>
              <p:nvPr/>
            </p:nvSpPr>
            <p:spPr bwMode="auto">
              <a:xfrm>
                <a:off x="2791" y="1791"/>
                <a:ext cx="270" cy="230"/>
              </a:xfrm>
              <a:custGeom>
                <a:avLst/>
                <a:gdLst>
                  <a:gd name="T0" fmla="*/ 5615 w 253"/>
                  <a:gd name="T1" fmla="*/ 0 h 219"/>
                  <a:gd name="T2" fmla="*/ 5992 w 253"/>
                  <a:gd name="T3" fmla="*/ 5 h 219"/>
                  <a:gd name="T4" fmla="*/ 6606 w 253"/>
                  <a:gd name="T5" fmla="*/ 484 h 219"/>
                  <a:gd name="T6" fmla="*/ 6905 w 253"/>
                  <a:gd name="T7" fmla="*/ 1062 h 219"/>
                  <a:gd name="T8" fmla="*/ 7369 w 253"/>
                  <a:gd name="T9" fmla="*/ 1572 h 219"/>
                  <a:gd name="T10" fmla="*/ 7833 w 253"/>
                  <a:gd name="T11" fmla="*/ 2123 h 219"/>
                  <a:gd name="T12" fmla="*/ 8310 w 253"/>
                  <a:gd name="T13" fmla="*/ 2326 h 219"/>
                  <a:gd name="T14" fmla="*/ 8570 w 253"/>
                  <a:gd name="T15" fmla="*/ 2443 h 219"/>
                  <a:gd name="T16" fmla="*/ 8956 w 253"/>
                  <a:gd name="T17" fmla="*/ 2695 h 219"/>
                  <a:gd name="T18" fmla="*/ 9447 w 253"/>
                  <a:gd name="T19" fmla="*/ 2859 h 219"/>
                  <a:gd name="T20" fmla="*/ 9447 w 253"/>
                  <a:gd name="T21" fmla="*/ 2695 h 219"/>
                  <a:gd name="T22" fmla="*/ 9588 w 253"/>
                  <a:gd name="T23" fmla="*/ 2515 h 219"/>
                  <a:gd name="T24" fmla="*/ 10100 w 253"/>
                  <a:gd name="T25" fmla="*/ 2660 h 219"/>
                  <a:gd name="T26" fmla="*/ 10160 w 253"/>
                  <a:gd name="T27" fmla="*/ 2913 h 219"/>
                  <a:gd name="T28" fmla="*/ 10843 w 253"/>
                  <a:gd name="T29" fmla="*/ 3059 h 219"/>
                  <a:gd name="T30" fmla="*/ 11503 w 253"/>
                  <a:gd name="T31" fmla="*/ 3059 h 219"/>
                  <a:gd name="T32" fmla="*/ 12046 w 253"/>
                  <a:gd name="T33" fmla="*/ 3278 h 219"/>
                  <a:gd name="T34" fmla="*/ 13101 w 253"/>
                  <a:gd name="T35" fmla="*/ 3312 h 219"/>
                  <a:gd name="T36" fmla="*/ 14497 w 253"/>
                  <a:gd name="T37" fmla="*/ 3993 h 219"/>
                  <a:gd name="T38" fmla="*/ 14920 w 253"/>
                  <a:gd name="T39" fmla="*/ 4104 h 219"/>
                  <a:gd name="T40" fmla="*/ 15454 w 253"/>
                  <a:gd name="T41" fmla="*/ 4135 h 219"/>
                  <a:gd name="T42" fmla="*/ 16133 w 253"/>
                  <a:gd name="T43" fmla="*/ 4405 h 219"/>
                  <a:gd name="T44" fmla="*/ 16511 w 253"/>
                  <a:gd name="T45" fmla="*/ 4667 h 219"/>
                  <a:gd name="T46" fmla="*/ 17378 w 253"/>
                  <a:gd name="T47" fmla="*/ 4790 h 219"/>
                  <a:gd name="T48" fmla="*/ 17620 w 253"/>
                  <a:gd name="T49" fmla="*/ 5031 h 219"/>
                  <a:gd name="T50" fmla="*/ 18546 w 253"/>
                  <a:gd name="T51" fmla="*/ 5110 h 219"/>
                  <a:gd name="T52" fmla="*/ 16511 w 253"/>
                  <a:gd name="T53" fmla="*/ 5567 h 219"/>
                  <a:gd name="T54" fmla="*/ 15586 w 253"/>
                  <a:gd name="T55" fmla="*/ 5243 h 219"/>
                  <a:gd name="T56" fmla="*/ 14920 w 253"/>
                  <a:gd name="T57" fmla="*/ 4866 h 219"/>
                  <a:gd name="T58" fmla="*/ 13101 w 253"/>
                  <a:gd name="T59" fmla="*/ 4399 h 219"/>
                  <a:gd name="T60" fmla="*/ 11818 w 253"/>
                  <a:gd name="T61" fmla="*/ 3824 h 219"/>
                  <a:gd name="T62" fmla="*/ 10200 w 253"/>
                  <a:gd name="T63" fmla="*/ 3543 h 219"/>
                  <a:gd name="T64" fmla="*/ 9447 w 253"/>
                  <a:gd name="T65" fmla="*/ 3570 h 219"/>
                  <a:gd name="T66" fmla="*/ 8418 w 253"/>
                  <a:gd name="T67" fmla="*/ 3453 h 219"/>
                  <a:gd name="T68" fmla="*/ 7787 w 253"/>
                  <a:gd name="T69" fmla="*/ 3543 h 219"/>
                  <a:gd name="T70" fmla="*/ 7369 w 253"/>
                  <a:gd name="T71" fmla="*/ 3453 h 219"/>
                  <a:gd name="T72" fmla="*/ 6878 w 253"/>
                  <a:gd name="T73" fmla="*/ 3453 h 219"/>
                  <a:gd name="T74" fmla="*/ 5681 w 253"/>
                  <a:gd name="T75" fmla="*/ 3570 h 219"/>
                  <a:gd name="T76" fmla="*/ 4688 w 253"/>
                  <a:gd name="T77" fmla="*/ 3312 h 219"/>
                  <a:gd name="T78" fmla="*/ 3926 w 253"/>
                  <a:gd name="T79" fmla="*/ 3224 h 219"/>
                  <a:gd name="T80" fmla="*/ 2333 w 253"/>
                  <a:gd name="T81" fmla="*/ 3735 h 219"/>
                  <a:gd name="T82" fmla="*/ 1685 w 253"/>
                  <a:gd name="T83" fmla="*/ 3570 h 219"/>
                  <a:gd name="T84" fmla="*/ 1141 w 253"/>
                  <a:gd name="T85" fmla="*/ 3735 h 219"/>
                  <a:gd name="T86" fmla="*/ 3 w 253"/>
                  <a:gd name="T87" fmla="*/ 3721 h 219"/>
                  <a:gd name="T88" fmla="*/ 0 w 253"/>
                  <a:gd name="T89" fmla="*/ 3059 h 219"/>
                  <a:gd name="T90" fmla="*/ 880 w 253"/>
                  <a:gd name="T91" fmla="*/ 1924 h 219"/>
                  <a:gd name="T92" fmla="*/ 1218 w 253"/>
                  <a:gd name="T93" fmla="*/ 1062 h 219"/>
                  <a:gd name="T94" fmla="*/ 2611 w 253"/>
                  <a:gd name="T95" fmla="*/ 831 h 219"/>
                  <a:gd name="T96" fmla="*/ 4380 w 253"/>
                  <a:gd name="T97" fmla="*/ 484 h 21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53"/>
                  <a:gd name="T148" fmla="*/ 0 h 219"/>
                  <a:gd name="T149" fmla="*/ 253 w 253"/>
                  <a:gd name="T150" fmla="*/ 219 h 21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53" h="219">
                    <a:moveTo>
                      <a:pt x="69" y="15"/>
                    </a:moveTo>
                    <a:lnTo>
                      <a:pt x="75" y="6"/>
                    </a:lnTo>
                    <a:lnTo>
                      <a:pt x="76" y="0"/>
                    </a:lnTo>
                    <a:lnTo>
                      <a:pt x="78" y="0"/>
                    </a:lnTo>
                    <a:lnTo>
                      <a:pt x="80" y="0"/>
                    </a:lnTo>
                    <a:lnTo>
                      <a:pt x="81" y="5"/>
                    </a:lnTo>
                    <a:lnTo>
                      <a:pt x="84" y="10"/>
                    </a:lnTo>
                    <a:lnTo>
                      <a:pt x="87" y="13"/>
                    </a:lnTo>
                    <a:lnTo>
                      <a:pt x="91" y="20"/>
                    </a:lnTo>
                    <a:lnTo>
                      <a:pt x="92" y="25"/>
                    </a:lnTo>
                    <a:lnTo>
                      <a:pt x="93" y="32"/>
                    </a:lnTo>
                    <a:lnTo>
                      <a:pt x="95" y="42"/>
                    </a:lnTo>
                    <a:lnTo>
                      <a:pt x="97" y="45"/>
                    </a:lnTo>
                    <a:lnTo>
                      <a:pt x="97" y="56"/>
                    </a:lnTo>
                    <a:lnTo>
                      <a:pt x="101" y="62"/>
                    </a:lnTo>
                    <a:lnTo>
                      <a:pt x="101" y="68"/>
                    </a:lnTo>
                    <a:lnTo>
                      <a:pt x="104" y="80"/>
                    </a:lnTo>
                    <a:lnTo>
                      <a:pt x="107" y="84"/>
                    </a:lnTo>
                    <a:lnTo>
                      <a:pt x="111" y="86"/>
                    </a:lnTo>
                    <a:lnTo>
                      <a:pt x="111" y="90"/>
                    </a:lnTo>
                    <a:lnTo>
                      <a:pt x="113" y="91"/>
                    </a:lnTo>
                    <a:lnTo>
                      <a:pt x="113" y="94"/>
                    </a:lnTo>
                    <a:lnTo>
                      <a:pt x="114" y="96"/>
                    </a:lnTo>
                    <a:lnTo>
                      <a:pt x="118" y="96"/>
                    </a:lnTo>
                    <a:lnTo>
                      <a:pt x="119" y="97"/>
                    </a:lnTo>
                    <a:lnTo>
                      <a:pt x="120" y="104"/>
                    </a:lnTo>
                    <a:lnTo>
                      <a:pt x="123" y="106"/>
                    </a:lnTo>
                    <a:lnTo>
                      <a:pt x="123" y="110"/>
                    </a:lnTo>
                    <a:lnTo>
                      <a:pt x="128" y="113"/>
                    </a:lnTo>
                    <a:lnTo>
                      <a:pt x="128" y="112"/>
                    </a:lnTo>
                    <a:lnTo>
                      <a:pt x="129" y="109"/>
                    </a:lnTo>
                    <a:lnTo>
                      <a:pt x="128" y="106"/>
                    </a:lnTo>
                    <a:lnTo>
                      <a:pt x="126" y="103"/>
                    </a:lnTo>
                    <a:lnTo>
                      <a:pt x="128" y="100"/>
                    </a:lnTo>
                    <a:lnTo>
                      <a:pt x="132" y="99"/>
                    </a:lnTo>
                    <a:lnTo>
                      <a:pt x="135" y="103"/>
                    </a:lnTo>
                    <a:lnTo>
                      <a:pt x="136" y="103"/>
                    </a:lnTo>
                    <a:lnTo>
                      <a:pt x="138" y="105"/>
                    </a:lnTo>
                    <a:lnTo>
                      <a:pt x="135" y="109"/>
                    </a:lnTo>
                    <a:lnTo>
                      <a:pt x="136" y="110"/>
                    </a:lnTo>
                    <a:lnTo>
                      <a:pt x="139" y="114"/>
                    </a:lnTo>
                    <a:lnTo>
                      <a:pt x="143" y="120"/>
                    </a:lnTo>
                    <a:lnTo>
                      <a:pt x="146" y="120"/>
                    </a:lnTo>
                    <a:lnTo>
                      <a:pt x="148" y="120"/>
                    </a:lnTo>
                    <a:lnTo>
                      <a:pt x="150" y="119"/>
                    </a:lnTo>
                    <a:lnTo>
                      <a:pt x="154" y="119"/>
                    </a:lnTo>
                    <a:lnTo>
                      <a:pt x="157" y="120"/>
                    </a:lnTo>
                    <a:lnTo>
                      <a:pt x="159" y="122"/>
                    </a:lnTo>
                    <a:lnTo>
                      <a:pt x="162" y="127"/>
                    </a:lnTo>
                    <a:lnTo>
                      <a:pt x="165" y="129"/>
                    </a:lnTo>
                    <a:lnTo>
                      <a:pt x="167" y="129"/>
                    </a:lnTo>
                    <a:lnTo>
                      <a:pt x="172" y="131"/>
                    </a:lnTo>
                    <a:lnTo>
                      <a:pt x="179" y="131"/>
                    </a:lnTo>
                    <a:lnTo>
                      <a:pt x="184" y="135"/>
                    </a:lnTo>
                    <a:lnTo>
                      <a:pt x="194" y="151"/>
                    </a:lnTo>
                    <a:lnTo>
                      <a:pt x="200" y="157"/>
                    </a:lnTo>
                    <a:lnTo>
                      <a:pt x="200" y="160"/>
                    </a:lnTo>
                    <a:lnTo>
                      <a:pt x="203" y="161"/>
                    </a:lnTo>
                    <a:lnTo>
                      <a:pt x="204" y="161"/>
                    </a:lnTo>
                    <a:lnTo>
                      <a:pt x="206" y="163"/>
                    </a:lnTo>
                    <a:lnTo>
                      <a:pt x="210" y="162"/>
                    </a:lnTo>
                    <a:lnTo>
                      <a:pt x="212" y="163"/>
                    </a:lnTo>
                    <a:lnTo>
                      <a:pt x="215" y="170"/>
                    </a:lnTo>
                    <a:lnTo>
                      <a:pt x="217" y="172"/>
                    </a:lnTo>
                    <a:lnTo>
                      <a:pt x="221" y="173"/>
                    </a:lnTo>
                    <a:lnTo>
                      <a:pt x="222" y="175"/>
                    </a:lnTo>
                    <a:lnTo>
                      <a:pt x="224" y="178"/>
                    </a:lnTo>
                    <a:lnTo>
                      <a:pt x="227" y="185"/>
                    </a:lnTo>
                    <a:lnTo>
                      <a:pt x="227" y="187"/>
                    </a:lnTo>
                    <a:lnTo>
                      <a:pt x="231" y="189"/>
                    </a:lnTo>
                    <a:lnTo>
                      <a:pt x="237" y="189"/>
                    </a:lnTo>
                    <a:lnTo>
                      <a:pt x="238" y="190"/>
                    </a:lnTo>
                    <a:lnTo>
                      <a:pt x="239" y="196"/>
                    </a:lnTo>
                    <a:lnTo>
                      <a:pt x="242" y="198"/>
                    </a:lnTo>
                    <a:lnTo>
                      <a:pt x="245" y="199"/>
                    </a:lnTo>
                    <a:lnTo>
                      <a:pt x="249" y="198"/>
                    </a:lnTo>
                    <a:lnTo>
                      <a:pt x="253" y="202"/>
                    </a:lnTo>
                    <a:lnTo>
                      <a:pt x="241" y="209"/>
                    </a:lnTo>
                    <a:lnTo>
                      <a:pt x="231" y="214"/>
                    </a:lnTo>
                    <a:lnTo>
                      <a:pt x="227" y="219"/>
                    </a:lnTo>
                    <a:lnTo>
                      <a:pt x="222" y="214"/>
                    </a:lnTo>
                    <a:lnTo>
                      <a:pt x="219" y="209"/>
                    </a:lnTo>
                    <a:lnTo>
                      <a:pt x="214" y="205"/>
                    </a:lnTo>
                    <a:lnTo>
                      <a:pt x="209" y="202"/>
                    </a:lnTo>
                    <a:lnTo>
                      <a:pt x="206" y="198"/>
                    </a:lnTo>
                    <a:lnTo>
                      <a:pt x="204" y="192"/>
                    </a:lnTo>
                    <a:lnTo>
                      <a:pt x="199" y="187"/>
                    </a:lnTo>
                    <a:lnTo>
                      <a:pt x="191" y="180"/>
                    </a:lnTo>
                    <a:lnTo>
                      <a:pt x="179" y="172"/>
                    </a:lnTo>
                    <a:lnTo>
                      <a:pt x="176" y="165"/>
                    </a:lnTo>
                    <a:lnTo>
                      <a:pt x="171" y="158"/>
                    </a:lnTo>
                    <a:lnTo>
                      <a:pt x="162" y="151"/>
                    </a:lnTo>
                    <a:lnTo>
                      <a:pt x="156" y="151"/>
                    </a:lnTo>
                    <a:lnTo>
                      <a:pt x="149" y="147"/>
                    </a:lnTo>
                    <a:lnTo>
                      <a:pt x="140" y="139"/>
                    </a:lnTo>
                    <a:lnTo>
                      <a:pt x="132" y="139"/>
                    </a:lnTo>
                    <a:lnTo>
                      <a:pt x="131" y="141"/>
                    </a:lnTo>
                    <a:lnTo>
                      <a:pt x="128" y="141"/>
                    </a:lnTo>
                    <a:lnTo>
                      <a:pt x="126" y="139"/>
                    </a:lnTo>
                    <a:lnTo>
                      <a:pt x="119" y="138"/>
                    </a:lnTo>
                    <a:lnTo>
                      <a:pt x="116" y="136"/>
                    </a:lnTo>
                    <a:lnTo>
                      <a:pt x="113" y="136"/>
                    </a:lnTo>
                    <a:lnTo>
                      <a:pt x="110" y="139"/>
                    </a:lnTo>
                    <a:lnTo>
                      <a:pt x="106" y="139"/>
                    </a:lnTo>
                    <a:lnTo>
                      <a:pt x="104" y="141"/>
                    </a:lnTo>
                    <a:lnTo>
                      <a:pt x="103" y="141"/>
                    </a:lnTo>
                    <a:lnTo>
                      <a:pt x="101" y="136"/>
                    </a:lnTo>
                    <a:lnTo>
                      <a:pt x="97" y="132"/>
                    </a:lnTo>
                    <a:lnTo>
                      <a:pt x="94" y="132"/>
                    </a:lnTo>
                    <a:lnTo>
                      <a:pt x="94" y="136"/>
                    </a:lnTo>
                    <a:lnTo>
                      <a:pt x="90" y="138"/>
                    </a:lnTo>
                    <a:lnTo>
                      <a:pt x="80" y="141"/>
                    </a:lnTo>
                    <a:lnTo>
                      <a:pt x="78" y="141"/>
                    </a:lnTo>
                    <a:lnTo>
                      <a:pt x="73" y="141"/>
                    </a:lnTo>
                    <a:lnTo>
                      <a:pt x="65" y="134"/>
                    </a:lnTo>
                    <a:lnTo>
                      <a:pt x="65" y="131"/>
                    </a:lnTo>
                    <a:lnTo>
                      <a:pt x="63" y="131"/>
                    </a:lnTo>
                    <a:lnTo>
                      <a:pt x="59" y="131"/>
                    </a:lnTo>
                    <a:lnTo>
                      <a:pt x="54" y="127"/>
                    </a:lnTo>
                    <a:lnTo>
                      <a:pt x="52" y="124"/>
                    </a:lnTo>
                    <a:lnTo>
                      <a:pt x="38" y="154"/>
                    </a:lnTo>
                    <a:lnTo>
                      <a:pt x="33" y="147"/>
                    </a:lnTo>
                    <a:lnTo>
                      <a:pt x="32" y="145"/>
                    </a:lnTo>
                    <a:lnTo>
                      <a:pt x="28" y="141"/>
                    </a:lnTo>
                    <a:lnTo>
                      <a:pt x="23" y="141"/>
                    </a:lnTo>
                    <a:lnTo>
                      <a:pt x="22" y="144"/>
                    </a:lnTo>
                    <a:lnTo>
                      <a:pt x="20" y="146"/>
                    </a:lnTo>
                    <a:lnTo>
                      <a:pt x="17" y="147"/>
                    </a:lnTo>
                    <a:lnTo>
                      <a:pt x="15" y="147"/>
                    </a:lnTo>
                    <a:lnTo>
                      <a:pt x="11" y="146"/>
                    </a:lnTo>
                    <a:lnTo>
                      <a:pt x="3" y="146"/>
                    </a:lnTo>
                    <a:lnTo>
                      <a:pt x="1" y="145"/>
                    </a:lnTo>
                    <a:lnTo>
                      <a:pt x="0" y="135"/>
                    </a:lnTo>
                    <a:lnTo>
                      <a:pt x="0" y="120"/>
                    </a:lnTo>
                    <a:lnTo>
                      <a:pt x="1" y="110"/>
                    </a:lnTo>
                    <a:lnTo>
                      <a:pt x="6" y="99"/>
                    </a:lnTo>
                    <a:lnTo>
                      <a:pt x="13" y="76"/>
                    </a:lnTo>
                    <a:lnTo>
                      <a:pt x="15" y="62"/>
                    </a:lnTo>
                    <a:lnTo>
                      <a:pt x="15" y="58"/>
                    </a:lnTo>
                    <a:lnTo>
                      <a:pt x="18" y="42"/>
                    </a:lnTo>
                    <a:lnTo>
                      <a:pt x="22" y="37"/>
                    </a:lnTo>
                    <a:lnTo>
                      <a:pt x="30" y="36"/>
                    </a:lnTo>
                    <a:lnTo>
                      <a:pt x="36" y="32"/>
                    </a:lnTo>
                    <a:lnTo>
                      <a:pt x="40" y="28"/>
                    </a:lnTo>
                    <a:lnTo>
                      <a:pt x="54" y="21"/>
                    </a:lnTo>
                    <a:lnTo>
                      <a:pt x="60" y="20"/>
                    </a:lnTo>
                    <a:lnTo>
                      <a:pt x="69"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7" name="Freeform 83"/>
              <p:cNvSpPr>
                <a:spLocks/>
              </p:cNvSpPr>
              <p:nvPr/>
            </p:nvSpPr>
            <p:spPr bwMode="auto">
              <a:xfrm>
                <a:off x="2791" y="1791"/>
                <a:ext cx="270" cy="230"/>
              </a:xfrm>
              <a:custGeom>
                <a:avLst/>
                <a:gdLst>
                  <a:gd name="T0" fmla="*/ 5615 w 253"/>
                  <a:gd name="T1" fmla="*/ 0 h 219"/>
                  <a:gd name="T2" fmla="*/ 5992 w 253"/>
                  <a:gd name="T3" fmla="*/ 5 h 219"/>
                  <a:gd name="T4" fmla="*/ 6606 w 253"/>
                  <a:gd name="T5" fmla="*/ 484 h 219"/>
                  <a:gd name="T6" fmla="*/ 6905 w 253"/>
                  <a:gd name="T7" fmla="*/ 1062 h 219"/>
                  <a:gd name="T8" fmla="*/ 7369 w 253"/>
                  <a:gd name="T9" fmla="*/ 1572 h 219"/>
                  <a:gd name="T10" fmla="*/ 7833 w 253"/>
                  <a:gd name="T11" fmla="*/ 2123 h 219"/>
                  <a:gd name="T12" fmla="*/ 8310 w 253"/>
                  <a:gd name="T13" fmla="*/ 2326 h 219"/>
                  <a:gd name="T14" fmla="*/ 8570 w 253"/>
                  <a:gd name="T15" fmla="*/ 2443 h 219"/>
                  <a:gd name="T16" fmla="*/ 8956 w 253"/>
                  <a:gd name="T17" fmla="*/ 2695 h 219"/>
                  <a:gd name="T18" fmla="*/ 9447 w 253"/>
                  <a:gd name="T19" fmla="*/ 2859 h 219"/>
                  <a:gd name="T20" fmla="*/ 9447 w 253"/>
                  <a:gd name="T21" fmla="*/ 2695 h 219"/>
                  <a:gd name="T22" fmla="*/ 9588 w 253"/>
                  <a:gd name="T23" fmla="*/ 2515 h 219"/>
                  <a:gd name="T24" fmla="*/ 10100 w 253"/>
                  <a:gd name="T25" fmla="*/ 2660 h 219"/>
                  <a:gd name="T26" fmla="*/ 10160 w 253"/>
                  <a:gd name="T27" fmla="*/ 2913 h 219"/>
                  <a:gd name="T28" fmla="*/ 10843 w 253"/>
                  <a:gd name="T29" fmla="*/ 3059 h 219"/>
                  <a:gd name="T30" fmla="*/ 11503 w 253"/>
                  <a:gd name="T31" fmla="*/ 3059 h 219"/>
                  <a:gd name="T32" fmla="*/ 12046 w 253"/>
                  <a:gd name="T33" fmla="*/ 3278 h 219"/>
                  <a:gd name="T34" fmla="*/ 13101 w 253"/>
                  <a:gd name="T35" fmla="*/ 3312 h 219"/>
                  <a:gd name="T36" fmla="*/ 14497 w 253"/>
                  <a:gd name="T37" fmla="*/ 3993 h 219"/>
                  <a:gd name="T38" fmla="*/ 14920 w 253"/>
                  <a:gd name="T39" fmla="*/ 4104 h 219"/>
                  <a:gd name="T40" fmla="*/ 15454 w 253"/>
                  <a:gd name="T41" fmla="*/ 4135 h 219"/>
                  <a:gd name="T42" fmla="*/ 16133 w 253"/>
                  <a:gd name="T43" fmla="*/ 4405 h 219"/>
                  <a:gd name="T44" fmla="*/ 16511 w 253"/>
                  <a:gd name="T45" fmla="*/ 4667 h 219"/>
                  <a:gd name="T46" fmla="*/ 17378 w 253"/>
                  <a:gd name="T47" fmla="*/ 4790 h 219"/>
                  <a:gd name="T48" fmla="*/ 17620 w 253"/>
                  <a:gd name="T49" fmla="*/ 5031 h 219"/>
                  <a:gd name="T50" fmla="*/ 18546 w 253"/>
                  <a:gd name="T51" fmla="*/ 5110 h 219"/>
                  <a:gd name="T52" fmla="*/ 16511 w 253"/>
                  <a:gd name="T53" fmla="*/ 5567 h 219"/>
                  <a:gd name="T54" fmla="*/ 15586 w 253"/>
                  <a:gd name="T55" fmla="*/ 5243 h 219"/>
                  <a:gd name="T56" fmla="*/ 14920 w 253"/>
                  <a:gd name="T57" fmla="*/ 4866 h 219"/>
                  <a:gd name="T58" fmla="*/ 13101 w 253"/>
                  <a:gd name="T59" fmla="*/ 4399 h 219"/>
                  <a:gd name="T60" fmla="*/ 11818 w 253"/>
                  <a:gd name="T61" fmla="*/ 3824 h 219"/>
                  <a:gd name="T62" fmla="*/ 10200 w 253"/>
                  <a:gd name="T63" fmla="*/ 3543 h 219"/>
                  <a:gd name="T64" fmla="*/ 9447 w 253"/>
                  <a:gd name="T65" fmla="*/ 3570 h 219"/>
                  <a:gd name="T66" fmla="*/ 8418 w 253"/>
                  <a:gd name="T67" fmla="*/ 3453 h 219"/>
                  <a:gd name="T68" fmla="*/ 7787 w 253"/>
                  <a:gd name="T69" fmla="*/ 3543 h 219"/>
                  <a:gd name="T70" fmla="*/ 7369 w 253"/>
                  <a:gd name="T71" fmla="*/ 3453 h 219"/>
                  <a:gd name="T72" fmla="*/ 6878 w 253"/>
                  <a:gd name="T73" fmla="*/ 3453 h 219"/>
                  <a:gd name="T74" fmla="*/ 5681 w 253"/>
                  <a:gd name="T75" fmla="*/ 3570 h 219"/>
                  <a:gd name="T76" fmla="*/ 4688 w 253"/>
                  <a:gd name="T77" fmla="*/ 3312 h 219"/>
                  <a:gd name="T78" fmla="*/ 3926 w 253"/>
                  <a:gd name="T79" fmla="*/ 3224 h 219"/>
                  <a:gd name="T80" fmla="*/ 2333 w 253"/>
                  <a:gd name="T81" fmla="*/ 3735 h 219"/>
                  <a:gd name="T82" fmla="*/ 1685 w 253"/>
                  <a:gd name="T83" fmla="*/ 3570 h 219"/>
                  <a:gd name="T84" fmla="*/ 1141 w 253"/>
                  <a:gd name="T85" fmla="*/ 3735 h 219"/>
                  <a:gd name="T86" fmla="*/ 3 w 253"/>
                  <a:gd name="T87" fmla="*/ 3721 h 219"/>
                  <a:gd name="T88" fmla="*/ 0 w 253"/>
                  <a:gd name="T89" fmla="*/ 3059 h 219"/>
                  <a:gd name="T90" fmla="*/ 880 w 253"/>
                  <a:gd name="T91" fmla="*/ 1924 h 219"/>
                  <a:gd name="T92" fmla="*/ 1218 w 253"/>
                  <a:gd name="T93" fmla="*/ 1062 h 219"/>
                  <a:gd name="T94" fmla="*/ 2611 w 253"/>
                  <a:gd name="T95" fmla="*/ 831 h 219"/>
                  <a:gd name="T96" fmla="*/ 4380 w 253"/>
                  <a:gd name="T97" fmla="*/ 484 h 21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53"/>
                  <a:gd name="T148" fmla="*/ 0 h 219"/>
                  <a:gd name="T149" fmla="*/ 253 w 253"/>
                  <a:gd name="T150" fmla="*/ 219 h 21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53" h="219">
                    <a:moveTo>
                      <a:pt x="69" y="15"/>
                    </a:moveTo>
                    <a:lnTo>
                      <a:pt x="75" y="6"/>
                    </a:lnTo>
                    <a:lnTo>
                      <a:pt x="76" y="0"/>
                    </a:lnTo>
                    <a:lnTo>
                      <a:pt x="78" y="0"/>
                    </a:lnTo>
                    <a:lnTo>
                      <a:pt x="80" y="0"/>
                    </a:lnTo>
                    <a:lnTo>
                      <a:pt x="81" y="5"/>
                    </a:lnTo>
                    <a:lnTo>
                      <a:pt x="84" y="10"/>
                    </a:lnTo>
                    <a:lnTo>
                      <a:pt x="87" y="13"/>
                    </a:lnTo>
                    <a:lnTo>
                      <a:pt x="91" y="20"/>
                    </a:lnTo>
                    <a:lnTo>
                      <a:pt x="92" y="25"/>
                    </a:lnTo>
                    <a:lnTo>
                      <a:pt x="93" y="32"/>
                    </a:lnTo>
                    <a:lnTo>
                      <a:pt x="95" y="42"/>
                    </a:lnTo>
                    <a:lnTo>
                      <a:pt x="97" y="45"/>
                    </a:lnTo>
                    <a:lnTo>
                      <a:pt x="97" y="56"/>
                    </a:lnTo>
                    <a:lnTo>
                      <a:pt x="101" y="62"/>
                    </a:lnTo>
                    <a:lnTo>
                      <a:pt x="101" y="68"/>
                    </a:lnTo>
                    <a:lnTo>
                      <a:pt x="104" y="80"/>
                    </a:lnTo>
                    <a:lnTo>
                      <a:pt x="107" y="84"/>
                    </a:lnTo>
                    <a:lnTo>
                      <a:pt x="111" y="86"/>
                    </a:lnTo>
                    <a:lnTo>
                      <a:pt x="111" y="90"/>
                    </a:lnTo>
                    <a:lnTo>
                      <a:pt x="113" y="91"/>
                    </a:lnTo>
                    <a:lnTo>
                      <a:pt x="113" y="94"/>
                    </a:lnTo>
                    <a:lnTo>
                      <a:pt x="114" y="96"/>
                    </a:lnTo>
                    <a:lnTo>
                      <a:pt x="118" y="96"/>
                    </a:lnTo>
                    <a:lnTo>
                      <a:pt x="119" y="97"/>
                    </a:lnTo>
                    <a:lnTo>
                      <a:pt x="120" y="104"/>
                    </a:lnTo>
                    <a:lnTo>
                      <a:pt x="123" y="106"/>
                    </a:lnTo>
                    <a:lnTo>
                      <a:pt x="123" y="110"/>
                    </a:lnTo>
                    <a:lnTo>
                      <a:pt x="128" y="113"/>
                    </a:lnTo>
                    <a:lnTo>
                      <a:pt x="128" y="112"/>
                    </a:lnTo>
                    <a:lnTo>
                      <a:pt x="129" y="109"/>
                    </a:lnTo>
                    <a:lnTo>
                      <a:pt x="128" y="106"/>
                    </a:lnTo>
                    <a:lnTo>
                      <a:pt x="126" y="103"/>
                    </a:lnTo>
                    <a:lnTo>
                      <a:pt x="128" y="100"/>
                    </a:lnTo>
                    <a:lnTo>
                      <a:pt x="132" y="99"/>
                    </a:lnTo>
                    <a:lnTo>
                      <a:pt x="135" y="103"/>
                    </a:lnTo>
                    <a:lnTo>
                      <a:pt x="136" y="103"/>
                    </a:lnTo>
                    <a:lnTo>
                      <a:pt x="138" y="105"/>
                    </a:lnTo>
                    <a:lnTo>
                      <a:pt x="135" y="109"/>
                    </a:lnTo>
                    <a:lnTo>
                      <a:pt x="136" y="110"/>
                    </a:lnTo>
                    <a:lnTo>
                      <a:pt x="139" y="114"/>
                    </a:lnTo>
                    <a:lnTo>
                      <a:pt x="143" y="120"/>
                    </a:lnTo>
                    <a:lnTo>
                      <a:pt x="146" y="120"/>
                    </a:lnTo>
                    <a:lnTo>
                      <a:pt x="148" y="120"/>
                    </a:lnTo>
                    <a:lnTo>
                      <a:pt x="150" y="119"/>
                    </a:lnTo>
                    <a:lnTo>
                      <a:pt x="154" y="119"/>
                    </a:lnTo>
                    <a:lnTo>
                      <a:pt x="157" y="120"/>
                    </a:lnTo>
                    <a:lnTo>
                      <a:pt x="159" y="122"/>
                    </a:lnTo>
                    <a:lnTo>
                      <a:pt x="162" y="127"/>
                    </a:lnTo>
                    <a:lnTo>
                      <a:pt x="165" y="129"/>
                    </a:lnTo>
                    <a:lnTo>
                      <a:pt x="167" y="129"/>
                    </a:lnTo>
                    <a:lnTo>
                      <a:pt x="172" y="131"/>
                    </a:lnTo>
                    <a:lnTo>
                      <a:pt x="179" y="131"/>
                    </a:lnTo>
                    <a:lnTo>
                      <a:pt x="184" y="135"/>
                    </a:lnTo>
                    <a:lnTo>
                      <a:pt x="194" y="151"/>
                    </a:lnTo>
                    <a:lnTo>
                      <a:pt x="200" y="157"/>
                    </a:lnTo>
                    <a:lnTo>
                      <a:pt x="200" y="160"/>
                    </a:lnTo>
                    <a:lnTo>
                      <a:pt x="203" y="161"/>
                    </a:lnTo>
                    <a:lnTo>
                      <a:pt x="204" y="161"/>
                    </a:lnTo>
                    <a:lnTo>
                      <a:pt x="206" y="163"/>
                    </a:lnTo>
                    <a:lnTo>
                      <a:pt x="210" y="162"/>
                    </a:lnTo>
                    <a:lnTo>
                      <a:pt x="212" y="163"/>
                    </a:lnTo>
                    <a:lnTo>
                      <a:pt x="215" y="170"/>
                    </a:lnTo>
                    <a:lnTo>
                      <a:pt x="217" y="172"/>
                    </a:lnTo>
                    <a:lnTo>
                      <a:pt x="221" y="173"/>
                    </a:lnTo>
                    <a:lnTo>
                      <a:pt x="222" y="175"/>
                    </a:lnTo>
                    <a:lnTo>
                      <a:pt x="224" y="178"/>
                    </a:lnTo>
                    <a:lnTo>
                      <a:pt x="227" y="185"/>
                    </a:lnTo>
                    <a:lnTo>
                      <a:pt x="227" y="187"/>
                    </a:lnTo>
                    <a:lnTo>
                      <a:pt x="231" y="189"/>
                    </a:lnTo>
                    <a:lnTo>
                      <a:pt x="237" y="189"/>
                    </a:lnTo>
                    <a:lnTo>
                      <a:pt x="238" y="190"/>
                    </a:lnTo>
                    <a:lnTo>
                      <a:pt x="239" y="196"/>
                    </a:lnTo>
                    <a:lnTo>
                      <a:pt x="242" y="198"/>
                    </a:lnTo>
                    <a:lnTo>
                      <a:pt x="245" y="199"/>
                    </a:lnTo>
                    <a:lnTo>
                      <a:pt x="249" y="198"/>
                    </a:lnTo>
                    <a:lnTo>
                      <a:pt x="253" y="202"/>
                    </a:lnTo>
                    <a:lnTo>
                      <a:pt x="241" y="209"/>
                    </a:lnTo>
                    <a:lnTo>
                      <a:pt x="231" y="214"/>
                    </a:lnTo>
                    <a:lnTo>
                      <a:pt x="227" y="219"/>
                    </a:lnTo>
                    <a:lnTo>
                      <a:pt x="222" y="214"/>
                    </a:lnTo>
                    <a:lnTo>
                      <a:pt x="219" y="209"/>
                    </a:lnTo>
                    <a:lnTo>
                      <a:pt x="214" y="205"/>
                    </a:lnTo>
                    <a:lnTo>
                      <a:pt x="209" y="202"/>
                    </a:lnTo>
                    <a:lnTo>
                      <a:pt x="206" y="198"/>
                    </a:lnTo>
                    <a:lnTo>
                      <a:pt x="204" y="192"/>
                    </a:lnTo>
                    <a:lnTo>
                      <a:pt x="199" y="187"/>
                    </a:lnTo>
                    <a:lnTo>
                      <a:pt x="191" y="180"/>
                    </a:lnTo>
                    <a:lnTo>
                      <a:pt x="179" y="172"/>
                    </a:lnTo>
                    <a:lnTo>
                      <a:pt x="176" y="165"/>
                    </a:lnTo>
                    <a:lnTo>
                      <a:pt x="171" y="158"/>
                    </a:lnTo>
                    <a:lnTo>
                      <a:pt x="162" y="151"/>
                    </a:lnTo>
                    <a:lnTo>
                      <a:pt x="156" y="151"/>
                    </a:lnTo>
                    <a:lnTo>
                      <a:pt x="149" y="147"/>
                    </a:lnTo>
                    <a:lnTo>
                      <a:pt x="140" y="139"/>
                    </a:lnTo>
                    <a:lnTo>
                      <a:pt x="132" y="139"/>
                    </a:lnTo>
                    <a:lnTo>
                      <a:pt x="131" y="141"/>
                    </a:lnTo>
                    <a:lnTo>
                      <a:pt x="128" y="141"/>
                    </a:lnTo>
                    <a:lnTo>
                      <a:pt x="126" y="139"/>
                    </a:lnTo>
                    <a:lnTo>
                      <a:pt x="119" y="138"/>
                    </a:lnTo>
                    <a:lnTo>
                      <a:pt x="116" y="136"/>
                    </a:lnTo>
                    <a:lnTo>
                      <a:pt x="113" y="136"/>
                    </a:lnTo>
                    <a:lnTo>
                      <a:pt x="110" y="139"/>
                    </a:lnTo>
                    <a:lnTo>
                      <a:pt x="106" y="139"/>
                    </a:lnTo>
                    <a:lnTo>
                      <a:pt x="104" y="141"/>
                    </a:lnTo>
                    <a:lnTo>
                      <a:pt x="103" y="141"/>
                    </a:lnTo>
                    <a:lnTo>
                      <a:pt x="101" y="136"/>
                    </a:lnTo>
                    <a:lnTo>
                      <a:pt x="97" y="132"/>
                    </a:lnTo>
                    <a:lnTo>
                      <a:pt x="94" y="132"/>
                    </a:lnTo>
                    <a:lnTo>
                      <a:pt x="94" y="136"/>
                    </a:lnTo>
                    <a:lnTo>
                      <a:pt x="90" y="138"/>
                    </a:lnTo>
                    <a:lnTo>
                      <a:pt x="80" y="141"/>
                    </a:lnTo>
                    <a:lnTo>
                      <a:pt x="78" y="141"/>
                    </a:lnTo>
                    <a:lnTo>
                      <a:pt x="73" y="141"/>
                    </a:lnTo>
                    <a:lnTo>
                      <a:pt x="65" y="134"/>
                    </a:lnTo>
                    <a:lnTo>
                      <a:pt x="65" y="131"/>
                    </a:lnTo>
                    <a:lnTo>
                      <a:pt x="63" y="131"/>
                    </a:lnTo>
                    <a:lnTo>
                      <a:pt x="59" y="131"/>
                    </a:lnTo>
                    <a:lnTo>
                      <a:pt x="54" y="127"/>
                    </a:lnTo>
                    <a:lnTo>
                      <a:pt x="52" y="124"/>
                    </a:lnTo>
                    <a:lnTo>
                      <a:pt x="38" y="154"/>
                    </a:lnTo>
                    <a:lnTo>
                      <a:pt x="33" y="147"/>
                    </a:lnTo>
                    <a:lnTo>
                      <a:pt x="32" y="145"/>
                    </a:lnTo>
                    <a:lnTo>
                      <a:pt x="28" y="141"/>
                    </a:lnTo>
                    <a:lnTo>
                      <a:pt x="23" y="141"/>
                    </a:lnTo>
                    <a:lnTo>
                      <a:pt x="22" y="144"/>
                    </a:lnTo>
                    <a:lnTo>
                      <a:pt x="20" y="146"/>
                    </a:lnTo>
                    <a:lnTo>
                      <a:pt x="17" y="147"/>
                    </a:lnTo>
                    <a:lnTo>
                      <a:pt x="15" y="147"/>
                    </a:lnTo>
                    <a:lnTo>
                      <a:pt x="11" y="146"/>
                    </a:lnTo>
                    <a:lnTo>
                      <a:pt x="3" y="146"/>
                    </a:lnTo>
                    <a:lnTo>
                      <a:pt x="1" y="145"/>
                    </a:lnTo>
                    <a:lnTo>
                      <a:pt x="0" y="135"/>
                    </a:lnTo>
                    <a:lnTo>
                      <a:pt x="0" y="120"/>
                    </a:lnTo>
                    <a:lnTo>
                      <a:pt x="1" y="110"/>
                    </a:lnTo>
                    <a:lnTo>
                      <a:pt x="6" y="99"/>
                    </a:lnTo>
                    <a:lnTo>
                      <a:pt x="13" y="76"/>
                    </a:lnTo>
                    <a:lnTo>
                      <a:pt x="15" y="62"/>
                    </a:lnTo>
                    <a:lnTo>
                      <a:pt x="15" y="58"/>
                    </a:lnTo>
                    <a:lnTo>
                      <a:pt x="18" y="42"/>
                    </a:lnTo>
                    <a:lnTo>
                      <a:pt x="22" y="37"/>
                    </a:lnTo>
                    <a:lnTo>
                      <a:pt x="30" y="36"/>
                    </a:lnTo>
                    <a:lnTo>
                      <a:pt x="36" y="32"/>
                    </a:lnTo>
                    <a:lnTo>
                      <a:pt x="40" y="28"/>
                    </a:lnTo>
                    <a:lnTo>
                      <a:pt x="54" y="21"/>
                    </a:lnTo>
                    <a:lnTo>
                      <a:pt x="60" y="20"/>
                    </a:lnTo>
                    <a:lnTo>
                      <a:pt x="69" y="15"/>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88" name="Freeform 84"/>
              <p:cNvSpPr>
                <a:spLocks/>
              </p:cNvSpPr>
              <p:nvPr/>
            </p:nvSpPr>
            <p:spPr bwMode="auto">
              <a:xfrm>
                <a:off x="3013" y="2005"/>
                <a:ext cx="62" cy="75"/>
              </a:xfrm>
              <a:custGeom>
                <a:avLst/>
                <a:gdLst>
                  <a:gd name="T0" fmla="*/ 1938 w 58"/>
                  <a:gd name="T1" fmla="*/ 436 h 71"/>
                  <a:gd name="T2" fmla="*/ 2708 w 58"/>
                  <a:gd name="T3" fmla="*/ 6 h 71"/>
                  <a:gd name="T4" fmla="*/ 3644 w 58"/>
                  <a:gd name="T5" fmla="*/ 0 h 71"/>
                  <a:gd name="T6" fmla="*/ 3644 w 58"/>
                  <a:gd name="T7" fmla="*/ 3 h 71"/>
                  <a:gd name="T8" fmla="*/ 4039 w 58"/>
                  <a:gd name="T9" fmla="*/ 6 h 71"/>
                  <a:gd name="T10" fmla="*/ 4041 w 58"/>
                  <a:gd name="T11" fmla="*/ 413 h 71"/>
                  <a:gd name="T12" fmla="*/ 4422 w 58"/>
                  <a:gd name="T13" fmla="*/ 487 h 71"/>
                  <a:gd name="T14" fmla="*/ 4616 w 58"/>
                  <a:gd name="T15" fmla="*/ 543 h 71"/>
                  <a:gd name="T16" fmla="*/ 4727 w 58"/>
                  <a:gd name="T17" fmla="*/ 938 h 71"/>
                  <a:gd name="T18" fmla="*/ 4618 w 58"/>
                  <a:gd name="T19" fmla="*/ 1114 h 71"/>
                  <a:gd name="T20" fmla="*/ 4318 w 58"/>
                  <a:gd name="T21" fmla="*/ 1234 h 71"/>
                  <a:gd name="T22" fmla="*/ 3644 w 58"/>
                  <a:gd name="T23" fmla="*/ 1234 h 71"/>
                  <a:gd name="T24" fmla="*/ 3409 w 58"/>
                  <a:gd name="T25" fmla="*/ 1387 h 71"/>
                  <a:gd name="T26" fmla="*/ 3189 w 58"/>
                  <a:gd name="T27" fmla="*/ 1387 h 71"/>
                  <a:gd name="T28" fmla="*/ 3093 w 58"/>
                  <a:gd name="T29" fmla="*/ 1465 h 71"/>
                  <a:gd name="T30" fmla="*/ 2533 w 58"/>
                  <a:gd name="T31" fmla="*/ 1624 h 71"/>
                  <a:gd name="T32" fmla="*/ 2533 w 58"/>
                  <a:gd name="T33" fmla="*/ 1744 h 71"/>
                  <a:gd name="T34" fmla="*/ 2370 w 58"/>
                  <a:gd name="T35" fmla="*/ 1744 h 71"/>
                  <a:gd name="T36" fmla="*/ 2215 w 58"/>
                  <a:gd name="T37" fmla="*/ 1744 h 71"/>
                  <a:gd name="T38" fmla="*/ 2072 w 58"/>
                  <a:gd name="T39" fmla="*/ 1744 h 71"/>
                  <a:gd name="T40" fmla="*/ 2215 w 58"/>
                  <a:gd name="T41" fmla="*/ 1842 h 71"/>
                  <a:gd name="T42" fmla="*/ 2370 w 58"/>
                  <a:gd name="T43" fmla="*/ 1842 h 71"/>
                  <a:gd name="T44" fmla="*/ 2533 w 58"/>
                  <a:gd name="T45" fmla="*/ 1842 h 71"/>
                  <a:gd name="T46" fmla="*/ 2708 w 58"/>
                  <a:gd name="T47" fmla="*/ 1812 h 71"/>
                  <a:gd name="T48" fmla="*/ 3189 w 58"/>
                  <a:gd name="T49" fmla="*/ 1744 h 71"/>
                  <a:gd name="T50" fmla="*/ 3536 w 58"/>
                  <a:gd name="T51" fmla="*/ 1744 h 71"/>
                  <a:gd name="T52" fmla="*/ 4039 w 58"/>
                  <a:gd name="T53" fmla="*/ 1744 h 71"/>
                  <a:gd name="T54" fmla="*/ 4041 w 58"/>
                  <a:gd name="T55" fmla="*/ 1812 h 71"/>
                  <a:gd name="T56" fmla="*/ 4318 w 58"/>
                  <a:gd name="T57" fmla="*/ 1812 h 71"/>
                  <a:gd name="T58" fmla="*/ 4422 w 58"/>
                  <a:gd name="T59" fmla="*/ 1842 h 71"/>
                  <a:gd name="T60" fmla="*/ 4318 w 58"/>
                  <a:gd name="T61" fmla="*/ 1927 h 71"/>
                  <a:gd name="T62" fmla="*/ 4039 w 58"/>
                  <a:gd name="T63" fmla="*/ 2151 h 71"/>
                  <a:gd name="T64" fmla="*/ 3409 w 58"/>
                  <a:gd name="T65" fmla="*/ 2517 h 71"/>
                  <a:gd name="T66" fmla="*/ 3306 w 58"/>
                  <a:gd name="T67" fmla="*/ 2659 h 71"/>
                  <a:gd name="T68" fmla="*/ 2708 w 58"/>
                  <a:gd name="T69" fmla="*/ 2423 h 71"/>
                  <a:gd name="T70" fmla="*/ 2370 w 58"/>
                  <a:gd name="T71" fmla="*/ 2383 h 71"/>
                  <a:gd name="T72" fmla="*/ 1938 w 58"/>
                  <a:gd name="T73" fmla="*/ 2517 h 71"/>
                  <a:gd name="T74" fmla="*/ 1815 w 58"/>
                  <a:gd name="T75" fmla="*/ 2569 h 71"/>
                  <a:gd name="T76" fmla="*/ 1588 w 58"/>
                  <a:gd name="T77" fmla="*/ 2659 h 71"/>
                  <a:gd name="T78" fmla="*/ 1300 w 58"/>
                  <a:gd name="T79" fmla="*/ 2569 h 71"/>
                  <a:gd name="T80" fmla="*/ 996 w 58"/>
                  <a:gd name="T81" fmla="*/ 2569 h 71"/>
                  <a:gd name="T82" fmla="*/ 5 w 58"/>
                  <a:gd name="T83" fmla="*/ 2569 h 71"/>
                  <a:gd name="T84" fmla="*/ 0 w 58"/>
                  <a:gd name="T85" fmla="*/ 2423 h 71"/>
                  <a:gd name="T86" fmla="*/ 0 w 58"/>
                  <a:gd name="T87" fmla="*/ 2151 h 71"/>
                  <a:gd name="T88" fmla="*/ 0 w 58"/>
                  <a:gd name="T89" fmla="*/ 2136 h 71"/>
                  <a:gd name="T90" fmla="*/ 5 w 58"/>
                  <a:gd name="T91" fmla="*/ 1842 h 71"/>
                  <a:gd name="T92" fmla="*/ 816 w 58"/>
                  <a:gd name="T93" fmla="*/ 1537 h 71"/>
                  <a:gd name="T94" fmla="*/ 932 w 58"/>
                  <a:gd name="T95" fmla="*/ 1234 h 71"/>
                  <a:gd name="T96" fmla="*/ 1138 w 58"/>
                  <a:gd name="T97" fmla="*/ 714 h 71"/>
                  <a:gd name="T98" fmla="*/ 1588 w 58"/>
                  <a:gd name="T99" fmla="*/ 574 h 71"/>
                  <a:gd name="T100" fmla="*/ 1938 w 58"/>
                  <a:gd name="T101" fmla="*/ 436 h 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8"/>
                  <a:gd name="T154" fmla="*/ 0 h 71"/>
                  <a:gd name="T155" fmla="*/ 58 w 58"/>
                  <a:gd name="T156" fmla="*/ 71 h 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8" h="71">
                    <a:moveTo>
                      <a:pt x="23" y="11"/>
                    </a:moveTo>
                    <a:lnTo>
                      <a:pt x="34" y="6"/>
                    </a:lnTo>
                    <a:lnTo>
                      <a:pt x="45" y="0"/>
                    </a:lnTo>
                    <a:lnTo>
                      <a:pt x="45" y="3"/>
                    </a:lnTo>
                    <a:lnTo>
                      <a:pt x="49" y="6"/>
                    </a:lnTo>
                    <a:lnTo>
                      <a:pt x="50" y="10"/>
                    </a:lnTo>
                    <a:lnTo>
                      <a:pt x="54" y="13"/>
                    </a:lnTo>
                    <a:lnTo>
                      <a:pt x="56" y="15"/>
                    </a:lnTo>
                    <a:lnTo>
                      <a:pt x="58" y="25"/>
                    </a:lnTo>
                    <a:lnTo>
                      <a:pt x="57" y="30"/>
                    </a:lnTo>
                    <a:lnTo>
                      <a:pt x="52" y="33"/>
                    </a:lnTo>
                    <a:lnTo>
                      <a:pt x="45" y="33"/>
                    </a:lnTo>
                    <a:lnTo>
                      <a:pt x="42" y="38"/>
                    </a:lnTo>
                    <a:lnTo>
                      <a:pt x="39" y="38"/>
                    </a:lnTo>
                    <a:lnTo>
                      <a:pt x="37" y="40"/>
                    </a:lnTo>
                    <a:lnTo>
                      <a:pt x="32" y="43"/>
                    </a:lnTo>
                    <a:lnTo>
                      <a:pt x="32" y="47"/>
                    </a:lnTo>
                    <a:lnTo>
                      <a:pt x="30" y="47"/>
                    </a:lnTo>
                    <a:lnTo>
                      <a:pt x="27" y="47"/>
                    </a:lnTo>
                    <a:lnTo>
                      <a:pt x="25" y="47"/>
                    </a:lnTo>
                    <a:lnTo>
                      <a:pt x="27" y="50"/>
                    </a:lnTo>
                    <a:lnTo>
                      <a:pt x="30" y="50"/>
                    </a:lnTo>
                    <a:lnTo>
                      <a:pt x="32" y="50"/>
                    </a:lnTo>
                    <a:lnTo>
                      <a:pt x="34" y="48"/>
                    </a:lnTo>
                    <a:lnTo>
                      <a:pt x="39" y="47"/>
                    </a:lnTo>
                    <a:lnTo>
                      <a:pt x="44" y="47"/>
                    </a:lnTo>
                    <a:lnTo>
                      <a:pt x="49" y="47"/>
                    </a:lnTo>
                    <a:lnTo>
                      <a:pt x="50" y="48"/>
                    </a:lnTo>
                    <a:lnTo>
                      <a:pt x="52" y="48"/>
                    </a:lnTo>
                    <a:lnTo>
                      <a:pt x="54" y="50"/>
                    </a:lnTo>
                    <a:lnTo>
                      <a:pt x="52" y="52"/>
                    </a:lnTo>
                    <a:lnTo>
                      <a:pt x="49" y="58"/>
                    </a:lnTo>
                    <a:lnTo>
                      <a:pt x="42" y="67"/>
                    </a:lnTo>
                    <a:lnTo>
                      <a:pt x="40" y="71"/>
                    </a:lnTo>
                    <a:lnTo>
                      <a:pt x="34" y="65"/>
                    </a:lnTo>
                    <a:lnTo>
                      <a:pt x="30" y="63"/>
                    </a:lnTo>
                    <a:lnTo>
                      <a:pt x="23" y="67"/>
                    </a:lnTo>
                    <a:lnTo>
                      <a:pt x="22" y="70"/>
                    </a:lnTo>
                    <a:lnTo>
                      <a:pt x="20" y="71"/>
                    </a:lnTo>
                    <a:lnTo>
                      <a:pt x="17" y="70"/>
                    </a:lnTo>
                    <a:lnTo>
                      <a:pt x="13" y="70"/>
                    </a:lnTo>
                    <a:lnTo>
                      <a:pt x="5" y="70"/>
                    </a:lnTo>
                    <a:lnTo>
                      <a:pt x="0" y="65"/>
                    </a:lnTo>
                    <a:lnTo>
                      <a:pt x="0" y="58"/>
                    </a:lnTo>
                    <a:lnTo>
                      <a:pt x="0" y="57"/>
                    </a:lnTo>
                    <a:lnTo>
                      <a:pt x="5" y="50"/>
                    </a:lnTo>
                    <a:lnTo>
                      <a:pt x="10" y="41"/>
                    </a:lnTo>
                    <a:lnTo>
                      <a:pt x="12" y="33"/>
                    </a:lnTo>
                    <a:lnTo>
                      <a:pt x="15" y="20"/>
                    </a:lnTo>
                    <a:lnTo>
                      <a:pt x="20" y="16"/>
                    </a:lnTo>
                    <a:lnTo>
                      <a:pt x="23" y="11"/>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9" name="Freeform 85"/>
              <p:cNvSpPr>
                <a:spLocks/>
              </p:cNvSpPr>
              <p:nvPr/>
            </p:nvSpPr>
            <p:spPr bwMode="auto">
              <a:xfrm>
                <a:off x="3013" y="2005"/>
                <a:ext cx="62" cy="75"/>
              </a:xfrm>
              <a:custGeom>
                <a:avLst/>
                <a:gdLst>
                  <a:gd name="T0" fmla="*/ 1938 w 58"/>
                  <a:gd name="T1" fmla="*/ 436 h 71"/>
                  <a:gd name="T2" fmla="*/ 2708 w 58"/>
                  <a:gd name="T3" fmla="*/ 6 h 71"/>
                  <a:gd name="T4" fmla="*/ 3644 w 58"/>
                  <a:gd name="T5" fmla="*/ 0 h 71"/>
                  <a:gd name="T6" fmla="*/ 3644 w 58"/>
                  <a:gd name="T7" fmla="*/ 3 h 71"/>
                  <a:gd name="T8" fmla="*/ 4039 w 58"/>
                  <a:gd name="T9" fmla="*/ 6 h 71"/>
                  <a:gd name="T10" fmla="*/ 4041 w 58"/>
                  <a:gd name="T11" fmla="*/ 413 h 71"/>
                  <a:gd name="T12" fmla="*/ 4422 w 58"/>
                  <a:gd name="T13" fmla="*/ 487 h 71"/>
                  <a:gd name="T14" fmla="*/ 4616 w 58"/>
                  <a:gd name="T15" fmla="*/ 543 h 71"/>
                  <a:gd name="T16" fmla="*/ 4727 w 58"/>
                  <a:gd name="T17" fmla="*/ 938 h 71"/>
                  <a:gd name="T18" fmla="*/ 4618 w 58"/>
                  <a:gd name="T19" fmla="*/ 1114 h 71"/>
                  <a:gd name="T20" fmla="*/ 4318 w 58"/>
                  <a:gd name="T21" fmla="*/ 1234 h 71"/>
                  <a:gd name="T22" fmla="*/ 3644 w 58"/>
                  <a:gd name="T23" fmla="*/ 1234 h 71"/>
                  <a:gd name="T24" fmla="*/ 3409 w 58"/>
                  <a:gd name="T25" fmla="*/ 1387 h 71"/>
                  <a:gd name="T26" fmla="*/ 3189 w 58"/>
                  <a:gd name="T27" fmla="*/ 1387 h 71"/>
                  <a:gd name="T28" fmla="*/ 3093 w 58"/>
                  <a:gd name="T29" fmla="*/ 1465 h 71"/>
                  <a:gd name="T30" fmla="*/ 2533 w 58"/>
                  <a:gd name="T31" fmla="*/ 1624 h 71"/>
                  <a:gd name="T32" fmla="*/ 2533 w 58"/>
                  <a:gd name="T33" fmla="*/ 1744 h 71"/>
                  <a:gd name="T34" fmla="*/ 2370 w 58"/>
                  <a:gd name="T35" fmla="*/ 1744 h 71"/>
                  <a:gd name="T36" fmla="*/ 2215 w 58"/>
                  <a:gd name="T37" fmla="*/ 1744 h 71"/>
                  <a:gd name="T38" fmla="*/ 2072 w 58"/>
                  <a:gd name="T39" fmla="*/ 1744 h 71"/>
                  <a:gd name="T40" fmla="*/ 2215 w 58"/>
                  <a:gd name="T41" fmla="*/ 1842 h 71"/>
                  <a:gd name="T42" fmla="*/ 2370 w 58"/>
                  <a:gd name="T43" fmla="*/ 1842 h 71"/>
                  <a:gd name="T44" fmla="*/ 2533 w 58"/>
                  <a:gd name="T45" fmla="*/ 1842 h 71"/>
                  <a:gd name="T46" fmla="*/ 2708 w 58"/>
                  <a:gd name="T47" fmla="*/ 1812 h 71"/>
                  <a:gd name="T48" fmla="*/ 3189 w 58"/>
                  <a:gd name="T49" fmla="*/ 1744 h 71"/>
                  <a:gd name="T50" fmla="*/ 3536 w 58"/>
                  <a:gd name="T51" fmla="*/ 1744 h 71"/>
                  <a:gd name="T52" fmla="*/ 4039 w 58"/>
                  <a:gd name="T53" fmla="*/ 1744 h 71"/>
                  <a:gd name="T54" fmla="*/ 4041 w 58"/>
                  <a:gd name="T55" fmla="*/ 1812 h 71"/>
                  <a:gd name="T56" fmla="*/ 4318 w 58"/>
                  <a:gd name="T57" fmla="*/ 1812 h 71"/>
                  <a:gd name="T58" fmla="*/ 4422 w 58"/>
                  <a:gd name="T59" fmla="*/ 1842 h 71"/>
                  <a:gd name="T60" fmla="*/ 4318 w 58"/>
                  <a:gd name="T61" fmla="*/ 1927 h 71"/>
                  <a:gd name="T62" fmla="*/ 4039 w 58"/>
                  <a:gd name="T63" fmla="*/ 2151 h 71"/>
                  <a:gd name="T64" fmla="*/ 3409 w 58"/>
                  <a:gd name="T65" fmla="*/ 2517 h 71"/>
                  <a:gd name="T66" fmla="*/ 3306 w 58"/>
                  <a:gd name="T67" fmla="*/ 2659 h 71"/>
                  <a:gd name="T68" fmla="*/ 2708 w 58"/>
                  <a:gd name="T69" fmla="*/ 2423 h 71"/>
                  <a:gd name="T70" fmla="*/ 2370 w 58"/>
                  <a:gd name="T71" fmla="*/ 2383 h 71"/>
                  <a:gd name="T72" fmla="*/ 1938 w 58"/>
                  <a:gd name="T73" fmla="*/ 2517 h 71"/>
                  <a:gd name="T74" fmla="*/ 1815 w 58"/>
                  <a:gd name="T75" fmla="*/ 2569 h 71"/>
                  <a:gd name="T76" fmla="*/ 1588 w 58"/>
                  <a:gd name="T77" fmla="*/ 2659 h 71"/>
                  <a:gd name="T78" fmla="*/ 1300 w 58"/>
                  <a:gd name="T79" fmla="*/ 2569 h 71"/>
                  <a:gd name="T80" fmla="*/ 996 w 58"/>
                  <a:gd name="T81" fmla="*/ 2569 h 71"/>
                  <a:gd name="T82" fmla="*/ 5 w 58"/>
                  <a:gd name="T83" fmla="*/ 2569 h 71"/>
                  <a:gd name="T84" fmla="*/ 0 w 58"/>
                  <a:gd name="T85" fmla="*/ 2423 h 71"/>
                  <a:gd name="T86" fmla="*/ 0 w 58"/>
                  <a:gd name="T87" fmla="*/ 2151 h 71"/>
                  <a:gd name="T88" fmla="*/ 0 w 58"/>
                  <a:gd name="T89" fmla="*/ 2136 h 71"/>
                  <a:gd name="T90" fmla="*/ 5 w 58"/>
                  <a:gd name="T91" fmla="*/ 1842 h 71"/>
                  <a:gd name="T92" fmla="*/ 816 w 58"/>
                  <a:gd name="T93" fmla="*/ 1537 h 71"/>
                  <a:gd name="T94" fmla="*/ 932 w 58"/>
                  <a:gd name="T95" fmla="*/ 1234 h 71"/>
                  <a:gd name="T96" fmla="*/ 1138 w 58"/>
                  <a:gd name="T97" fmla="*/ 714 h 71"/>
                  <a:gd name="T98" fmla="*/ 1588 w 58"/>
                  <a:gd name="T99" fmla="*/ 574 h 71"/>
                  <a:gd name="T100" fmla="*/ 1938 w 58"/>
                  <a:gd name="T101" fmla="*/ 436 h 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8"/>
                  <a:gd name="T154" fmla="*/ 0 h 71"/>
                  <a:gd name="T155" fmla="*/ 58 w 58"/>
                  <a:gd name="T156" fmla="*/ 71 h 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8" h="71">
                    <a:moveTo>
                      <a:pt x="23" y="11"/>
                    </a:moveTo>
                    <a:lnTo>
                      <a:pt x="34" y="6"/>
                    </a:lnTo>
                    <a:lnTo>
                      <a:pt x="45" y="0"/>
                    </a:lnTo>
                    <a:lnTo>
                      <a:pt x="45" y="3"/>
                    </a:lnTo>
                    <a:lnTo>
                      <a:pt x="49" y="6"/>
                    </a:lnTo>
                    <a:lnTo>
                      <a:pt x="50" y="10"/>
                    </a:lnTo>
                    <a:lnTo>
                      <a:pt x="54" y="13"/>
                    </a:lnTo>
                    <a:lnTo>
                      <a:pt x="56" y="15"/>
                    </a:lnTo>
                    <a:lnTo>
                      <a:pt x="58" y="25"/>
                    </a:lnTo>
                    <a:lnTo>
                      <a:pt x="57" y="30"/>
                    </a:lnTo>
                    <a:lnTo>
                      <a:pt x="52" y="33"/>
                    </a:lnTo>
                    <a:lnTo>
                      <a:pt x="45" y="33"/>
                    </a:lnTo>
                    <a:lnTo>
                      <a:pt x="42" y="38"/>
                    </a:lnTo>
                    <a:lnTo>
                      <a:pt x="39" y="38"/>
                    </a:lnTo>
                    <a:lnTo>
                      <a:pt x="37" y="40"/>
                    </a:lnTo>
                    <a:lnTo>
                      <a:pt x="32" y="43"/>
                    </a:lnTo>
                    <a:lnTo>
                      <a:pt x="32" y="47"/>
                    </a:lnTo>
                    <a:lnTo>
                      <a:pt x="30" y="47"/>
                    </a:lnTo>
                    <a:lnTo>
                      <a:pt x="27" y="47"/>
                    </a:lnTo>
                    <a:lnTo>
                      <a:pt x="25" y="47"/>
                    </a:lnTo>
                    <a:lnTo>
                      <a:pt x="27" y="50"/>
                    </a:lnTo>
                    <a:lnTo>
                      <a:pt x="30" y="50"/>
                    </a:lnTo>
                    <a:lnTo>
                      <a:pt x="32" y="50"/>
                    </a:lnTo>
                    <a:lnTo>
                      <a:pt x="34" y="48"/>
                    </a:lnTo>
                    <a:lnTo>
                      <a:pt x="39" y="47"/>
                    </a:lnTo>
                    <a:lnTo>
                      <a:pt x="44" y="47"/>
                    </a:lnTo>
                    <a:lnTo>
                      <a:pt x="49" y="47"/>
                    </a:lnTo>
                    <a:lnTo>
                      <a:pt x="50" y="48"/>
                    </a:lnTo>
                    <a:lnTo>
                      <a:pt x="52" y="48"/>
                    </a:lnTo>
                    <a:lnTo>
                      <a:pt x="54" y="50"/>
                    </a:lnTo>
                    <a:lnTo>
                      <a:pt x="52" y="52"/>
                    </a:lnTo>
                    <a:lnTo>
                      <a:pt x="49" y="58"/>
                    </a:lnTo>
                    <a:lnTo>
                      <a:pt x="42" y="67"/>
                    </a:lnTo>
                    <a:lnTo>
                      <a:pt x="40" y="71"/>
                    </a:lnTo>
                    <a:lnTo>
                      <a:pt x="34" y="65"/>
                    </a:lnTo>
                    <a:lnTo>
                      <a:pt x="30" y="63"/>
                    </a:lnTo>
                    <a:lnTo>
                      <a:pt x="23" y="67"/>
                    </a:lnTo>
                    <a:lnTo>
                      <a:pt x="22" y="70"/>
                    </a:lnTo>
                    <a:lnTo>
                      <a:pt x="20" y="71"/>
                    </a:lnTo>
                    <a:lnTo>
                      <a:pt x="17" y="70"/>
                    </a:lnTo>
                    <a:lnTo>
                      <a:pt x="13" y="70"/>
                    </a:lnTo>
                    <a:lnTo>
                      <a:pt x="5" y="70"/>
                    </a:lnTo>
                    <a:lnTo>
                      <a:pt x="0" y="65"/>
                    </a:lnTo>
                    <a:lnTo>
                      <a:pt x="0" y="58"/>
                    </a:lnTo>
                    <a:lnTo>
                      <a:pt x="0" y="57"/>
                    </a:lnTo>
                    <a:lnTo>
                      <a:pt x="5" y="50"/>
                    </a:lnTo>
                    <a:lnTo>
                      <a:pt x="10" y="41"/>
                    </a:lnTo>
                    <a:lnTo>
                      <a:pt x="12" y="33"/>
                    </a:lnTo>
                    <a:lnTo>
                      <a:pt x="15" y="20"/>
                    </a:lnTo>
                    <a:lnTo>
                      <a:pt x="20" y="16"/>
                    </a:lnTo>
                    <a:lnTo>
                      <a:pt x="23" y="11"/>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90" name="Freeform 86"/>
              <p:cNvSpPr>
                <a:spLocks/>
              </p:cNvSpPr>
              <p:nvPr/>
            </p:nvSpPr>
            <p:spPr bwMode="auto">
              <a:xfrm>
                <a:off x="2648" y="1922"/>
                <a:ext cx="621" cy="457"/>
              </a:xfrm>
              <a:custGeom>
                <a:avLst/>
                <a:gdLst>
                  <a:gd name="T0" fmla="*/ 9735 w 580"/>
                  <a:gd name="T1" fmla="*/ 10201 h 435"/>
                  <a:gd name="T2" fmla="*/ 9788 w 580"/>
                  <a:gd name="T3" fmla="*/ 9456 h 435"/>
                  <a:gd name="T4" fmla="*/ 7407 w 580"/>
                  <a:gd name="T5" fmla="*/ 9231 h 435"/>
                  <a:gd name="T6" fmla="*/ 6231 w 580"/>
                  <a:gd name="T7" fmla="*/ 8295 h 435"/>
                  <a:gd name="T8" fmla="*/ 4005 w 580"/>
                  <a:gd name="T9" fmla="*/ 7763 h 435"/>
                  <a:gd name="T10" fmla="*/ 2860 w 580"/>
                  <a:gd name="T11" fmla="*/ 7217 h 435"/>
                  <a:gd name="T12" fmla="*/ 1100 w 580"/>
                  <a:gd name="T13" fmla="*/ 7129 h 435"/>
                  <a:gd name="T14" fmla="*/ 0 w 580"/>
                  <a:gd name="T15" fmla="*/ 6874 h 435"/>
                  <a:gd name="T16" fmla="*/ 6 w 580"/>
                  <a:gd name="T17" fmla="*/ 6372 h 435"/>
                  <a:gd name="T18" fmla="*/ 3418 w 580"/>
                  <a:gd name="T19" fmla="*/ 6282 h 435"/>
                  <a:gd name="T20" fmla="*/ 3919 w 580"/>
                  <a:gd name="T21" fmla="*/ 5110 h 435"/>
                  <a:gd name="T22" fmla="*/ 4196 w 580"/>
                  <a:gd name="T23" fmla="*/ 4510 h 435"/>
                  <a:gd name="T24" fmla="*/ 4613 w 580"/>
                  <a:gd name="T25" fmla="*/ 4221 h 435"/>
                  <a:gd name="T26" fmla="*/ 6322 w 580"/>
                  <a:gd name="T27" fmla="*/ 3906 h 435"/>
                  <a:gd name="T28" fmla="*/ 7143 w 580"/>
                  <a:gd name="T29" fmla="*/ 3081 h 435"/>
                  <a:gd name="T30" fmla="*/ 10470 w 580"/>
                  <a:gd name="T31" fmla="*/ 2015 h 435"/>
                  <a:gd name="T32" fmla="*/ 12014 w 580"/>
                  <a:gd name="T33" fmla="*/ 514 h 435"/>
                  <a:gd name="T34" fmla="*/ 13421 w 580"/>
                  <a:gd name="T35" fmla="*/ 567 h 435"/>
                  <a:gd name="T36" fmla="*/ 14016 w 580"/>
                  <a:gd name="T37" fmla="*/ 489 h 435"/>
                  <a:gd name="T38" fmla="*/ 14746 w 580"/>
                  <a:gd name="T39" fmla="*/ 514 h 435"/>
                  <a:gd name="T40" fmla="*/ 16813 w 580"/>
                  <a:gd name="T41" fmla="*/ 0 h 435"/>
                  <a:gd name="T42" fmla="*/ 17767 w 580"/>
                  <a:gd name="T43" fmla="*/ 6 h 435"/>
                  <a:gd name="T44" fmla="*/ 18589 w 580"/>
                  <a:gd name="T45" fmla="*/ 422 h 435"/>
                  <a:gd name="T46" fmla="*/ 20221 w 580"/>
                  <a:gd name="T47" fmla="*/ 365 h 435"/>
                  <a:gd name="T48" fmla="*/ 20748 w 580"/>
                  <a:gd name="T49" fmla="*/ 8 h 435"/>
                  <a:gd name="T50" fmla="*/ 21615 w 580"/>
                  <a:gd name="T51" fmla="*/ 402 h 435"/>
                  <a:gd name="T52" fmla="*/ 22215 w 580"/>
                  <a:gd name="T53" fmla="*/ 314 h 435"/>
                  <a:gd name="T54" fmla="*/ 23592 w 580"/>
                  <a:gd name="T55" fmla="*/ 383 h 435"/>
                  <a:gd name="T56" fmla="*/ 23949 w 580"/>
                  <a:gd name="T57" fmla="*/ 383 h 435"/>
                  <a:gd name="T58" fmla="*/ 26217 w 580"/>
                  <a:gd name="T59" fmla="*/ 691 h 435"/>
                  <a:gd name="T60" fmla="*/ 28005 w 580"/>
                  <a:gd name="T61" fmla="*/ 1031 h 435"/>
                  <a:gd name="T62" fmla="*/ 30083 w 580"/>
                  <a:gd name="T63" fmla="*/ 1608 h 435"/>
                  <a:gd name="T64" fmla="*/ 31092 w 580"/>
                  <a:gd name="T65" fmla="*/ 2021 h 435"/>
                  <a:gd name="T66" fmla="*/ 32210 w 580"/>
                  <a:gd name="T67" fmla="*/ 2343 h 435"/>
                  <a:gd name="T68" fmla="*/ 32074 w 580"/>
                  <a:gd name="T69" fmla="*/ 2933 h 435"/>
                  <a:gd name="T70" fmla="*/ 30686 w 580"/>
                  <a:gd name="T71" fmla="*/ 3539 h 435"/>
                  <a:gd name="T72" fmla="*/ 31227 w 580"/>
                  <a:gd name="T73" fmla="*/ 3889 h 435"/>
                  <a:gd name="T74" fmla="*/ 32615 w 580"/>
                  <a:gd name="T75" fmla="*/ 3906 h 435"/>
                  <a:gd name="T76" fmla="*/ 33518 w 580"/>
                  <a:gd name="T77" fmla="*/ 3718 h 435"/>
                  <a:gd name="T78" fmla="*/ 34374 w 580"/>
                  <a:gd name="T79" fmla="*/ 4047 h 435"/>
                  <a:gd name="T80" fmla="*/ 34932 w 580"/>
                  <a:gd name="T81" fmla="*/ 4658 h 435"/>
                  <a:gd name="T82" fmla="*/ 35797 w 580"/>
                  <a:gd name="T83" fmla="*/ 4956 h 435"/>
                  <a:gd name="T84" fmla="*/ 36925 w 580"/>
                  <a:gd name="T85" fmla="*/ 5302 h 435"/>
                  <a:gd name="T86" fmla="*/ 43691 w 580"/>
                  <a:gd name="T87" fmla="*/ 6224 h 435"/>
                  <a:gd name="T88" fmla="*/ 52610 w 580"/>
                  <a:gd name="T89" fmla="*/ 6833 h 435"/>
                  <a:gd name="T90" fmla="*/ 42151 w 580"/>
                  <a:gd name="T91" fmla="*/ 9772 h 435"/>
                  <a:gd name="T92" fmla="*/ 35887 w 580"/>
                  <a:gd name="T93" fmla="*/ 10070 h 435"/>
                  <a:gd name="T94" fmla="*/ 32210 w 580"/>
                  <a:gd name="T95" fmla="*/ 10678 h 435"/>
                  <a:gd name="T96" fmla="*/ 30686 w 580"/>
                  <a:gd name="T97" fmla="*/ 10914 h 435"/>
                  <a:gd name="T98" fmla="*/ 27168 w 580"/>
                  <a:gd name="T99" fmla="*/ 10579 h 435"/>
                  <a:gd name="T100" fmla="*/ 23699 w 580"/>
                  <a:gd name="T101" fmla="*/ 11111 h 435"/>
                  <a:gd name="T102" fmla="*/ 19275 w 580"/>
                  <a:gd name="T103" fmla="*/ 11192 h 435"/>
                  <a:gd name="T104" fmla="*/ 16216 w 580"/>
                  <a:gd name="T105" fmla="*/ 10785 h 435"/>
                  <a:gd name="T106" fmla="*/ 11702 w 580"/>
                  <a:gd name="T107" fmla="*/ 10256 h 43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80"/>
                  <a:gd name="T163" fmla="*/ 0 h 435"/>
                  <a:gd name="T164" fmla="*/ 580 w 580"/>
                  <a:gd name="T165" fmla="*/ 435 h 43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80" h="435">
                    <a:moveTo>
                      <a:pt x="128" y="395"/>
                    </a:moveTo>
                    <a:lnTo>
                      <a:pt x="118" y="396"/>
                    </a:lnTo>
                    <a:lnTo>
                      <a:pt x="107" y="394"/>
                    </a:lnTo>
                    <a:lnTo>
                      <a:pt x="109" y="378"/>
                    </a:lnTo>
                    <a:lnTo>
                      <a:pt x="110" y="371"/>
                    </a:lnTo>
                    <a:lnTo>
                      <a:pt x="109" y="365"/>
                    </a:lnTo>
                    <a:lnTo>
                      <a:pt x="104" y="362"/>
                    </a:lnTo>
                    <a:lnTo>
                      <a:pt x="89" y="359"/>
                    </a:lnTo>
                    <a:lnTo>
                      <a:pt x="81" y="355"/>
                    </a:lnTo>
                    <a:lnTo>
                      <a:pt x="78" y="349"/>
                    </a:lnTo>
                    <a:lnTo>
                      <a:pt x="71" y="330"/>
                    </a:lnTo>
                    <a:lnTo>
                      <a:pt x="68" y="319"/>
                    </a:lnTo>
                    <a:lnTo>
                      <a:pt x="64" y="314"/>
                    </a:lnTo>
                    <a:lnTo>
                      <a:pt x="48" y="304"/>
                    </a:lnTo>
                    <a:lnTo>
                      <a:pt x="44" y="299"/>
                    </a:lnTo>
                    <a:lnTo>
                      <a:pt x="39" y="292"/>
                    </a:lnTo>
                    <a:lnTo>
                      <a:pt x="37" y="286"/>
                    </a:lnTo>
                    <a:lnTo>
                      <a:pt x="32" y="278"/>
                    </a:lnTo>
                    <a:lnTo>
                      <a:pt x="26" y="275"/>
                    </a:lnTo>
                    <a:lnTo>
                      <a:pt x="18" y="273"/>
                    </a:lnTo>
                    <a:lnTo>
                      <a:pt x="13" y="274"/>
                    </a:lnTo>
                    <a:lnTo>
                      <a:pt x="6" y="270"/>
                    </a:lnTo>
                    <a:lnTo>
                      <a:pt x="3" y="270"/>
                    </a:lnTo>
                    <a:lnTo>
                      <a:pt x="0" y="266"/>
                    </a:lnTo>
                    <a:lnTo>
                      <a:pt x="1" y="261"/>
                    </a:lnTo>
                    <a:lnTo>
                      <a:pt x="6" y="258"/>
                    </a:lnTo>
                    <a:lnTo>
                      <a:pt x="6" y="246"/>
                    </a:lnTo>
                    <a:lnTo>
                      <a:pt x="13" y="245"/>
                    </a:lnTo>
                    <a:lnTo>
                      <a:pt x="29" y="246"/>
                    </a:lnTo>
                    <a:lnTo>
                      <a:pt x="37" y="243"/>
                    </a:lnTo>
                    <a:lnTo>
                      <a:pt x="41" y="239"/>
                    </a:lnTo>
                    <a:lnTo>
                      <a:pt x="43" y="229"/>
                    </a:lnTo>
                    <a:lnTo>
                      <a:pt x="43" y="197"/>
                    </a:lnTo>
                    <a:lnTo>
                      <a:pt x="46" y="186"/>
                    </a:lnTo>
                    <a:lnTo>
                      <a:pt x="48" y="178"/>
                    </a:lnTo>
                    <a:lnTo>
                      <a:pt x="46" y="174"/>
                    </a:lnTo>
                    <a:lnTo>
                      <a:pt x="46" y="166"/>
                    </a:lnTo>
                    <a:lnTo>
                      <a:pt x="48" y="167"/>
                    </a:lnTo>
                    <a:lnTo>
                      <a:pt x="51" y="162"/>
                    </a:lnTo>
                    <a:lnTo>
                      <a:pt x="55" y="154"/>
                    </a:lnTo>
                    <a:lnTo>
                      <a:pt x="61" y="151"/>
                    </a:lnTo>
                    <a:lnTo>
                      <a:pt x="69" y="151"/>
                    </a:lnTo>
                    <a:lnTo>
                      <a:pt x="71" y="147"/>
                    </a:lnTo>
                    <a:lnTo>
                      <a:pt x="75" y="130"/>
                    </a:lnTo>
                    <a:lnTo>
                      <a:pt x="78" y="119"/>
                    </a:lnTo>
                    <a:lnTo>
                      <a:pt x="103" y="85"/>
                    </a:lnTo>
                    <a:lnTo>
                      <a:pt x="110" y="79"/>
                    </a:lnTo>
                    <a:lnTo>
                      <a:pt x="116" y="77"/>
                    </a:lnTo>
                    <a:lnTo>
                      <a:pt x="122" y="72"/>
                    </a:lnTo>
                    <a:lnTo>
                      <a:pt x="134" y="32"/>
                    </a:lnTo>
                    <a:lnTo>
                      <a:pt x="134" y="21"/>
                    </a:lnTo>
                    <a:lnTo>
                      <a:pt x="135" y="21"/>
                    </a:lnTo>
                    <a:lnTo>
                      <a:pt x="144" y="21"/>
                    </a:lnTo>
                    <a:lnTo>
                      <a:pt x="148" y="23"/>
                    </a:lnTo>
                    <a:lnTo>
                      <a:pt x="150" y="23"/>
                    </a:lnTo>
                    <a:lnTo>
                      <a:pt x="152" y="21"/>
                    </a:lnTo>
                    <a:lnTo>
                      <a:pt x="154" y="20"/>
                    </a:lnTo>
                    <a:lnTo>
                      <a:pt x="155" y="16"/>
                    </a:lnTo>
                    <a:lnTo>
                      <a:pt x="161" y="16"/>
                    </a:lnTo>
                    <a:lnTo>
                      <a:pt x="164" y="21"/>
                    </a:lnTo>
                    <a:lnTo>
                      <a:pt x="165" y="23"/>
                    </a:lnTo>
                    <a:lnTo>
                      <a:pt x="171" y="30"/>
                    </a:lnTo>
                    <a:lnTo>
                      <a:pt x="185" y="0"/>
                    </a:lnTo>
                    <a:lnTo>
                      <a:pt x="187" y="3"/>
                    </a:lnTo>
                    <a:lnTo>
                      <a:pt x="192" y="6"/>
                    </a:lnTo>
                    <a:lnTo>
                      <a:pt x="196" y="6"/>
                    </a:lnTo>
                    <a:lnTo>
                      <a:pt x="198" y="6"/>
                    </a:lnTo>
                    <a:lnTo>
                      <a:pt x="198" y="10"/>
                    </a:lnTo>
                    <a:lnTo>
                      <a:pt x="205" y="17"/>
                    </a:lnTo>
                    <a:lnTo>
                      <a:pt x="211" y="17"/>
                    </a:lnTo>
                    <a:lnTo>
                      <a:pt x="213" y="16"/>
                    </a:lnTo>
                    <a:lnTo>
                      <a:pt x="223" y="14"/>
                    </a:lnTo>
                    <a:lnTo>
                      <a:pt x="226" y="11"/>
                    </a:lnTo>
                    <a:lnTo>
                      <a:pt x="226" y="8"/>
                    </a:lnTo>
                    <a:lnTo>
                      <a:pt x="230" y="8"/>
                    </a:lnTo>
                    <a:lnTo>
                      <a:pt x="234" y="11"/>
                    </a:lnTo>
                    <a:lnTo>
                      <a:pt x="235" y="16"/>
                    </a:lnTo>
                    <a:lnTo>
                      <a:pt x="237" y="16"/>
                    </a:lnTo>
                    <a:lnTo>
                      <a:pt x="238" y="15"/>
                    </a:lnTo>
                    <a:lnTo>
                      <a:pt x="243" y="15"/>
                    </a:lnTo>
                    <a:lnTo>
                      <a:pt x="246" y="11"/>
                    </a:lnTo>
                    <a:lnTo>
                      <a:pt x="248" y="11"/>
                    </a:lnTo>
                    <a:lnTo>
                      <a:pt x="252" y="14"/>
                    </a:lnTo>
                    <a:lnTo>
                      <a:pt x="259" y="15"/>
                    </a:lnTo>
                    <a:lnTo>
                      <a:pt x="261" y="16"/>
                    </a:lnTo>
                    <a:lnTo>
                      <a:pt x="263" y="16"/>
                    </a:lnTo>
                    <a:lnTo>
                      <a:pt x="264" y="15"/>
                    </a:lnTo>
                    <a:lnTo>
                      <a:pt x="273" y="15"/>
                    </a:lnTo>
                    <a:lnTo>
                      <a:pt x="282" y="23"/>
                    </a:lnTo>
                    <a:lnTo>
                      <a:pt x="289" y="27"/>
                    </a:lnTo>
                    <a:lnTo>
                      <a:pt x="295" y="27"/>
                    </a:lnTo>
                    <a:lnTo>
                      <a:pt x="304" y="34"/>
                    </a:lnTo>
                    <a:lnTo>
                      <a:pt x="308" y="41"/>
                    </a:lnTo>
                    <a:lnTo>
                      <a:pt x="312" y="47"/>
                    </a:lnTo>
                    <a:lnTo>
                      <a:pt x="324" y="56"/>
                    </a:lnTo>
                    <a:lnTo>
                      <a:pt x="332" y="63"/>
                    </a:lnTo>
                    <a:lnTo>
                      <a:pt x="337" y="68"/>
                    </a:lnTo>
                    <a:lnTo>
                      <a:pt x="339" y="74"/>
                    </a:lnTo>
                    <a:lnTo>
                      <a:pt x="342" y="78"/>
                    </a:lnTo>
                    <a:lnTo>
                      <a:pt x="347" y="81"/>
                    </a:lnTo>
                    <a:lnTo>
                      <a:pt x="352" y="85"/>
                    </a:lnTo>
                    <a:lnTo>
                      <a:pt x="355" y="90"/>
                    </a:lnTo>
                    <a:lnTo>
                      <a:pt x="360" y="95"/>
                    </a:lnTo>
                    <a:lnTo>
                      <a:pt x="355" y="99"/>
                    </a:lnTo>
                    <a:lnTo>
                      <a:pt x="352" y="113"/>
                    </a:lnTo>
                    <a:lnTo>
                      <a:pt x="349" y="121"/>
                    </a:lnTo>
                    <a:lnTo>
                      <a:pt x="345" y="130"/>
                    </a:lnTo>
                    <a:lnTo>
                      <a:pt x="339" y="137"/>
                    </a:lnTo>
                    <a:lnTo>
                      <a:pt x="339" y="138"/>
                    </a:lnTo>
                    <a:lnTo>
                      <a:pt x="340" y="145"/>
                    </a:lnTo>
                    <a:lnTo>
                      <a:pt x="345" y="150"/>
                    </a:lnTo>
                    <a:lnTo>
                      <a:pt x="353" y="150"/>
                    </a:lnTo>
                    <a:lnTo>
                      <a:pt x="357" y="150"/>
                    </a:lnTo>
                    <a:lnTo>
                      <a:pt x="360" y="151"/>
                    </a:lnTo>
                    <a:lnTo>
                      <a:pt x="362" y="150"/>
                    </a:lnTo>
                    <a:lnTo>
                      <a:pt x="364" y="147"/>
                    </a:lnTo>
                    <a:lnTo>
                      <a:pt x="371" y="144"/>
                    </a:lnTo>
                    <a:lnTo>
                      <a:pt x="375" y="145"/>
                    </a:lnTo>
                    <a:lnTo>
                      <a:pt x="381" y="151"/>
                    </a:lnTo>
                    <a:lnTo>
                      <a:pt x="378" y="156"/>
                    </a:lnTo>
                    <a:lnTo>
                      <a:pt x="377" y="159"/>
                    </a:lnTo>
                    <a:lnTo>
                      <a:pt x="380" y="174"/>
                    </a:lnTo>
                    <a:lnTo>
                      <a:pt x="386" y="179"/>
                    </a:lnTo>
                    <a:lnTo>
                      <a:pt x="388" y="183"/>
                    </a:lnTo>
                    <a:lnTo>
                      <a:pt x="391" y="188"/>
                    </a:lnTo>
                    <a:lnTo>
                      <a:pt x="395" y="191"/>
                    </a:lnTo>
                    <a:lnTo>
                      <a:pt x="397" y="194"/>
                    </a:lnTo>
                    <a:lnTo>
                      <a:pt x="402" y="198"/>
                    </a:lnTo>
                    <a:lnTo>
                      <a:pt x="407" y="204"/>
                    </a:lnTo>
                    <a:lnTo>
                      <a:pt x="420" y="215"/>
                    </a:lnTo>
                    <a:lnTo>
                      <a:pt x="425" y="220"/>
                    </a:lnTo>
                    <a:lnTo>
                      <a:pt x="481" y="240"/>
                    </a:lnTo>
                    <a:lnTo>
                      <a:pt x="542" y="261"/>
                    </a:lnTo>
                    <a:lnTo>
                      <a:pt x="580" y="260"/>
                    </a:lnTo>
                    <a:lnTo>
                      <a:pt x="579" y="263"/>
                    </a:lnTo>
                    <a:lnTo>
                      <a:pt x="572" y="271"/>
                    </a:lnTo>
                    <a:lnTo>
                      <a:pt x="521" y="321"/>
                    </a:lnTo>
                    <a:lnTo>
                      <a:pt x="464" y="378"/>
                    </a:lnTo>
                    <a:lnTo>
                      <a:pt x="418" y="379"/>
                    </a:lnTo>
                    <a:lnTo>
                      <a:pt x="413" y="382"/>
                    </a:lnTo>
                    <a:lnTo>
                      <a:pt x="397" y="388"/>
                    </a:lnTo>
                    <a:lnTo>
                      <a:pt x="390" y="394"/>
                    </a:lnTo>
                    <a:lnTo>
                      <a:pt x="379" y="403"/>
                    </a:lnTo>
                    <a:lnTo>
                      <a:pt x="355" y="411"/>
                    </a:lnTo>
                    <a:lnTo>
                      <a:pt x="345" y="417"/>
                    </a:lnTo>
                    <a:lnTo>
                      <a:pt x="343" y="419"/>
                    </a:lnTo>
                    <a:lnTo>
                      <a:pt x="339" y="420"/>
                    </a:lnTo>
                    <a:lnTo>
                      <a:pt x="332" y="419"/>
                    </a:lnTo>
                    <a:lnTo>
                      <a:pt x="323" y="420"/>
                    </a:lnTo>
                    <a:lnTo>
                      <a:pt x="299" y="408"/>
                    </a:lnTo>
                    <a:lnTo>
                      <a:pt x="285" y="411"/>
                    </a:lnTo>
                    <a:lnTo>
                      <a:pt x="273" y="416"/>
                    </a:lnTo>
                    <a:lnTo>
                      <a:pt x="261" y="428"/>
                    </a:lnTo>
                    <a:lnTo>
                      <a:pt x="244" y="435"/>
                    </a:lnTo>
                    <a:lnTo>
                      <a:pt x="228" y="435"/>
                    </a:lnTo>
                    <a:lnTo>
                      <a:pt x="212" y="431"/>
                    </a:lnTo>
                    <a:lnTo>
                      <a:pt x="200" y="431"/>
                    </a:lnTo>
                    <a:lnTo>
                      <a:pt x="185" y="426"/>
                    </a:lnTo>
                    <a:lnTo>
                      <a:pt x="178" y="417"/>
                    </a:lnTo>
                    <a:lnTo>
                      <a:pt x="152" y="402"/>
                    </a:lnTo>
                    <a:lnTo>
                      <a:pt x="140" y="396"/>
                    </a:lnTo>
                    <a:lnTo>
                      <a:pt x="128" y="395"/>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1" name="Freeform 87"/>
              <p:cNvSpPr>
                <a:spLocks/>
              </p:cNvSpPr>
              <p:nvPr/>
            </p:nvSpPr>
            <p:spPr bwMode="auto">
              <a:xfrm>
                <a:off x="2648" y="1922"/>
                <a:ext cx="621" cy="457"/>
              </a:xfrm>
              <a:custGeom>
                <a:avLst/>
                <a:gdLst>
                  <a:gd name="T0" fmla="*/ 9735 w 580"/>
                  <a:gd name="T1" fmla="*/ 10201 h 435"/>
                  <a:gd name="T2" fmla="*/ 9788 w 580"/>
                  <a:gd name="T3" fmla="*/ 9456 h 435"/>
                  <a:gd name="T4" fmla="*/ 7407 w 580"/>
                  <a:gd name="T5" fmla="*/ 9231 h 435"/>
                  <a:gd name="T6" fmla="*/ 6231 w 580"/>
                  <a:gd name="T7" fmla="*/ 8295 h 435"/>
                  <a:gd name="T8" fmla="*/ 4005 w 580"/>
                  <a:gd name="T9" fmla="*/ 7763 h 435"/>
                  <a:gd name="T10" fmla="*/ 2860 w 580"/>
                  <a:gd name="T11" fmla="*/ 7217 h 435"/>
                  <a:gd name="T12" fmla="*/ 1100 w 580"/>
                  <a:gd name="T13" fmla="*/ 7129 h 435"/>
                  <a:gd name="T14" fmla="*/ 0 w 580"/>
                  <a:gd name="T15" fmla="*/ 6874 h 435"/>
                  <a:gd name="T16" fmla="*/ 6 w 580"/>
                  <a:gd name="T17" fmla="*/ 6372 h 435"/>
                  <a:gd name="T18" fmla="*/ 3418 w 580"/>
                  <a:gd name="T19" fmla="*/ 6282 h 435"/>
                  <a:gd name="T20" fmla="*/ 3919 w 580"/>
                  <a:gd name="T21" fmla="*/ 5110 h 435"/>
                  <a:gd name="T22" fmla="*/ 4196 w 580"/>
                  <a:gd name="T23" fmla="*/ 4510 h 435"/>
                  <a:gd name="T24" fmla="*/ 4613 w 580"/>
                  <a:gd name="T25" fmla="*/ 4221 h 435"/>
                  <a:gd name="T26" fmla="*/ 6322 w 580"/>
                  <a:gd name="T27" fmla="*/ 3906 h 435"/>
                  <a:gd name="T28" fmla="*/ 7143 w 580"/>
                  <a:gd name="T29" fmla="*/ 3081 h 435"/>
                  <a:gd name="T30" fmla="*/ 10470 w 580"/>
                  <a:gd name="T31" fmla="*/ 2015 h 435"/>
                  <a:gd name="T32" fmla="*/ 12014 w 580"/>
                  <a:gd name="T33" fmla="*/ 514 h 435"/>
                  <a:gd name="T34" fmla="*/ 13421 w 580"/>
                  <a:gd name="T35" fmla="*/ 567 h 435"/>
                  <a:gd name="T36" fmla="*/ 14016 w 580"/>
                  <a:gd name="T37" fmla="*/ 489 h 435"/>
                  <a:gd name="T38" fmla="*/ 14746 w 580"/>
                  <a:gd name="T39" fmla="*/ 514 h 435"/>
                  <a:gd name="T40" fmla="*/ 16813 w 580"/>
                  <a:gd name="T41" fmla="*/ 0 h 435"/>
                  <a:gd name="T42" fmla="*/ 17767 w 580"/>
                  <a:gd name="T43" fmla="*/ 6 h 435"/>
                  <a:gd name="T44" fmla="*/ 18589 w 580"/>
                  <a:gd name="T45" fmla="*/ 422 h 435"/>
                  <a:gd name="T46" fmla="*/ 20221 w 580"/>
                  <a:gd name="T47" fmla="*/ 365 h 435"/>
                  <a:gd name="T48" fmla="*/ 20748 w 580"/>
                  <a:gd name="T49" fmla="*/ 8 h 435"/>
                  <a:gd name="T50" fmla="*/ 21615 w 580"/>
                  <a:gd name="T51" fmla="*/ 402 h 435"/>
                  <a:gd name="T52" fmla="*/ 22215 w 580"/>
                  <a:gd name="T53" fmla="*/ 314 h 435"/>
                  <a:gd name="T54" fmla="*/ 23592 w 580"/>
                  <a:gd name="T55" fmla="*/ 383 h 435"/>
                  <a:gd name="T56" fmla="*/ 23949 w 580"/>
                  <a:gd name="T57" fmla="*/ 383 h 435"/>
                  <a:gd name="T58" fmla="*/ 26217 w 580"/>
                  <a:gd name="T59" fmla="*/ 691 h 435"/>
                  <a:gd name="T60" fmla="*/ 28005 w 580"/>
                  <a:gd name="T61" fmla="*/ 1031 h 435"/>
                  <a:gd name="T62" fmla="*/ 30083 w 580"/>
                  <a:gd name="T63" fmla="*/ 1608 h 435"/>
                  <a:gd name="T64" fmla="*/ 31092 w 580"/>
                  <a:gd name="T65" fmla="*/ 2021 h 435"/>
                  <a:gd name="T66" fmla="*/ 32210 w 580"/>
                  <a:gd name="T67" fmla="*/ 2343 h 435"/>
                  <a:gd name="T68" fmla="*/ 32074 w 580"/>
                  <a:gd name="T69" fmla="*/ 2933 h 435"/>
                  <a:gd name="T70" fmla="*/ 30686 w 580"/>
                  <a:gd name="T71" fmla="*/ 3539 h 435"/>
                  <a:gd name="T72" fmla="*/ 31227 w 580"/>
                  <a:gd name="T73" fmla="*/ 3889 h 435"/>
                  <a:gd name="T74" fmla="*/ 32615 w 580"/>
                  <a:gd name="T75" fmla="*/ 3906 h 435"/>
                  <a:gd name="T76" fmla="*/ 33518 w 580"/>
                  <a:gd name="T77" fmla="*/ 3718 h 435"/>
                  <a:gd name="T78" fmla="*/ 34374 w 580"/>
                  <a:gd name="T79" fmla="*/ 4047 h 435"/>
                  <a:gd name="T80" fmla="*/ 34932 w 580"/>
                  <a:gd name="T81" fmla="*/ 4658 h 435"/>
                  <a:gd name="T82" fmla="*/ 35797 w 580"/>
                  <a:gd name="T83" fmla="*/ 4956 h 435"/>
                  <a:gd name="T84" fmla="*/ 36925 w 580"/>
                  <a:gd name="T85" fmla="*/ 5302 h 435"/>
                  <a:gd name="T86" fmla="*/ 43691 w 580"/>
                  <a:gd name="T87" fmla="*/ 6224 h 435"/>
                  <a:gd name="T88" fmla="*/ 52610 w 580"/>
                  <a:gd name="T89" fmla="*/ 6833 h 435"/>
                  <a:gd name="T90" fmla="*/ 42151 w 580"/>
                  <a:gd name="T91" fmla="*/ 9772 h 435"/>
                  <a:gd name="T92" fmla="*/ 35887 w 580"/>
                  <a:gd name="T93" fmla="*/ 10070 h 435"/>
                  <a:gd name="T94" fmla="*/ 32210 w 580"/>
                  <a:gd name="T95" fmla="*/ 10678 h 435"/>
                  <a:gd name="T96" fmla="*/ 30686 w 580"/>
                  <a:gd name="T97" fmla="*/ 10914 h 435"/>
                  <a:gd name="T98" fmla="*/ 27168 w 580"/>
                  <a:gd name="T99" fmla="*/ 10579 h 435"/>
                  <a:gd name="T100" fmla="*/ 23699 w 580"/>
                  <a:gd name="T101" fmla="*/ 11111 h 435"/>
                  <a:gd name="T102" fmla="*/ 19275 w 580"/>
                  <a:gd name="T103" fmla="*/ 11192 h 435"/>
                  <a:gd name="T104" fmla="*/ 16216 w 580"/>
                  <a:gd name="T105" fmla="*/ 10785 h 435"/>
                  <a:gd name="T106" fmla="*/ 11702 w 580"/>
                  <a:gd name="T107" fmla="*/ 10256 h 43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80"/>
                  <a:gd name="T163" fmla="*/ 0 h 435"/>
                  <a:gd name="T164" fmla="*/ 580 w 580"/>
                  <a:gd name="T165" fmla="*/ 435 h 43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80" h="435">
                    <a:moveTo>
                      <a:pt x="128" y="395"/>
                    </a:moveTo>
                    <a:lnTo>
                      <a:pt x="118" y="396"/>
                    </a:lnTo>
                    <a:lnTo>
                      <a:pt x="107" y="394"/>
                    </a:lnTo>
                    <a:lnTo>
                      <a:pt x="109" y="378"/>
                    </a:lnTo>
                    <a:lnTo>
                      <a:pt x="110" y="371"/>
                    </a:lnTo>
                    <a:lnTo>
                      <a:pt x="109" y="365"/>
                    </a:lnTo>
                    <a:lnTo>
                      <a:pt x="104" y="362"/>
                    </a:lnTo>
                    <a:lnTo>
                      <a:pt x="89" y="359"/>
                    </a:lnTo>
                    <a:lnTo>
                      <a:pt x="81" y="355"/>
                    </a:lnTo>
                    <a:lnTo>
                      <a:pt x="78" y="349"/>
                    </a:lnTo>
                    <a:lnTo>
                      <a:pt x="71" y="330"/>
                    </a:lnTo>
                    <a:lnTo>
                      <a:pt x="68" y="319"/>
                    </a:lnTo>
                    <a:lnTo>
                      <a:pt x="64" y="314"/>
                    </a:lnTo>
                    <a:lnTo>
                      <a:pt x="48" y="304"/>
                    </a:lnTo>
                    <a:lnTo>
                      <a:pt x="44" y="299"/>
                    </a:lnTo>
                    <a:lnTo>
                      <a:pt x="39" y="292"/>
                    </a:lnTo>
                    <a:lnTo>
                      <a:pt x="37" y="286"/>
                    </a:lnTo>
                    <a:lnTo>
                      <a:pt x="32" y="278"/>
                    </a:lnTo>
                    <a:lnTo>
                      <a:pt x="26" y="275"/>
                    </a:lnTo>
                    <a:lnTo>
                      <a:pt x="18" y="273"/>
                    </a:lnTo>
                    <a:lnTo>
                      <a:pt x="13" y="274"/>
                    </a:lnTo>
                    <a:lnTo>
                      <a:pt x="6" y="270"/>
                    </a:lnTo>
                    <a:lnTo>
                      <a:pt x="3" y="270"/>
                    </a:lnTo>
                    <a:lnTo>
                      <a:pt x="0" y="266"/>
                    </a:lnTo>
                    <a:lnTo>
                      <a:pt x="1" y="261"/>
                    </a:lnTo>
                    <a:lnTo>
                      <a:pt x="6" y="258"/>
                    </a:lnTo>
                    <a:lnTo>
                      <a:pt x="6" y="246"/>
                    </a:lnTo>
                    <a:lnTo>
                      <a:pt x="13" y="245"/>
                    </a:lnTo>
                    <a:lnTo>
                      <a:pt x="29" y="246"/>
                    </a:lnTo>
                    <a:lnTo>
                      <a:pt x="37" y="243"/>
                    </a:lnTo>
                    <a:lnTo>
                      <a:pt x="41" y="239"/>
                    </a:lnTo>
                    <a:lnTo>
                      <a:pt x="43" y="229"/>
                    </a:lnTo>
                    <a:lnTo>
                      <a:pt x="43" y="197"/>
                    </a:lnTo>
                    <a:lnTo>
                      <a:pt x="46" y="186"/>
                    </a:lnTo>
                    <a:lnTo>
                      <a:pt x="48" y="178"/>
                    </a:lnTo>
                    <a:lnTo>
                      <a:pt x="46" y="174"/>
                    </a:lnTo>
                    <a:lnTo>
                      <a:pt x="46" y="166"/>
                    </a:lnTo>
                    <a:lnTo>
                      <a:pt x="48" y="167"/>
                    </a:lnTo>
                    <a:lnTo>
                      <a:pt x="51" y="162"/>
                    </a:lnTo>
                    <a:lnTo>
                      <a:pt x="55" y="154"/>
                    </a:lnTo>
                    <a:lnTo>
                      <a:pt x="61" y="151"/>
                    </a:lnTo>
                    <a:lnTo>
                      <a:pt x="69" y="151"/>
                    </a:lnTo>
                    <a:lnTo>
                      <a:pt x="71" y="147"/>
                    </a:lnTo>
                    <a:lnTo>
                      <a:pt x="75" y="130"/>
                    </a:lnTo>
                    <a:lnTo>
                      <a:pt x="78" y="119"/>
                    </a:lnTo>
                    <a:lnTo>
                      <a:pt x="103" y="85"/>
                    </a:lnTo>
                    <a:lnTo>
                      <a:pt x="110" y="79"/>
                    </a:lnTo>
                    <a:lnTo>
                      <a:pt x="116" y="77"/>
                    </a:lnTo>
                    <a:lnTo>
                      <a:pt x="122" y="72"/>
                    </a:lnTo>
                    <a:lnTo>
                      <a:pt x="134" y="32"/>
                    </a:lnTo>
                    <a:lnTo>
                      <a:pt x="134" y="21"/>
                    </a:lnTo>
                    <a:lnTo>
                      <a:pt x="135" y="21"/>
                    </a:lnTo>
                    <a:lnTo>
                      <a:pt x="144" y="21"/>
                    </a:lnTo>
                    <a:lnTo>
                      <a:pt x="148" y="23"/>
                    </a:lnTo>
                    <a:lnTo>
                      <a:pt x="150" y="23"/>
                    </a:lnTo>
                    <a:lnTo>
                      <a:pt x="152" y="21"/>
                    </a:lnTo>
                    <a:lnTo>
                      <a:pt x="154" y="20"/>
                    </a:lnTo>
                    <a:lnTo>
                      <a:pt x="155" y="16"/>
                    </a:lnTo>
                    <a:lnTo>
                      <a:pt x="161" y="16"/>
                    </a:lnTo>
                    <a:lnTo>
                      <a:pt x="164" y="21"/>
                    </a:lnTo>
                    <a:lnTo>
                      <a:pt x="165" y="23"/>
                    </a:lnTo>
                    <a:lnTo>
                      <a:pt x="171" y="30"/>
                    </a:lnTo>
                    <a:lnTo>
                      <a:pt x="185" y="0"/>
                    </a:lnTo>
                    <a:lnTo>
                      <a:pt x="187" y="3"/>
                    </a:lnTo>
                    <a:lnTo>
                      <a:pt x="192" y="6"/>
                    </a:lnTo>
                    <a:lnTo>
                      <a:pt x="196" y="6"/>
                    </a:lnTo>
                    <a:lnTo>
                      <a:pt x="198" y="6"/>
                    </a:lnTo>
                    <a:lnTo>
                      <a:pt x="198" y="10"/>
                    </a:lnTo>
                    <a:lnTo>
                      <a:pt x="205" y="17"/>
                    </a:lnTo>
                    <a:lnTo>
                      <a:pt x="211" y="17"/>
                    </a:lnTo>
                    <a:lnTo>
                      <a:pt x="213" y="16"/>
                    </a:lnTo>
                    <a:lnTo>
                      <a:pt x="223" y="14"/>
                    </a:lnTo>
                    <a:lnTo>
                      <a:pt x="226" y="11"/>
                    </a:lnTo>
                    <a:lnTo>
                      <a:pt x="226" y="8"/>
                    </a:lnTo>
                    <a:lnTo>
                      <a:pt x="230" y="8"/>
                    </a:lnTo>
                    <a:lnTo>
                      <a:pt x="234" y="11"/>
                    </a:lnTo>
                    <a:lnTo>
                      <a:pt x="235" y="16"/>
                    </a:lnTo>
                    <a:lnTo>
                      <a:pt x="237" y="16"/>
                    </a:lnTo>
                    <a:lnTo>
                      <a:pt x="238" y="15"/>
                    </a:lnTo>
                    <a:lnTo>
                      <a:pt x="243" y="15"/>
                    </a:lnTo>
                    <a:lnTo>
                      <a:pt x="246" y="11"/>
                    </a:lnTo>
                    <a:lnTo>
                      <a:pt x="248" y="11"/>
                    </a:lnTo>
                    <a:lnTo>
                      <a:pt x="252" y="14"/>
                    </a:lnTo>
                    <a:lnTo>
                      <a:pt x="259" y="15"/>
                    </a:lnTo>
                    <a:lnTo>
                      <a:pt x="261" y="16"/>
                    </a:lnTo>
                    <a:lnTo>
                      <a:pt x="263" y="16"/>
                    </a:lnTo>
                    <a:lnTo>
                      <a:pt x="264" y="15"/>
                    </a:lnTo>
                    <a:lnTo>
                      <a:pt x="273" y="15"/>
                    </a:lnTo>
                    <a:lnTo>
                      <a:pt x="282" y="23"/>
                    </a:lnTo>
                    <a:lnTo>
                      <a:pt x="289" y="27"/>
                    </a:lnTo>
                    <a:lnTo>
                      <a:pt x="295" y="27"/>
                    </a:lnTo>
                    <a:lnTo>
                      <a:pt x="304" y="34"/>
                    </a:lnTo>
                    <a:lnTo>
                      <a:pt x="308" y="41"/>
                    </a:lnTo>
                    <a:lnTo>
                      <a:pt x="312" y="47"/>
                    </a:lnTo>
                    <a:lnTo>
                      <a:pt x="324" y="56"/>
                    </a:lnTo>
                    <a:lnTo>
                      <a:pt x="332" y="63"/>
                    </a:lnTo>
                    <a:lnTo>
                      <a:pt x="337" y="68"/>
                    </a:lnTo>
                    <a:lnTo>
                      <a:pt x="339" y="74"/>
                    </a:lnTo>
                    <a:lnTo>
                      <a:pt x="342" y="78"/>
                    </a:lnTo>
                    <a:lnTo>
                      <a:pt x="347" y="81"/>
                    </a:lnTo>
                    <a:lnTo>
                      <a:pt x="352" y="85"/>
                    </a:lnTo>
                    <a:lnTo>
                      <a:pt x="355" y="90"/>
                    </a:lnTo>
                    <a:lnTo>
                      <a:pt x="360" y="95"/>
                    </a:lnTo>
                    <a:lnTo>
                      <a:pt x="355" y="99"/>
                    </a:lnTo>
                    <a:lnTo>
                      <a:pt x="352" y="113"/>
                    </a:lnTo>
                    <a:lnTo>
                      <a:pt x="349" y="121"/>
                    </a:lnTo>
                    <a:lnTo>
                      <a:pt x="345" y="130"/>
                    </a:lnTo>
                    <a:lnTo>
                      <a:pt x="339" y="137"/>
                    </a:lnTo>
                    <a:lnTo>
                      <a:pt x="339" y="138"/>
                    </a:lnTo>
                    <a:lnTo>
                      <a:pt x="340" y="145"/>
                    </a:lnTo>
                    <a:lnTo>
                      <a:pt x="345" y="150"/>
                    </a:lnTo>
                    <a:lnTo>
                      <a:pt x="353" y="150"/>
                    </a:lnTo>
                    <a:lnTo>
                      <a:pt x="357" y="150"/>
                    </a:lnTo>
                    <a:lnTo>
                      <a:pt x="360" y="151"/>
                    </a:lnTo>
                    <a:lnTo>
                      <a:pt x="362" y="150"/>
                    </a:lnTo>
                    <a:lnTo>
                      <a:pt x="364" y="147"/>
                    </a:lnTo>
                    <a:lnTo>
                      <a:pt x="371" y="144"/>
                    </a:lnTo>
                    <a:lnTo>
                      <a:pt x="375" y="145"/>
                    </a:lnTo>
                    <a:lnTo>
                      <a:pt x="381" y="151"/>
                    </a:lnTo>
                    <a:lnTo>
                      <a:pt x="378" y="156"/>
                    </a:lnTo>
                    <a:lnTo>
                      <a:pt x="377" y="159"/>
                    </a:lnTo>
                    <a:lnTo>
                      <a:pt x="380" y="174"/>
                    </a:lnTo>
                    <a:lnTo>
                      <a:pt x="386" y="179"/>
                    </a:lnTo>
                    <a:lnTo>
                      <a:pt x="388" y="183"/>
                    </a:lnTo>
                    <a:lnTo>
                      <a:pt x="391" y="188"/>
                    </a:lnTo>
                    <a:lnTo>
                      <a:pt x="395" y="191"/>
                    </a:lnTo>
                    <a:lnTo>
                      <a:pt x="397" y="194"/>
                    </a:lnTo>
                    <a:lnTo>
                      <a:pt x="402" y="198"/>
                    </a:lnTo>
                    <a:lnTo>
                      <a:pt x="407" y="204"/>
                    </a:lnTo>
                    <a:lnTo>
                      <a:pt x="420" y="215"/>
                    </a:lnTo>
                    <a:lnTo>
                      <a:pt x="425" y="220"/>
                    </a:lnTo>
                    <a:lnTo>
                      <a:pt x="481" y="240"/>
                    </a:lnTo>
                    <a:lnTo>
                      <a:pt x="542" y="261"/>
                    </a:lnTo>
                    <a:lnTo>
                      <a:pt x="580" y="260"/>
                    </a:lnTo>
                    <a:lnTo>
                      <a:pt x="579" y="263"/>
                    </a:lnTo>
                    <a:lnTo>
                      <a:pt x="572" y="271"/>
                    </a:lnTo>
                    <a:lnTo>
                      <a:pt x="521" y="321"/>
                    </a:lnTo>
                    <a:lnTo>
                      <a:pt x="464" y="378"/>
                    </a:lnTo>
                    <a:lnTo>
                      <a:pt x="418" y="379"/>
                    </a:lnTo>
                    <a:lnTo>
                      <a:pt x="413" y="382"/>
                    </a:lnTo>
                    <a:lnTo>
                      <a:pt x="397" y="388"/>
                    </a:lnTo>
                    <a:lnTo>
                      <a:pt x="390" y="394"/>
                    </a:lnTo>
                    <a:lnTo>
                      <a:pt x="379" y="403"/>
                    </a:lnTo>
                    <a:lnTo>
                      <a:pt x="355" y="411"/>
                    </a:lnTo>
                    <a:lnTo>
                      <a:pt x="345" y="417"/>
                    </a:lnTo>
                    <a:lnTo>
                      <a:pt x="343" y="419"/>
                    </a:lnTo>
                    <a:lnTo>
                      <a:pt x="339" y="420"/>
                    </a:lnTo>
                    <a:lnTo>
                      <a:pt x="332" y="419"/>
                    </a:lnTo>
                    <a:lnTo>
                      <a:pt x="323" y="420"/>
                    </a:lnTo>
                    <a:lnTo>
                      <a:pt x="299" y="408"/>
                    </a:lnTo>
                    <a:lnTo>
                      <a:pt x="285" y="411"/>
                    </a:lnTo>
                    <a:lnTo>
                      <a:pt x="273" y="416"/>
                    </a:lnTo>
                    <a:lnTo>
                      <a:pt x="261" y="428"/>
                    </a:lnTo>
                    <a:lnTo>
                      <a:pt x="244" y="435"/>
                    </a:lnTo>
                    <a:lnTo>
                      <a:pt x="228" y="435"/>
                    </a:lnTo>
                    <a:lnTo>
                      <a:pt x="212" y="431"/>
                    </a:lnTo>
                    <a:lnTo>
                      <a:pt x="200" y="431"/>
                    </a:lnTo>
                    <a:lnTo>
                      <a:pt x="185" y="426"/>
                    </a:lnTo>
                    <a:lnTo>
                      <a:pt x="178" y="417"/>
                    </a:lnTo>
                    <a:lnTo>
                      <a:pt x="152" y="402"/>
                    </a:lnTo>
                    <a:lnTo>
                      <a:pt x="140" y="396"/>
                    </a:lnTo>
                    <a:lnTo>
                      <a:pt x="128" y="395"/>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92" name="Freeform 88"/>
              <p:cNvSpPr>
                <a:spLocks/>
              </p:cNvSpPr>
              <p:nvPr/>
            </p:nvSpPr>
            <p:spPr bwMode="auto">
              <a:xfrm>
                <a:off x="2488" y="2616"/>
                <a:ext cx="67" cy="83"/>
              </a:xfrm>
              <a:custGeom>
                <a:avLst/>
                <a:gdLst>
                  <a:gd name="T0" fmla="*/ 2977 w 63"/>
                  <a:gd name="T1" fmla="*/ 1 h 79"/>
                  <a:gd name="T2" fmla="*/ 3166 w 63"/>
                  <a:gd name="T3" fmla="*/ 1 h 79"/>
                  <a:gd name="T4" fmla="*/ 3341 w 63"/>
                  <a:gd name="T5" fmla="*/ 3 h 79"/>
                  <a:gd name="T6" fmla="*/ 3108 w 63"/>
                  <a:gd name="T7" fmla="*/ 6 h 79"/>
                  <a:gd name="T8" fmla="*/ 2977 w 63"/>
                  <a:gd name="T9" fmla="*/ 314 h 79"/>
                  <a:gd name="T10" fmla="*/ 2977 w 63"/>
                  <a:gd name="T11" fmla="*/ 383 h 79"/>
                  <a:gd name="T12" fmla="*/ 2977 w 63"/>
                  <a:gd name="T13" fmla="*/ 422 h 79"/>
                  <a:gd name="T14" fmla="*/ 3166 w 63"/>
                  <a:gd name="T15" fmla="*/ 489 h 79"/>
                  <a:gd name="T16" fmla="*/ 3434 w 63"/>
                  <a:gd name="T17" fmla="*/ 514 h 79"/>
                  <a:gd name="T18" fmla="*/ 3581 w 63"/>
                  <a:gd name="T19" fmla="*/ 567 h 79"/>
                  <a:gd name="T20" fmla="*/ 3652 w 63"/>
                  <a:gd name="T21" fmla="*/ 691 h 79"/>
                  <a:gd name="T22" fmla="*/ 3652 w 63"/>
                  <a:gd name="T23" fmla="*/ 855 h 79"/>
                  <a:gd name="T24" fmla="*/ 3515 w 63"/>
                  <a:gd name="T25" fmla="*/ 978 h 79"/>
                  <a:gd name="T26" fmla="*/ 3108 w 63"/>
                  <a:gd name="T27" fmla="*/ 1149 h 79"/>
                  <a:gd name="T28" fmla="*/ 2922 w 63"/>
                  <a:gd name="T29" fmla="*/ 1435 h 79"/>
                  <a:gd name="T30" fmla="*/ 2748 w 63"/>
                  <a:gd name="T31" fmla="*/ 1508 h 79"/>
                  <a:gd name="T32" fmla="*/ 2188 w 63"/>
                  <a:gd name="T33" fmla="*/ 1881 h 79"/>
                  <a:gd name="T34" fmla="*/ 1608 w 63"/>
                  <a:gd name="T35" fmla="*/ 2020 h 79"/>
                  <a:gd name="T36" fmla="*/ 1182 w 63"/>
                  <a:gd name="T37" fmla="*/ 2052 h 79"/>
                  <a:gd name="T38" fmla="*/ 1111 w 63"/>
                  <a:gd name="T39" fmla="*/ 2052 h 79"/>
                  <a:gd name="T40" fmla="*/ 817 w 63"/>
                  <a:gd name="T41" fmla="*/ 1953 h 79"/>
                  <a:gd name="T42" fmla="*/ 638 w 63"/>
                  <a:gd name="T43" fmla="*/ 1790 h 79"/>
                  <a:gd name="T44" fmla="*/ 600 w 63"/>
                  <a:gd name="T45" fmla="*/ 1603 h 79"/>
                  <a:gd name="T46" fmla="*/ 600 w 63"/>
                  <a:gd name="T47" fmla="*/ 1435 h 79"/>
                  <a:gd name="T48" fmla="*/ 600 w 63"/>
                  <a:gd name="T49" fmla="*/ 1252 h 79"/>
                  <a:gd name="T50" fmla="*/ 530 w 63"/>
                  <a:gd name="T51" fmla="*/ 1080 h 79"/>
                  <a:gd name="T52" fmla="*/ 6 w 63"/>
                  <a:gd name="T53" fmla="*/ 978 h 79"/>
                  <a:gd name="T54" fmla="*/ 5 w 63"/>
                  <a:gd name="T55" fmla="*/ 567 h 79"/>
                  <a:gd name="T56" fmla="*/ 3 w 63"/>
                  <a:gd name="T57" fmla="*/ 443 h 79"/>
                  <a:gd name="T58" fmla="*/ 0 w 63"/>
                  <a:gd name="T59" fmla="*/ 365 h 79"/>
                  <a:gd name="T60" fmla="*/ 0 w 63"/>
                  <a:gd name="T61" fmla="*/ 383 h 79"/>
                  <a:gd name="T62" fmla="*/ 0 w 63"/>
                  <a:gd name="T63" fmla="*/ 8 h 79"/>
                  <a:gd name="T64" fmla="*/ 3 w 63"/>
                  <a:gd name="T65" fmla="*/ 6 h 79"/>
                  <a:gd name="T66" fmla="*/ 6 w 63"/>
                  <a:gd name="T67" fmla="*/ 6 h 79"/>
                  <a:gd name="T68" fmla="*/ 7 w 63"/>
                  <a:gd name="T69" fmla="*/ 7 h 79"/>
                  <a:gd name="T70" fmla="*/ 600 w 63"/>
                  <a:gd name="T71" fmla="*/ 314 h 79"/>
                  <a:gd name="T72" fmla="*/ 722 w 63"/>
                  <a:gd name="T73" fmla="*/ 422 h 79"/>
                  <a:gd name="T74" fmla="*/ 768 w 63"/>
                  <a:gd name="T75" fmla="*/ 422 h 79"/>
                  <a:gd name="T76" fmla="*/ 983 w 63"/>
                  <a:gd name="T77" fmla="*/ 422 h 79"/>
                  <a:gd name="T78" fmla="*/ 1182 w 63"/>
                  <a:gd name="T79" fmla="*/ 383 h 79"/>
                  <a:gd name="T80" fmla="*/ 1580 w 63"/>
                  <a:gd name="T81" fmla="*/ 365 h 79"/>
                  <a:gd name="T82" fmla="*/ 1710 w 63"/>
                  <a:gd name="T83" fmla="*/ 330 h 79"/>
                  <a:gd name="T84" fmla="*/ 1710 w 63"/>
                  <a:gd name="T85" fmla="*/ 6 h 79"/>
                  <a:gd name="T86" fmla="*/ 1787 w 63"/>
                  <a:gd name="T87" fmla="*/ 4 h 79"/>
                  <a:gd name="T88" fmla="*/ 1819 w 63"/>
                  <a:gd name="T89" fmla="*/ 1 h 79"/>
                  <a:gd name="T90" fmla="*/ 2188 w 63"/>
                  <a:gd name="T91" fmla="*/ 3 h 79"/>
                  <a:gd name="T92" fmla="*/ 2778 w 63"/>
                  <a:gd name="T93" fmla="*/ 0 h 79"/>
                  <a:gd name="T94" fmla="*/ 2977 w 63"/>
                  <a:gd name="T95" fmla="*/ 0 h 79"/>
                  <a:gd name="T96" fmla="*/ 2977 w 63"/>
                  <a:gd name="T97" fmla="*/ 1 h 7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3"/>
                  <a:gd name="T148" fmla="*/ 0 h 79"/>
                  <a:gd name="T149" fmla="*/ 63 w 63"/>
                  <a:gd name="T150" fmla="*/ 79 h 7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3" h="79">
                    <a:moveTo>
                      <a:pt x="52" y="1"/>
                    </a:moveTo>
                    <a:lnTo>
                      <a:pt x="55" y="1"/>
                    </a:lnTo>
                    <a:lnTo>
                      <a:pt x="57" y="3"/>
                    </a:lnTo>
                    <a:lnTo>
                      <a:pt x="53" y="6"/>
                    </a:lnTo>
                    <a:lnTo>
                      <a:pt x="52" y="11"/>
                    </a:lnTo>
                    <a:lnTo>
                      <a:pt x="52" y="15"/>
                    </a:lnTo>
                    <a:lnTo>
                      <a:pt x="52" y="17"/>
                    </a:lnTo>
                    <a:lnTo>
                      <a:pt x="55" y="20"/>
                    </a:lnTo>
                    <a:lnTo>
                      <a:pt x="59" y="21"/>
                    </a:lnTo>
                    <a:lnTo>
                      <a:pt x="62" y="23"/>
                    </a:lnTo>
                    <a:lnTo>
                      <a:pt x="63" y="27"/>
                    </a:lnTo>
                    <a:lnTo>
                      <a:pt x="63" y="33"/>
                    </a:lnTo>
                    <a:lnTo>
                      <a:pt x="60" y="38"/>
                    </a:lnTo>
                    <a:lnTo>
                      <a:pt x="53" y="45"/>
                    </a:lnTo>
                    <a:lnTo>
                      <a:pt x="50" y="55"/>
                    </a:lnTo>
                    <a:lnTo>
                      <a:pt x="47" y="58"/>
                    </a:lnTo>
                    <a:lnTo>
                      <a:pt x="38" y="72"/>
                    </a:lnTo>
                    <a:lnTo>
                      <a:pt x="28" y="77"/>
                    </a:lnTo>
                    <a:lnTo>
                      <a:pt x="21" y="79"/>
                    </a:lnTo>
                    <a:lnTo>
                      <a:pt x="20" y="79"/>
                    </a:lnTo>
                    <a:lnTo>
                      <a:pt x="15" y="75"/>
                    </a:lnTo>
                    <a:lnTo>
                      <a:pt x="11" y="69"/>
                    </a:lnTo>
                    <a:lnTo>
                      <a:pt x="10" y="62"/>
                    </a:lnTo>
                    <a:lnTo>
                      <a:pt x="10" y="55"/>
                    </a:lnTo>
                    <a:lnTo>
                      <a:pt x="10" y="48"/>
                    </a:lnTo>
                    <a:lnTo>
                      <a:pt x="8" y="42"/>
                    </a:lnTo>
                    <a:lnTo>
                      <a:pt x="6" y="38"/>
                    </a:lnTo>
                    <a:lnTo>
                      <a:pt x="5" y="23"/>
                    </a:lnTo>
                    <a:lnTo>
                      <a:pt x="3" y="18"/>
                    </a:lnTo>
                    <a:lnTo>
                      <a:pt x="0" y="14"/>
                    </a:lnTo>
                    <a:lnTo>
                      <a:pt x="0" y="15"/>
                    </a:lnTo>
                    <a:lnTo>
                      <a:pt x="0" y="8"/>
                    </a:lnTo>
                    <a:lnTo>
                      <a:pt x="3" y="6"/>
                    </a:lnTo>
                    <a:lnTo>
                      <a:pt x="6" y="6"/>
                    </a:lnTo>
                    <a:lnTo>
                      <a:pt x="7" y="7"/>
                    </a:lnTo>
                    <a:lnTo>
                      <a:pt x="10" y="11"/>
                    </a:lnTo>
                    <a:lnTo>
                      <a:pt x="13" y="17"/>
                    </a:lnTo>
                    <a:lnTo>
                      <a:pt x="14" y="17"/>
                    </a:lnTo>
                    <a:lnTo>
                      <a:pt x="18" y="17"/>
                    </a:lnTo>
                    <a:lnTo>
                      <a:pt x="21" y="15"/>
                    </a:lnTo>
                    <a:lnTo>
                      <a:pt x="27" y="14"/>
                    </a:lnTo>
                    <a:lnTo>
                      <a:pt x="30" y="12"/>
                    </a:lnTo>
                    <a:lnTo>
                      <a:pt x="30" y="6"/>
                    </a:lnTo>
                    <a:lnTo>
                      <a:pt x="31" y="4"/>
                    </a:lnTo>
                    <a:lnTo>
                      <a:pt x="32" y="1"/>
                    </a:lnTo>
                    <a:lnTo>
                      <a:pt x="38" y="3"/>
                    </a:lnTo>
                    <a:lnTo>
                      <a:pt x="48" y="0"/>
                    </a:lnTo>
                    <a:lnTo>
                      <a:pt x="52" y="0"/>
                    </a:lnTo>
                    <a:lnTo>
                      <a:pt x="52"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3" name="Freeform 89"/>
              <p:cNvSpPr>
                <a:spLocks/>
              </p:cNvSpPr>
              <p:nvPr/>
            </p:nvSpPr>
            <p:spPr bwMode="auto">
              <a:xfrm>
                <a:off x="2488" y="2616"/>
                <a:ext cx="67" cy="83"/>
              </a:xfrm>
              <a:custGeom>
                <a:avLst/>
                <a:gdLst>
                  <a:gd name="T0" fmla="*/ 74 w 63"/>
                  <a:gd name="T1" fmla="*/ 1 h 79"/>
                  <a:gd name="T2" fmla="*/ 79 w 63"/>
                  <a:gd name="T3" fmla="*/ 1 h 79"/>
                  <a:gd name="T4" fmla="*/ 83 w 63"/>
                  <a:gd name="T5" fmla="*/ 3 h 79"/>
                  <a:gd name="T6" fmla="*/ 77 w 63"/>
                  <a:gd name="T7" fmla="*/ 6 h 79"/>
                  <a:gd name="T8" fmla="*/ 74 w 63"/>
                  <a:gd name="T9" fmla="*/ 17 h 79"/>
                  <a:gd name="T10" fmla="*/ 74 w 63"/>
                  <a:gd name="T11" fmla="*/ 21 h 79"/>
                  <a:gd name="T12" fmla="*/ 74 w 63"/>
                  <a:gd name="T13" fmla="*/ 23 h 79"/>
                  <a:gd name="T14" fmla="*/ 79 w 63"/>
                  <a:gd name="T15" fmla="*/ 26 h 79"/>
                  <a:gd name="T16" fmla="*/ 86 w 63"/>
                  <a:gd name="T17" fmla="*/ 27 h 79"/>
                  <a:gd name="T18" fmla="*/ 89 w 63"/>
                  <a:gd name="T19" fmla="*/ 29 h 79"/>
                  <a:gd name="T20" fmla="*/ 91 w 63"/>
                  <a:gd name="T21" fmla="*/ 36 h 79"/>
                  <a:gd name="T22" fmla="*/ 91 w 63"/>
                  <a:gd name="T23" fmla="*/ 45 h 79"/>
                  <a:gd name="T24" fmla="*/ 87 w 63"/>
                  <a:gd name="T25" fmla="*/ 50 h 79"/>
                  <a:gd name="T26" fmla="*/ 77 w 63"/>
                  <a:gd name="T27" fmla="*/ 60 h 79"/>
                  <a:gd name="T28" fmla="*/ 72 w 63"/>
                  <a:gd name="T29" fmla="*/ 74 h 79"/>
                  <a:gd name="T30" fmla="*/ 68 w 63"/>
                  <a:gd name="T31" fmla="*/ 78 h 79"/>
                  <a:gd name="T32" fmla="*/ 55 w 63"/>
                  <a:gd name="T33" fmla="*/ 97 h 79"/>
                  <a:gd name="T34" fmla="*/ 40 w 63"/>
                  <a:gd name="T35" fmla="*/ 104 h 79"/>
                  <a:gd name="T36" fmla="*/ 30 w 63"/>
                  <a:gd name="T37" fmla="*/ 106 h 79"/>
                  <a:gd name="T38" fmla="*/ 28 w 63"/>
                  <a:gd name="T39" fmla="*/ 106 h 79"/>
                  <a:gd name="T40" fmla="*/ 21 w 63"/>
                  <a:gd name="T41" fmla="*/ 101 h 79"/>
                  <a:gd name="T42" fmla="*/ 17 w 63"/>
                  <a:gd name="T43" fmla="*/ 92 h 79"/>
                  <a:gd name="T44" fmla="*/ 16 w 63"/>
                  <a:gd name="T45" fmla="*/ 83 h 79"/>
                  <a:gd name="T46" fmla="*/ 16 w 63"/>
                  <a:gd name="T47" fmla="*/ 74 h 79"/>
                  <a:gd name="T48" fmla="*/ 16 w 63"/>
                  <a:gd name="T49" fmla="*/ 65 h 79"/>
                  <a:gd name="T50" fmla="*/ 14 w 63"/>
                  <a:gd name="T51" fmla="*/ 56 h 79"/>
                  <a:gd name="T52" fmla="*/ 6 w 63"/>
                  <a:gd name="T53" fmla="*/ 50 h 79"/>
                  <a:gd name="T54" fmla="*/ 5 w 63"/>
                  <a:gd name="T55" fmla="*/ 29 h 79"/>
                  <a:gd name="T56" fmla="*/ 3 w 63"/>
                  <a:gd name="T57" fmla="*/ 24 h 79"/>
                  <a:gd name="T58" fmla="*/ 0 w 63"/>
                  <a:gd name="T59" fmla="*/ 20 h 79"/>
                  <a:gd name="T60" fmla="*/ 0 w 63"/>
                  <a:gd name="T61" fmla="*/ 21 h 79"/>
                  <a:gd name="T62" fmla="*/ 0 w 63"/>
                  <a:gd name="T63" fmla="*/ 8 h 79"/>
                  <a:gd name="T64" fmla="*/ 3 w 63"/>
                  <a:gd name="T65" fmla="*/ 6 h 79"/>
                  <a:gd name="T66" fmla="*/ 6 w 63"/>
                  <a:gd name="T67" fmla="*/ 6 h 79"/>
                  <a:gd name="T68" fmla="*/ 7 w 63"/>
                  <a:gd name="T69" fmla="*/ 7 h 79"/>
                  <a:gd name="T70" fmla="*/ 16 w 63"/>
                  <a:gd name="T71" fmla="*/ 17 h 79"/>
                  <a:gd name="T72" fmla="*/ 19 w 63"/>
                  <a:gd name="T73" fmla="*/ 23 h 79"/>
                  <a:gd name="T74" fmla="*/ 20 w 63"/>
                  <a:gd name="T75" fmla="*/ 23 h 79"/>
                  <a:gd name="T76" fmla="*/ 24 w 63"/>
                  <a:gd name="T77" fmla="*/ 23 h 79"/>
                  <a:gd name="T78" fmla="*/ 30 w 63"/>
                  <a:gd name="T79" fmla="*/ 21 h 79"/>
                  <a:gd name="T80" fmla="*/ 39 w 63"/>
                  <a:gd name="T81" fmla="*/ 20 h 79"/>
                  <a:gd name="T82" fmla="*/ 43 w 63"/>
                  <a:gd name="T83" fmla="*/ 18 h 79"/>
                  <a:gd name="T84" fmla="*/ 43 w 63"/>
                  <a:gd name="T85" fmla="*/ 6 h 79"/>
                  <a:gd name="T86" fmla="*/ 44 w 63"/>
                  <a:gd name="T87" fmla="*/ 4 h 79"/>
                  <a:gd name="T88" fmla="*/ 46 w 63"/>
                  <a:gd name="T89" fmla="*/ 1 h 79"/>
                  <a:gd name="T90" fmla="*/ 55 w 63"/>
                  <a:gd name="T91" fmla="*/ 3 h 79"/>
                  <a:gd name="T92" fmla="*/ 69 w 63"/>
                  <a:gd name="T93" fmla="*/ 0 h 79"/>
                  <a:gd name="T94" fmla="*/ 74 w 63"/>
                  <a:gd name="T95" fmla="*/ 0 h 79"/>
                  <a:gd name="T96" fmla="*/ 74 w 63"/>
                  <a:gd name="T97" fmla="*/ 1 h 7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3"/>
                  <a:gd name="T148" fmla="*/ 0 h 79"/>
                  <a:gd name="T149" fmla="*/ 63 w 63"/>
                  <a:gd name="T150" fmla="*/ 79 h 7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3" h="79">
                    <a:moveTo>
                      <a:pt x="52" y="1"/>
                    </a:moveTo>
                    <a:lnTo>
                      <a:pt x="55" y="1"/>
                    </a:lnTo>
                    <a:lnTo>
                      <a:pt x="57" y="3"/>
                    </a:lnTo>
                    <a:lnTo>
                      <a:pt x="53" y="6"/>
                    </a:lnTo>
                    <a:lnTo>
                      <a:pt x="52" y="11"/>
                    </a:lnTo>
                    <a:lnTo>
                      <a:pt x="52" y="15"/>
                    </a:lnTo>
                    <a:lnTo>
                      <a:pt x="52" y="17"/>
                    </a:lnTo>
                    <a:lnTo>
                      <a:pt x="55" y="20"/>
                    </a:lnTo>
                    <a:lnTo>
                      <a:pt x="59" y="21"/>
                    </a:lnTo>
                    <a:lnTo>
                      <a:pt x="62" y="23"/>
                    </a:lnTo>
                    <a:lnTo>
                      <a:pt x="63" y="27"/>
                    </a:lnTo>
                    <a:lnTo>
                      <a:pt x="63" y="33"/>
                    </a:lnTo>
                    <a:lnTo>
                      <a:pt x="60" y="38"/>
                    </a:lnTo>
                    <a:lnTo>
                      <a:pt x="53" y="45"/>
                    </a:lnTo>
                    <a:lnTo>
                      <a:pt x="50" y="55"/>
                    </a:lnTo>
                    <a:lnTo>
                      <a:pt x="47" y="58"/>
                    </a:lnTo>
                    <a:lnTo>
                      <a:pt x="38" y="72"/>
                    </a:lnTo>
                    <a:lnTo>
                      <a:pt x="28" y="77"/>
                    </a:lnTo>
                    <a:lnTo>
                      <a:pt x="21" y="79"/>
                    </a:lnTo>
                    <a:lnTo>
                      <a:pt x="20" y="79"/>
                    </a:lnTo>
                    <a:lnTo>
                      <a:pt x="15" y="75"/>
                    </a:lnTo>
                    <a:lnTo>
                      <a:pt x="11" y="69"/>
                    </a:lnTo>
                    <a:lnTo>
                      <a:pt x="10" y="62"/>
                    </a:lnTo>
                    <a:lnTo>
                      <a:pt x="10" y="55"/>
                    </a:lnTo>
                    <a:lnTo>
                      <a:pt x="10" y="48"/>
                    </a:lnTo>
                    <a:lnTo>
                      <a:pt x="8" y="42"/>
                    </a:lnTo>
                    <a:lnTo>
                      <a:pt x="6" y="38"/>
                    </a:lnTo>
                    <a:lnTo>
                      <a:pt x="5" y="23"/>
                    </a:lnTo>
                    <a:lnTo>
                      <a:pt x="3" y="18"/>
                    </a:lnTo>
                    <a:lnTo>
                      <a:pt x="0" y="14"/>
                    </a:lnTo>
                    <a:lnTo>
                      <a:pt x="0" y="15"/>
                    </a:lnTo>
                    <a:lnTo>
                      <a:pt x="0" y="8"/>
                    </a:lnTo>
                    <a:lnTo>
                      <a:pt x="3" y="6"/>
                    </a:lnTo>
                    <a:lnTo>
                      <a:pt x="6" y="6"/>
                    </a:lnTo>
                    <a:lnTo>
                      <a:pt x="7" y="7"/>
                    </a:lnTo>
                    <a:lnTo>
                      <a:pt x="10" y="11"/>
                    </a:lnTo>
                    <a:lnTo>
                      <a:pt x="13" y="17"/>
                    </a:lnTo>
                    <a:lnTo>
                      <a:pt x="14" y="17"/>
                    </a:lnTo>
                    <a:lnTo>
                      <a:pt x="18" y="17"/>
                    </a:lnTo>
                    <a:lnTo>
                      <a:pt x="21" y="15"/>
                    </a:lnTo>
                    <a:lnTo>
                      <a:pt x="27" y="14"/>
                    </a:lnTo>
                    <a:lnTo>
                      <a:pt x="30" y="12"/>
                    </a:lnTo>
                    <a:lnTo>
                      <a:pt x="30" y="6"/>
                    </a:lnTo>
                    <a:lnTo>
                      <a:pt x="31" y="4"/>
                    </a:lnTo>
                    <a:lnTo>
                      <a:pt x="32" y="1"/>
                    </a:lnTo>
                    <a:lnTo>
                      <a:pt x="38" y="3"/>
                    </a:lnTo>
                    <a:lnTo>
                      <a:pt x="48" y="0"/>
                    </a:lnTo>
                    <a:lnTo>
                      <a:pt x="52" y="0"/>
                    </a:lnTo>
                    <a:lnTo>
                      <a:pt x="52" y="1"/>
                    </a:lnTo>
                    <a:close/>
                  </a:path>
                </a:pathLst>
              </a:custGeom>
              <a:solidFill>
                <a:srgbClr val="17375E"/>
              </a:solidFill>
              <a:ln w="7938">
                <a:solidFill>
                  <a:srgbClr val="1C1329"/>
                </a:solidFill>
                <a:miter lim="800000"/>
                <a:headEnd/>
                <a:tailEnd/>
              </a:ln>
            </p:spPr>
            <p:txBody>
              <a:bodyPr/>
              <a:lstStyle/>
              <a:p>
                <a:pPr>
                  <a:defRPr/>
                </a:pPr>
                <a:endParaRPr lang="en-US">
                  <a:latin typeface="Arial" panose="020B0604020202020204" pitchFamily="34" charset="0"/>
                  <a:ea typeface="ＭＳ Ｐゴシック" panose="020B0600070205080204" pitchFamily="34" charset="-128"/>
                  <a:cs typeface="+mn-cs"/>
                </a:endParaRPr>
              </a:p>
            </p:txBody>
          </p:sp>
          <p:sp>
            <p:nvSpPr>
              <p:cNvPr id="294" name="Freeform 90"/>
              <p:cNvSpPr>
                <a:spLocks/>
              </p:cNvSpPr>
              <p:nvPr/>
            </p:nvSpPr>
            <p:spPr bwMode="auto">
              <a:xfrm>
                <a:off x="2510" y="2358"/>
                <a:ext cx="219" cy="220"/>
              </a:xfrm>
              <a:custGeom>
                <a:avLst/>
                <a:gdLst>
                  <a:gd name="T0" fmla="*/ 5123 w 204"/>
                  <a:gd name="T1" fmla="*/ 501 h 209"/>
                  <a:gd name="T2" fmla="*/ 5639 w 204"/>
                  <a:gd name="T3" fmla="*/ 388 h 209"/>
                  <a:gd name="T4" fmla="*/ 7506 w 204"/>
                  <a:gd name="T5" fmla="*/ 408 h 209"/>
                  <a:gd name="T6" fmla="*/ 9267 w 204"/>
                  <a:gd name="T7" fmla="*/ 369 h 209"/>
                  <a:gd name="T8" fmla="*/ 10703 w 204"/>
                  <a:gd name="T9" fmla="*/ 429 h 209"/>
                  <a:gd name="T10" fmla="*/ 13044 w 204"/>
                  <a:gd name="T11" fmla="*/ 351 h 209"/>
                  <a:gd name="T12" fmla="*/ 15548 w 204"/>
                  <a:gd name="T13" fmla="*/ 351 h 209"/>
                  <a:gd name="T14" fmla="*/ 17918 w 204"/>
                  <a:gd name="T15" fmla="*/ 0 h 209"/>
                  <a:gd name="T16" fmla="*/ 18931 w 204"/>
                  <a:gd name="T17" fmla="*/ 3 h 209"/>
                  <a:gd name="T18" fmla="*/ 19108 w 204"/>
                  <a:gd name="T19" fmla="*/ 333 h 209"/>
                  <a:gd name="T20" fmla="*/ 19346 w 204"/>
                  <a:gd name="T21" fmla="*/ 388 h 209"/>
                  <a:gd name="T22" fmla="*/ 20134 w 204"/>
                  <a:gd name="T23" fmla="*/ 1081 h 209"/>
                  <a:gd name="T24" fmla="*/ 20769 w 204"/>
                  <a:gd name="T25" fmla="*/ 1261 h 209"/>
                  <a:gd name="T26" fmla="*/ 21720 w 204"/>
                  <a:gd name="T27" fmla="*/ 1471 h 209"/>
                  <a:gd name="T28" fmla="*/ 21817 w 204"/>
                  <a:gd name="T29" fmla="*/ 1932 h 209"/>
                  <a:gd name="T30" fmla="*/ 22021 w 204"/>
                  <a:gd name="T31" fmla="*/ 2625 h 209"/>
                  <a:gd name="T32" fmla="*/ 21172 w 204"/>
                  <a:gd name="T33" fmla="*/ 3122 h 209"/>
                  <a:gd name="T34" fmla="*/ 20269 w 204"/>
                  <a:gd name="T35" fmla="*/ 3439 h 209"/>
                  <a:gd name="T36" fmla="*/ 18136 w 204"/>
                  <a:gd name="T37" fmla="*/ 4223 h 209"/>
                  <a:gd name="T38" fmla="*/ 17588 w 204"/>
                  <a:gd name="T39" fmla="*/ 4391 h 209"/>
                  <a:gd name="T40" fmla="*/ 16353 w 204"/>
                  <a:gd name="T41" fmla="*/ 4440 h 209"/>
                  <a:gd name="T42" fmla="*/ 14849 w 204"/>
                  <a:gd name="T43" fmla="*/ 4223 h 209"/>
                  <a:gd name="T44" fmla="*/ 13242 w 204"/>
                  <a:gd name="T45" fmla="*/ 4458 h 209"/>
                  <a:gd name="T46" fmla="*/ 12151 w 204"/>
                  <a:gd name="T47" fmla="*/ 4391 h 209"/>
                  <a:gd name="T48" fmla="*/ 11490 w 204"/>
                  <a:gd name="T49" fmla="*/ 4471 h 209"/>
                  <a:gd name="T50" fmla="*/ 10703 w 204"/>
                  <a:gd name="T51" fmla="*/ 4644 h 209"/>
                  <a:gd name="T52" fmla="*/ 9270 w 204"/>
                  <a:gd name="T53" fmla="*/ 4784 h 209"/>
                  <a:gd name="T54" fmla="*/ 9270 w 204"/>
                  <a:gd name="T55" fmla="*/ 5016 h 209"/>
                  <a:gd name="T56" fmla="*/ 8651 w 204"/>
                  <a:gd name="T57" fmla="*/ 5701 h 209"/>
                  <a:gd name="T58" fmla="*/ 5253 w 204"/>
                  <a:gd name="T59" fmla="*/ 5739 h 209"/>
                  <a:gd name="T60" fmla="*/ 3203 w 204"/>
                  <a:gd name="T61" fmla="*/ 5744 h 209"/>
                  <a:gd name="T62" fmla="*/ 2347 w 204"/>
                  <a:gd name="T63" fmla="*/ 5851 h 209"/>
                  <a:gd name="T64" fmla="*/ 1428 w 204"/>
                  <a:gd name="T65" fmla="*/ 6159 h 209"/>
                  <a:gd name="T66" fmla="*/ 4 w 204"/>
                  <a:gd name="T67" fmla="*/ 6159 h 209"/>
                  <a:gd name="T68" fmla="*/ 0 w 204"/>
                  <a:gd name="T69" fmla="*/ 5655 h 209"/>
                  <a:gd name="T70" fmla="*/ 2 w 204"/>
                  <a:gd name="T71" fmla="*/ 4706 h 209"/>
                  <a:gd name="T72" fmla="*/ 1154 w 204"/>
                  <a:gd name="T73" fmla="*/ 3897 h 209"/>
                  <a:gd name="T74" fmla="*/ 2413 w 204"/>
                  <a:gd name="T75" fmla="*/ 3439 h 209"/>
                  <a:gd name="T76" fmla="*/ 3439 w 204"/>
                  <a:gd name="T77" fmla="*/ 3392 h 209"/>
                  <a:gd name="T78" fmla="*/ 3963 w 204"/>
                  <a:gd name="T79" fmla="*/ 3413 h 209"/>
                  <a:gd name="T80" fmla="*/ 5500 w 204"/>
                  <a:gd name="T81" fmla="*/ 2908 h 209"/>
                  <a:gd name="T82" fmla="*/ 6499 w 204"/>
                  <a:gd name="T83" fmla="*/ 2677 h 209"/>
                  <a:gd name="T84" fmla="*/ 6992 w 204"/>
                  <a:gd name="T85" fmla="*/ 2494 h 209"/>
                  <a:gd name="T86" fmla="*/ 6977 w 204"/>
                  <a:gd name="T87" fmla="*/ 2071 h 209"/>
                  <a:gd name="T88" fmla="*/ 6416 w 204"/>
                  <a:gd name="T89" fmla="*/ 2105 h 209"/>
                  <a:gd name="T90" fmla="*/ 5639 w 204"/>
                  <a:gd name="T91" fmla="*/ 1929 h 209"/>
                  <a:gd name="T92" fmla="*/ 4893 w 204"/>
                  <a:gd name="T93" fmla="*/ 1743 h 209"/>
                  <a:gd name="T94" fmla="*/ 4558 w 204"/>
                  <a:gd name="T95" fmla="*/ 1098 h 2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4"/>
                  <a:gd name="T145" fmla="*/ 0 h 209"/>
                  <a:gd name="T146" fmla="*/ 204 w 204"/>
                  <a:gd name="T147" fmla="*/ 209 h 2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4" h="209">
                    <a:moveTo>
                      <a:pt x="44" y="25"/>
                    </a:moveTo>
                    <a:lnTo>
                      <a:pt x="47" y="18"/>
                    </a:lnTo>
                    <a:lnTo>
                      <a:pt x="47" y="17"/>
                    </a:lnTo>
                    <a:lnTo>
                      <a:pt x="52" y="13"/>
                    </a:lnTo>
                    <a:lnTo>
                      <a:pt x="62" y="12"/>
                    </a:lnTo>
                    <a:lnTo>
                      <a:pt x="70" y="14"/>
                    </a:lnTo>
                    <a:lnTo>
                      <a:pt x="76" y="13"/>
                    </a:lnTo>
                    <a:lnTo>
                      <a:pt x="85" y="12"/>
                    </a:lnTo>
                    <a:lnTo>
                      <a:pt x="89" y="18"/>
                    </a:lnTo>
                    <a:lnTo>
                      <a:pt x="100" y="15"/>
                    </a:lnTo>
                    <a:lnTo>
                      <a:pt x="111" y="14"/>
                    </a:lnTo>
                    <a:lnTo>
                      <a:pt x="120" y="11"/>
                    </a:lnTo>
                    <a:lnTo>
                      <a:pt x="131" y="11"/>
                    </a:lnTo>
                    <a:lnTo>
                      <a:pt x="144" y="11"/>
                    </a:lnTo>
                    <a:lnTo>
                      <a:pt x="163" y="0"/>
                    </a:lnTo>
                    <a:lnTo>
                      <a:pt x="166" y="0"/>
                    </a:lnTo>
                    <a:lnTo>
                      <a:pt x="166" y="2"/>
                    </a:lnTo>
                    <a:lnTo>
                      <a:pt x="176" y="3"/>
                    </a:lnTo>
                    <a:lnTo>
                      <a:pt x="177" y="5"/>
                    </a:lnTo>
                    <a:lnTo>
                      <a:pt x="177" y="10"/>
                    </a:lnTo>
                    <a:lnTo>
                      <a:pt x="177" y="11"/>
                    </a:lnTo>
                    <a:lnTo>
                      <a:pt x="179" y="13"/>
                    </a:lnTo>
                    <a:lnTo>
                      <a:pt x="182" y="31"/>
                    </a:lnTo>
                    <a:lnTo>
                      <a:pt x="185" y="37"/>
                    </a:lnTo>
                    <a:lnTo>
                      <a:pt x="188" y="40"/>
                    </a:lnTo>
                    <a:lnTo>
                      <a:pt x="192" y="43"/>
                    </a:lnTo>
                    <a:lnTo>
                      <a:pt x="196" y="44"/>
                    </a:lnTo>
                    <a:lnTo>
                      <a:pt x="201" y="49"/>
                    </a:lnTo>
                    <a:lnTo>
                      <a:pt x="203" y="54"/>
                    </a:lnTo>
                    <a:lnTo>
                      <a:pt x="203" y="66"/>
                    </a:lnTo>
                    <a:lnTo>
                      <a:pt x="204" y="75"/>
                    </a:lnTo>
                    <a:lnTo>
                      <a:pt x="204" y="88"/>
                    </a:lnTo>
                    <a:lnTo>
                      <a:pt x="201" y="98"/>
                    </a:lnTo>
                    <a:lnTo>
                      <a:pt x="196" y="106"/>
                    </a:lnTo>
                    <a:lnTo>
                      <a:pt x="189" y="114"/>
                    </a:lnTo>
                    <a:lnTo>
                      <a:pt x="188" y="117"/>
                    </a:lnTo>
                    <a:lnTo>
                      <a:pt x="182" y="124"/>
                    </a:lnTo>
                    <a:lnTo>
                      <a:pt x="169" y="143"/>
                    </a:lnTo>
                    <a:lnTo>
                      <a:pt x="166" y="147"/>
                    </a:lnTo>
                    <a:lnTo>
                      <a:pt x="163" y="148"/>
                    </a:lnTo>
                    <a:lnTo>
                      <a:pt x="156" y="147"/>
                    </a:lnTo>
                    <a:lnTo>
                      <a:pt x="151" y="150"/>
                    </a:lnTo>
                    <a:lnTo>
                      <a:pt x="141" y="146"/>
                    </a:lnTo>
                    <a:lnTo>
                      <a:pt x="137" y="143"/>
                    </a:lnTo>
                    <a:lnTo>
                      <a:pt x="129" y="153"/>
                    </a:lnTo>
                    <a:lnTo>
                      <a:pt x="123" y="152"/>
                    </a:lnTo>
                    <a:lnTo>
                      <a:pt x="115" y="150"/>
                    </a:lnTo>
                    <a:lnTo>
                      <a:pt x="112" y="148"/>
                    </a:lnTo>
                    <a:lnTo>
                      <a:pt x="111" y="153"/>
                    </a:lnTo>
                    <a:lnTo>
                      <a:pt x="107" y="153"/>
                    </a:lnTo>
                    <a:lnTo>
                      <a:pt x="103" y="153"/>
                    </a:lnTo>
                    <a:lnTo>
                      <a:pt x="100" y="157"/>
                    </a:lnTo>
                    <a:lnTo>
                      <a:pt x="93" y="160"/>
                    </a:lnTo>
                    <a:lnTo>
                      <a:pt x="86" y="162"/>
                    </a:lnTo>
                    <a:lnTo>
                      <a:pt x="85" y="165"/>
                    </a:lnTo>
                    <a:lnTo>
                      <a:pt x="86" y="170"/>
                    </a:lnTo>
                    <a:lnTo>
                      <a:pt x="78" y="190"/>
                    </a:lnTo>
                    <a:lnTo>
                      <a:pt x="81" y="193"/>
                    </a:lnTo>
                    <a:lnTo>
                      <a:pt x="48" y="193"/>
                    </a:lnTo>
                    <a:lnTo>
                      <a:pt x="48" y="194"/>
                    </a:lnTo>
                    <a:lnTo>
                      <a:pt x="44" y="196"/>
                    </a:lnTo>
                    <a:lnTo>
                      <a:pt x="30" y="195"/>
                    </a:lnTo>
                    <a:lnTo>
                      <a:pt x="26" y="197"/>
                    </a:lnTo>
                    <a:lnTo>
                      <a:pt x="21" y="198"/>
                    </a:lnTo>
                    <a:lnTo>
                      <a:pt x="18" y="201"/>
                    </a:lnTo>
                    <a:lnTo>
                      <a:pt x="14" y="208"/>
                    </a:lnTo>
                    <a:lnTo>
                      <a:pt x="7" y="209"/>
                    </a:lnTo>
                    <a:lnTo>
                      <a:pt x="4" y="208"/>
                    </a:lnTo>
                    <a:lnTo>
                      <a:pt x="0" y="205"/>
                    </a:lnTo>
                    <a:lnTo>
                      <a:pt x="0" y="190"/>
                    </a:lnTo>
                    <a:lnTo>
                      <a:pt x="2" y="170"/>
                    </a:lnTo>
                    <a:lnTo>
                      <a:pt x="2" y="161"/>
                    </a:lnTo>
                    <a:lnTo>
                      <a:pt x="7" y="139"/>
                    </a:lnTo>
                    <a:lnTo>
                      <a:pt x="11" y="132"/>
                    </a:lnTo>
                    <a:lnTo>
                      <a:pt x="15" y="127"/>
                    </a:lnTo>
                    <a:lnTo>
                      <a:pt x="22" y="117"/>
                    </a:lnTo>
                    <a:lnTo>
                      <a:pt x="31" y="109"/>
                    </a:lnTo>
                    <a:lnTo>
                      <a:pt x="32" y="114"/>
                    </a:lnTo>
                    <a:lnTo>
                      <a:pt x="33" y="116"/>
                    </a:lnTo>
                    <a:lnTo>
                      <a:pt x="37" y="116"/>
                    </a:lnTo>
                    <a:lnTo>
                      <a:pt x="41" y="109"/>
                    </a:lnTo>
                    <a:lnTo>
                      <a:pt x="50" y="98"/>
                    </a:lnTo>
                    <a:lnTo>
                      <a:pt x="54" y="95"/>
                    </a:lnTo>
                    <a:lnTo>
                      <a:pt x="60" y="91"/>
                    </a:lnTo>
                    <a:lnTo>
                      <a:pt x="64" y="88"/>
                    </a:lnTo>
                    <a:lnTo>
                      <a:pt x="65" y="84"/>
                    </a:lnTo>
                    <a:lnTo>
                      <a:pt x="65" y="71"/>
                    </a:lnTo>
                    <a:lnTo>
                      <a:pt x="64" y="70"/>
                    </a:lnTo>
                    <a:lnTo>
                      <a:pt x="62" y="69"/>
                    </a:lnTo>
                    <a:lnTo>
                      <a:pt x="59" y="71"/>
                    </a:lnTo>
                    <a:lnTo>
                      <a:pt x="57" y="68"/>
                    </a:lnTo>
                    <a:lnTo>
                      <a:pt x="52" y="65"/>
                    </a:lnTo>
                    <a:lnTo>
                      <a:pt x="48" y="63"/>
                    </a:lnTo>
                    <a:lnTo>
                      <a:pt x="45" y="60"/>
                    </a:lnTo>
                    <a:lnTo>
                      <a:pt x="42" y="53"/>
                    </a:lnTo>
                    <a:lnTo>
                      <a:pt x="42" y="38"/>
                    </a:lnTo>
                    <a:lnTo>
                      <a:pt x="44" y="25"/>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5" name="Freeform 91"/>
              <p:cNvSpPr>
                <a:spLocks/>
              </p:cNvSpPr>
              <p:nvPr/>
            </p:nvSpPr>
            <p:spPr bwMode="auto">
              <a:xfrm>
                <a:off x="2510" y="2358"/>
                <a:ext cx="219" cy="220"/>
              </a:xfrm>
              <a:custGeom>
                <a:avLst/>
                <a:gdLst>
                  <a:gd name="T0" fmla="*/ 5123 w 204"/>
                  <a:gd name="T1" fmla="*/ 501 h 209"/>
                  <a:gd name="T2" fmla="*/ 5639 w 204"/>
                  <a:gd name="T3" fmla="*/ 388 h 209"/>
                  <a:gd name="T4" fmla="*/ 7506 w 204"/>
                  <a:gd name="T5" fmla="*/ 408 h 209"/>
                  <a:gd name="T6" fmla="*/ 9267 w 204"/>
                  <a:gd name="T7" fmla="*/ 369 h 209"/>
                  <a:gd name="T8" fmla="*/ 10703 w 204"/>
                  <a:gd name="T9" fmla="*/ 429 h 209"/>
                  <a:gd name="T10" fmla="*/ 13044 w 204"/>
                  <a:gd name="T11" fmla="*/ 351 h 209"/>
                  <a:gd name="T12" fmla="*/ 15548 w 204"/>
                  <a:gd name="T13" fmla="*/ 351 h 209"/>
                  <a:gd name="T14" fmla="*/ 17918 w 204"/>
                  <a:gd name="T15" fmla="*/ 0 h 209"/>
                  <a:gd name="T16" fmla="*/ 18931 w 204"/>
                  <a:gd name="T17" fmla="*/ 3 h 209"/>
                  <a:gd name="T18" fmla="*/ 19108 w 204"/>
                  <a:gd name="T19" fmla="*/ 333 h 209"/>
                  <a:gd name="T20" fmla="*/ 19346 w 204"/>
                  <a:gd name="T21" fmla="*/ 388 h 209"/>
                  <a:gd name="T22" fmla="*/ 20134 w 204"/>
                  <a:gd name="T23" fmla="*/ 1081 h 209"/>
                  <a:gd name="T24" fmla="*/ 20769 w 204"/>
                  <a:gd name="T25" fmla="*/ 1261 h 209"/>
                  <a:gd name="T26" fmla="*/ 21720 w 204"/>
                  <a:gd name="T27" fmla="*/ 1471 h 209"/>
                  <a:gd name="T28" fmla="*/ 21817 w 204"/>
                  <a:gd name="T29" fmla="*/ 1932 h 209"/>
                  <a:gd name="T30" fmla="*/ 22021 w 204"/>
                  <a:gd name="T31" fmla="*/ 2625 h 209"/>
                  <a:gd name="T32" fmla="*/ 21172 w 204"/>
                  <a:gd name="T33" fmla="*/ 3122 h 209"/>
                  <a:gd name="T34" fmla="*/ 20269 w 204"/>
                  <a:gd name="T35" fmla="*/ 3439 h 209"/>
                  <a:gd name="T36" fmla="*/ 18136 w 204"/>
                  <a:gd name="T37" fmla="*/ 4223 h 209"/>
                  <a:gd name="T38" fmla="*/ 17588 w 204"/>
                  <a:gd name="T39" fmla="*/ 4391 h 209"/>
                  <a:gd name="T40" fmla="*/ 16353 w 204"/>
                  <a:gd name="T41" fmla="*/ 4440 h 209"/>
                  <a:gd name="T42" fmla="*/ 14849 w 204"/>
                  <a:gd name="T43" fmla="*/ 4223 h 209"/>
                  <a:gd name="T44" fmla="*/ 13242 w 204"/>
                  <a:gd name="T45" fmla="*/ 4458 h 209"/>
                  <a:gd name="T46" fmla="*/ 12151 w 204"/>
                  <a:gd name="T47" fmla="*/ 4391 h 209"/>
                  <a:gd name="T48" fmla="*/ 11490 w 204"/>
                  <a:gd name="T49" fmla="*/ 4471 h 209"/>
                  <a:gd name="T50" fmla="*/ 10703 w 204"/>
                  <a:gd name="T51" fmla="*/ 4644 h 209"/>
                  <a:gd name="T52" fmla="*/ 9270 w 204"/>
                  <a:gd name="T53" fmla="*/ 4784 h 209"/>
                  <a:gd name="T54" fmla="*/ 9270 w 204"/>
                  <a:gd name="T55" fmla="*/ 5016 h 209"/>
                  <a:gd name="T56" fmla="*/ 8651 w 204"/>
                  <a:gd name="T57" fmla="*/ 5701 h 209"/>
                  <a:gd name="T58" fmla="*/ 5253 w 204"/>
                  <a:gd name="T59" fmla="*/ 5739 h 209"/>
                  <a:gd name="T60" fmla="*/ 3203 w 204"/>
                  <a:gd name="T61" fmla="*/ 5744 h 209"/>
                  <a:gd name="T62" fmla="*/ 2347 w 204"/>
                  <a:gd name="T63" fmla="*/ 5851 h 209"/>
                  <a:gd name="T64" fmla="*/ 1428 w 204"/>
                  <a:gd name="T65" fmla="*/ 6159 h 209"/>
                  <a:gd name="T66" fmla="*/ 4 w 204"/>
                  <a:gd name="T67" fmla="*/ 6159 h 209"/>
                  <a:gd name="T68" fmla="*/ 0 w 204"/>
                  <a:gd name="T69" fmla="*/ 5655 h 209"/>
                  <a:gd name="T70" fmla="*/ 2 w 204"/>
                  <a:gd name="T71" fmla="*/ 4706 h 209"/>
                  <a:gd name="T72" fmla="*/ 1154 w 204"/>
                  <a:gd name="T73" fmla="*/ 3897 h 209"/>
                  <a:gd name="T74" fmla="*/ 2413 w 204"/>
                  <a:gd name="T75" fmla="*/ 3439 h 209"/>
                  <a:gd name="T76" fmla="*/ 3439 w 204"/>
                  <a:gd name="T77" fmla="*/ 3392 h 209"/>
                  <a:gd name="T78" fmla="*/ 3963 w 204"/>
                  <a:gd name="T79" fmla="*/ 3413 h 209"/>
                  <a:gd name="T80" fmla="*/ 5500 w 204"/>
                  <a:gd name="T81" fmla="*/ 2908 h 209"/>
                  <a:gd name="T82" fmla="*/ 6499 w 204"/>
                  <a:gd name="T83" fmla="*/ 2677 h 209"/>
                  <a:gd name="T84" fmla="*/ 6992 w 204"/>
                  <a:gd name="T85" fmla="*/ 2494 h 209"/>
                  <a:gd name="T86" fmla="*/ 6977 w 204"/>
                  <a:gd name="T87" fmla="*/ 2071 h 209"/>
                  <a:gd name="T88" fmla="*/ 6416 w 204"/>
                  <a:gd name="T89" fmla="*/ 2105 h 209"/>
                  <a:gd name="T90" fmla="*/ 5639 w 204"/>
                  <a:gd name="T91" fmla="*/ 1929 h 209"/>
                  <a:gd name="T92" fmla="*/ 4893 w 204"/>
                  <a:gd name="T93" fmla="*/ 1743 h 209"/>
                  <a:gd name="T94" fmla="*/ 4558 w 204"/>
                  <a:gd name="T95" fmla="*/ 1098 h 2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4"/>
                  <a:gd name="T145" fmla="*/ 0 h 209"/>
                  <a:gd name="T146" fmla="*/ 204 w 204"/>
                  <a:gd name="T147" fmla="*/ 209 h 2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4" h="209">
                    <a:moveTo>
                      <a:pt x="44" y="25"/>
                    </a:moveTo>
                    <a:lnTo>
                      <a:pt x="47" y="18"/>
                    </a:lnTo>
                    <a:lnTo>
                      <a:pt x="47" y="17"/>
                    </a:lnTo>
                    <a:lnTo>
                      <a:pt x="52" y="13"/>
                    </a:lnTo>
                    <a:lnTo>
                      <a:pt x="62" y="12"/>
                    </a:lnTo>
                    <a:lnTo>
                      <a:pt x="70" y="14"/>
                    </a:lnTo>
                    <a:lnTo>
                      <a:pt x="76" y="13"/>
                    </a:lnTo>
                    <a:lnTo>
                      <a:pt x="85" y="12"/>
                    </a:lnTo>
                    <a:lnTo>
                      <a:pt x="89" y="18"/>
                    </a:lnTo>
                    <a:lnTo>
                      <a:pt x="100" y="15"/>
                    </a:lnTo>
                    <a:lnTo>
                      <a:pt x="111" y="14"/>
                    </a:lnTo>
                    <a:lnTo>
                      <a:pt x="120" y="11"/>
                    </a:lnTo>
                    <a:lnTo>
                      <a:pt x="131" y="11"/>
                    </a:lnTo>
                    <a:lnTo>
                      <a:pt x="144" y="11"/>
                    </a:lnTo>
                    <a:lnTo>
                      <a:pt x="163" y="0"/>
                    </a:lnTo>
                    <a:lnTo>
                      <a:pt x="166" y="0"/>
                    </a:lnTo>
                    <a:lnTo>
                      <a:pt x="166" y="2"/>
                    </a:lnTo>
                    <a:lnTo>
                      <a:pt x="176" y="3"/>
                    </a:lnTo>
                    <a:lnTo>
                      <a:pt x="177" y="5"/>
                    </a:lnTo>
                    <a:lnTo>
                      <a:pt x="177" y="10"/>
                    </a:lnTo>
                    <a:lnTo>
                      <a:pt x="177" y="11"/>
                    </a:lnTo>
                    <a:lnTo>
                      <a:pt x="179" y="13"/>
                    </a:lnTo>
                    <a:lnTo>
                      <a:pt x="182" y="31"/>
                    </a:lnTo>
                    <a:lnTo>
                      <a:pt x="185" y="37"/>
                    </a:lnTo>
                    <a:lnTo>
                      <a:pt x="188" y="40"/>
                    </a:lnTo>
                    <a:lnTo>
                      <a:pt x="192" y="43"/>
                    </a:lnTo>
                    <a:lnTo>
                      <a:pt x="196" y="44"/>
                    </a:lnTo>
                    <a:lnTo>
                      <a:pt x="201" y="49"/>
                    </a:lnTo>
                    <a:lnTo>
                      <a:pt x="203" y="54"/>
                    </a:lnTo>
                    <a:lnTo>
                      <a:pt x="203" y="66"/>
                    </a:lnTo>
                    <a:lnTo>
                      <a:pt x="204" y="75"/>
                    </a:lnTo>
                    <a:lnTo>
                      <a:pt x="204" y="88"/>
                    </a:lnTo>
                    <a:lnTo>
                      <a:pt x="201" y="98"/>
                    </a:lnTo>
                    <a:lnTo>
                      <a:pt x="196" y="106"/>
                    </a:lnTo>
                    <a:lnTo>
                      <a:pt x="189" y="114"/>
                    </a:lnTo>
                    <a:lnTo>
                      <a:pt x="188" y="117"/>
                    </a:lnTo>
                    <a:lnTo>
                      <a:pt x="182" y="124"/>
                    </a:lnTo>
                    <a:lnTo>
                      <a:pt x="169" y="143"/>
                    </a:lnTo>
                    <a:lnTo>
                      <a:pt x="166" y="147"/>
                    </a:lnTo>
                    <a:lnTo>
                      <a:pt x="163" y="148"/>
                    </a:lnTo>
                    <a:lnTo>
                      <a:pt x="156" y="147"/>
                    </a:lnTo>
                    <a:lnTo>
                      <a:pt x="151" y="150"/>
                    </a:lnTo>
                    <a:lnTo>
                      <a:pt x="141" y="146"/>
                    </a:lnTo>
                    <a:lnTo>
                      <a:pt x="137" y="143"/>
                    </a:lnTo>
                    <a:lnTo>
                      <a:pt x="129" y="153"/>
                    </a:lnTo>
                    <a:lnTo>
                      <a:pt x="123" y="152"/>
                    </a:lnTo>
                    <a:lnTo>
                      <a:pt x="115" y="150"/>
                    </a:lnTo>
                    <a:lnTo>
                      <a:pt x="112" y="148"/>
                    </a:lnTo>
                    <a:lnTo>
                      <a:pt x="111" y="153"/>
                    </a:lnTo>
                    <a:lnTo>
                      <a:pt x="107" y="153"/>
                    </a:lnTo>
                    <a:lnTo>
                      <a:pt x="103" y="153"/>
                    </a:lnTo>
                    <a:lnTo>
                      <a:pt x="100" y="157"/>
                    </a:lnTo>
                    <a:lnTo>
                      <a:pt x="93" y="160"/>
                    </a:lnTo>
                    <a:lnTo>
                      <a:pt x="86" y="162"/>
                    </a:lnTo>
                    <a:lnTo>
                      <a:pt x="85" y="165"/>
                    </a:lnTo>
                    <a:lnTo>
                      <a:pt x="86" y="170"/>
                    </a:lnTo>
                    <a:lnTo>
                      <a:pt x="78" y="190"/>
                    </a:lnTo>
                    <a:lnTo>
                      <a:pt x="81" y="193"/>
                    </a:lnTo>
                    <a:lnTo>
                      <a:pt x="48" y="193"/>
                    </a:lnTo>
                    <a:lnTo>
                      <a:pt x="48" y="194"/>
                    </a:lnTo>
                    <a:lnTo>
                      <a:pt x="44" y="196"/>
                    </a:lnTo>
                    <a:lnTo>
                      <a:pt x="30" y="195"/>
                    </a:lnTo>
                    <a:lnTo>
                      <a:pt x="26" y="197"/>
                    </a:lnTo>
                    <a:lnTo>
                      <a:pt x="21" y="198"/>
                    </a:lnTo>
                    <a:lnTo>
                      <a:pt x="18" y="201"/>
                    </a:lnTo>
                    <a:lnTo>
                      <a:pt x="14" y="208"/>
                    </a:lnTo>
                    <a:lnTo>
                      <a:pt x="7" y="209"/>
                    </a:lnTo>
                    <a:lnTo>
                      <a:pt x="4" y="208"/>
                    </a:lnTo>
                    <a:lnTo>
                      <a:pt x="0" y="205"/>
                    </a:lnTo>
                    <a:lnTo>
                      <a:pt x="0" y="190"/>
                    </a:lnTo>
                    <a:lnTo>
                      <a:pt x="2" y="170"/>
                    </a:lnTo>
                    <a:lnTo>
                      <a:pt x="2" y="161"/>
                    </a:lnTo>
                    <a:lnTo>
                      <a:pt x="7" y="139"/>
                    </a:lnTo>
                    <a:lnTo>
                      <a:pt x="11" y="132"/>
                    </a:lnTo>
                    <a:lnTo>
                      <a:pt x="15" y="127"/>
                    </a:lnTo>
                    <a:lnTo>
                      <a:pt x="22" y="117"/>
                    </a:lnTo>
                    <a:lnTo>
                      <a:pt x="31" y="109"/>
                    </a:lnTo>
                    <a:lnTo>
                      <a:pt x="32" y="114"/>
                    </a:lnTo>
                    <a:lnTo>
                      <a:pt x="33" y="116"/>
                    </a:lnTo>
                    <a:lnTo>
                      <a:pt x="37" y="116"/>
                    </a:lnTo>
                    <a:lnTo>
                      <a:pt x="41" y="109"/>
                    </a:lnTo>
                    <a:lnTo>
                      <a:pt x="50" y="98"/>
                    </a:lnTo>
                    <a:lnTo>
                      <a:pt x="54" y="95"/>
                    </a:lnTo>
                    <a:lnTo>
                      <a:pt x="60" y="91"/>
                    </a:lnTo>
                    <a:lnTo>
                      <a:pt x="64" y="88"/>
                    </a:lnTo>
                    <a:lnTo>
                      <a:pt x="65" y="84"/>
                    </a:lnTo>
                    <a:lnTo>
                      <a:pt x="65" y="71"/>
                    </a:lnTo>
                    <a:lnTo>
                      <a:pt x="64" y="70"/>
                    </a:lnTo>
                    <a:lnTo>
                      <a:pt x="62" y="69"/>
                    </a:lnTo>
                    <a:lnTo>
                      <a:pt x="59" y="71"/>
                    </a:lnTo>
                    <a:lnTo>
                      <a:pt x="57" y="68"/>
                    </a:lnTo>
                    <a:lnTo>
                      <a:pt x="52" y="65"/>
                    </a:lnTo>
                    <a:lnTo>
                      <a:pt x="48" y="63"/>
                    </a:lnTo>
                    <a:lnTo>
                      <a:pt x="45" y="60"/>
                    </a:lnTo>
                    <a:lnTo>
                      <a:pt x="42" y="53"/>
                    </a:lnTo>
                    <a:lnTo>
                      <a:pt x="42" y="38"/>
                    </a:lnTo>
                    <a:lnTo>
                      <a:pt x="44" y="25"/>
                    </a:lnTo>
                    <a:close/>
                  </a:path>
                </a:pathLst>
              </a:custGeom>
              <a:solidFill>
                <a:srgbClr val="17375E"/>
              </a:solidFill>
              <a:ln w="7938">
                <a:solidFill>
                  <a:srgbClr val="1C1329"/>
                </a:solidFill>
                <a:miter lim="800000"/>
                <a:headEnd/>
                <a:tailEnd/>
              </a:ln>
              <a:extLst/>
            </p:spPr>
            <p:txBody>
              <a:bodyPr/>
              <a:lstStyle/>
              <a:p>
                <a:endParaRPr lang="en-US"/>
              </a:p>
            </p:txBody>
          </p:sp>
          <p:sp>
            <p:nvSpPr>
              <p:cNvPr id="296" name="Freeform 92"/>
              <p:cNvSpPr>
                <a:spLocks/>
              </p:cNvSpPr>
              <p:nvPr/>
            </p:nvSpPr>
            <p:spPr bwMode="auto">
              <a:xfrm>
                <a:off x="2481" y="2564"/>
                <a:ext cx="76" cy="70"/>
              </a:xfrm>
              <a:custGeom>
                <a:avLst/>
                <a:gdLst>
                  <a:gd name="T0" fmla="*/ 4259 w 71"/>
                  <a:gd name="T1" fmla="*/ 4 h 67"/>
                  <a:gd name="T2" fmla="*/ 4734 w 71"/>
                  <a:gd name="T3" fmla="*/ 3 h 67"/>
                  <a:gd name="T4" fmla="*/ 4886 w 71"/>
                  <a:gd name="T5" fmla="*/ 0 h 67"/>
                  <a:gd name="T6" fmla="*/ 5230 w 71"/>
                  <a:gd name="T7" fmla="*/ 4 h 67"/>
                  <a:gd name="T8" fmla="*/ 5992 w 71"/>
                  <a:gd name="T9" fmla="*/ 341 h 67"/>
                  <a:gd name="T10" fmla="*/ 6245 w 71"/>
                  <a:gd name="T11" fmla="*/ 529 h 67"/>
                  <a:gd name="T12" fmla="*/ 6408 w 71"/>
                  <a:gd name="T13" fmla="*/ 636 h 67"/>
                  <a:gd name="T14" fmla="*/ 6215 w 71"/>
                  <a:gd name="T15" fmla="*/ 752 h 67"/>
                  <a:gd name="T16" fmla="*/ 5592 w 71"/>
                  <a:gd name="T17" fmla="*/ 936 h 67"/>
                  <a:gd name="T18" fmla="*/ 5424 w 71"/>
                  <a:gd name="T19" fmla="*/ 896 h 67"/>
                  <a:gd name="T20" fmla="*/ 5091 w 71"/>
                  <a:gd name="T21" fmla="*/ 896 h 67"/>
                  <a:gd name="T22" fmla="*/ 5091 w 71"/>
                  <a:gd name="T23" fmla="*/ 863 h 67"/>
                  <a:gd name="T24" fmla="*/ 4880 w 71"/>
                  <a:gd name="T25" fmla="*/ 863 h 67"/>
                  <a:gd name="T26" fmla="*/ 3979 w 71"/>
                  <a:gd name="T27" fmla="*/ 936 h 67"/>
                  <a:gd name="T28" fmla="*/ 3472 w 71"/>
                  <a:gd name="T29" fmla="*/ 902 h 67"/>
                  <a:gd name="T30" fmla="*/ 3369 w 71"/>
                  <a:gd name="T31" fmla="*/ 942 h 67"/>
                  <a:gd name="T32" fmla="*/ 3147 w 71"/>
                  <a:gd name="T33" fmla="*/ 1022 h 67"/>
                  <a:gd name="T34" fmla="*/ 3147 w 71"/>
                  <a:gd name="T35" fmla="*/ 1114 h 67"/>
                  <a:gd name="T36" fmla="*/ 2940 w 71"/>
                  <a:gd name="T37" fmla="*/ 1122 h 67"/>
                  <a:gd name="T38" fmla="*/ 2397 w 71"/>
                  <a:gd name="T39" fmla="*/ 1164 h 67"/>
                  <a:gd name="T40" fmla="*/ 2159 w 71"/>
                  <a:gd name="T41" fmla="*/ 1172 h 67"/>
                  <a:gd name="T42" fmla="*/ 1760 w 71"/>
                  <a:gd name="T43" fmla="*/ 1216 h 67"/>
                  <a:gd name="T44" fmla="*/ 1536 w 71"/>
                  <a:gd name="T45" fmla="*/ 1172 h 67"/>
                  <a:gd name="T46" fmla="*/ 1253 w 71"/>
                  <a:gd name="T47" fmla="*/ 1074 h 67"/>
                  <a:gd name="T48" fmla="*/ 1094 w 71"/>
                  <a:gd name="T49" fmla="*/ 1022 h 67"/>
                  <a:gd name="T50" fmla="*/ 955 w 71"/>
                  <a:gd name="T51" fmla="*/ 1022 h 67"/>
                  <a:gd name="T52" fmla="*/ 778 w 71"/>
                  <a:gd name="T53" fmla="*/ 1022 h 67"/>
                  <a:gd name="T54" fmla="*/ 5 w 71"/>
                  <a:gd name="T55" fmla="*/ 1028 h 67"/>
                  <a:gd name="T56" fmla="*/ 5 w 71"/>
                  <a:gd name="T57" fmla="*/ 1164 h 67"/>
                  <a:gd name="T58" fmla="*/ 5 w 71"/>
                  <a:gd name="T59" fmla="*/ 1122 h 67"/>
                  <a:gd name="T60" fmla="*/ 0 w 71"/>
                  <a:gd name="T61" fmla="*/ 1068 h 67"/>
                  <a:gd name="T62" fmla="*/ 0 w 71"/>
                  <a:gd name="T63" fmla="*/ 1022 h 67"/>
                  <a:gd name="T64" fmla="*/ 0 w 71"/>
                  <a:gd name="T65" fmla="*/ 936 h 67"/>
                  <a:gd name="T66" fmla="*/ 7 w 71"/>
                  <a:gd name="T67" fmla="*/ 725 h 67"/>
                  <a:gd name="T68" fmla="*/ 892 w 71"/>
                  <a:gd name="T69" fmla="*/ 631 h 67"/>
                  <a:gd name="T70" fmla="*/ 1253 w 71"/>
                  <a:gd name="T71" fmla="*/ 406 h 67"/>
                  <a:gd name="T72" fmla="*/ 1760 w 71"/>
                  <a:gd name="T73" fmla="*/ 286 h 67"/>
                  <a:gd name="T74" fmla="*/ 2159 w 71"/>
                  <a:gd name="T75" fmla="*/ 11 h 67"/>
                  <a:gd name="T76" fmla="*/ 2397 w 71"/>
                  <a:gd name="T77" fmla="*/ 10 h 67"/>
                  <a:gd name="T78" fmla="*/ 2648 w 71"/>
                  <a:gd name="T79" fmla="*/ 251 h 67"/>
                  <a:gd name="T80" fmla="*/ 3034 w 71"/>
                  <a:gd name="T81" fmla="*/ 262 h 67"/>
                  <a:gd name="T82" fmla="*/ 3606 w 71"/>
                  <a:gd name="T83" fmla="*/ 251 h 67"/>
                  <a:gd name="T84" fmla="*/ 3979 w 71"/>
                  <a:gd name="T85" fmla="*/ 6 h 67"/>
                  <a:gd name="T86" fmla="*/ 4259 w 71"/>
                  <a:gd name="T87" fmla="*/ 4 h 6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
                  <a:gd name="T133" fmla="*/ 0 h 67"/>
                  <a:gd name="T134" fmla="*/ 71 w 71"/>
                  <a:gd name="T135" fmla="*/ 67 h 6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 h="67">
                    <a:moveTo>
                      <a:pt x="47" y="4"/>
                    </a:moveTo>
                    <a:lnTo>
                      <a:pt x="52" y="3"/>
                    </a:lnTo>
                    <a:lnTo>
                      <a:pt x="55" y="0"/>
                    </a:lnTo>
                    <a:lnTo>
                      <a:pt x="59" y="4"/>
                    </a:lnTo>
                    <a:lnTo>
                      <a:pt x="67" y="20"/>
                    </a:lnTo>
                    <a:lnTo>
                      <a:pt x="70" y="30"/>
                    </a:lnTo>
                    <a:lnTo>
                      <a:pt x="71" y="35"/>
                    </a:lnTo>
                    <a:lnTo>
                      <a:pt x="69" y="42"/>
                    </a:lnTo>
                    <a:lnTo>
                      <a:pt x="62" y="52"/>
                    </a:lnTo>
                    <a:lnTo>
                      <a:pt x="60" y="50"/>
                    </a:lnTo>
                    <a:lnTo>
                      <a:pt x="57" y="50"/>
                    </a:lnTo>
                    <a:lnTo>
                      <a:pt x="57" y="49"/>
                    </a:lnTo>
                    <a:lnTo>
                      <a:pt x="54" y="49"/>
                    </a:lnTo>
                    <a:lnTo>
                      <a:pt x="44" y="52"/>
                    </a:lnTo>
                    <a:lnTo>
                      <a:pt x="38" y="51"/>
                    </a:lnTo>
                    <a:lnTo>
                      <a:pt x="37" y="53"/>
                    </a:lnTo>
                    <a:lnTo>
                      <a:pt x="35" y="56"/>
                    </a:lnTo>
                    <a:lnTo>
                      <a:pt x="35" y="61"/>
                    </a:lnTo>
                    <a:lnTo>
                      <a:pt x="33" y="63"/>
                    </a:lnTo>
                    <a:lnTo>
                      <a:pt x="27" y="64"/>
                    </a:lnTo>
                    <a:lnTo>
                      <a:pt x="24" y="66"/>
                    </a:lnTo>
                    <a:lnTo>
                      <a:pt x="20" y="67"/>
                    </a:lnTo>
                    <a:lnTo>
                      <a:pt x="18" y="66"/>
                    </a:lnTo>
                    <a:lnTo>
                      <a:pt x="15" y="60"/>
                    </a:lnTo>
                    <a:lnTo>
                      <a:pt x="13" y="56"/>
                    </a:lnTo>
                    <a:lnTo>
                      <a:pt x="11" y="56"/>
                    </a:lnTo>
                    <a:lnTo>
                      <a:pt x="8" y="56"/>
                    </a:lnTo>
                    <a:lnTo>
                      <a:pt x="5" y="57"/>
                    </a:lnTo>
                    <a:lnTo>
                      <a:pt x="5" y="64"/>
                    </a:lnTo>
                    <a:lnTo>
                      <a:pt x="5" y="63"/>
                    </a:lnTo>
                    <a:lnTo>
                      <a:pt x="0" y="59"/>
                    </a:lnTo>
                    <a:lnTo>
                      <a:pt x="0" y="56"/>
                    </a:lnTo>
                    <a:lnTo>
                      <a:pt x="0" y="52"/>
                    </a:lnTo>
                    <a:lnTo>
                      <a:pt x="7" y="41"/>
                    </a:lnTo>
                    <a:lnTo>
                      <a:pt x="10" y="34"/>
                    </a:lnTo>
                    <a:lnTo>
                      <a:pt x="15" y="24"/>
                    </a:lnTo>
                    <a:lnTo>
                      <a:pt x="20" y="16"/>
                    </a:lnTo>
                    <a:lnTo>
                      <a:pt x="24" y="11"/>
                    </a:lnTo>
                    <a:lnTo>
                      <a:pt x="27" y="10"/>
                    </a:lnTo>
                    <a:lnTo>
                      <a:pt x="30" y="13"/>
                    </a:lnTo>
                    <a:lnTo>
                      <a:pt x="34" y="14"/>
                    </a:lnTo>
                    <a:lnTo>
                      <a:pt x="40" y="13"/>
                    </a:lnTo>
                    <a:lnTo>
                      <a:pt x="44" y="6"/>
                    </a:lnTo>
                    <a:lnTo>
                      <a:pt x="47" y="4"/>
                    </a:lnTo>
                    <a:close/>
                  </a:path>
                </a:pathLst>
              </a:custGeom>
              <a:solidFill>
                <a:srgbClr val="0080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7" name="Freeform 93"/>
              <p:cNvSpPr>
                <a:spLocks/>
              </p:cNvSpPr>
              <p:nvPr/>
            </p:nvSpPr>
            <p:spPr bwMode="auto">
              <a:xfrm>
                <a:off x="2481" y="2564"/>
                <a:ext cx="76" cy="70"/>
              </a:xfrm>
              <a:custGeom>
                <a:avLst/>
                <a:gdLst>
                  <a:gd name="T0" fmla="*/ 4259 w 71"/>
                  <a:gd name="T1" fmla="*/ 4 h 67"/>
                  <a:gd name="T2" fmla="*/ 4734 w 71"/>
                  <a:gd name="T3" fmla="*/ 3 h 67"/>
                  <a:gd name="T4" fmla="*/ 4886 w 71"/>
                  <a:gd name="T5" fmla="*/ 0 h 67"/>
                  <a:gd name="T6" fmla="*/ 5230 w 71"/>
                  <a:gd name="T7" fmla="*/ 4 h 67"/>
                  <a:gd name="T8" fmla="*/ 5992 w 71"/>
                  <a:gd name="T9" fmla="*/ 341 h 67"/>
                  <a:gd name="T10" fmla="*/ 6245 w 71"/>
                  <a:gd name="T11" fmla="*/ 529 h 67"/>
                  <a:gd name="T12" fmla="*/ 6408 w 71"/>
                  <a:gd name="T13" fmla="*/ 636 h 67"/>
                  <a:gd name="T14" fmla="*/ 6215 w 71"/>
                  <a:gd name="T15" fmla="*/ 752 h 67"/>
                  <a:gd name="T16" fmla="*/ 5592 w 71"/>
                  <a:gd name="T17" fmla="*/ 936 h 67"/>
                  <a:gd name="T18" fmla="*/ 5424 w 71"/>
                  <a:gd name="T19" fmla="*/ 896 h 67"/>
                  <a:gd name="T20" fmla="*/ 5091 w 71"/>
                  <a:gd name="T21" fmla="*/ 896 h 67"/>
                  <a:gd name="T22" fmla="*/ 5091 w 71"/>
                  <a:gd name="T23" fmla="*/ 863 h 67"/>
                  <a:gd name="T24" fmla="*/ 4880 w 71"/>
                  <a:gd name="T25" fmla="*/ 863 h 67"/>
                  <a:gd name="T26" fmla="*/ 3979 w 71"/>
                  <a:gd name="T27" fmla="*/ 936 h 67"/>
                  <a:gd name="T28" fmla="*/ 3472 w 71"/>
                  <a:gd name="T29" fmla="*/ 902 h 67"/>
                  <a:gd name="T30" fmla="*/ 3369 w 71"/>
                  <a:gd name="T31" fmla="*/ 942 h 67"/>
                  <a:gd name="T32" fmla="*/ 3147 w 71"/>
                  <a:gd name="T33" fmla="*/ 1022 h 67"/>
                  <a:gd name="T34" fmla="*/ 3147 w 71"/>
                  <a:gd name="T35" fmla="*/ 1114 h 67"/>
                  <a:gd name="T36" fmla="*/ 2940 w 71"/>
                  <a:gd name="T37" fmla="*/ 1122 h 67"/>
                  <a:gd name="T38" fmla="*/ 2397 w 71"/>
                  <a:gd name="T39" fmla="*/ 1164 h 67"/>
                  <a:gd name="T40" fmla="*/ 2159 w 71"/>
                  <a:gd name="T41" fmla="*/ 1172 h 67"/>
                  <a:gd name="T42" fmla="*/ 1760 w 71"/>
                  <a:gd name="T43" fmla="*/ 1216 h 67"/>
                  <a:gd name="T44" fmla="*/ 1536 w 71"/>
                  <a:gd name="T45" fmla="*/ 1172 h 67"/>
                  <a:gd name="T46" fmla="*/ 1253 w 71"/>
                  <a:gd name="T47" fmla="*/ 1074 h 67"/>
                  <a:gd name="T48" fmla="*/ 1094 w 71"/>
                  <a:gd name="T49" fmla="*/ 1022 h 67"/>
                  <a:gd name="T50" fmla="*/ 955 w 71"/>
                  <a:gd name="T51" fmla="*/ 1022 h 67"/>
                  <a:gd name="T52" fmla="*/ 778 w 71"/>
                  <a:gd name="T53" fmla="*/ 1022 h 67"/>
                  <a:gd name="T54" fmla="*/ 5 w 71"/>
                  <a:gd name="T55" fmla="*/ 1028 h 67"/>
                  <a:gd name="T56" fmla="*/ 5 w 71"/>
                  <a:gd name="T57" fmla="*/ 1164 h 67"/>
                  <a:gd name="T58" fmla="*/ 5 w 71"/>
                  <a:gd name="T59" fmla="*/ 1122 h 67"/>
                  <a:gd name="T60" fmla="*/ 0 w 71"/>
                  <a:gd name="T61" fmla="*/ 1068 h 67"/>
                  <a:gd name="T62" fmla="*/ 0 w 71"/>
                  <a:gd name="T63" fmla="*/ 1022 h 67"/>
                  <a:gd name="T64" fmla="*/ 0 w 71"/>
                  <a:gd name="T65" fmla="*/ 936 h 67"/>
                  <a:gd name="T66" fmla="*/ 7 w 71"/>
                  <a:gd name="T67" fmla="*/ 725 h 67"/>
                  <a:gd name="T68" fmla="*/ 892 w 71"/>
                  <a:gd name="T69" fmla="*/ 631 h 67"/>
                  <a:gd name="T70" fmla="*/ 1253 w 71"/>
                  <a:gd name="T71" fmla="*/ 406 h 67"/>
                  <a:gd name="T72" fmla="*/ 1760 w 71"/>
                  <a:gd name="T73" fmla="*/ 286 h 67"/>
                  <a:gd name="T74" fmla="*/ 2159 w 71"/>
                  <a:gd name="T75" fmla="*/ 11 h 67"/>
                  <a:gd name="T76" fmla="*/ 2397 w 71"/>
                  <a:gd name="T77" fmla="*/ 10 h 67"/>
                  <a:gd name="T78" fmla="*/ 2648 w 71"/>
                  <a:gd name="T79" fmla="*/ 251 h 67"/>
                  <a:gd name="T80" fmla="*/ 3034 w 71"/>
                  <a:gd name="T81" fmla="*/ 262 h 67"/>
                  <a:gd name="T82" fmla="*/ 3606 w 71"/>
                  <a:gd name="T83" fmla="*/ 251 h 67"/>
                  <a:gd name="T84" fmla="*/ 3979 w 71"/>
                  <a:gd name="T85" fmla="*/ 6 h 67"/>
                  <a:gd name="T86" fmla="*/ 4259 w 71"/>
                  <a:gd name="T87" fmla="*/ 4 h 6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
                  <a:gd name="T133" fmla="*/ 0 h 67"/>
                  <a:gd name="T134" fmla="*/ 71 w 71"/>
                  <a:gd name="T135" fmla="*/ 67 h 6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 h="67">
                    <a:moveTo>
                      <a:pt x="47" y="4"/>
                    </a:moveTo>
                    <a:lnTo>
                      <a:pt x="52" y="3"/>
                    </a:lnTo>
                    <a:lnTo>
                      <a:pt x="55" y="0"/>
                    </a:lnTo>
                    <a:lnTo>
                      <a:pt x="59" y="4"/>
                    </a:lnTo>
                    <a:lnTo>
                      <a:pt x="67" y="20"/>
                    </a:lnTo>
                    <a:lnTo>
                      <a:pt x="70" y="30"/>
                    </a:lnTo>
                    <a:lnTo>
                      <a:pt x="71" y="35"/>
                    </a:lnTo>
                    <a:lnTo>
                      <a:pt x="69" y="42"/>
                    </a:lnTo>
                    <a:lnTo>
                      <a:pt x="62" y="52"/>
                    </a:lnTo>
                    <a:lnTo>
                      <a:pt x="60" y="50"/>
                    </a:lnTo>
                    <a:lnTo>
                      <a:pt x="57" y="50"/>
                    </a:lnTo>
                    <a:lnTo>
                      <a:pt x="57" y="49"/>
                    </a:lnTo>
                    <a:lnTo>
                      <a:pt x="54" y="49"/>
                    </a:lnTo>
                    <a:lnTo>
                      <a:pt x="44" y="52"/>
                    </a:lnTo>
                    <a:lnTo>
                      <a:pt x="38" y="51"/>
                    </a:lnTo>
                    <a:lnTo>
                      <a:pt x="37" y="53"/>
                    </a:lnTo>
                    <a:lnTo>
                      <a:pt x="35" y="56"/>
                    </a:lnTo>
                    <a:lnTo>
                      <a:pt x="35" y="61"/>
                    </a:lnTo>
                    <a:lnTo>
                      <a:pt x="33" y="63"/>
                    </a:lnTo>
                    <a:lnTo>
                      <a:pt x="27" y="64"/>
                    </a:lnTo>
                    <a:lnTo>
                      <a:pt x="24" y="66"/>
                    </a:lnTo>
                    <a:lnTo>
                      <a:pt x="20" y="67"/>
                    </a:lnTo>
                    <a:lnTo>
                      <a:pt x="18" y="66"/>
                    </a:lnTo>
                    <a:lnTo>
                      <a:pt x="15" y="60"/>
                    </a:lnTo>
                    <a:lnTo>
                      <a:pt x="13" y="56"/>
                    </a:lnTo>
                    <a:lnTo>
                      <a:pt x="11" y="56"/>
                    </a:lnTo>
                    <a:lnTo>
                      <a:pt x="8" y="56"/>
                    </a:lnTo>
                    <a:lnTo>
                      <a:pt x="5" y="57"/>
                    </a:lnTo>
                    <a:lnTo>
                      <a:pt x="5" y="64"/>
                    </a:lnTo>
                    <a:lnTo>
                      <a:pt x="5" y="63"/>
                    </a:lnTo>
                    <a:lnTo>
                      <a:pt x="0" y="59"/>
                    </a:lnTo>
                    <a:lnTo>
                      <a:pt x="0" y="56"/>
                    </a:lnTo>
                    <a:lnTo>
                      <a:pt x="0" y="52"/>
                    </a:lnTo>
                    <a:lnTo>
                      <a:pt x="7" y="41"/>
                    </a:lnTo>
                    <a:lnTo>
                      <a:pt x="10" y="34"/>
                    </a:lnTo>
                    <a:lnTo>
                      <a:pt x="15" y="24"/>
                    </a:lnTo>
                    <a:lnTo>
                      <a:pt x="20" y="16"/>
                    </a:lnTo>
                    <a:lnTo>
                      <a:pt x="24" y="11"/>
                    </a:lnTo>
                    <a:lnTo>
                      <a:pt x="27" y="10"/>
                    </a:lnTo>
                    <a:lnTo>
                      <a:pt x="30" y="13"/>
                    </a:lnTo>
                    <a:lnTo>
                      <a:pt x="34" y="14"/>
                    </a:lnTo>
                    <a:lnTo>
                      <a:pt x="40" y="13"/>
                    </a:lnTo>
                    <a:lnTo>
                      <a:pt x="44" y="6"/>
                    </a:lnTo>
                    <a:lnTo>
                      <a:pt x="47" y="4"/>
                    </a:lnTo>
                    <a:close/>
                  </a:path>
                </a:pathLst>
              </a:custGeom>
              <a:solidFill>
                <a:srgbClr val="17375E"/>
              </a:solidFill>
              <a:ln w="7938">
                <a:solidFill>
                  <a:srgbClr val="1C1329"/>
                </a:solidFill>
                <a:miter lim="800000"/>
                <a:headEnd/>
                <a:tailEnd/>
              </a:ln>
            </p:spPr>
            <p:txBody>
              <a:bodyPr/>
              <a:lstStyle/>
              <a:p>
                <a:endParaRPr lang="en-US"/>
              </a:p>
            </p:txBody>
          </p:sp>
          <p:sp>
            <p:nvSpPr>
              <p:cNvPr id="298" name="Freeform 94"/>
              <p:cNvSpPr>
                <a:spLocks/>
              </p:cNvSpPr>
              <p:nvPr/>
            </p:nvSpPr>
            <p:spPr bwMode="auto">
              <a:xfrm>
                <a:off x="2637" y="2904"/>
                <a:ext cx="131" cy="310"/>
              </a:xfrm>
              <a:custGeom>
                <a:avLst/>
                <a:gdLst>
                  <a:gd name="T0" fmla="*/ 611 w 123"/>
                  <a:gd name="T1" fmla="*/ 0 h 295"/>
                  <a:gd name="T2" fmla="*/ 1754 w 123"/>
                  <a:gd name="T3" fmla="*/ 8 h 295"/>
                  <a:gd name="T4" fmla="*/ 2603 w 123"/>
                  <a:gd name="T5" fmla="*/ 5 h 295"/>
                  <a:gd name="T6" fmla="*/ 2809 w 123"/>
                  <a:gd name="T7" fmla="*/ 316 h 295"/>
                  <a:gd name="T8" fmla="*/ 3091 w 123"/>
                  <a:gd name="T9" fmla="*/ 813 h 295"/>
                  <a:gd name="T10" fmla="*/ 3632 w 123"/>
                  <a:gd name="T11" fmla="*/ 1018 h 295"/>
                  <a:gd name="T12" fmla="*/ 3632 w 123"/>
                  <a:gd name="T13" fmla="*/ 1671 h 295"/>
                  <a:gd name="T14" fmla="*/ 3348 w 123"/>
                  <a:gd name="T15" fmla="*/ 2645 h 295"/>
                  <a:gd name="T16" fmla="*/ 2992 w 123"/>
                  <a:gd name="T17" fmla="*/ 2974 h 295"/>
                  <a:gd name="T18" fmla="*/ 3850 w 123"/>
                  <a:gd name="T19" fmla="*/ 3805 h 295"/>
                  <a:gd name="T20" fmla="*/ 4100 w 123"/>
                  <a:gd name="T21" fmla="*/ 4289 h 295"/>
                  <a:gd name="T22" fmla="*/ 4512 w 123"/>
                  <a:gd name="T23" fmla="*/ 4507 h 295"/>
                  <a:gd name="T24" fmla="*/ 4388 w 123"/>
                  <a:gd name="T25" fmla="*/ 4794 h 295"/>
                  <a:gd name="T26" fmla="*/ 4805 w 123"/>
                  <a:gd name="T27" fmla="*/ 4883 h 295"/>
                  <a:gd name="T28" fmla="*/ 5276 w 123"/>
                  <a:gd name="T29" fmla="*/ 4755 h 295"/>
                  <a:gd name="T30" fmla="*/ 5902 w 123"/>
                  <a:gd name="T31" fmla="*/ 5090 h 295"/>
                  <a:gd name="T32" fmla="*/ 6079 w 123"/>
                  <a:gd name="T33" fmla="*/ 4977 h 295"/>
                  <a:gd name="T34" fmla="*/ 5276 w 123"/>
                  <a:gd name="T35" fmla="*/ 4491 h 295"/>
                  <a:gd name="T36" fmla="*/ 5204 w 123"/>
                  <a:gd name="T37" fmla="*/ 4201 h 295"/>
                  <a:gd name="T38" fmla="*/ 6586 w 123"/>
                  <a:gd name="T39" fmla="*/ 4794 h 295"/>
                  <a:gd name="T40" fmla="*/ 7738 w 123"/>
                  <a:gd name="T41" fmla="*/ 5383 h 295"/>
                  <a:gd name="T42" fmla="*/ 7594 w 123"/>
                  <a:gd name="T43" fmla="*/ 5907 h 295"/>
                  <a:gd name="T44" fmla="*/ 7594 w 123"/>
                  <a:gd name="T45" fmla="*/ 6677 h 295"/>
                  <a:gd name="T46" fmla="*/ 6821 w 123"/>
                  <a:gd name="T47" fmla="*/ 6855 h 295"/>
                  <a:gd name="T48" fmla="*/ 6138 w 123"/>
                  <a:gd name="T49" fmla="*/ 7117 h 295"/>
                  <a:gd name="T50" fmla="*/ 6138 w 123"/>
                  <a:gd name="T51" fmla="*/ 7374 h 295"/>
                  <a:gd name="T52" fmla="*/ 6404 w 123"/>
                  <a:gd name="T53" fmla="*/ 7777 h 295"/>
                  <a:gd name="T54" fmla="*/ 5708 w 123"/>
                  <a:gd name="T55" fmla="*/ 7749 h 295"/>
                  <a:gd name="T56" fmla="*/ 5708 w 123"/>
                  <a:gd name="T57" fmla="*/ 7490 h 295"/>
                  <a:gd name="T58" fmla="*/ 5032 w 123"/>
                  <a:gd name="T59" fmla="*/ 7309 h 295"/>
                  <a:gd name="T60" fmla="*/ 4388 w 123"/>
                  <a:gd name="T61" fmla="*/ 7017 h 295"/>
                  <a:gd name="T62" fmla="*/ 3850 w 123"/>
                  <a:gd name="T63" fmla="*/ 6618 h 295"/>
                  <a:gd name="T64" fmla="*/ 4120 w 123"/>
                  <a:gd name="T65" fmla="*/ 6207 h 295"/>
                  <a:gd name="T66" fmla="*/ 4512 w 123"/>
                  <a:gd name="T67" fmla="*/ 5657 h 295"/>
                  <a:gd name="T68" fmla="*/ 4120 w 123"/>
                  <a:gd name="T69" fmla="*/ 5131 h 295"/>
                  <a:gd name="T70" fmla="*/ 2256 w 123"/>
                  <a:gd name="T71" fmla="*/ 5251 h 295"/>
                  <a:gd name="T72" fmla="*/ 1301 w 123"/>
                  <a:gd name="T73" fmla="*/ 4755 h 295"/>
                  <a:gd name="T74" fmla="*/ 891 w 123"/>
                  <a:gd name="T75" fmla="*/ 4644 h 295"/>
                  <a:gd name="T76" fmla="*/ 5 w 123"/>
                  <a:gd name="T77" fmla="*/ 4507 h 295"/>
                  <a:gd name="T78" fmla="*/ 0 w 123"/>
                  <a:gd name="T79" fmla="*/ 4289 h 295"/>
                  <a:gd name="T80" fmla="*/ 693 w 123"/>
                  <a:gd name="T81" fmla="*/ 3598 h 295"/>
                  <a:gd name="T82" fmla="*/ 1011 w 123"/>
                  <a:gd name="T83" fmla="*/ 3279 h 295"/>
                  <a:gd name="T84" fmla="*/ 1783 w 123"/>
                  <a:gd name="T85" fmla="*/ 3120 h 295"/>
                  <a:gd name="T86" fmla="*/ 1301 w 123"/>
                  <a:gd name="T87" fmla="*/ 2884 h 295"/>
                  <a:gd name="T88" fmla="*/ 1301 w 123"/>
                  <a:gd name="T89" fmla="*/ 2302 h 295"/>
                  <a:gd name="T90" fmla="*/ 1572 w 123"/>
                  <a:gd name="T91" fmla="*/ 1671 h 295"/>
                  <a:gd name="T92" fmla="*/ 1899 w 123"/>
                  <a:gd name="T93" fmla="*/ 1459 h 295"/>
                  <a:gd name="T94" fmla="*/ 2256 w 123"/>
                  <a:gd name="T95" fmla="*/ 1181 h 295"/>
                  <a:gd name="T96" fmla="*/ 1674 w 123"/>
                  <a:gd name="T97" fmla="*/ 635 h 295"/>
                  <a:gd name="T98" fmla="*/ 1077 w 123"/>
                  <a:gd name="T99" fmla="*/ 301 h 295"/>
                  <a:gd name="T100" fmla="*/ 611 w 123"/>
                  <a:gd name="T101" fmla="*/ 4 h 2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3"/>
                  <a:gd name="T154" fmla="*/ 0 h 295"/>
                  <a:gd name="T155" fmla="*/ 123 w 123"/>
                  <a:gd name="T156" fmla="*/ 295 h 2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3" h="295">
                    <a:moveTo>
                      <a:pt x="9" y="4"/>
                    </a:moveTo>
                    <a:lnTo>
                      <a:pt x="9" y="1"/>
                    </a:lnTo>
                    <a:lnTo>
                      <a:pt x="9" y="0"/>
                    </a:lnTo>
                    <a:lnTo>
                      <a:pt x="17" y="4"/>
                    </a:lnTo>
                    <a:lnTo>
                      <a:pt x="25" y="4"/>
                    </a:lnTo>
                    <a:lnTo>
                      <a:pt x="27" y="8"/>
                    </a:lnTo>
                    <a:lnTo>
                      <a:pt x="28" y="8"/>
                    </a:lnTo>
                    <a:lnTo>
                      <a:pt x="37" y="5"/>
                    </a:lnTo>
                    <a:lnTo>
                      <a:pt x="40" y="5"/>
                    </a:lnTo>
                    <a:lnTo>
                      <a:pt x="42" y="8"/>
                    </a:lnTo>
                    <a:lnTo>
                      <a:pt x="43" y="8"/>
                    </a:lnTo>
                    <a:lnTo>
                      <a:pt x="44" y="11"/>
                    </a:lnTo>
                    <a:lnTo>
                      <a:pt x="43" y="17"/>
                    </a:lnTo>
                    <a:lnTo>
                      <a:pt x="43" y="22"/>
                    </a:lnTo>
                    <a:lnTo>
                      <a:pt x="48" y="30"/>
                    </a:lnTo>
                    <a:lnTo>
                      <a:pt x="50" y="33"/>
                    </a:lnTo>
                    <a:lnTo>
                      <a:pt x="54" y="34"/>
                    </a:lnTo>
                    <a:lnTo>
                      <a:pt x="57" y="39"/>
                    </a:lnTo>
                    <a:lnTo>
                      <a:pt x="57" y="43"/>
                    </a:lnTo>
                    <a:lnTo>
                      <a:pt x="55" y="48"/>
                    </a:lnTo>
                    <a:lnTo>
                      <a:pt x="57" y="63"/>
                    </a:lnTo>
                    <a:lnTo>
                      <a:pt x="59" y="88"/>
                    </a:lnTo>
                    <a:lnTo>
                      <a:pt x="55" y="97"/>
                    </a:lnTo>
                    <a:lnTo>
                      <a:pt x="52" y="100"/>
                    </a:lnTo>
                    <a:lnTo>
                      <a:pt x="48" y="106"/>
                    </a:lnTo>
                    <a:lnTo>
                      <a:pt x="47" y="109"/>
                    </a:lnTo>
                    <a:lnTo>
                      <a:pt x="47" y="113"/>
                    </a:lnTo>
                    <a:lnTo>
                      <a:pt x="55" y="128"/>
                    </a:lnTo>
                    <a:lnTo>
                      <a:pt x="59" y="144"/>
                    </a:lnTo>
                    <a:lnTo>
                      <a:pt x="60" y="144"/>
                    </a:lnTo>
                    <a:lnTo>
                      <a:pt x="60" y="152"/>
                    </a:lnTo>
                    <a:lnTo>
                      <a:pt x="63" y="159"/>
                    </a:lnTo>
                    <a:lnTo>
                      <a:pt x="64" y="162"/>
                    </a:lnTo>
                    <a:lnTo>
                      <a:pt x="69" y="166"/>
                    </a:lnTo>
                    <a:lnTo>
                      <a:pt x="70" y="169"/>
                    </a:lnTo>
                    <a:lnTo>
                      <a:pt x="70" y="170"/>
                    </a:lnTo>
                    <a:lnTo>
                      <a:pt x="69" y="176"/>
                    </a:lnTo>
                    <a:lnTo>
                      <a:pt x="69" y="179"/>
                    </a:lnTo>
                    <a:lnTo>
                      <a:pt x="69" y="182"/>
                    </a:lnTo>
                    <a:lnTo>
                      <a:pt x="70" y="186"/>
                    </a:lnTo>
                    <a:lnTo>
                      <a:pt x="72" y="186"/>
                    </a:lnTo>
                    <a:lnTo>
                      <a:pt x="75" y="186"/>
                    </a:lnTo>
                    <a:lnTo>
                      <a:pt x="78" y="186"/>
                    </a:lnTo>
                    <a:lnTo>
                      <a:pt x="81" y="180"/>
                    </a:lnTo>
                    <a:lnTo>
                      <a:pt x="82" y="180"/>
                    </a:lnTo>
                    <a:lnTo>
                      <a:pt x="85" y="186"/>
                    </a:lnTo>
                    <a:lnTo>
                      <a:pt x="88" y="186"/>
                    </a:lnTo>
                    <a:lnTo>
                      <a:pt x="92" y="192"/>
                    </a:lnTo>
                    <a:lnTo>
                      <a:pt x="93" y="193"/>
                    </a:lnTo>
                    <a:lnTo>
                      <a:pt x="95" y="192"/>
                    </a:lnTo>
                    <a:lnTo>
                      <a:pt x="95" y="188"/>
                    </a:lnTo>
                    <a:lnTo>
                      <a:pt x="88" y="172"/>
                    </a:lnTo>
                    <a:lnTo>
                      <a:pt x="86" y="170"/>
                    </a:lnTo>
                    <a:lnTo>
                      <a:pt x="82" y="169"/>
                    </a:lnTo>
                    <a:lnTo>
                      <a:pt x="81" y="167"/>
                    </a:lnTo>
                    <a:lnTo>
                      <a:pt x="81" y="164"/>
                    </a:lnTo>
                    <a:lnTo>
                      <a:pt x="81" y="159"/>
                    </a:lnTo>
                    <a:lnTo>
                      <a:pt x="86" y="165"/>
                    </a:lnTo>
                    <a:lnTo>
                      <a:pt x="92" y="170"/>
                    </a:lnTo>
                    <a:lnTo>
                      <a:pt x="103" y="182"/>
                    </a:lnTo>
                    <a:lnTo>
                      <a:pt x="108" y="189"/>
                    </a:lnTo>
                    <a:lnTo>
                      <a:pt x="118" y="198"/>
                    </a:lnTo>
                    <a:lnTo>
                      <a:pt x="121" y="203"/>
                    </a:lnTo>
                    <a:lnTo>
                      <a:pt x="123" y="212"/>
                    </a:lnTo>
                    <a:lnTo>
                      <a:pt x="121" y="217"/>
                    </a:lnTo>
                    <a:lnTo>
                      <a:pt x="118" y="223"/>
                    </a:lnTo>
                    <a:lnTo>
                      <a:pt x="121" y="232"/>
                    </a:lnTo>
                    <a:lnTo>
                      <a:pt x="118" y="238"/>
                    </a:lnTo>
                    <a:lnTo>
                      <a:pt x="118" y="253"/>
                    </a:lnTo>
                    <a:lnTo>
                      <a:pt x="117" y="256"/>
                    </a:lnTo>
                    <a:lnTo>
                      <a:pt x="112" y="258"/>
                    </a:lnTo>
                    <a:lnTo>
                      <a:pt x="107" y="259"/>
                    </a:lnTo>
                    <a:lnTo>
                      <a:pt x="98" y="263"/>
                    </a:lnTo>
                    <a:lnTo>
                      <a:pt x="96" y="266"/>
                    </a:lnTo>
                    <a:lnTo>
                      <a:pt x="96" y="269"/>
                    </a:lnTo>
                    <a:lnTo>
                      <a:pt x="95" y="273"/>
                    </a:lnTo>
                    <a:lnTo>
                      <a:pt x="95" y="278"/>
                    </a:lnTo>
                    <a:lnTo>
                      <a:pt x="96" y="280"/>
                    </a:lnTo>
                    <a:lnTo>
                      <a:pt x="100" y="284"/>
                    </a:lnTo>
                    <a:lnTo>
                      <a:pt x="98" y="288"/>
                    </a:lnTo>
                    <a:lnTo>
                      <a:pt x="100" y="295"/>
                    </a:lnTo>
                    <a:lnTo>
                      <a:pt x="98" y="295"/>
                    </a:lnTo>
                    <a:lnTo>
                      <a:pt x="90" y="295"/>
                    </a:lnTo>
                    <a:lnTo>
                      <a:pt x="89" y="294"/>
                    </a:lnTo>
                    <a:lnTo>
                      <a:pt x="92" y="289"/>
                    </a:lnTo>
                    <a:lnTo>
                      <a:pt x="92" y="287"/>
                    </a:lnTo>
                    <a:lnTo>
                      <a:pt x="89" y="284"/>
                    </a:lnTo>
                    <a:lnTo>
                      <a:pt x="85" y="282"/>
                    </a:lnTo>
                    <a:lnTo>
                      <a:pt x="82" y="281"/>
                    </a:lnTo>
                    <a:lnTo>
                      <a:pt x="79" y="277"/>
                    </a:lnTo>
                    <a:lnTo>
                      <a:pt x="72" y="271"/>
                    </a:lnTo>
                    <a:lnTo>
                      <a:pt x="70" y="268"/>
                    </a:lnTo>
                    <a:lnTo>
                      <a:pt x="69" y="266"/>
                    </a:lnTo>
                    <a:lnTo>
                      <a:pt x="66" y="263"/>
                    </a:lnTo>
                    <a:lnTo>
                      <a:pt x="62" y="253"/>
                    </a:lnTo>
                    <a:lnTo>
                      <a:pt x="60" y="251"/>
                    </a:lnTo>
                    <a:lnTo>
                      <a:pt x="62" y="243"/>
                    </a:lnTo>
                    <a:lnTo>
                      <a:pt x="66" y="240"/>
                    </a:lnTo>
                    <a:lnTo>
                      <a:pt x="65" y="234"/>
                    </a:lnTo>
                    <a:lnTo>
                      <a:pt x="70" y="230"/>
                    </a:lnTo>
                    <a:lnTo>
                      <a:pt x="72" y="225"/>
                    </a:lnTo>
                    <a:lnTo>
                      <a:pt x="70" y="213"/>
                    </a:lnTo>
                    <a:lnTo>
                      <a:pt x="70" y="206"/>
                    </a:lnTo>
                    <a:lnTo>
                      <a:pt x="67" y="199"/>
                    </a:lnTo>
                    <a:lnTo>
                      <a:pt x="65" y="195"/>
                    </a:lnTo>
                    <a:lnTo>
                      <a:pt x="63" y="195"/>
                    </a:lnTo>
                    <a:lnTo>
                      <a:pt x="41" y="196"/>
                    </a:lnTo>
                    <a:lnTo>
                      <a:pt x="35" y="199"/>
                    </a:lnTo>
                    <a:lnTo>
                      <a:pt x="33" y="198"/>
                    </a:lnTo>
                    <a:lnTo>
                      <a:pt x="26" y="191"/>
                    </a:lnTo>
                    <a:lnTo>
                      <a:pt x="21" y="180"/>
                    </a:lnTo>
                    <a:lnTo>
                      <a:pt x="17" y="179"/>
                    </a:lnTo>
                    <a:lnTo>
                      <a:pt x="16" y="177"/>
                    </a:lnTo>
                    <a:lnTo>
                      <a:pt x="15" y="176"/>
                    </a:lnTo>
                    <a:lnTo>
                      <a:pt x="14" y="175"/>
                    </a:lnTo>
                    <a:lnTo>
                      <a:pt x="7" y="175"/>
                    </a:lnTo>
                    <a:lnTo>
                      <a:pt x="5" y="170"/>
                    </a:lnTo>
                    <a:lnTo>
                      <a:pt x="0" y="170"/>
                    </a:lnTo>
                    <a:lnTo>
                      <a:pt x="0" y="164"/>
                    </a:lnTo>
                    <a:lnTo>
                      <a:pt x="0" y="162"/>
                    </a:lnTo>
                    <a:lnTo>
                      <a:pt x="5" y="155"/>
                    </a:lnTo>
                    <a:lnTo>
                      <a:pt x="9" y="147"/>
                    </a:lnTo>
                    <a:lnTo>
                      <a:pt x="11" y="136"/>
                    </a:lnTo>
                    <a:lnTo>
                      <a:pt x="12" y="126"/>
                    </a:lnTo>
                    <a:lnTo>
                      <a:pt x="12" y="125"/>
                    </a:lnTo>
                    <a:lnTo>
                      <a:pt x="17" y="124"/>
                    </a:lnTo>
                    <a:lnTo>
                      <a:pt x="21" y="122"/>
                    </a:lnTo>
                    <a:lnTo>
                      <a:pt x="27" y="121"/>
                    </a:lnTo>
                    <a:lnTo>
                      <a:pt x="28" y="118"/>
                    </a:lnTo>
                    <a:lnTo>
                      <a:pt x="27" y="114"/>
                    </a:lnTo>
                    <a:lnTo>
                      <a:pt x="24" y="113"/>
                    </a:lnTo>
                    <a:lnTo>
                      <a:pt x="21" y="109"/>
                    </a:lnTo>
                    <a:lnTo>
                      <a:pt x="21" y="107"/>
                    </a:lnTo>
                    <a:lnTo>
                      <a:pt x="21" y="97"/>
                    </a:lnTo>
                    <a:lnTo>
                      <a:pt x="21" y="87"/>
                    </a:lnTo>
                    <a:lnTo>
                      <a:pt x="21" y="81"/>
                    </a:lnTo>
                    <a:lnTo>
                      <a:pt x="25" y="70"/>
                    </a:lnTo>
                    <a:lnTo>
                      <a:pt x="24" y="63"/>
                    </a:lnTo>
                    <a:lnTo>
                      <a:pt x="25" y="58"/>
                    </a:lnTo>
                    <a:lnTo>
                      <a:pt x="27" y="55"/>
                    </a:lnTo>
                    <a:lnTo>
                      <a:pt x="30" y="55"/>
                    </a:lnTo>
                    <a:lnTo>
                      <a:pt x="35" y="52"/>
                    </a:lnTo>
                    <a:lnTo>
                      <a:pt x="35" y="49"/>
                    </a:lnTo>
                    <a:lnTo>
                      <a:pt x="35" y="45"/>
                    </a:lnTo>
                    <a:lnTo>
                      <a:pt x="32" y="43"/>
                    </a:lnTo>
                    <a:lnTo>
                      <a:pt x="30" y="30"/>
                    </a:lnTo>
                    <a:lnTo>
                      <a:pt x="26" y="25"/>
                    </a:lnTo>
                    <a:lnTo>
                      <a:pt x="24" y="19"/>
                    </a:lnTo>
                    <a:lnTo>
                      <a:pt x="21" y="15"/>
                    </a:lnTo>
                    <a:lnTo>
                      <a:pt x="18" y="10"/>
                    </a:lnTo>
                    <a:lnTo>
                      <a:pt x="11" y="10"/>
                    </a:lnTo>
                    <a:lnTo>
                      <a:pt x="11" y="5"/>
                    </a:lnTo>
                    <a:lnTo>
                      <a:pt x="9" y="4"/>
                    </a:lnTo>
                    <a:close/>
                  </a:path>
                </a:pathLst>
              </a:custGeom>
              <a:solidFill>
                <a:srgbClr val="DBE5F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9" name="Freeform 95"/>
              <p:cNvSpPr>
                <a:spLocks/>
              </p:cNvSpPr>
              <p:nvPr/>
            </p:nvSpPr>
            <p:spPr bwMode="auto">
              <a:xfrm>
                <a:off x="2637" y="2904"/>
                <a:ext cx="131" cy="310"/>
              </a:xfrm>
              <a:custGeom>
                <a:avLst/>
                <a:gdLst>
                  <a:gd name="T0" fmla="*/ 611 w 123"/>
                  <a:gd name="T1" fmla="*/ 0 h 295"/>
                  <a:gd name="T2" fmla="*/ 1754 w 123"/>
                  <a:gd name="T3" fmla="*/ 8 h 295"/>
                  <a:gd name="T4" fmla="*/ 2603 w 123"/>
                  <a:gd name="T5" fmla="*/ 5 h 295"/>
                  <a:gd name="T6" fmla="*/ 2809 w 123"/>
                  <a:gd name="T7" fmla="*/ 316 h 295"/>
                  <a:gd name="T8" fmla="*/ 3091 w 123"/>
                  <a:gd name="T9" fmla="*/ 813 h 295"/>
                  <a:gd name="T10" fmla="*/ 3632 w 123"/>
                  <a:gd name="T11" fmla="*/ 1018 h 295"/>
                  <a:gd name="T12" fmla="*/ 3632 w 123"/>
                  <a:gd name="T13" fmla="*/ 1671 h 295"/>
                  <a:gd name="T14" fmla="*/ 3348 w 123"/>
                  <a:gd name="T15" fmla="*/ 2645 h 295"/>
                  <a:gd name="T16" fmla="*/ 2992 w 123"/>
                  <a:gd name="T17" fmla="*/ 2974 h 295"/>
                  <a:gd name="T18" fmla="*/ 3850 w 123"/>
                  <a:gd name="T19" fmla="*/ 3805 h 295"/>
                  <a:gd name="T20" fmla="*/ 4100 w 123"/>
                  <a:gd name="T21" fmla="*/ 4289 h 295"/>
                  <a:gd name="T22" fmla="*/ 4512 w 123"/>
                  <a:gd name="T23" fmla="*/ 4507 h 295"/>
                  <a:gd name="T24" fmla="*/ 4388 w 123"/>
                  <a:gd name="T25" fmla="*/ 4794 h 295"/>
                  <a:gd name="T26" fmla="*/ 4805 w 123"/>
                  <a:gd name="T27" fmla="*/ 4883 h 295"/>
                  <a:gd name="T28" fmla="*/ 5276 w 123"/>
                  <a:gd name="T29" fmla="*/ 4755 h 295"/>
                  <a:gd name="T30" fmla="*/ 5902 w 123"/>
                  <a:gd name="T31" fmla="*/ 5090 h 295"/>
                  <a:gd name="T32" fmla="*/ 6079 w 123"/>
                  <a:gd name="T33" fmla="*/ 4977 h 295"/>
                  <a:gd name="T34" fmla="*/ 5276 w 123"/>
                  <a:gd name="T35" fmla="*/ 4491 h 295"/>
                  <a:gd name="T36" fmla="*/ 5204 w 123"/>
                  <a:gd name="T37" fmla="*/ 4201 h 295"/>
                  <a:gd name="T38" fmla="*/ 6586 w 123"/>
                  <a:gd name="T39" fmla="*/ 4794 h 295"/>
                  <a:gd name="T40" fmla="*/ 7738 w 123"/>
                  <a:gd name="T41" fmla="*/ 5383 h 295"/>
                  <a:gd name="T42" fmla="*/ 7594 w 123"/>
                  <a:gd name="T43" fmla="*/ 5907 h 295"/>
                  <a:gd name="T44" fmla="*/ 7594 w 123"/>
                  <a:gd name="T45" fmla="*/ 6677 h 295"/>
                  <a:gd name="T46" fmla="*/ 6821 w 123"/>
                  <a:gd name="T47" fmla="*/ 6855 h 295"/>
                  <a:gd name="T48" fmla="*/ 6138 w 123"/>
                  <a:gd name="T49" fmla="*/ 7117 h 295"/>
                  <a:gd name="T50" fmla="*/ 6138 w 123"/>
                  <a:gd name="T51" fmla="*/ 7374 h 295"/>
                  <a:gd name="T52" fmla="*/ 6404 w 123"/>
                  <a:gd name="T53" fmla="*/ 7777 h 295"/>
                  <a:gd name="T54" fmla="*/ 5708 w 123"/>
                  <a:gd name="T55" fmla="*/ 7749 h 295"/>
                  <a:gd name="T56" fmla="*/ 5708 w 123"/>
                  <a:gd name="T57" fmla="*/ 7490 h 295"/>
                  <a:gd name="T58" fmla="*/ 5032 w 123"/>
                  <a:gd name="T59" fmla="*/ 7309 h 295"/>
                  <a:gd name="T60" fmla="*/ 4388 w 123"/>
                  <a:gd name="T61" fmla="*/ 7017 h 295"/>
                  <a:gd name="T62" fmla="*/ 3850 w 123"/>
                  <a:gd name="T63" fmla="*/ 6618 h 295"/>
                  <a:gd name="T64" fmla="*/ 4120 w 123"/>
                  <a:gd name="T65" fmla="*/ 6207 h 295"/>
                  <a:gd name="T66" fmla="*/ 4512 w 123"/>
                  <a:gd name="T67" fmla="*/ 5657 h 295"/>
                  <a:gd name="T68" fmla="*/ 4120 w 123"/>
                  <a:gd name="T69" fmla="*/ 5131 h 295"/>
                  <a:gd name="T70" fmla="*/ 2256 w 123"/>
                  <a:gd name="T71" fmla="*/ 5251 h 295"/>
                  <a:gd name="T72" fmla="*/ 1301 w 123"/>
                  <a:gd name="T73" fmla="*/ 4755 h 295"/>
                  <a:gd name="T74" fmla="*/ 891 w 123"/>
                  <a:gd name="T75" fmla="*/ 4644 h 295"/>
                  <a:gd name="T76" fmla="*/ 5 w 123"/>
                  <a:gd name="T77" fmla="*/ 4507 h 295"/>
                  <a:gd name="T78" fmla="*/ 0 w 123"/>
                  <a:gd name="T79" fmla="*/ 4289 h 295"/>
                  <a:gd name="T80" fmla="*/ 693 w 123"/>
                  <a:gd name="T81" fmla="*/ 3598 h 295"/>
                  <a:gd name="T82" fmla="*/ 1011 w 123"/>
                  <a:gd name="T83" fmla="*/ 3279 h 295"/>
                  <a:gd name="T84" fmla="*/ 1783 w 123"/>
                  <a:gd name="T85" fmla="*/ 3120 h 295"/>
                  <a:gd name="T86" fmla="*/ 1301 w 123"/>
                  <a:gd name="T87" fmla="*/ 2884 h 295"/>
                  <a:gd name="T88" fmla="*/ 1301 w 123"/>
                  <a:gd name="T89" fmla="*/ 2302 h 295"/>
                  <a:gd name="T90" fmla="*/ 1572 w 123"/>
                  <a:gd name="T91" fmla="*/ 1671 h 295"/>
                  <a:gd name="T92" fmla="*/ 1899 w 123"/>
                  <a:gd name="T93" fmla="*/ 1459 h 295"/>
                  <a:gd name="T94" fmla="*/ 2256 w 123"/>
                  <a:gd name="T95" fmla="*/ 1181 h 295"/>
                  <a:gd name="T96" fmla="*/ 1674 w 123"/>
                  <a:gd name="T97" fmla="*/ 635 h 295"/>
                  <a:gd name="T98" fmla="*/ 1077 w 123"/>
                  <a:gd name="T99" fmla="*/ 301 h 295"/>
                  <a:gd name="T100" fmla="*/ 611 w 123"/>
                  <a:gd name="T101" fmla="*/ 4 h 2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3"/>
                  <a:gd name="T154" fmla="*/ 0 h 295"/>
                  <a:gd name="T155" fmla="*/ 123 w 123"/>
                  <a:gd name="T156" fmla="*/ 295 h 2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3" h="295">
                    <a:moveTo>
                      <a:pt x="9" y="4"/>
                    </a:moveTo>
                    <a:lnTo>
                      <a:pt x="9" y="1"/>
                    </a:lnTo>
                    <a:lnTo>
                      <a:pt x="9" y="0"/>
                    </a:lnTo>
                    <a:lnTo>
                      <a:pt x="17" y="4"/>
                    </a:lnTo>
                    <a:lnTo>
                      <a:pt x="25" y="4"/>
                    </a:lnTo>
                    <a:lnTo>
                      <a:pt x="27" y="8"/>
                    </a:lnTo>
                    <a:lnTo>
                      <a:pt x="28" y="8"/>
                    </a:lnTo>
                    <a:lnTo>
                      <a:pt x="37" y="5"/>
                    </a:lnTo>
                    <a:lnTo>
                      <a:pt x="40" y="5"/>
                    </a:lnTo>
                    <a:lnTo>
                      <a:pt x="42" y="8"/>
                    </a:lnTo>
                    <a:lnTo>
                      <a:pt x="43" y="8"/>
                    </a:lnTo>
                    <a:lnTo>
                      <a:pt x="44" y="11"/>
                    </a:lnTo>
                    <a:lnTo>
                      <a:pt x="43" y="17"/>
                    </a:lnTo>
                    <a:lnTo>
                      <a:pt x="43" y="22"/>
                    </a:lnTo>
                    <a:lnTo>
                      <a:pt x="48" y="30"/>
                    </a:lnTo>
                    <a:lnTo>
                      <a:pt x="50" y="33"/>
                    </a:lnTo>
                    <a:lnTo>
                      <a:pt x="54" y="34"/>
                    </a:lnTo>
                    <a:lnTo>
                      <a:pt x="57" y="39"/>
                    </a:lnTo>
                    <a:lnTo>
                      <a:pt x="57" y="43"/>
                    </a:lnTo>
                    <a:lnTo>
                      <a:pt x="55" y="48"/>
                    </a:lnTo>
                    <a:lnTo>
                      <a:pt x="57" y="63"/>
                    </a:lnTo>
                    <a:lnTo>
                      <a:pt x="59" y="88"/>
                    </a:lnTo>
                    <a:lnTo>
                      <a:pt x="55" y="97"/>
                    </a:lnTo>
                    <a:lnTo>
                      <a:pt x="52" y="100"/>
                    </a:lnTo>
                    <a:lnTo>
                      <a:pt x="48" y="106"/>
                    </a:lnTo>
                    <a:lnTo>
                      <a:pt x="47" y="109"/>
                    </a:lnTo>
                    <a:lnTo>
                      <a:pt x="47" y="113"/>
                    </a:lnTo>
                    <a:lnTo>
                      <a:pt x="55" y="128"/>
                    </a:lnTo>
                    <a:lnTo>
                      <a:pt x="59" y="144"/>
                    </a:lnTo>
                    <a:lnTo>
                      <a:pt x="60" y="144"/>
                    </a:lnTo>
                    <a:lnTo>
                      <a:pt x="60" y="152"/>
                    </a:lnTo>
                    <a:lnTo>
                      <a:pt x="63" y="159"/>
                    </a:lnTo>
                    <a:lnTo>
                      <a:pt x="64" y="162"/>
                    </a:lnTo>
                    <a:lnTo>
                      <a:pt x="69" y="166"/>
                    </a:lnTo>
                    <a:lnTo>
                      <a:pt x="70" y="169"/>
                    </a:lnTo>
                    <a:lnTo>
                      <a:pt x="70" y="170"/>
                    </a:lnTo>
                    <a:lnTo>
                      <a:pt x="69" y="176"/>
                    </a:lnTo>
                    <a:lnTo>
                      <a:pt x="69" y="179"/>
                    </a:lnTo>
                    <a:lnTo>
                      <a:pt x="69" y="182"/>
                    </a:lnTo>
                    <a:lnTo>
                      <a:pt x="70" y="186"/>
                    </a:lnTo>
                    <a:lnTo>
                      <a:pt x="72" y="186"/>
                    </a:lnTo>
                    <a:lnTo>
                      <a:pt x="75" y="186"/>
                    </a:lnTo>
                    <a:lnTo>
                      <a:pt x="78" y="186"/>
                    </a:lnTo>
                    <a:lnTo>
                      <a:pt x="81" y="180"/>
                    </a:lnTo>
                    <a:lnTo>
                      <a:pt x="82" y="180"/>
                    </a:lnTo>
                    <a:lnTo>
                      <a:pt x="85" y="186"/>
                    </a:lnTo>
                    <a:lnTo>
                      <a:pt x="88" y="186"/>
                    </a:lnTo>
                    <a:lnTo>
                      <a:pt x="92" y="192"/>
                    </a:lnTo>
                    <a:lnTo>
                      <a:pt x="93" y="193"/>
                    </a:lnTo>
                    <a:lnTo>
                      <a:pt x="95" y="192"/>
                    </a:lnTo>
                    <a:lnTo>
                      <a:pt x="95" y="188"/>
                    </a:lnTo>
                    <a:lnTo>
                      <a:pt x="88" y="172"/>
                    </a:lnTo>
                    <a:lnTo>
                      <a:pt x="86" y="170"/>
                    </a:lnTo>
                    <a:lnTo>
                      <a:pt x="82" y="169"/>
                    </a:lnTo>
                    <a:lnTo>
                      <a:pt x="81" y="167"/>
                    </a:lnTo>
                    <a:lnTo>
                      <a:pt x="81" y="164"/>
                    </a:lnTo>
                    <a:lnTo>
                      <a:pt x="81" y="159"/>
                    </a:lnTo>
                    <a:lnTo>
                      <a:pt x="86" y="165"/>
                    </a:lnTo>
                    <a:lnTo>
                      <a:pt x="92" y="170"/>
                    </a:lnTo>
                    <a:lnTo>
                      <a:pt x="103" y="182"/>
                    </a:lnTo>
                    <a:lnTo>
                      <a:pt x="108" y="189"/>
                    </a:lnTo>
                    <a:lnTo>
                      <a:pt x="118" y="198"/>
                    </a:lnTo>
                    <a:lnTo>
                      <a:pt x="121" y="203"/>
                    </a:lnTo>
                    <a:lnTo>
                      <a:pt x="123" y="212"/>
                    </a:lnTo>
                    <a:lnTo>
                      <a:pt x="121" y="217"/>
                    </a:lnTo>
                    <a:lnTo>
                      <a:pt x="118" y="223"/>
                    </a:lnTo>
                    <a:lnTo>
                      <a:pt x="121" y="232"/>
                    </a:lnTo>
                    <a:lnTo>
                      <a:pt x="118" y="238"/>
                    </a:lnTo>
                    <a:lnTo>
                      <a:pt x="118" y="253"/>
                    </a:lnTo>
                    <a:lnTo>
                      <a:pt x="117" y="256"/>
                    </a:lnTo>
                    <a:lnTo>
                      <a:pt x="112" y="258"/>
                    </a:lnTo>
                    <a:lnTo>
                      <a:pt x="107" y="259"/>
                    </a:lnTo>
                    <a:lnTo>
                      <a:pt x="98" y="263"/>
                    </a:lnTo>
                    <a:lnTo>
                      <a:pt x="96" y="266"/>
                    </a:lnTo>
                    <a:lnTo>
                      <a:pt x="96" y="269"/>
                    </a:lnTo>
                    <a:lnTo>
                      <a:pt x="95" y="273"/>
                    </a:lnTo>
                    <a:lnTo>
                      <a:pt x="95" y="278"/>
                    </a:lnTo>
                    <a:lnTo>
                      <a:pt x="96" y="280"/>
                    </a:lnTo>
                    <a:lnTo>
                      <a:pt x="100" y="284"/>
                    </a:lnTo>
                    <a:lnTo>
                      <a:pt x="98" y="288"/>
                    </a:lnTo>
                    <a:lnTo>
                      <a:pt x="100" y="295"/>
                    </a:lnTo>
                    <a:lnTo>
                      <a:pt x="98" y="295"/>
                    </a:lnTo>
                    <a:lnTo>
                      <a:pt x="90" y="295"/>
                    </a:lnTo>
                    <a:lnTo>
                      <a:pt x="89" y="294"/>
                    </a:lnTo>
                    <a:lnTo>
                      <a:pt x="92" y="289"/>
                    </a:lnTo>
                    <a:lnTo>
                      <a:pt x="92" y="287"/>
                    </a:lnTo>
                    <a:lnTo>
                      <a:pt x="89" y="284"/>
                    </a:lnTo>
                    <a:lnTo>
                      <a:pt x="85" y="282"/>
                    </a:lnTo>
                    <a:lnTo>
                      <a:pt x="82" y="281"/>
                    </a:lnTo>
                    <a:lnTo>
                      <a:pt x="79" y="277"/>
                    </a:lnTo>
                    <a:lnTo>
                      <a:pt x="72" y="271"/>
                    </a:lnTo>
                    <a:lnTo>
                      <a:pt x="70" y="268"/>
                    </a:lnTo>
                    <a:lnTo>
                      <a:pt x="69" y="266"/>
                    </a:lnTo>
                    <a:lnTo>
                      <a:pt x="66" y="263"/>
                    </a:lnTo>
                    <a:lnTo>
                      <a:pt x="62" y="253"/>
                    </a:lnTo>
                    <a:lnTo>
                      <a:pt x="60" y="251"/>
                    </a:lnTo>
                    <a:lnTo>
                      <a:pt x="62" y="243"/>
                    </a:lnTo>
                    <a:lnTo>
                      <a:pt x="66" y="240"/>
                    </a:lnTo>
                    <a:lnTo>
                      <a:pt x="65" y="234"/>
                    </a:lnTo>
                    <a:lnTo>
                      <a:pt x="70" y="230"/>
                    </a:lnTo>
                    <a:lnTo>
                      <a:pt x="72" y="225"/>
                    </a:lnTo>
                    <a:lnTo>
                      <a:pt x="70" y="213"/>
                    </a:lnTo>
                    <a:lnTo>
                      <a:pt x="70" y="206"/>
                    </a:lnTo>
                    <a:lnTo>
                      <a:pt x="67" y="199"/>
                    </a:lnTo>
                    <a:lnTo>
                      <a:pt x="65" y="195"/>
                    </a:lnTo>
                    <a:lnTo>
                      <a:pt x="63" y="195"/>
                    </a:lnTo>
                    <a:lnTo>
                      <a:pt x="41" y="196"/>
                    </a:lnTo>
                    <a:lnTo>
                      <a:pt x="35" y="199"/>
                    </a:lnTo>
                    <a:lnTo>
                      <a:pt x="33" y="198"/>
                    </a:lnTo>
                    <a:lnTo>
                      <a:pt x="26" y="191"/>
                    </a:lnTo>
                    <a:lnTo>
                      <a:pt x="21" y="180"/>
                    </a:lnTo>
                    <a:lnTo>
                      <a:pt x="17" y="179"/>
                    </a:lnTo>
                    <a:lnTo>
                      <a:pt x="16" y="177"/>
                    </a:lnTo>
                    <a:lnTo>
                      <a:pt x="15" y="176"/>
                    </a:lnTo>
                    <a:lnTo>
                      <a:pt x="14" y="175"/>
                    </a:lnTo>
                    <a:lnTo>
                      <a:pt x="7" y="175"/>
                    </a:lnTo>
                    <a:lnTo>
                      <a:pt x="5" y="170"/>
                    </a:lnTo>
                    <a:lnTo>
                      <a:pt x="0" y="170"/>
                    </a:lnTo>
                    <a:lnTo>
                      <a:pt x="0" y="164"/>
                    </a:lnTo>
                    <a:lnTo>
                      <a:pt x="0" y="162"/>
                    </a:lnTo>
                    <a:lnTo>
                      <a:pt x="5" y="155"/>
                    </a:lnTo>
                    <a:lnTo>
                      <a:pt x="9" y="147"/>
                    </a:lnTo>
                    <a:lnTo>
                      <a:pt x="11" y="136"/>
                    </a:lnTo>
                    <a:lnTo>
                      <a:pt x="12" y="126"/>
                    </a:lnTo>
                    <a:lnTo>
                      <a:pt x="12" y="125"/>
                    </a:lnTo>
                    <a:lnTo>
                      <a:pt x="17" y="124"/>
                    </a:lnTo>
                    <a:lnTo>
                      <a:pt x="21" y="122"/>
                    </a:lnTo>
                    <a:lnTo>
                      <a:pt x="27" y="121"/>
                    </a:lnTo>
                    <a:lnTo>
                      <a:pt x="28" y="118"/>
                    </a:lnTo>
                    <a:lnTo>
                      <a:pt x="27" y="114"/>
                    </a:lnTo>
                    <a:lnTo>
                      <a:pt x="24" y="113"/>
                    </a:lnTo>
                    <a:lnTo>
                      <a:pt x="21" y="109"/>
                    </a:lnTo>
                    <a:lnTo>
                      <a:pt x="21" y="107"/>
                    </a:lnTo>
                    <a:lnTo>
                      <a:pt x="21" y="97"/>
                    </a:lnTo>
                    <a:lnTo>
                      <a:pt x="21" y="87"/>
                    </a:lnTo>
                    <a:lnTo>
                      <a:pt x="21" y="81"/>
                    </a:lnTo>
                    <a:lnTo>
                      <a:pt x="25" y="70"/>
                    </a:lnTo>
                    <a:lnTo>
                      <a:pt x="24" y="63"/>
                    </a:lnTo>
                    <a:lnTo>
                      <a:pt x="25" y="58"/>
                    </a:lnTo>
                    <a:lnTo>
                      <a:pt x="27" y="55"/>
                    </a:lnTo>
                    <a:lnTo>
                      <a:pt x="30" y="55"/>
                    </a:lnTo>
                    <a:lnTo>
                      <a:pt x="35" y="52"/>
                    </a:lnTo>
                    <a:lnTo>
                      <a:pt x="35" y="49"/>
                    </a:lnTo>
                    <a:lnTo>
                      <a:pt x="35" y="45"/>
                    </a:lnTo>
                    <a:lnTo>
                      <a:pt x="32" y="43"/>
                    </a:lnTo>
                    <a:lnTo>
                      <a:pt x="30" y="30"/>
                    </a:lnTo>
                    <a:lnTo>
                      <a:pt x="26" y="25"/>
                    </a:lnTo>
                    <a:lnTo>
                      <a:pt x="24" y="19"/>
                    </a:lnTo>
                    <a:lnTo>
                      <a:pt x="21" y="15"/>
                    </a:lnTo>
                    <a:lnTo>
                      <a:pt x="18" y="10"/>
                    </a:lnTo>
                    <a:lnTo>
                      <a:pt x="11" y="10"/>
                    </a:lnTo>
                    <a:lnTo>
                      <a:pt x="11" y="5"/>
                    </a:lnTo>
                    <a:lnTo>
                      <a:pt x="9" y="4"/>
                    </a:lnTo>
                    <a:close/>
                  </a:path>
                </a:pathLst>
              </a:custGeom>
              <a:solidFill>
                <a:srgbClr val="17375E"/>
              </a:solidFill>
              <a:ln w="8001">
                <a:solidFill>
                  <a:srgbClr val="1C1329"/>
                </a:solidFill>
                <a:miter lim="800000"/>
                <a:headEnd/>
                <a:tailEnd/>
              </a:ln>
            </p:spPr>
            <p:txBody>
              <a:bodyPr/>
              <a:lstStyle/>
              <a:p>
                <a:endParaRPr lang="en-US"/>
              </a:p>
            </p:txBody>
          </p:sp>
          <p:sp>
            <p:nvSpPr>
              <p:cNvPr id="300" name="Freeform 96"/>
              <p:cNvSpPr>
                <a:spLocks/>
              </p:cNvSpPr>
              <p:nvPr/>
            </p:nvSpPr>
            <p:spPr bwMode="auto">
              <a:xfrm>
                <a:off x="2522" y="2950"/>
                <a:ext cx="442" cy="657"/>
              </a:xfrm>
              <a:custGeom>
                <a:avLst/>
                <a:gdLst>
                  <a:gd name="T0" fmla="*/ 35986 w 413"/>
                  <a:gd name="T1" fmla="*/ 0 h 625"/>
                  <a:gd name="T2" fmla="*/ 36445 w 413"/>
                  <a:gd name="T3" fmla="*/ 449 h 625"/>
                  <a:gd name="T4" fmla="*/ 35023 w 413"/>
                  <a:gd name="T5" fmla="*/ 1280 h 625"/>
                  <a:gd name="T6" fmla="*/ 35023 w 413"/>
                  <a:gd name="T7" fmla="*/ 2450 h 625"/>
                  <a:gd name="T8" fmla="*/ 35487 w 413"/>
                  <a:gd name="T9" fmla="*/ 3653 h 625"/>
                  <a:gd name="T10" fmla="*/ 35986 w 413"/>
                  <a:gd name="T11" fmla="*/ 3935 h 625"/>
                  <a:gd name="T12" fmla="*/ 36445 w 413"/>
                  <a:gd name="T13" fmla="*/ 4343 h 625"/>
                  <a:gd name="T14" fmla="*/ 35676 w 413"/>
                  <a:gd name="T15" fmla="*/ 4929 h 625"/>
                  <a:gd name="T16" fmla="*/ 34054 w 413"/>
                  <a:gd name="T17" fmla="*/ 5659 h 625"/>
                  <a:gd name="T18" fmla="*/ 32689 w 413"/>
                  <a:gd name="T19" fmla="*/ 6172 h 625"/>
                  <a:gd name="T20" fmla="*/ 30466 w 413"/>
                  <a:gd name="T21" fmla="*/ 6798 h 625"/>
                  <a:gd name="T22" fmla="*/ 24945 w 413"/>
                  <a:gd name="T23" fmla="*/ 7348 h 625"/>
                  <a:gd name="T24" fmla="*/ 22311 w 413"/>
                  <a:gd name="T25" fmla="*/ 8050 h 625"/>
                  <a:gd name="T26" fmla="*/ 20911 w 413"/>
                  <a:gd name="T27" fmla="*/ 8726 h 625"/>
                  <a:gd name="T28" fmla="*/ 19539 w 413"/>
                  <a:gd name="T29" fmla="*/ 8895 h 625"/>
                  <a:gd name="T30" fmla="*/ 16355 w 413"/>
                  <a:gd name="T31" fmla="*/ 9668 h 625"/>
                  <a:gd name="T32" fmla="*/ 16539 w 413"/>
                  <a:gd name="T33" fmla="*/ 10682 h 625"/>
                  <a:gd name="T34" fmla="*/ 17199 w 413"/>
                  <a:gd name="T35" fmla="*/ 11079 h 625"/>
                  <a:gd name="T36" fmla="*/ 18201 w 413"/>
                  <a:gd name="T37" fmla="*/ 12096 h 625"/>
                  <a:gd name="T38" fmla="*/ 17426 w 413"/>
                  <a:gd name="T39" fmla="*/ 14050 h 625"/>
                  <a:gd name="T40" fmla="*/ 18411 w 413"/>
                  <a:gd name="T41" fmla="*/ 13942 h 625"/>
                  <a:gd name="T42" fmla="*/ 16143 w 413"/>
                  <a:gd name="T43" fmla="*/ 14865 h 625"/>
                  <a:gd name="T44" fmla="*/ 11447 w 413"/>
                  <a:gd name="T45" fmla="*/ 15363 h 625"/>
                  <a:gd name="T46" fmla="*/ 9340 w 413"/>
                  <a:gd name="T47" fmla="*/ 15706 h 625"/>
                  <a:gd name="T48" fmla="*/ 8727 w 413"/>
                  <a:gd name="T49" fmla="*/ 16270 h 625"/>
                  <a:gd name="T50" fmla="*/ 9504 w 413"/>
                  <a:gd name="T51" fmla="*/ 16856 h 625"/>
                  <a:gd name="T52" fmla="*/ 6769 w 413"/>
                  <a:gd name="T53" fmla="*/ 16014 h 625"/>
                  <a:gd name="T54" fmla="*/ 5160 w 413"/>
                  <a:gd name="T55" fmla="*/ 13011 h 625"/>
                  <a:gd name="T56" fmla="*/ 5426 w 413"/>
                  <a:gd name="T57" fmla="*/ 12096 h 625"/>
                  <a:gd name="T58" fmla="*/ 8153 w 413"/>
                  <a:gd name="T59" fmla="*/ 10998 h 625"/>
                  <a:gd name="T60" fmla="*/ 9003 w 413"/>
                  <a:gd name="T61" fmla="*/ 9073 h 625"/>
                  <a:gd name="T62" fmla="*/ 9996 w 413"/>
                  <a:gd name="T63" fmla="*/ 8087 h 625"/>
                  <a:gd name="T64" fmla="*/ 9504 w 413"/>
                  <a:gd name="T65" fmla="*/ 6650 h 625"/>
                  <a:gd name="T66" fmla="*/ 5160 w 413"/>
                  <a:gd name="T67" fmla="*/ 5742 h 625"/>
                  <a:gd name="T68" fmla="*/ 885 w 413"/>
                  <a:gd name="T69" fmla="*/ 5659 h 625"/>
                  <a:gd name="T70" fmla="*/ 0 w 413"/>
                  <a:gd name="T71" fmla="*/ 4689 h 625"/>
                  <a:gd name="T72" fmla="*/ 11202 w 413"/>
                  <a:gd name="T73" fmla="*/ 3739 h 625"/>
                  <a:gd name="T74" fmla="*/ 13111 w 413"/>
                  <a:gd name="T75" fmla="*/ 4136 h 625"/>
                  <a:gd name="T76" fmla="*/ 15456 w 413"/>
                  <a:gd name="T77" fmla="*/ 4422 h 625"/>
                  <a:gd name="T78" fmla="*/ 15104 w 413"/>
                  <a:gd name="T79" fmla="*/ 5175 h 625"/>
                  <a:gd name="T80" fmla="*/ 15017 w 413"/>
                  <a:gd name="T81" fmla="*/ 5659 h 625"/>
                  <a:gd name="T82" fmla="*/ 15512 w 413"/>
                  <a:gd name="T83" fmla="*/ 6160 h 625"/>
                  <a:gd name="T84" fmla="*/ 17277 w 413"/>
                  <a:gd name="T85" fmla="*/ 6484 h 625"/>
                  <a:gd name="T86" fmla="*/ 17300 w 413"/>
                  <a:gd name="T87" fmla="*/ 6807 h 625"/>
                  <a:gd name="T88" fmla="*/ 18201 w 413"/>
                  <a:gd name="T89" fmla="*/ 6484 h 625"/>
                  <a:gd name="T90" fmla="*/ 17767 w 413"/>
                  <a:gd name="T91" fmla="*/ 6083 h 625"/>
                  <a:gd name="T92" fmla="*/ 19123 w 413"/>
                  <a:gd name="T93" fmla="*/ 5788 h 625"/>
                  <a:gd name="T94" fmla="*/ 19960 w 413"/>
                  <a:gd name="T95" fmla="*/ 5121 h 625"/>
                  <a:gd name="T96" fmla="*/ 19960 w 413"/>
                  <a:gd name="T97" fmla="*/ 4343 h 625"/>
                  <a:gd name="T98" fmla="*/ 17426 w 413"/>
                  <a:gd name="T99" fmla="*/ 3446 h 625"/>
                  <a:gd name="T100" fmla="*/ 16283 w 413"/>
                  <a:gd name="T101" fmla="*/ 2707 h 625"/>
                  <a:gd name="T102" fmla="*/ 16143 w 413"/>
                  <a:gd name="T103" fmla="*/ 2004 h 625"/>
                  <a:gd name="T104" fmla="*/ 19479 w 413"/>
                  <a:gd name="T105" fmla="*/ 1049 h 625"/>
                  <a:gd name="T106" fmla="*/ 20911 w 413"/>
                  <a:gd name="T107" fmla="*/ 997 h 625"/>
                  <a:gd name="T108" fmla="*/ 22379 w 413"/>
                  <a:gd name="T109" fmla="*/ 1158 h 625"/>
                  <a:gd name="T110" fmla="*/ 25995 w 413"/>
                  <a:gd name="T111" fmla="*/ 1049 h 625"/>
                  <a:gd name="T112" fmla="*/ 28467 w 413"/>
                  <a:gd name="T113" fmla="*/ 703 h 625"/>
                  <a:gd name="T114" fmla="*/ 32603 w 413"/>
                  <a:gd name="T115" fmla="*/ 548 h 62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13"/>
                  <a:gd name="T175" fmla="*/ 0 h 625"/>
                  <a:gd name="T176" fmla="*/ 413 w 413"/>
                  <a:gd name="T177" fmla="*/ 625 h 62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13" h="625">
                    <a:moveTo>
                      <a:pt x="386" y="16"/>
                    </a:moveTo>
                    <a:lnTo>
                      <a:pt x="396" y="7"/>
                    </a:lnTo>
                    <a:lnTo>
                      <a:pt x="406" y="1"/>
                    </a:lnTo>
                    <a:lnTo>
                      <a:pt x="408" y="0"/>
                    </a:lnTo>
                    <a:lnTo>
                      <a:pt x="411" y="1"/>
                    </a:lnTo>
                    <a:lnTo>
                      <a:pt x="413" y="6"/>
                    </a:lnTo>
                    <a:lnTo>
                      <a:pt x="411" y="6"/>
                    </a:lnTo>
                    <a:lnTo>
                      <a:pt x="413" y="18"/>
                    </a:lnTo>
                    <a:lnTo>
                      <a:pt x="409" y="22"/>
                    </a:lnTo>
                    <a:lnTo>
                      <a:pt x="406" y="28"/>
                    </a:lnTo>
                    <a:lnTo>
                      <a:pt x="402" y="38"/>
                    </a:lnTo>
                    <a:lnTo>
                      <a:pt x="398" y="48"/>
                    </a:lnTo>
                    <a:lnTo>
                      <a:pt x="399" y="64"/>
                    </a:lnTo>
                    <a:lnTo>
                      <a:pt x="402" y="78"/>
                    </a:lnTo>
                    <a:lnTo>
                      <a:pt x="402" y="88"/>
                    </a:lnTo>
                    <a:lnTo>
                      <a:pt x="398" y="91"/>
                    </a:lnTo>
                    <a:lnTo>
                      <a:pt x="399" y="98"/>
                    </a:lnTo>
                    <a:lnTo>
                      <a:pt x="402" y="98"/>
                    </a:lnTo>
                    <a:lnTo>
                      <a:pt x="401" y="122"/>
                    </a:lnTo>
                    <a:lnTo>
                      <a:pt x="402" y="136"/>
                    </a:lnTo>
                    <a:lnTo>
                      <a:pt x="401" y="142"/>
                    </a:lnTo>
                    <a:lnTo>
                      <a:pt x="404" y="143"/>
                    </a:lnTo>
                    <a:lnTo>
                      <a:pt x="406" y="142"/>
                    </a:lnTo>
                    <a:lnTo>
                      <a:pt x="408" y="146"/>
                    </a:lnTo>
                    <a:lnTo>
                      <a:pt x="405" y="152"/>
                    </a:lnTo>
                    <a:lnTo>
                      <a:pt x="408" y="152"/>
                    </a:lnTo>
                    <a:lnTo>
                      <a:pt x="413" y="153"/>
                    </a:lnTo>
                    <a:lnTo>
                      <a:pt x="413" y="160"/>
                    </a:lnTo>
                    <a:lnTo>
                      <a:pt x="408" y="167"/>
                    </a:lnTo>
                    <a:lnTo>
                      <a:pt x="405" y="173"/>
                    </a:lnTo>
                    <a:lnTo>
                      <a:pt x="399" y="180"/>
                    </a:lnTo>
                    <a:lnTo>
                      <a:pt x="405" y="183"/>
                    </a:lnTo>
                    <a:lnTo>
                      <a:pt x="404" y="188"/>
                    </a:lnTo>
                    <a:lnTo>
                      <a:pt x="402" y="193"/>
                    </a:lnTo>
                    <a:lnTo>
                      <a:pt x="397" y="196"/>
                    </a:lnTo>
                    <a:lnTo>
                      <a:pt x="386" y="209"/>
                    </a:lnTo>
                    <a:lnTo>
                      <a:pt x="382" y="215"/>
                    </a:lnTo>
                    <a:lnTo>
                      <a:pt x="371" y="221"/>
                    </a:lnTo>
                    <a:lnTo>
                      <a:pt x="375" y="225"/>
                    </a:lnTo>
                    <a:lnTo>
                      <a:pt x="371" y="230"/>
                    </a:lnTo>
                    <a:lnTo>
                      <a:pt x="364" y="235"/>
                    </a:lnTo>
                    <a:lnTo>
                      <a:pt x="356" y="241"/>
                    </a:lnTo>
                    <a:lnTo>
                      <a:pt x="348" y="242"/>
                    </a:lnTo>
                    <a:lnTo>
                      <a:pt x="345" y="251"/>
                    </a:lnTo>
                    <a:lnTo>
                      <a:pt x="335" y="256"/>
                    </a:lnTo>
                    <a:lnTo>
                      <a:pt x="323" y="256"/>
                    </a:lnTo>
                    <a:lnTo>
                      <a:pt x="315" y="259"/>
                    </a:lnTo>
                    <a:lnTo>
                      <a:pt x="284" y="272"/>
                    </a:lnTo>
                    <a:lnTo>
                      <a:pt x="264" y="287"/>
                    </a:lnTo>
                    <a:lnTo>
                      <a:pt x="262" y="293"/>
                    </a:lnTo>
                    <a:lnTo>
                      <a:pt x="258" y="297"/>
                    </a:lnTo>
                    <a:lnTo>
                      <a:pt x="252" y="297"/>
                    </a:lnTo>
                    <a:lnTo>
                      <a:pt x="251" y="298"/>
                    </a:lnTo>
                    <a:lnTo>
                      <a:pt x="254" y="301"/>
                    </a:lnTo>
                    <a:lnTo>
                      <a:pt x="242" y="314"/>
                    </a:lnTo>
                    <a:lnTo>
                      <a:pt x="237" y="323"/>
                    </a:lnTo>
                    <a:lnTo>
                      <a:pt x="234" y="321"/>
                    </a:lnTo>
                    <a:lnTo>
                      <a:pt x="232" y="314"/>
                    </a:lnTo>
                    <a:lnTo>
                      <a:pt x="227" y="325"/>
                    </a:lnTo>
                    <a:lnTo>
                      <a:pt x="221" y="328"/>
                    </a:lnTo>
                    <a:lnTo>
                      <a:pt x="213" y="335"/>
                    </a:lnTo>
                    <a:lnTo>
                      <a:pt x="201" y="348"/>
                    </a:lnTo>
                    <a:lnTo>
                      <a:pt x="192" y="354"/>
                    </a:lnTo>
                    <a:lnTo>
                      <a:pt x="186" y="360"/>
                    </a:lnTo>
                    <a:lnTo>
                      <a:pt x="179" y="362"/>
                    </a:lnTo>
                    <a:lnTo>
                      <a:pt x="177" y="382"/>
                    </a:lnTo>
                    <a:lnTo>
                      <a:pt x="178" y="389"/>
                    </a:lnTo>
                    <a:lnTo>
                      <a:pt x="187" y="396"/>
                    </a:lnTo>
                    <a:lnTo>
                      <a:pt x="191" y="400"/>
                    </a:lnTo>
                    <a:lnTo>
                      <a:pt x="191" y="405"/>
                    </a:lnTo>
                    <a:lnTo>
                      <a:pt x="192" y="407"/>
                    </a:lnTo>
                    <a:lnTo>
                      <a:pt x="193" y="412"/>
                    </a:lnTo>
                    <a:lnTo>
                      <a:pt x="201" y="434"/>
                    </a:lnTo>
                    <a:lnTo>
                      <a:pt x="202" y="448"/>
                    </a:lnTo>
                    <a:lnTo>
                      <a:pt x="203" y="451"/>
                    </a:lnTo>
                    <a:lnTo>
                      <a:pt x="206" y="448"/>
                    </a:lnTo>
                    <a:lnTo>
                      <a:pt x="209" y="449"/>
                    </a:lnTo>
                    <a:lnTo>
                      <a:pt x="209" y="465"/>
                    </a:lnTo>
                    <a:lnTo>
                      <a:pt x="208" y="489"/>
                    </a:lnTo>
                    <a:lnTo>
                      <a:pt x="198" y="520"/>
                    </a:lnTo>
                    <a:lnTo>
                      <a:pt x="199" y="527"/>
                    </a:lnTo>
                    <a:lnTo>
                      <a:pt x="202" y="520"/>
                    </a:lnTo>
                    <a:lnTo>
                      <a:pt x="208" y="515"/>
                    </a:lnTo>
                    <a:lnTo>
                      <a:pt x="208" y="517"/>
                    </a:lnTo>
                    <a:lnTo>
                      <a:pt x="206" y="525"/>
                    </a:lnTo>
                    <a:lnTo>
                      <a:pt x="202" y="533"/>
                    </a:lnTo>
                    <a:lnTo>
                      <a:pt x="192" y="544"/>
                    </a:lnTo>
                    <a:lnTo>
                      <a:pt x="182" y="551"/>
                    </a:lnTo>
                    <a:lnTo>
                      <a:pt x="168" y="556"/>
                    </a:lnTo>
                    <a:lnTo>
                      <a:pt x="160" y="557"/>
                    </a:lnTo>
                    <a:lnTo>
                      <a:pt x="134" y="564"/>
                    </a:lnTo>
                    <a:lnTo>
                      <a:pt x="128" y="569"/>
                    </a:lnTo>
                    <a:lnTo>
                      <a:pt x="123" y="573"/>
                    </a:lnTo>
                    <a:lnTo>
                      <a:pt x="116" y="576"/>
                    </a:lnTo>
                    <a:lnTo>
                      <a:pt x="109" y="578"/>
                    </a:lnTo>
                    <a:lnTo>
                      <a:pt x="106" y="581"/>
                    </a:lnTo>
                    <a:lnTo>
                      <a:pt x="101" y="589"/>
                    </a:lnTo>
                    <a:lnTo>
                      <a:pt x="94" y="597"/>
                    </a:lnTo>
                    <a:lnTo>
                      <a:pt x="93" y="597"/>
                    </a:lnTo>
                    <a:lnTo>
                      <a:pt x="99" y="602"/>
                    </a:lnTo>
                    <a:lnTo>
                      <a:pt x="103" y="607"/>
                    </a:lnTo>
                    <a:lnTo>
                      <a:pt x="108" y="604"/>
                    </a:lnTo>
                    <a:lnTo>
                      <a:pt x="110" y="600"/>
                    </a:lnTo>
                    <a:lnTo>
                      <a:pt x="108" y="625"/>
                    </a:lnTo>
                    <a:lnTo>
                      <a:pt x="103" y="623"/>
                    </a:lnTo>
                    <a:lnTo>
                      <a:pt x="78" y="625"/>
                    </a:lnTo>
                    <a:lnTo>
                      <a:pt x="77" y="605"/>
                    </a:lnTo>
                    <a:lnTo>
                      <a:pt x="77" y="594"/>
                    </a:lnTo>
                    <a:lnTo>
                      <a:pt x="75" y="588"/>
                    </a:lnTo>
                    <a:lnTo>
                      <a:pt x="72" y="528"/>
                    </a:lnTo>
                    <a:lnTo>
                      <a:pt x="64" y="500"/>
                    </a:lnTo>
                    <a:lnTo>
                      <a:pt x="59" y="479"/>
                    </a:lnTo>
                    <a:lnTo>
                      <a:pt x="59" y="465"/>
                    </a:lnTo>
                    <a:lnTo>
                      <a:pt x="59" y="455"/>
                    </a:lnTo>
                    <a:lnTo>
                      <a:pt x="61" y="448"/>
                    </a:lnTo>
                    <a:lnTo>
                      <a:pt x="65" y="441"/>
                    </a:lnTo>
                    <a:lnTo>
                      <a:pt x="74" y="436"/>
                    </a:lnTo>
                    <a:lnTo>
                      <a:pt x="79" y="431"/>
                    </a:lnTo>
                    <a:lnTo>
                      <a:pt x="92" y="408"/>
                    </a:lnTo>
                    <a:lnTo>
                      <a:pt x="96" y="388"/>
                    </a:lnTo>
                    <a:lnTo>
                      <a:pt x="109" y="364"/>
                    </a:lnTo>
                    <a:lnTo>
                      <a:pt x="107" y="347"/>
                    </a:lnTo>
                    <a:lnTo>
                      <a:pt x="103" y="338"/>
                    </a:lnTo>
                    <a:lnTo>
                      <a:pt x="102" y="326"/>
                    </a:lnTo>
                    <a:lnTo>
                      <a:pt x="109" y="313"/>
                    </a:lnTo>
                    <a:lnTo>
                      <a:pt x="110" y="308"/>
                    </a:lnTo>
                    <a:lnTo>
                      <a:pt x="113" y="298"/>
                    </a:lnTo>
                    <a:lnTo>
                      <a:pt x="112" y="290"/>
                    </a:lnTo>
                    <a:lnTo>
                      <a:pt x="113" y="267"/>
                    </a:lnTo>
                    <a:lnTo>
                      <a:pt x="110" y="252"/>
                    </a:lnTo>
                    <a:lnTo>
                      <a:pt x="108" y="246"/>
                    </a:lnTo>
                    <a:lnTo>
                      <a:pt x="107" y="235"/>
                    </a:lnTo>
                    <a:lnTo>
                      <a:pt x="101" y="229"/>
                    </a:lnTo>
                    <a:lnTo>
                      <a:pt x="79" y="222"/>
                    </a:lnTo>
                    <a:lnTo>
                      <a:pt x="59" y="213"/>
                    </a:lnTo>
                    <a:lnTo>
                      <a:pt x="48" y="211"/>
                    </a:lnTo>
                    <a:lnTo>
                      <a:pt x="37" y="208"/>
                    </a:lnTo>
                    <a:lnTo>
                      <a:pt x="21" y="209"/>
                    </a:lnTo>
                    <a:lnTo>
                      <a:pt x="10" y="209"/>
                    </a:lnTo>
                    <a:lnTo>
                      <a:pt x="10" y="194"/>
                    </a:lnTo>
                    <a:lnTo>
                      <a:pt x="6" y="193"/>
                    </a:lnTo>
                    <a:lnTo>
                      <a:pt x="5" y="184"/>
                    </a:lnTo>
                    <a:lnTo>
                      <a:pt x="0" y="174"/>
                    </a:lnTo>
                    <a:lnTo>
                      <a:pt x="115" y="134"/>
                    </a:lnTo>
                    <a:lnTo>
                      <a:pt x="122" y="134"/>
                    </a:lnTo>
                    <a:lnTo>
                      <a:pt x="123" y="136"/>
                    </a:lnTo>
                    <a:lnTo>
                      <a:pt x="127" y="138"/>
                    </a:lnTo>
                    <a:lnTo>
                      <a:pt x="132" y="148"/>
                    </a:lnTo>
                    <a:lnTo>
                      <a:pt x="139" y="155"/>
                    </a:lnTo>
                    <a:lnTo>
                      <a:pt x="141" y="157"/>
                    </a:lnTo>
                    <a:lnTo>
                      <a:pt x="147" y="153"/>
                    </a:lnTo>
                    <a:lnTo>
                      <a:pt x="168" y="152"/>
                    </a:lnTo>
                    <a:lnTo>
                      <a:pt x="171" y="152"/>
                    </a:lnTo>
                    <a:lnTo>
                      <a:pt x="173" y="157"/>
                    </a:lnTo>
                    <a:lnTo>
                      <a:pt x="176" y="164"/>
                    </a:lnTo>
                    <a:lnTo>
                      <a:pt x="177" y="170"/>
                    </a:lnTo>
                    <a:lnTo>
                      <a:pt x="178" y="183"/>
                    </a:lnTo>
                    <a:lnTo>
                      <a:pt x="176" y="187"/>
                    </a:lnTo>
                    <a:lnTo>
                      <a:pt x="171" y="191"/>
                    </a:lnTo>
                    <a:lnTo>
                      <a:pt x="171" y="198"/>
                    </a:lnTo>
                    <a:lnTo>
                      <a:pt x="168" y="199"/>
                    </a:lnTo>
                    <a:lnTo>
                      <a:pt x="166" y="208"/>
                    </a:lnTo>
                    <a:lnTo>
                      <a:pt x="168" y="209"/>
                    </a:lnTo>
                    <a:lnTo>
                      <a:pt x="171" y="220"/>
                    </a:lnTo>
                    <a:lnTo>
                      <a:pt x="175" y="224"/>
                    </a:lnTo>
                    <a:lnTo>
                      <a:pt x="177" y="225"/>
                    </a:lnTo>
                    <a:lnTo>
                      <a:pt x="178" y="228"/>
                    </a:lnTo>
                    <a:lnTo>
                      <a:pt x="185" y="234"/>
                    </a:lnTo>
                    <a:lnTo>
                      <a:pt x="188" y="239"/>
                    </a:lnTo>
                    <a:lnTo>
                      <a:pt x="191" y="239"/>
                    </a:lnTo>
                    <a:lnTo>
                      <a:pt x="195" y="241"/>
                    </a:lnTo>
                    <a:lnTo>
                      <a:pt x="198" y="244"/>
                    </a:lnTo>
                    <a:lnTo>
                      <a:pt x="198" y="246"/>
                    </a:lnTo>
                    <a:lnTo>
                      <a:pt x="195" y="251"/>
                    </a:lnTo>
                    <a:lnTo>
                      <a:pt x="196" y="252"/>
                    </a:lnTo>
                    <a:lnTo>
                      <a:pt x="204" y="252"/>
                    </a:lnTo>
                    <a:lnTo>
                      <a:pt x="206" y="252"/>
                    </a:lnTo>
                    <a:lnTo>
                      <a:pt x="204" y="246"/>
                    </a:lnTo>
                    <a:lnTo>
                      <a:pt x="206" y="241"/>
                    </a:lnTo>
                    <a:lnTo>
                      <a:pt x="203" y="237"/>
                    </a:lnTo>
                    <a:lnTo>
                      <a:pt x="201" y="235"/>
                    </a:lnTo>
                    <a:lnTo>
                      <a:pt x="201" y="230"/>
                    </a:lnTo>
                    <a:lnTo>
                      <a:pt x="203" y="225"/>
                    </a:lnTo>
                    <a:lnTo>
                      <a:pt x="203" y="224"/>
                    </a:lnTo>
                    <a:lnTo>
                      <a:pt x="204" y="220"/>
                    </a:lnTo>
                    <a:lnTo>
                      <a:pt x="213" y="216"/>
                    </a:lnTo>
                    <a:lnTo>
                      <a:pt x="218" y="215"/>
                    </a:lnTo>
                    <a:lnTo>
                      <a:pt x="223" y="213"/>
                    </a:lnTo>
                    <a:lnTo>
                      <a:pt x="224" y="209"/>
                    </a:lnTo>
                    <a:lnTo>
                      <a:pt x="225" y="194"/>
                    </a:lnTo>
                    <a:lnTo>
                      <a:pt x="227" y="189"/>
                    </a:lnTo>
                    <a:lnTo>
                      <a:pt x="224" y="180"/>
                    </a:lnTo>
                    <a:lnTo>
                      <a:pt x="227" y="173"/>
                    </a:lnTo>
                    <a:lnTo>
                      <a:pt x="228" y="168"/>
                    </a:lnTo>
                    <a:lnTo>
                      <a:pt x="227" y="160"/>
                    </a:lnTo>
                    <a:lnTo>
                      <a:pt x="224" y="155"/>
                    </a:lnTo>
                    <a:lnTo>
                      <a:pt x="214" y="146"/>
                    </a:lnTo>
                    <a:lnTo>
                      <a:pt x="209" y="139"/>
                    </a:lnTo>
                    <a:lnTo>
                      <a:pt x="198" y="127"/>
                    </a:lnTo>
                    <a:lnTo>
                      <a:pt x="193" y="122"/>
                    </a:lnTo>
                    <a:lnTo>
                      <a:pt x="187" y="116"/>
                    </a:lnTo>
                    <a:lnTo>
                      <a:pt x="185" y="108"/>
                    </a:lnTo>
                    <a:lnTo>
                      <a:pt x="185" y="101"/>
                    </a:lnTo>
                    <a:lnTo>
                      <a:pt x="183" y="95"/>
                    </a:lnTo>
                    <a:lnTo>
                      <a:pt x="183" y="84"/>
                    </a:lnTo>
                    <a:lnTo>
                      <a:pt x="182" y="79"/>
                    </a:lnTo>
                    <a:lnTo>
                      <a:pt x="182" y="74"/>
                    </a:lnTo>
                    <a:lnTo>
                      <a:pt x="183" y="63"/>
                    </a:lnTo>
                    <a:lnTo>
                      <a:pt x="189" y="52"/>
                    </a:lnTo>
                    <a:lnTo>
                      <a:pt x="192" y="40"/>
                    </a:lnTo>
                    <a:lnTo>
                      <a:pt x="220" y="40"/>
                    </a:lnTo>
                    <a:lnTo>
                      <a:pt x="223" y="40"/>
                    </a:lnTo>
                    <a:lnTo>
                      <a:pt x="227" y="37"/>
                    </a:lnTo>
                    <a:lnTo>
                      <a:pt x="233" y="37"/>
                    </a:lnTo>
                    <a:lnTo>
                      <a:pt x="237" y="37"/>
                    </a:lnTo>
                    <a:lnTo>
                      <a:pt x="242" y="43"/>
                    </a:lnTo>
                    <a:lnTo>
                      <a:pt x="246" y="44"/>
                    </a:lnTo>
                    <a:lnTo>
                      <a:pt x="247" y="45"/>
                    </a:lnTo>
                    <a:lnTo>
                      <a:pt x="254" y="43"/>
                    </a:lnTo>
                    <a:lnTo>
                      <a:pt x="259" y="43"/>
                    </a:lnTo>
                    <a:lnTo>
                      <a:pt x="268" y="38"/>
                    </a:lnTo>
                    <a:lnTo>
                      <a:pt x="290" y="40"/>
                    </a:lnTo>
                    <a:lnTo>
                      <a:pt x="295" y="40"/>
                    </a:lnTo>
                    <a:lnTo>
                      <a:pt x="297" y="38"/>
                    </a:lnTo>
                    <a:lnTo>
                      <a:pt x="306" y="29"/>
                    </a:lnTo>
                    <a:lnTo>
                      <a:pt x="316" y="28"/>
                    </a:lnTo>
                    <a:lnTo>
                      <a:pt x="322" y="27"/>
                    </a:lnTo>
                    <a:lnTo>
                      <a:pt x="333" y="30"/>
                    </a:lnTo>
                    <a:lnTo>
                      <a:pt x="338" y="32"/>
                    </a:lnTo>
                    <a:lnTo>
                      <a:pt x="345" y="30"/>
                    </a:lnTo>
                    <a:lnTo>
                      <a:pt x="368" y="22"/>
                    </a:lnTo>
                    <a:lnTo>
                      <a:pt x="382" y="18"/>
                    </a:lnTo>
                    <a:lnTo>
                      <a:pt x="38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1" name="Freeform 97"/>
              <p:cNvSpPr>
                <a:spLocks/>
              </p:cNvSpPr>
              <p:nvPr/>
            </p:nvSpPr>
            <p:spPr bwMode="auto">
              <a:xfrm>
                <a:off x="2522" y="2950"/>
                <a:ext cx="442" cy="657"/>
              </a:xfrm>
              <a:custGeom>
                <a:avLst/>
                <a:gdLst>
                  <a:gd name="T0" fmla="*/ 35986 w 413"/>
                  <a:gd name="T1" fmla="*/ 0 h 625"/>
                  <a:gd name="T2" fmla="*/ 36445 w 413"/>
                  <a:gd name="T3" fmla="*/ 449 h 625"/>
                  <a:gd name="T4" fmla="*/ 35023 w 413"/>
                  <a:gd name="T5" fmla="*/ 1280 h 625"/>
                  <a:gd name="T6" fmla="*/ 35023 w 413"/>
                  <a:gd name="T7" fmla="*/ 2450 h 625"/>
                  <a:gd name="T8" fmla="*/ 35487 w 413"/>
                  <a:gd name="T9" fmla="*/ 3653 h 625"/>
                  <a:gd name="T10" fmla="*/ 35986 w 413"/>
                  <a:gd name="T11" fmla="*/ 3935 h 625"/>
                  <a:gd name="T12" fmla="*/ 36445 w 413"/>
                  <a:gd name="T13" fmla="*/ 4343 h 625"/>
                  <a:gd name="T14" fmla="*/ 35676 w 413"/>
                  <a:gd name="T15" fmla="*/ 4929 h 625"/>
                  <a:gd name="T16" fmla="*/ 34054 w 413"/>
                  <a:gd name="T17" fmla="*/ 5659 h 625"/>
                  <a:gd name="T18" fmla="*/ 32689 w 413"/>
                  <a:gd name="T19" fmla="*/ 6172 h 625"/>
                  <a:gd name="T20" fmla="*/ 30466 w 413"/>
                  <a:gd name="T21" fmla="*/ 6798 h 625"/>
                  <a:gd name="T22" fmla="*/ 24945 w 413"/>
                  <a:gd name="T23" fmla="*/ 7348 h 625"/>
                  <a:gd name="T24" fmla="*/ 22311 w 413"/>
                  <a:gd name="T25" fmla="*/ 8050 h 625"/>
                  <a:gd name="T26" fmla="*/ 20911 w 413"/>
                  <a:gd name="T27" fmla="*/ 8726 h 625"/>
                  <a:gd name="T28" fmla="*/ 19539 w 413"/>
                  <a:gd name="T29" fmla="*/ 8895 h 625"/>
                  <a:gd name="T30" fmla="*/ 16355 w 413"/>
                  <a:gd name="T31" fmla="*/ 9668 h 625"/>
                  <a:gd name="T32" fmla="*/ 16539 w 413"/>
                  <a:gd name="T33" fmla="*/ 10682 h 625"/>
                  <a:gd name="T34" fmla="*/ 17199 w 413"/>
                  <a:gd name="T35" fmla="*/ 11079 h 625"/>
                  <a:gd name="T36" fmla="*/ 18201 w 413"/>
                  <a:gd name="T37" fmla="*/ 12096 h 625"/>
                  <a:gd name="T38" fmla="*/ 17426 w 413"/>
                  <a:gd name="T39" fmla="*/ 14050 h 625"/>
                  <a:gd name="T40" fmla="*/ 18411 w 413"/>
                  <a:gd name="T41" fmla="*/ 13942 h 625"/>
                  <a:gd name="T42" fmla="*/ 16143 w 413"/>
                  <a:gd name="T43" fmla="*/ 14865 h 625"/>
                  <a:gd name="T44" fmla="*/ 11447 w 413"/>
                  <a:gd name="T45" fmla="*/ 15363 h 625"/>
                  <a:gd name="T46" fmla="*/ 9340 w 413"/>
                  <a:gd name="T47" fmla="*/ 15706 h 625"/>
                  <a:gd name="T48" fmla="*/ 8727 w 413"/>
                  <a:gd name="T49" fmla="*/ 16270 h 625"/>
                  <a:gd name="T50" fmla="*/ 9504 w 413"/>
                  <a:gd name="T51" fmla="*/ 16856 h 625"/>
                  <a:gd name="T52" fmla="*/ 6769 w 413"/>
                  <a:gd name="T53" fmla="*/ 16014 h 625"/>
                  <a:gd name="T54" fmla="*/ 5160 w 413"/>
                  <a:gd name="T55" fmla="*/ 13011 h 625"/>
                  <a:gd name="T56" fmla="*/ 5426 w 413"/>
                  <a:gd name="T57" fmla="*/ 12096 h 625"/>
                  <a:gd name="T58" fmla="*/ 8153 w 413"/>
                  <a:gd name="T59" fmla="*/ 10998 h 625"/>
                  <a:gd name="T60" fmla="*/ 9003 w 413"/>
                  <a:gd name="T61" fmla="*/ 9073 h 625"/>
                  <a:gd name="T62" fmla="*/ 9996 w 413"/>
                  <a:gd name="T63" fmla="*/ 8087 h 625"/>
                  <a:gd name="T64" fmla="*/ 9504 w 413"/>
                  <a:gd name="T65" fmla="*/ 6650 h 625"/>
                  <a:gd name="T66" fmla="*/ 5160 w 413"/>
                  <a:gd name="T67" fmla="*/ 5742 h 625"/>
                  <a:gd name="T68" fmla="*/ 885 w 413"/>
                  <a:gd name="T69" fmla="*/ 5659 h 625"/>
                  <a:gd name="T70" fmla="*/ 0 w 413"/>
                  <a:gd name="T71" fmla="*/ 4689 h 625"/>
                  <a:gd name="T72" fmla="*/ 11202 w 413"/>
                  <a:gd name="T73" fmla="*/ 3739 h 625"/>
                  <a:gd name="T74" fmla="*/ 13111 w 413"/>
                  <a:gd name="T75" fmla="*/ 4136 h 625"/>
                  <a:gd name="T76" fmla="*/ 15456 w 413"/>
                  <a:gd name="T77" fmla="*/ 4422 h 625"/>
                  <a:gd name="T78" fmla="*/ 15104 w 413"/>
                  <a:gd name="T79" fmla="*/ 5175 h 625"/>
                  <a:gd name="T80" fmla="*/ 15017 w 413"/>
                  <a:gd name="T81" fmla="*/ 5659 h 625"/>
                  <a:gd name="T82" fmla="*/ 15512 w 413"/>
                  <a:gd name="T83" fmla="*/ 6160 h 625"/>
                  <a:gd name="T84" fmla="*/ 17277 w 413"/>
                  <a:gd name="T85" fmla="*/ 6484 h 625"/>
                  <a:gd name="T86" fmla="*/ 17300 w 413"/>
                  <a:gd name="T87" fmla="*/ 6807 h 625"/>
                  <a:gd name="T88" fmla="*/ 18201 w 413"/>
                  <a:gd name="T89" fmla="*/ 6484 h 625"/>
                  <a:gd name="T90" fmla="*/ 17767 w 413"/>
                  <a:gd name="T91" fmla="*/ 6083 h 625"/>
                  <a:gd name="T92" fmla="*/ 19123 w 413"/>
                  <a:gd name="T93" fmla="*/ 5788 h 625"/>
                  <a:gd name="T94" fmla="*/ 19960 w 413"/>
                  <a:gd name="T95" fmla="*/ 5121 h 625"/>
                  <a:gd name="T96" fmla="*/ 19960 w 413"/>
                  <a:gd name="T97" fmla="*/ 4343 h 625"/>
                  <a:gd name="T98" fmla="*/ 17426 w 413"/>
                  <a:gd name="T99" fmla="*/ 3446 h 625"/>
                  <a:gd name="T100" fmla="*/ 16283 w 413"/>
                  <a:gd name="T101" fmla="*/ 2707 h 625"/>
                  <a:gd name="T102" fmla="*/ 16143 w 413"/>
                  <a:gd name="T103" fmla="*/ 2004 h 625"/>
                  <a:gd name="T104" fmla="*/ 19479 w 413"/>
                  <a:gd name="T105" fmla="*/ 1049 h 625"/>
                  <a:gd name="T106" fmla="*/ 20911 w 413"/>
                  <a:gd name="T107" fmla="*/ 997 h 625"/>
                  <a:gd name="T108" fmla="*/ 22379 w 413"/>
                  <a:gd name="T109" fmla="*/ 1158 h 625"/>
                  <a:gd name="T110" fmla="*/ 25995 w 413"/>
                  <a:gd name="T111" fmla="*/ 1049 h 625"/>
                  <a:gd name="T112" fmla="*/ 28467 w 413"/>
                  <a:gd name="T113" fmla="*/ 703 h 625"/>
                  <a:gd name="T114" fmla="*/ 32603 w 413"/>
                  <a:gd name="T115" fmla="*/ 548 h 62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13"/>
                  <a:gd name="T175" fmla="*/ 0 h 625"/>
                  <a:gd name="T176" fmla="*/ 413 w 413"/>
                  <a:gd name="T177" fmla="*/ 625 h 62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13" h="625">
                    <a:moveTo>
                      <a:pt x="386" y="16"/>
                    </a:moveTo>
                    <a:lnTo>
                      <a:pt x="396" y="7"/>
                    </a:lnTo>
                    <a:lnTo>
                      <a:pt x="406" y="1"/>
                    </a:lnTo>
                    <a:lnTo>
                      <a:pt x="408" y="0"/>
                    </a:lnTo>
                    <a:lnTo>
                      <a:pt x="411" y="1"/>
                    </a:lnTo>
                    <a:lnTo>
                      <a:pt x="413" y="6"/>
                    </a:lnTo>
                    <a:lnTo>
                      <a:pt x="411" y="6"/>
                    </a:lnTo>
                    <a:lnTo>
                      <a:pt x="413" y="18"/>
                    </a:lnTo>
                    <a:lnTo>
                      <a:pt x="409" y="22"/>
                    </a:lnTo>
                    <a:lnTo>
                      <a:pt x="406" y="28"/>
                    </a:lnTo>
                    <a:lnTo>
                      <a:pt x="402" y="38"/>
                    </a:lnTo>
                    <a:lnTo>
                      <a:pt x="398" y="48"/>
                    </a:lnTo>
                    <a:lnTo>
                      <a:pt x="399" y="64"/>
                    </a:lnTo>
                    <a:lnTo>
                      <a:pt x="402" y="78"/>
                    </a:lnTo>
                    <a:lnTo>
                      <a:pt x="402" y="88"/>
                    </a:lnTo>
                    <a:lnTo>
                      <a:pt x="398" y="91"/>
                    </a:lnTo>
                    <a:lnTo>
                      <a:pt x="399" y="98"/>
                    </a:lnTo>
                    <a:lnTo>
                      <a:pt x="402" y="98"/>
                    </a:lnTo>
                    <a:lnTo>
                      <a:pt x="401" y="122"/>
                    </a:lnTo>
                    <a:lnTo>
                      <a:pt x="402" y="136"/>
                    </a:lnTo>
                    <a:lnTo>
                      <a:pt x="401" y="142"/>
                    </a:lnTo>
                    <a:lnTo>
                      <a:pt x="404" y="143"/>
                    </a:lnTo>
                    <a:lnTo>
                      <a:pt x="406" y="142"/>
                    </a:lnTo>
                    <a:lnTo>
                      <a:pt x="408" y="146"/>
                    </a:lnTo>
                    <a:lnTo>
                      <a:pt x="405" y="152"/>
                    </a:lnTo>
                    <a:lnTo>
                      <a:pt x="408" y="152"/>
                    </a:lnTo>
                    <a:lnTo>
                      <a:pt x="413" y="153"/>
                    </a:lnTo>
                    <a:lnTo>
                      <a:pt x="413" y="160"/>
                    </a:lnTo>
                    <a:lnTo>
                      <a:pt x="408" y="167"/>
                    </a:lnTo>
                    <a:lnTo>
                      <a:pt x="405" y="173"/>
                    </a:lnTo>
                    <a:lnTo>
                      <a:pt x="399" y="180"/>
                    </a:lnTo>
                    <a:lnTo>
                      <a:pt x="405" y="183"/>
                    </a:lnTo>
                    <a:lnTo>
                      <a:pt x="404" y="188"/>
                    </a:lnTo>
                    <a:lnTo>
                      <a:pt x="402" y="193"/>
                    </a:lnTo>
                    <a:lnTo>
                      <a:pt x="397" y="196"/>
                    </a:lnTo>
                    <a:lnTo>
                      <a:pt x="386" y="209"/>
                    </a:lnTo>
                    <a:lnTo>
                      <a:pt x="382" y="215"/>
                    </a:lnTo>
                    <a:lnTo>
                      <a:pt x="371" y="221"/>
                    </a:lnTo>
                    <a:lnTo>
                      <a:pt x="375" y="225"/>
                    </a:lnTo>
                    <a:lnTo>
                      <a:pt x="371" y="230"/>
                    </a:lnTo>
                    <a:lnTo>
                      <a:pt x="364" y="235"/>
                    </a:lnTo>
                    <a:lnTo>
                      <a:pt x="356" y="241"/>
                    </a:lnTo>
                    <a:lnTo>
                      <a:pt x="348" y="242"/>
                    </a:lnTo>
                    <a:lnTo>
                      <a:pt x="345" y="251"/>
                    </a:lnTo>
                    <a:lnTo>
                      <a:pt x="335" y="256"/>
                    </a:lnTo>
                    <a:lnTo>
                      <a:pt x="323" y="256"/>
                    </a:lnTo>
                    <a:lnTo>
                      <a:pt x="315" y="259"/>
                    </a:lnTo>
                    <a:lnTo>
                      <a:pt x="284" y="272"/>
                    </a:lnTo>
                    <a:lnTo>
                      <a:pt x="264" y="287"/>
                    </a:lnTo>
                    <a:lnTo>
                      <a:pt x="262" y="293"/>
                    </a:lnTo>
                    <a:lnTo>
                      <a:pt x="258" y="297"/>
                    </a:lnTo>
                    <a:lnTo>
                      <a:pt x="252" y="297"/>
                    </a:lnTo>
                    <a:lnTo>
                      <a:pt x="251" y="298"/>
                    </a:lnTo>
                    <a:lnTo>
                      <a:pt x="254" y="301"/>
                    </a:lnTo>
                    <a:lnTo>
                      <a:pt x="242" y="314"/>
                    </a:lnTo>
                    <a:lnTo>
                      <a:pt x="237" y="323"/>
                    </a:lnTo>
                    <a:lnTo>
                      <a:pt x="234" y="321"/>
                    </a:lnTo>
                    <a:lnTo>
                      <a:pt x="232" y="314"/>
                    </a:lnTo>
                    <a:lnTo>
                      <a:pt x="227" y="325"/>
                    </a:lnTo>
                    <a:lnTo>
                      <a:pt x="221" y="328"/>
                    </a:lnTo>
                    <a:lnTo>
                      <a:pt x="213" y="335"/>
                    </a:lnTo>
                    <a:lnTo>
                      <a:pt x="201" y="348"/>
                    </a:lnTo>
                    <a:lnTo>
                      <a:pt x="192" y="354"/>
                    </a:lnTo>
                    <a:lnTo>
                      <a:pt x="186" y="360"/>
                    </a:lnTo>
                    <a:lnTo>
                      <a:pt x="179" y="362"/>
                    </a:lnTo>
                    <a:lnTo>
                      <a:pt x="177" y="382"/>
                    </a:lnTo>
                    <a:lnTo>
                      <a:pt x="178" y="389"/>
                    </a:lnTo>
                    <a:lnTo>
                      <a:pt x="187" y="396"/>
                    </a:lnTo>
                    <a:lnTo>
                      <a:pt x="191" y="400"/>
                    </a:lnTo>
                    <a:lnTo>
                      <a:pt x="191" y="405"/>
                    </a:lnTo>
                    <a:lnTo>
                      <a:pt x="192" y="407"/>
                    </a:lnTo>
                    <a:lnTo>
                      <a:pt x="193" y="412"/>
                    </a:lnTo>
                    <a:lnTo>
                      <a:pt x="201" y="434"/>
                    </a:lnTo>
                    <a:lnTo>
                      <a:pt x="202" y="448"/>
                    </a:lnTo>
                    <a:lnTo>
                      <a:pt x="203" y="451"/>
                    </a:lnTo>
                    <a:lnTo>
                      <a:pt x="206" y="448"/>
                    </a:lnTo>
                    <a:lnTo>
                      <a:pt x="209" y="449"/>
                    </a:lnTo>
                    <a:lnTo>
                      <a:pt x="209" y="465"/>
                    </a:lnTo>
                    <a:lnTo>
                      <a:pt x="208" y="489"/>
                    </a:lnTo>
                    <a:lnTo>
                      <a:pt x="198" y="520"/>
                    </a:lnTo>
                    <a:lnTo>
                      <a:pt x="199" y="527"/>
                    </a:lnTo>
                    <a:lnTo>
                      <a:pt x="202" y="520"/>
                    </a:lnTo>
                    <a:lnTo>
                      <a:pt x="208" y="515"/>
                    </a:lnTo>
                    <a:lnTo>
                      <a:pt x="208" y="517"/>
                    </a:lnTo>
                    <a:lnTo>
                      <a:pt x="206" y="525"/>
                    </a:lnTo>
                    <a:lnTo>
                      <a:pt x="202" y="533"/>
                    </a:lnTo>
                    <a:lnTo>
                      <a:pt x="192" y="544"/>
                    </a:lnTo>
                    <a:lnTo>
                      <a:pt x="182" y="551"/>
                    </a:lnTo>
                    <a:lnTo>
                      <a:pt x="168" y="556"/>
                    </a:lnTo>
                    <a:lnTo>
                      <a:pt x="160" y="557"/>
                    </a:lnTo>
                    <a:lnTo>
                      <a:pt x="134" y="564"/>
                    </a:lnTo>
                    <a:lnTo>
                      <a:pt x="128" y="569"/>
                    </a:lnTo>
                    <a:lnTo>
                      <a:pt x="123" y="573"/>
                    </a:lnTo>
                    <a:lnTo>
                      <a:pt x="116" y="576"/>
                    </a:lnTo>
                    <a:lnTo>
                      <a:pt x="109" y="578"/>
                    </a:lnTo>
                    <a:lnTo>
                      <a:pt x="106" y="581"/>
                    </a:lnTo>
                    <a:lnTo>
                      <a:pt x="101" y="589"/>
                    </a:lnTo>
                    <a:lnTo>
                      <a:pt x="94" y="597"/>
                    </a:lnTo>
                    <a:lnTo>
                      <a:pt x="93" y="597"/>
                    </a:lnTo>
                    <a:lnTo>
                      <a:pt x="99" y="602"/>
                    </a:lnTo>
                    <a:lnTo>
                      <a:pt x="103" y="607"/>
                    </a:lnTo>
                    <a:lnTo>
                      <a:pt x="108" y="604"/>
                    </a:lnTo>
                    <a:lnTo>
                      <a:pt x="110" y="600"/>
                    </a:lnTo>
                    <a:lnTo>
                      <a:pt x="108" y="625"/>
                    </a:lnTo>
                    <a:lnTo>
                      <a:pt x="103" y="623"/>
                    </a:lnTo>
                    <a:lnTo>
                      <a:pt x="78" y="625"/>
                    </a:lnTo>
                    <a:lnTo>
                      <a:pt x="77" y="605"/>
                    </a:lnTo>
                    <a:lnTo>
                      <a:pt x="77" y="594"/>
                    </a:lnTo>
                    <a:lnTo>
                      <a:pt x="75" y="588"/>
                    </a:lnTo>
                    <a:lnTo>
                      <a:pt x="72" y="528"/>
                    </a:lnTo>
                    <a:lnTo>
                      <a:pt x="64" y="500"/>
                    </a:lnTo>
                    <a:lnTo>
                      <a:pt x="59" y="479"/>
                    </a:lnTo>
                    <a:lnTo>
                      <a:pt x="59" y="465"/>
                    </a:lnTo>
                    <a:lnTo>
                      <a:pt x="59" y="455"/>
                    </a:lnTo>
                    <a:lnTo>
                      <a:pt x="61" y="448"/>
                    </a:lnTo>
                    <a:lnTo>
                      <a:pt x="65" y="441"/>
                    </a:lnTo>
                    <a:lnTo>
                      <a:pt x="74" y="436"/>
                    </a:lnTo>
                    <a:lnTo>
                      <a:pt x="79" y="431"/>
                    </a:lnTo>
                    <a:lnTo>
                      <a:pt x="92" y="408"/>
                    </a:lnTo>
                    <a:lnTo>
                      <a:pt x="96" y="388"/>
                    </a:lnTo>
                    <a:lnTo>
                      <a:pt x="109" y="364"/>
                    </a:lnTo>
                    <a:lnTo>
                      <a:pt x="107" y="347"/>
                    </a:lnTo>
                    <a:lnTo>
                      <a:pt x="103" y="338"/>
                    </a:lnTo>
                    <a:lnTo>
                      <a:pt x="102" y="326"/>
                    </a:lnTo>
                    <a:lnTo>
                      <a:pt x="109" y="313"/>
                    </a:lnTo>
                    <a:lnTo>
                      <a:pt x="110" y="308"/>
                    </a:lnTo>
                    <a:lnTo>
                      <a:pt x="113" y="298"/>
                    </a:lnTo>
                    <a:lnTo>
                      <a:pt x="112" y="290"/>
                    </a:lnTo>
                    <a:lnTo>
                      <a:pt x="113" y="267"/>
                    </a:lnTo>
                    <a:lnTo>
                      <a:pt x="110" y="252"/>
                    </a:lnTo>
                    <a:lnTo>
                      <a:pt x="108" y="246"/>
                    </a:lnTo>
                    <a:lnTo>
                      <a:pt x="107" y="235"/>
                    </a:lnTo>
                    <a:lnTo>
                      <a:pt x="101" y="229"/>
                    </a:lnTo>
                    <a:lnTo>
                      <a:pt x="79" y="222"/>
                    </a:lnTo>
                    <a:lnTo>
                      <a:pt x="59" y="213"/>
                    </a:lnTo>
                    <a:lnTo>
                      <a:pt x="48" y="211"/>
                    </a:lnTo>
                    <a:lnTo>
                      <a:pt x="37" y="208"/>
                    </a:lnTo>
                    <a:lnTo>
                      <a:pt x="21" y="209"/>
                    </a:lnTo>
                    <a:lnTo>
                      <a:pt x="10" y="209"/>
                    </a:lnTo>
                    <a:lnTo>
                      <a:pt x="10" y="194"/>
                    </a:lnTo>
                    <a:lnTo>
                      <a:pt x="6" y="193"/>
                    </a:lnTo>
                    <a:lnTo>
                      <a:pt x="5" y="184"/>
                    </a:lnTo>
                    <a:lnTo>
                      <a:pt x="0" y="174"/>
                    </a:lnTo>
                    <a:lnTo>
                      <a:pt x="115" y="134"/>
                    </a:lnTo>
                    <a:lnTo>
                      <a:pt x="122" y="134"/>
                    </a:lnTo>
                    <a:lnTo>
                      <a:pt x="123" y="136"/>
                    </a:lnTo>
                    <a:lnTo>
                      <a:pt x="127" y="138"/>
                    </a:lnTo>
                    <a:lnTo>
                      <a:pt x="132" y="148"/>
                    </a:lnTo>
                    <a:lnTo>
                      <a:pt x="139" y="155"/>
                    </a:lnTo>
                    <a:lnTo>
                      <a:pt x="141" y="157"/>
                    </a:lnTo>
                    <a:lnTo>
                      <a:pt x="147" y="153"/>
                    </a:lnTo>
                    <a:lnTo>
                      <a:pt x="168" y="152"/>
                    </a:lnTo>
                    <a:lnTo>
                      <a:pt x="171" y="152"/>
                    </a:lnTo>
                    <a:lnTo>
                      <a:pt x="173" y="157"/>
                    </a:lnTo>
                    <a:lnTo>
                      <a:pt x="176" y="164"/>
                    </a:lnTo>
                    <a:lnTo>
                      <a:pt x="177" y="170"/>
                    </a:lnTo>
                    <a:lnTo>
                      <a:pt x="178" y="183"/>
                    </a:lnTo>
                    <a:lnTo>
                      <a:pt x="176" y="187"/>
                    </a:lnTo>
                    <a:lnTo>
                      <a:pt x="171" y="191"/>
                    </a:lnTo>
                    <a:lnTo>
                      <a:pt x="171" y="198"/>
                    </a:lnTo>
                    <a:lnTo>
                      <a:pt x="168" y="199"/>
                    </a:lnTo>
                    <a:lnTo>
                      <a:pt x="166" y="208"/>
                    </a:lnTo>
                    <a:lnTo>
                      <a:pt x="168" y="209"/>
                    </a:lnTo>
                    <a:lnTo>
                      <a:pt x="171" y="220"/>
                    </a:lnTo>
                    <a:lnTo>
                      <a:pt x="175" y="224"/>
                    </a:lnTo>
                    <a:lnTo>
                      <a:pt x="177" y="225"/>
                    </a:lnTo>
                    <a:lnTo>
                      <a:pt x="178" y="228"/>
                    </a:lnTo>
                    <a:lnTo>
                      <a:pt x="185" y="234"/>
                    </a:lnTo>
                    <a:lnTo>
                      <a:pt x="188" y="239"/>
                    </a:lnTo>
                    <a:lnTo>
                      <a:pt x="191" y="239"/>
                    </a:lnTo>
                    <a:lnTo>
                      <a:pt x="195" y="241"/>
                    </a:lnTo>
                    <a:lnTo>
                      <a:pt x="198" y="244"/>
                    </a:lnTo>
                    <a:lnTo>
                      <a:pt x="198" y="246"/>
                    </a:lnTo>
                    <a:lnTo>
                      <a:pt x="195" y="251"/>
                    </a:lnTo>
                    <a:lnTo>
                      <a:pt x="196" y="252"/>
                    </a:lnTo>
                    <a:lnTo>
                      <a:pt x="204" y="252"/>
                    </a:lnTo>
                    <a:lnTo>
                      <a:pt x="206" y="252"/>
                    </a:lnTo>
                    <a:lnTo>
                      <a:pt x="204" y="246"/>
                    </a:lnTo>
                    <a:lnTo>
                      <a:pt x="206" y="241"/>
                    </a:lnTo>
                    <a:lnTo>
                      <a:pt x="203" y="237"/>
                    </a:lnTo>
                    <a:lnTo>
                      <a:pt x="201" y="235"/>
                    </a:lnTo>
                    <a:lnTo>
                      <a:pt x="201" y="230"/>
                    </a:lnTo>
                    <a:lnTo>
                      <a:pt x="203" y="225"/>
                    </a:lnTo>
                    <a:lnTo>
                      <a:pt x="203" y="224"/>
                    </a:lnTo>
                    <a:lnTo>
                      <a:pt x="204" y="220"/>
                    </a:lnTo>
                    <a:lnTo>
                      <a:pt x="213" y="216"/>
                    </a:lnTo>
                    <a:lnTo>
                      <a:pt x="218" y="215"/>
                    </a:lnTo>
                    <a:lnTo>
                      <a:pt x="223" y="213"/>
                    </a:lnTo>
                    <a:lnTo>
                      <a:pt x="224" y="209"/>
                    </a:lnTo>
                    <a:lnTo>
                      <a:pt x="225" y="194"/>
                    </a:lnTo>
                    <a:lnTo>
                      <a:pt x="227" y="189"/>
                    </a:lnTo>
                    <a:lnTo>
                      <a:pt x="224" y="180"/>
                    </a:lnTo>
                    <a:lnTo>
                      <a:pt x="227" y="173"/>
                    </a:lnTo>
                    <a:lnTo>
                      <a:pt x="228" y="168"/>
                    </a:lnTo>
                    <a:lnTo>
                      <a:pt x="227" y="160"/>
                    </a:lnTo>
                    <a:lnTo>
                      <a:pt x="224" y="155"/>
                    </a:lnTo>
                    <a:lnTo>
                      <a:pt x="214" y="146"/>
                    </a:lnTo>
                    <a:lnTo>
                      <a:pt x="209" y="139"/>
                    </a:lnTo>
                    <a:lnTo>
                      <a:pt x="198" y="127"/>
                    </a:lnTo>
                    <a:lnTo>
                      <a:pt x="193" y="122"/>
                    </a:lnTo>
                    <a:lnTo>
                      <a:pt x="187" y="116"/>
                    </a:lnTo>
                    <a:lnTo>
                      <a:pt x="185" y="108"/>
                    </a:lnTo>
                    <a:lnTo>
                      <a:pt x="185" y="101"/>
                    </a:lnTo>
                    <a:lnTo>
                      <a:pt x="183" y="95"/>
                    </a:lnTo>
                    <a:lnTo>
                      <a:pt x="183" y="84"/>
                    </a:lnTo>
                    <a:lnTo>
                      <a:pt x="182" y="79"/>
                    </a:lnTo>
                    <a:lnTo>
                      <a:pt x="182" y="74"/>
                    </a:lnTo>
                    <a:lnTo>
                      <a:pt x="183" y="63"/>
                    </a:lnTo>
                    <a:lnTo>
                      <a:pt x="189" y="52"/>
                    </a:lnTo>
                    <a:lnTo>
                      <a:pt x="192" y="40"/>
                    </a:lnTo>
                    <a:lnTo>
                      <a:pt x="220" y="40"/>
                    </a:lnTo>
                    <a:lnTo>
                      <a:pt x="223" y="40"/>
                    </a:lnTo>
                    <a:lnTo>
                      <a:pt x="227" y="37"/>
                    </a:lnTo>
                    <a:lnTo>
                      <a:pt x="233" y="37"/>
                    </a:lnTo>
                    <a:lnTo>
                      <a:pt x="237" y="37"/>
                    </a:lnTo>
                    <a:lnTo>
                      <a:pt x="242" y="43"/>
                    </a:lnTo>
                    <a:lnTo>
                      <a:pt x="246" y="44"/>
                    </a:lnTo>
                    <a:lnTo>
                      <a:pt x="247" y="45"/>
                    </a:lnTo>
                    <a:lnTo>
                      <a:pt x="254" y="43"/>
                    </a:lnTo>
                    <a:lnTo>
                      <a:pt x="259" y="43"/>
                    </a:lnTo>
                    <a:lnTo>
                      <a:pt x="268" y="38"/>
                    </a:lnTo>
                    <a:lnTo>
                      <a:pt x="290" y="40"/>
                    </a:lnTo>
                    <a:lnTo>
                      <a:pt x="295" y="40"/>
                    </a:lnTo>
                    <a:lnTo>
                      <a:pt x="297" y="38"/>
                    </a:lnTo>
                    <a:lnTo>
                      <a:pt x="306" y="29"/>
                    </a:lnTo>
                    <a:lnTo>
                      <a:pt x="316" y="28"/>
                    </a:lnTo>
                    <a:lnTo>
                      <a:pt x="322" y="27"/>
                    </a:lnTo>
                    <a:lnTo>
                      <a:pt x="333" y="30"/>
                    </a:lnTo>
                    <a:lnTo>
                      <a:pt x="338" y="32"/>
                    </a:lnTo>
                    <a:lnTo>
                      <a:pt x="345" y="30"/>
                    </a:lnTo>
                    <a:lnTo>
                      <a:pt x="368" y="22"/>
                    </a:lnTo>
                    <a:lnTo>
                      <a:pt x="382" y="18"/>
                    </a:lnTo>
                    <a:lnTo>
                      <a:pt x="386" y="16"/>
                    </a:lnTo>
                    <a:close/>
                  </a:path>
                </a:pathLst>
              </a:custGeom>
              <a:solidFill>
                <a:srgbClr val="17375E"/>
              </a:solidFill>
              <a:ln w="7938">
                <a:solidFill>
                  <a:srgbClr val="1C1329"/>
                </a:solidFill>
                <a:miter lim="800000"/>
                <a:headEnd/>
                <a:tailEnd/>
              </a:ln>
            </p:spPr>
            <p:txBody>
              <a:bodyPr/>
              <a:lstStyle/>
              <a:p>
                <a:endParaRPr lang="en-US"/>
              </a:p>
            </p:txBody>
          </p:sp>
          <p:sp>
            <p:nvSpPr>
              <p:cNvPr id="302" name="Freeform 98"/>
              <p:cNvSpPr>
                <a:spLocks/>
              </p:cNvSpPr>
              <p:nvPr/>
            </p:nvSpPr>
            <p:spPr bwMode="auto">
              <a:xfrm>
                <a:off x="2556" y="3565"/>
                <a:ext cx="51" cy="60"/>
              </a:xfrm>
              <a:custGeom>
                <a:avLst/>
                <a:gdLst>
                  <a:gd name="T0" fmla="*/ 5009 w 47"/>
                  <a:gd name="T1" fmla="*/ 0 h 57"/>
                  <a:gd name="T2" fmla="*/ 8247 w 47"/>
                  <a:gd name="T3" fmla="*/ 9 h 57"/>
                  <a:gd name="T4" fmla="*/ 9628 w 47"/>
                  <a:gd name="T5" fmla="*/ 4 h 57"/>
                  <a:gd name="T6" fmla="*/ 9848 w 47"/>
                  <a:gd name="T7" fmla="*/ 9 h 57"/>
                  <a:gd name="T8" fmla="*/ 9848 w 47"/>
                  <a:gd name="T9" fmla="*/ 584 h 57"/>
                  <a:gd name="T10" fmla="*/ 10447 w 47"/>
                  <a:gd name="T11" fmla="*/ 1138 h 57"/>
                  <a:gd name="T12" fmla="*/ 9145 w 47"/>
                  <a:gd name="T13" fmla="*/ 1198 h 57"/>
                  <a:gd name="T14" fmla="*/ 8177 w 47"/>
                  <a:gd name="T15" fmla="*/ 1494 h 57"/>
                  <a:gd name="T16" fmla="*/ 7158 w 47"/>
                  <a:gd name="T17" fmla="*/ 1656 h 57"/>
                  <a:gd name="T18" fmla="*/ 5009 w 47"/>
                  <a:gd name="T19" fmla="*/ 1629 h 57"/>
                  <a:gd name="T20" fmla="*/ 1517 w 47"/>
                  <a:gd name="T21" fmla="*/ 1548 h 57"/>
                  <a:gd name="T22" fmla="*/ 1 w 47"/>
                  <a:gd name="T23" fmla="*/ 1198 h 57"/>
                  <a:gd name="T24" fmla="*/ 0 w 47"/>
                  <a:gd name="T25" fmla="*/ 991 h 57"/>
                  <a:gd name="T26" fmla="*/ 3 w 47"/>
                  <a:gd name="T27" fmla="*/ 681 h 57"/>
                  <a:gd name="T28" fmla="*/ 1786 w 47"/>
                  <a:gd name="T29" fmla="*/ 369 h 57"/>
                  <a:gd name="T30" fmla="*/ 2687 w 47"/>
                  <a:gd name="T31" fmla="*/ 5 h 57"/>
                  <a:gd name="T32" fmla="*/ 5009 w 47"/>
                  <a:gd name="T33" fmla="*/ 0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57"/>
                  <a:gd name="T53" fmla="*/ 47 w 47"/>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57">
                    <a:moveTo>
                      <a:pt x="23" y="0"/>
                    </a:moveTo>
                    <a:lnTo>
                      <a:pt x="38" y="9"/>
                    </a:lnTo>
                    <a:lnTo>
                      <a:pt x="43" y="4"/>
                    </a:lnTo>
                    <a:lnTo>
                      <a:pt x="45" y="9"/>
                    </a:lnTo>
                    <a:lnTo>
                      <a:pt x="45" y="21"/>
                    </a:lnTo>
                    <a:lnTo>
                      <a:pt x="47" y="39"/>
                    </a:lnTo>
                    <a:lnTo>
                      <a:pt x="42" y="41"/>
                    </a:lnTo>
                    <a:lnTo>
                      <a:pt x="37" y="51"/>
                    </a:lnTo>
                    <a:lnTo>
                      <a:pt x="33" y="57"/>
                    </a:lnTo>
                    <a:lnTo>
                      <a:pt x="23" y="55"/>
                    </a:lnTo>
                    <a:lnTo>
                      <a:pt x="6" y="52"/>
                    </a:lnTo>
                    <a:lnTo>
                      <a:pt x="1" y="41"/>
                    </a:lnTo>
                    <a:lnTo>
                      <a:pt x="0" y="34"/>
                    </a:lnTo>
                    <a:lnTo>
                      <a:pt x="3" y="24"/>
                    </a:lnTo>
                    <a:lnTo>
                      <a:pt x="8" y="12"/>
                    </a:lnTo>
                    <a:lnTo>
                      <a:pt x="13" y="5"/>
                    </a:lnTo>
                    <a:lnTo>
                      <a:pt x="23" y="0"/>
                    </a:lnTo>
                    <a:close/>
                  </a:path>
                </a:pathLst>
              </a:custGeom>
              <a:solidFill>
                <a:srgbClr val="1F49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3" name="Freeform 99"/>
              <p:cNvSpPr>
                <a:spLocks/>
              </p:cNvSpPr>
              <p:nvPr/>
            </p:nvSpPr>
            <p:spPr bwMode="auto">
              <a:xfrm>
                <a:off x="2556" y="3565"/>
                <a:ext cx="51" cy="60"/>
              </a:xfrm>
              <a:custGeom>
                <a:avLst/>
                <a:gdLst>
                  <a:gd name="T0" fmla="*/ 5009 w 47"/>
                  <a:gd name="T1" fmla="*/ 0 h 57"/>
                  <a:gd name="T2" fmla="*/ 8247 w 47"/>
                  <a:gd name="T3" fmla="*/ 9 h 57"/>
                  <a:gd name="T4" fmla="*/ 9628 w 47"/>
                  <a:gd name="T5" fmla="*/ 4 h 57"/>
                  <a:gd name="T6" fmla="*/ 9848 w 47"/>
                  <a:gd name="T7" fmla="*/ 9 h 57"/>
                  <a:gd name="T8" fmla="*/ 9848 w 47"/>
                  <a:gd name="T9" fmla="*/ 584 h 57"/>
                  <a:gd name="T10" fmla="*/ 10447 w 47"/>
                  <a:gd name="T11" fmla="*/ 1138 h 57"/>
                  <a:gd name="T12" fmla="*/ 9145 w 47"/>
                  <a:gd name="T13" fmla="*/ 1198 h 57"/>
                  <a:gd name="T14" fmla="*/ 8177 w 47"/>
                  <a:gd name="T15" fmla="*/ 1494 h 57"/>
                  <a:gd name="T16" fmla="*/ 7158 w 47"/>
                  <a:gd name="T17" fmla="*/ 1656 h 57"/>
                  <a:gd name="T18" fmla="*/ 5009 w 47"/>
                  <a:gd name="T19" fmla="*/ 1629 h 57"/>
                  <a:gd name="T20" fmla="*/ 1517 w 47"/>
                  <a:gd name="T21" fmla="*/ 1548 h 57"/>
                  <a:gd name="T22" fmla="*/ 1 w 47"/>
                  <a:gd name="T23" fmla="*/ 1198 h 57"/>
                  <a:gd name="T24" fmla="*/ 0 w 47"/>
                  <a:gd name="T25" fmla="*/ 991 h 57"/>
                  <a:gd name="T26" fmla="*/ 3 w 47"/>
                  <a:gd name="T27" fmla="*/ 681 h 57"/>
                  <a:gd name="T28" fmla="*/ 1786 w 47"/>
                  <a:gd name="T29" fmla="*/ 369 h 57"/>
                  <a:gd name="T30" fmla="*/ 2687 w 47"/>
                  <a:gd name="T31" fmla="*/ 5 h 57"/>
                  <a:gd name="T32" fmla="*/ 5009 w 47"/>
                  <a:gd name="T33" fmla="*/ 0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57"/>
                  <a:gd name="T53" fmla="*/ 47 w 47"/>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57">
                    <a:moveTo>
                      <a:pt x="23" y="0"/>
                    </a:moveTo>
                    <a:lnTo>
                      <a:pt x="38" y="9"/>
                    </a:lnTo>
                    <a:lnTo>
                      <a:pt x="43" y="4"/>
                    </a:lnTo>
                    <a:lnTo>
                      <a:pt x="45" y="9"/>
                    </a:lnTo>
                    <a:lnTo>
                      <a:pt x="45" y="21"/>
                    </a:lnTo>
                    <a:lnTo>
                      <a:pt x="47" y="39"/>
                    </a:lnTo>
                    <a:lnTo>
                      <a:pt x="42" y="41"/>
                    </a:lnTo>
                    <a:lnTo>
                      <a:pt x="37" y="51"/>
                    </a:lnTo>
                    <a:lnTo>
                      <a:pt x="33" y="57"/>
                    </a:lnTo>
                    <a:lnTo>
                      <a:pt x="23" y="55"/>
                    </a:lnTo>
                    <a:lnTo>
                      <a:pt x="6" y="52"/>
                    </a:lnTo>
                    <a:lnTo>
                      <a:pt x="1" y="41"/>
                    </a:lnTo>
                    <a:lnTo>
                      <a:pt x="0" y="34"/>
                    </a:lnTo>
                    <a:lnTo>
                      <a:pt x="3" y="24"/>
                    </a:lnTo>
                    <a:lnTo>
                      <a:pt x="8" y="12"/>
                    </a:lnTo>
                    <a:lnTo>
                      <a:pt x="13" y="5"/>
                    </a:lnTo>
                    <a:lnTo>
                      <a:pt x="23" y="0"/>
                    </a:lnTo>
                    <a:close/>
                  </a:path>
                </a:pathLst>
              </a:custGeom>
              <a:solidFill>
                <a:srgbClr val="9BBB59"/>
              </a:solidFill>
              <a:ln w="7938">
                <a:solidFill>
                  <a:srgbClr val="1C1329"/>
                </a:solidFill>
                <a:miter lim="800000"/>
                <a:headEnd/>
                <a:tailEnd/>
              </a:ln>
            </p:spPr>
            <p:txBody>
              <a:bodyPr/>
              <a:lstStyle/>
              <a:p>
                <a:endParaRPr lang="en-US"/>
              </a:p>
            </p:txBody>
          </p:sp>
          <p:sp>
            <p:nvSpPr>
              <p:cNvPr id="304" name="Freeform 100"/>
              <p:cNvSpPr>
                <a:spLocks/>
              </p:cNvSpPr>
              <p:nvPr/>
            </p:nvSpPr>
            <p:spPr bwMode="auto">
              <a:xfrm>
                <a:off x="2321" y="3155"/>
                <a:ext cx="323" cy="284"/>
              </a:xfrm>
              <a:custGeom>
                <a:avLst/>
                <a:gdLst>
                  <a:gd name="T0" fmla="*/ 16698 w 302"/>
                  <a:gd name="T1" fmla="*/ 1 h 270"/>
                  <a:gd name="T2" fmla="*/ 16768 w 302"/>
                  <a:gd name="T3" fmla="*/ 388 h 270"/>
                  <a:gd name="T4" fmla="*/ 19101 w 302"/>
                  <a:gd name="T5" fmla="*/ 369 h 270"/>
                  <a:gd name="T6" fmla="*/ 20784 w 302"/>
                  <a:gd name="T7" fmla="*/ 499 h 270"/>
                  <a:gd name="T8" fmla="*/ 24406 w 302"/>
                  <a:gd name="T9" fmla="*/ 951 h 270"/>
                  <a:gd name="T10" fmla="*/ 24994 w 302"/>
                  <a:gd name="T11" fmla="*/ 1441 h 270"/>
                  <a:gd name="T12" fmla="*/ 25428 w 302"/>
                  <a:gd name="T13" fmla="*/ 2029 h 270"/>
                  <a:gd name="T14" fmla="*/ 25428 w 302"/>
                  <a:gd name="T15" fmla="*/ 2889 h 270"/>
                  <a:gd name="T16" fmla="*/ 25158 w 302"/>
                  <a:gd name="T17" fmla="*/ 3326 h 270"/>
                  <a:gd name="T18" fmla="*/ 24534 w 302"/>
                  <a:gd name="T19" fmla="*/ 4042 h 270"/>
                  <a:gd name="T20" fmla="*/ 25158 w 302"/>
                  <a:gd name="T21" fmla="*/ 4762 h 270"/>
                  <a:gd name="T22" fmla="*/ 23640 w 302"/>
                  <a:gd name="T23" fmla="*/ 5980 h 270"/>
                  <a:gd name="T24" fmla="*/ 22103 w 302"/>
                  <a:gd name="T25" fmla="*/ 6759 h 270"/>
                  <a:gd name="T26" fmla="*/ 21031 w 302"/>
                  <a:gd name="T27" fmla="*/ 7109 h 270"/>
                  <a:gd name="T28" fmla="*/ 20784 w 302"/>
                  <a:gd name="T29" fmla="*/ 7600 h 270"/>
                  <a:gd name="T30" fmla="*/ 20756 w 302"/>
                  <a:gd name="T31" fmla="*/ 7600 h 270"/>
                  <a:gd name="T32" fmla="*/ 19433 w 302"/>
                  <a:gd name="T33" fmla="*/ 7271 h 270"/>
                  <a:gd name="T34" fmla="*/ 17753 w 302"/>
                  <a:gd name="T35" fmla="*/ 7140 h 270"/>
                  <a:gd name="T36" fmla="*/ 16073 w 302"/>
                  <a:gd name="T37" fmla="*/ 7140 h 270"/>
                  <a:gd name="T38" fmla="*/ 14051 w 302"/>
                  <a:gd name="T39" fmla="*/ 6959 h 270"/>
                  <a:gd name="T40" fmla="*/ 12844 w 302"/>
                  <a:gd name="T41" fmla="*/ 6880 h 270"/>
                  <a:gd name="T42" fmla="*/ 11467 w 302"/>
                  <a:gd name="T43" fmla="*/ 6702 h 270"/>
                  <a:gd name="T44" fmla="*/ 9908 w 302"/>
                  <a:gd name="T45" fmla="*/ 6671 h 270"/>
                  <a:gd name="T46" fmla="*/ 8892 w 302"/>
                  <a:gd name="T47" fmla="*/ 6426 h 270"/>
                  <a:gd name="T48" fmla="*/ 8290 w 302"/>
                  <a:gd name="T49" fmla="*/ 5829 h 270"/>
                  <a:gd name="T50" fmla="*/ 7660 w 302"/>
                  <a:gd name="T51" fmla="*/ 5269 h 270"/>
                  <a:gd name="T52" fmla="*/ 6335 w 302"/>
                  <a:gd name="T53" fmla="*/ 4857 h 270"/>
                  <a:gd name="T54" fmla="*/ 4539 w 302"/>
                  <a:gd name="T55" fmla="*/ 4618 h 270"/>
                  <a:gd name="T56" fmla="*/ 1965 w 302"/>
                  <a:gd name="T57" fmla="*/ 3720 h 270"/>
                  <a:gd name="T58" fmla="*/ 1494 w 302"/>
                  <a:gd name="T59" fmla="*/ 3238 h 270"/>
                  <a:gd name="T60" fmla="*/ 2 w 302"/>
                  <a:gd name="T61" fmla="*/ 2648 h 270"/>
                  <a:gd name="T62" fmla="*/ 0 w 302"/>
                  <a:gd name="T63" fmla="*/ 2391 h 270"/>
                  <a:gd name="T64" fmla="*/ 4 w 302"/>
                  <a:gd name="T65" fmla="*/ 2483 h 270"/>
                  <a:gd name="T66" fmla="*/ 2248 w 302"/>
                  <a:gd name="T67" fmla="*/ 2517 h 270"/>
                  <a:gd name="T68" fmla="*/ 3599 w 302"/>
                  <a:gd name="T69" fmla="*/ 2483 h 270"/>
                  <a:gd name="T70" fmla="*/ 4379 w 302"/>
                  <a:gd name="T71" fmla="*/ 2483 h 270"/>
                  <a:gd name="T72" fmla="*/ 4684 w 302"/>
                  <a:gd name="T73" fmla="*/ 2612 h 270"/>
                  <a:gd name="T74" fmla="*/ 5386 w 302"/>
                  <a:gd name="T75" fmla="*/ 2595 h 270"/>
                  <a:gd name="T76" fmla="*/ 6162 w 302"/>
                  <a:gd name="T77" fmla="*/ 2467 h 270"/>
                  <a:gd name="T78" fmla="*/ 6795 w 302"/>
                  <a:gd name="T79" fmla="*/ 2161 h 270"/>
                  <a:gd name="T80" fmla="*/ 7162 w 302"/>
                  <a:gd name="T81" fmla="*/ 2056 h 270"/>
                  <a:gd name="T82" fmla="*/ 7660 w 302"/>
                  <a:gd name="T83" fmla="*/ 1929 h 270"/>
                  <a:gd name="T84" fmla="*/ 8290 w 302"/>
                  <a:gd name="T85" fmla="*/ 1767 h 270"/>
                  <a:gd name="T86" fmla="*/ 8476 w 302"/>
                  <a:gd name="T87" fmla="*/ 1658 h 270"/>
                  <a:gd name="T88" fmla="*/ 9177 w 302"/>
                  <a:gd name="T89" fmla="*/ 1597 h 270"/>
                  <a:gd name="T90" fmla="*/ 9223 w 302"/>
                  <a:gd name="T91" fmla="*/ 1518 h 270"/>
                  <a:gd name="T92" fmla="*/ 9483 w 302"/>
                  <a:gd name="T93" fmla="*/ 1441 h 270"/>
                  <a:gd name="T94" fmla="*/ 9908 w 302"/>
                  <a:gd name="T95" fmla="*/ 1354 h 270"/>
                  <a:gd name="T96" fmla="*/ 10171 w 302"/>
                  <a:gd name="T97" fmla="*/ 1372 h 270"/>
                  <a:gd name="T98" fmla="*/ 10498 w 302"/>
                  <a:gd name="T99" fmla="*/ 1287 h 270"/>
                  <a:gd name="T100" fmla="*/ 10878 w 302"/>
                  <a:gd name="T101" fmla="*/ 1287 h 270"/>
                  <a:gd name="T102" fmla="*/ 11601 w 302"/>
                  <a:gd name="T103" fmla="*/ 1354 h 270"/>
                  <a:gd name="T104" fmla="*/ 12069 w 302"/>
                  <a:gd name="T105" fmla="*/ 1224 h 270"/>
                  <a:gd name="T106" fmla="*/ 11284 w 302"/>
                  <a:gd name="T107" fmla="*/ 1013 h 270"/>
                  <a:gd name="T108" fmla="*/ 11467 w 302"/>
                  <a:gd name="T109" fmla="*/ 859 h 270"/>
                  <a:gd name="T110" fmla="*/ 11467 w 302"/>
                  <a:gd name="T111" fmla="*/ 676 h 270"/>
                  <a:gd name="T112" fmla="*/ 11601 w 302"/>
                  <a:gd name="T113" fmla="*/ 388 h 270"/>
                  <a:gd name="T114" fmla="*/ 12264 w 302"/>
                  <a:gd name="T115" fmla="*/ 369 h 270"/>
                  <a:gd name="T116" fmla="*/ 12965 w 302"/>
                  <a:gd name="T117" fmla="*/ 4 h 270"/>
                  <a:gd name="T118" fmla="*/ 14766 w 302"/>
                  <a:gd name="T119" fmla="*/ 0 h 270"/>
                  <a:gd name="T120" fmla="*/ 15520 w 302"/>
                  <a:gd name="T121" fmla="*/ 1 h 270"/>
                  <a:gd name="T122" fmla="*/ 16156 w 302"/>
                  <a:gd name="T123" fmla="*/ 1 h 27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02"/>
                  <a:gd name="T187" fmla="*/ 0 h 270"/>
                  <a:gd name="T188" fmla="*/ 302 w 302"/>
                  <a:gd name="T189" fmla="*/ 270 h 27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02" h="270">
                    <a:moveTo>
                      <a:pt x="192" y="1"/>
                    </a:moveTo>
                    <a:lnTo>
                      <a:pt x="197" y="1"/>
                    </a:lnTo>
                    <a:lnTo>
                      <a:pt x="198" y="0"/>
                    </a:lnTo>
                    <a:lnTo>
                      <a:pt x="198" y="14"/>
                    </a:lnTo>
                    <a:lnTo>
                      <a:pt x="210" y="14"/>
                    </a:lnTo>
                    <a:lnTo>
                      <a:pt x="226" y="13"/>
                    </a:lnTo>
                    <a:lnTo>
                      <a:pt x="236" y="16"/>
                    </a:lnTo>
                    <a:lnTo>
                      <a:pt x="247" y="19"/>
                    </a:lnTo>
                    <a:lnTo>
                      <a:pt x="268" y="27"/>
                    </a:lnTo>
                    <a:lnTo>
                      <a:pt x="290" y="34"/>
                    </a:lnTo>
                    <a:lnTo>
                      <a:pt x="295" y="40"/>
                    </a:lnTo>
                    <a:lnTo>
                      <a:pt x="296" y="51"/>
                    </a:lnTo>
                    <a:lnTo>
                      <a:pt x="298" y="57"/>
                    </a:lnTo>
                    <a:lnTo>
                      <a:pt x="302" y="72"/>
                    </a:lnTo>
                    <a:lnTo>
                      <a:pt x="301" y="95"/>
                    </a:lnTo>
                    <a:lnTo>
                      <a:pt x="302" y="103"/>
                    </a:lnTo>
                    <a:lnTo>
                      <a:pt x="298" y="113"/>
                    </a:lnTo>
                    <a:lnTo>
                      <a:pt x="298" y="118"/>
                    </a:lnTo>
                    <a:lnTo>
                      <a:pt x="290" y="131"/>
                    </a:lnTo>
                    <a:lnTo>
                      <a:pt x="291" y="143"/>
                    </a:lnTo>
                    <a:lnTo>
                      <a:pt x="295" y="151"/>
                    </a:lnTo>
                    <a:lnTo>
                      <a:pt x="298" y="169"/>
                    </a:lnTo>
                    <a:lnTo>
                      <a:pt x="284" y="192"/>
                    </a:lnTo>
                    <a:lnTo>
                      <a:pt x="280" y="213"/>
                    </a:lnTo>
                    <a:lnTo>
                      <a:pt x="268" y="236"/>
                    </a:lnTo>
                    <a:lnTo>
                      <a:pt x="262" y="240"/>
                    </a:lnTo>
                    <a:lnTo>
                      <a:pt x="253" y="245"/>
                    </a:lnTo>
                    <a:lnTo>
                      <a:pt x="249" y="252"/>
                    </a:lnTo>
                    <a:lnTo>
                      <a:pt x="247" y="259"/>
                    </a:lnTo>
                    <a:lnTo>
                      <a:pt x="247" y="270"/>
                    </a:lnTo>
                    <a:lnTo>
                      <a:pt x="246" y="270"/>
                    </a:lnTo>
                    <a:lnTo>
                      <a:pt x="242" y="270"/>
                    </a:lnTo>
                    <a:lnTo>
                      <a:pt x="231" y="259"/>
                    </a:lnTo>
                    <a:lnTo>
                      <a:pt x="217" y="254"/>
                    </a:lnTo>
                    <a:lnTo>
                      <a:pt x="209" y="254"/>
                    </a:lnTo>
                    <a:lnTo>
                      <a:pt x="200" y="255"/>
                    </a:lnTo>
                    <a:lnTo>
                      <a:pt x="191" y="254"/>
                    </a:lnTo>
                    <a:lnTo>
                      <a:pt x="174" y="249"/>
                    </a:lnTo>
                    <a:lnTo>
                      <a:pt x="167" y="248"/>
                    </a:lnTo>
                    <a:lnTo>
                      <a:pt x="160" y="251"/>
                    </a:lnTo>
                    <a:lnTo>
                      <a:pt x="152" y="245"/>
                    </a:lnTo>
                    <a:lnTo>
                      <a:pt x="145" y="243"/>
                    </a:lnTo>
                    <a:lnTo>
                      <a:pt x="136" y="238"/>
                    </a:lnTo>
                    <a:lnTo>
                      <a:pt x="126" y="238"/>
                    </a:lnTo>
                    <a:lnTo>
                      <a:pt x="118" y="237"/>
                    </a:lnTo>
                    <a:lnTo>
                      <a:pt x="111" y="233"/>
                    </a:lnTo>
                    <a:lnTo>
                      <a:pt x="106" y="228"/>
                    </a:lnTo>
                    <a:lnTo>
                      <a:pt x="102" y="220"/>
                    </a:lnTo>
                    <a:lnTo>
                      <a:pt x="98" y="207"/>
                    </a:lnTo>
                    <a:lnTo>
                      <a:pt x="98" y="192"/>
                    </a:lnTo>
                    <a:lnTo>
                      <a:pt x="91" y="187"/>
                    </a:lnTo>
                    <a:lnTo>
                      <a:pt x="81" y="184"/>
                    </a:lnTo>
                    <a:lnTo>
                      <a:pt x="75" y="174"/>
                    </a:lnTo>
                    <a:lnTo>
                      <a:pt x="66" y="169"/>
                    </a:lnTo>
                    <a:lnTo>
                      <a:pt x="54" y="165"/>
                    </a:lnTo>
                    <a:lnTo>
                      <a:pt x="33" y="145"/>
                    </a:lnTo>
                    <a:lnTo>
                      <a:pt x="23" y="133"/>
                    </a:lnTo>
                    <a:lnTo>
                      <a:pt x="19" y="123"/>
                    </a:lnTo>
                    <a:lnTo>
                      <a:pt x="18" y="115"/>
                    </a:lnTo>
                    <a:lnTo>
                      <a:pt x="11" y="109"/>
                    </a:lnTo>
                    <a:lnTo>
                      <a:pt x="2" y="95"/>
                    </a:lnTo>
                    <a:lnTo>
                      <a:pt x="0" y="90"/>
                    </a:lnTo>
                    <a:lnTo>
                      <a:pt x="0" y="85"/>
                    </a:lnTo>
                    <a:lnTo>
                      <a:pt x="2" y="87"/>
                    </a:lnTo>
                    <a:lnTo>
                      <a:pt x="4" y="88"/>
                    </a:lnTo>
                    <a:lnTo>
                      <a:pt x="18" y="85"/>
                    </a:lnTo>
                    <a:lnTo>
                      <a:pt x="27" y="90"/>
                    </a:lnTo>
                    <a:lnTo>
                      <a:pt x="40" y="88"/>
                    </a:lnTo>
                    <a:lnTo>
                      <a:pt x="43" y="88"/>
                    </a:lnTo>
                    <a:lnTo>
                      <a:pt x="48" y="88"/>
                    </a:lnTo>
                    <a:lnTo>
                      <a:pt x="51" y="88"/>
                    </a:lnTo>
                    <a:lnTo>
                      <a:pt x="52" y="92"/>
                    </a:lnTo>
                    <a:lnTo>
                      <a:pt x="55" y="93"/>
                    </a:lnTo>
                    <a:lnTo>
                      <a:pt x="60" y="92"/>
                    </a:lnTo>
                    <a:lnTo>
                      <a:pt x="64" y="92"/>
                    </a:lnTo>
                    <a:lnTo>
                      <a:pt x="70" y="87"/>
                    </a:lnTo>
                    <a:lnTo>
                      <a:pt x="73" y="87"/>
                    </a:lnTo>
                    <a:lnTo>
                      <a:pt x="78" y="83"/>
                    </a:lnTo>
                    <a:lnTo>
                      <a:pt x="81" y="77"/>
                    </a:lnTo>
                    <a:lnTo>
                      <a:pt x="85" y="77"/>
                    </a:lnTo>
                    <a:lnTo>
                      <a:pt x="85" y="74"/>
                    </a:lnTo>
                    <a:lnTo>
                      <a:pt x="89" y="72"/>
                    </a:lnTo>
                    <a:lnTo>
                      <a:pt x="91" y="68"/>
                    </a:lnTo>
                    <a:lnTo>
                      <a:pt x="95" y="65"/>
                    </a:lnTo>
                    <a:lnTo>
                      <a:pt x="98" y="64"/>
                    </a:lnTo>
                    <a:lnTo>
                      <a:pt x="99" y="61"/>
                    </a:lnTo>
                    <a:lnTo>
                      <a:pt x="100" y="59"/>
                    </a:lnTo>
                    <a:lnTo>
                      <a:pt x="106" y="57"/>
                    </a:lnTo>
                    <a:lnTo>
                      <a:pt x="108" y="58"/>
                    </a:lnTo>
                    <a:lnTo>
                      <a:pt x="109" y="57"/>
                    </a:lnTo>
                    <a:lnTo>
                      <a:pt x="109" y="55"/>
                    </a:lnTo>
                    <a:lnTo>
                      <a:pt x="109" y="52"/>
                    </a:lnTo>
                    <a:lnTo>
                      <a:pt x="112" y="51"/>
                    </a:lnTo>
                    <a:lnTo>
                      <a:pt x="115" y="49"/>
                    </a:lnTo>
                    <a:lnTo>
                      <a:pt x="118" y="48"/>
                    </a:lnTo>
                    <a:lnTo>
                      <a:pt x="121" y="49"/>
                    </a:lnTo>
                    <a:lnTo>
                      <a:pt x="123" y="48"/>
                    </a:lnTo>
                    <a:lnTo>
                      <a:pt x="124" y="46"/>
                    </a:lnTo>
                    <a:lnTo>
                      <a:pt x="126" y="44"/>
                    </a:lnTo>
                    <a:lnTo>
                      <a:pt x="129" y="46"/>
                    </a:lnTo>
                    <a:lnTo>
                      <a:pt x="134" y="48"/>
                    </a:lnTo>
                    <a:lnTo>
                      <a:pt x="137" y="48"/>
                    </a:lnTo>
                    <a:lnTo>
                      <a:pt x="139" y="46"/>
                    </a:lnTo>
                    <a:lnTo>
                      <a:pt x="143" y="44"/>
                    </a:lnTo>
                    <a:lnTo>
                      <a:pt x="141" y="40"/>
                    </a:lnTo>
                    <a:lnTo>
                      <a:pt x="134" y="37"/>
                    </a:lnTo>
                    <a:lnTo>
                      <a:pt x="134" y="34"/>
                    </a:lnTo>
                    <a:lnTo>
                      <a:pt x="136" y="30"/>
                    </a:lnTo>
                    <a:lnTo>
                      <a:pt x="136" y="29"/>
                    </a:lnTo>
                    <a:lnTo>
                      <a:pt x="136" y="25"/>
                    </a:lnTo>
                    <a:lnTo>
                      <a:pt x="136" y="19"/>
                    </a:lnTo>
                    <a:lnTo>
                      <a:pt x="137" y="14"/>
                    </a:lnTo>
                    <a:lnTo>
                      <a:pt x="140" y="13"/>
                    </a:lnTo>
                    <a:lnTo>
                      <a:pt x="145" y="13"/>
                    </a:lnTo>
                    <a:lnTo>
                      <a:pt x="150" y="8"/>
                    </a:lnTo>
                    <a:lnTo>
                      <a:pt x="154" y="4"/>
                    </a:lnTo>
                    <a:lnTo>
                      <a:pt x="166" y="4"/>
                    </a:lnTo>
                    <a:lnTo>
                      <a:pt x="175" y="0"/>
                    </a:lnTo>
                    <a:lnTo>
                      <a:pt x="177" y="0"/>
                    </a:lnTo>
                    <a:lnTo>
                      <a:pt x="182" y="1"/>
                    </a:lnTo>
                    <a:lnTo>
                      <a:pt x="186" y="3"/>
                    </a:lnTo>
                    <a:lnTo>
                      <a:pt x="192" y="1"/>
                    </a:lnTo>
                    <a:close/>
                  </a:path>
                </a:pathLst>
              </a:custGeom>
              <a:solidFill>
                <a:srgbClr val="DBE5F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5" name="Freeform 101"/>
              <p:cNvSpPr>
                <a:spLocks/>
              </p:cNvSpPr>
              <p:nvPr/>
            </p:nvSpPr>
            <p:spPr bwMode="auto">
              <a:xfrm>
                <a:off x="2321" y="3155"/>
                <a:ext cx="323" cy="284"/>
              </a:xfrm>
              <a:custGeom>
                <a:avLst/>
                <a:gdLst>
                  <a:gd name="T0" fmla="*/ 16698 w 302"/>
                  <a:gd name="T1" fmla="*/ 1 h 270"/>
                  <a:gd name="T2" fmla="*/ 16768 w 302"/>
                  <a:gd name="T3" fmla="*/ 388 h 270"/>
                  <a:gd name="T4" fmla="*/ 19101 w 302"/>
                  <a:gd name="T5" fmla="*/ 369 h 270"/>
                  <a:gd name="T6" fmla="*/ 20784 w 302"/>
                  <a:gd name="T7" fmla="*/ 499 h 270"/>
                  <a:gd name="T8" fmla="*/ 24406 w 302"/>
                  <a:gd name="T9" fmla="*/ 951 h 270"/>
                  <a:gd name="T10" fmla="*/ 24994 w 302"/>
                  <a:gd name="T11" fmla="*/ 1441 h 270"/>
                  <a:gd name="T12" fmla="*/ 25428 w 302"/>
                  <a:gd name="T13" fmla="*/ 2029 h 270"/>
                  <a:gd name="T14" fmla="*/ 25428 w 302"/>
                  <a:gd name="T15" fmla="*/ 2889 h 270"/>
                  <a:gd name="T16" fmla="*/ 25158 w 302"/>
                  <a:gd name="T17" fmla="*/ 3326 h 270"/>
                  <a:gd name="T18" fmla="*/ 24534 w 302"/>
                  <a:gd name="T19" fmla="*/ 4042 h 270"/>
                  <a:gd name="T20" fmla="*/ 25158 w 302"/>
                  <a:gd name="T21" fmla="*/ 4762 h 270"/>
                  <a:gd name="T22" fmla="*/ 23640 w 302"/>
                  <a:gd name="T23" fmla="*/ 5980 h 270"/>
                  <a:gd name="T24" fmla="*/ 22103 w 302"/>
                  <a:gd name="T25" fmla="*/ 6759 h 270"/>
                  <a:gd name="T26" fmla="*/ 21031 w 302"/>
                  <a:gd name="T27" fmla="*/ 7109 h 270"/>
                  <a:gd name="T28" fmla="*/ 20784 w 302"/>
                  <a:gd name="T29" fmla="*/ 7600 h 270"/>
                  <a:gd name="T30" fmla="*/ 20756 w 302"/>
                  <a:gd name="T31" fmla="*/ 7600 h 270"/>
                  <a:gd name="T32" fmla="*/ 19433 w 302"/>
                  <a:gd name="T33" fmla="*/ 7271 h 270"/>
                  <a:gd name="T34" fmla="*/ 17753 w 302"/>
                  <a:gd name="T35" fmla="*/ 7140 h 270"/>
                  <a:gd name="T36" fmla="*/ 16073 w 302"/>
                  <a:gd name="T37" fmla="*/ 7140 h 270"/>
                  <a:gd name="T38" fmla="*/ 14051 w 302"/>
                  <a:gd name="T39" fmla="*/ 6959 h 270"/>
                  <a:gd name="T40" fmla="*/ 12844 w 302"/>
                  <a:gd name="T41" fmla="*/ 6880 h 270"/>
                  <a:gd name="T42" fmla="*/ 11467 w 302"/>
                  <a:gd name="T43" fmla="*/ 6702 h 270"/>
                  <a:gd name="T44" fmla="*/ 9908 w 302"/>
                  <a:gd name="T45" fmla="*/ 6671 h 270"/>
                  <a:gd name="T46" fmla="*/ 8892 w 302"/>
                  <a:gd name="T47" fmla="*/ 6426 h 270"/>
                  <a:gd name="T48" fmla="*/ 8290 w 302"/>
                  <a:gd name="T49" fmla="*/ 5829 h 270"/>
                  <a:gd name="T50" fmla="*/ 7660 w 302"/>
                  <a:gd name="T51" fmla="*/ 5269 h 270"/>
                  <a:gd name="T52" fmla="*/ 6335 w 302"/>
                  <a:gd name="T53" fmla="*/ 4857 h 270"/>
                  <a:gd name="T54" fmla="*/ 4539 w 302"/>
                  <a:gd name="T55" fmla="*/ 4618 h 270"/>
                  <a:gd name="T56" fmla="*/ 1965 w 302"/>
                  <a:gd name="T57" fmla="*/ 3720 h 270"/>
                  <a:gd name="T58" fmla="*/ 1494 w 302"/>
                  <a:gd name="T59" fmla="*/ 3238 h 270"/>
                  <a:gd name="T60" fmla="*/ 2 w 302"/>
                  <a:gd name="T61" fmla="*/ 2648 h 270"/>
                  <a:gd name="T62" fmla="*/ 0 w 302"/>
                  <a:gd name="T63" fmla="*/ 2391 h 270"/>
                  <a:gd name="T64" fmla="*/ 4 w 302"/>
                  <a:gd name="T65" fmla="*/ 2483 h 270"/>
                  <a:gd name="T66" fmla="*/ 2248 w 302"/>
                  <a:gd name="T67" fmla="*/ 2517 h 270"/>
                  <a:gd name="T68" fmla="*/ 3599 w 302"/>
                  <a:gd name="T69" fmla="*/ 2483 h 270"/>
                  <a:gd name="T70" fmla="*/ 4379 w 302"/>
                  <a:gd name="T71" fmla="*/ 2483 h 270"/>
                  <a:gd name="T72" fmla="*/ 4684 w 302"/>
                  <a:gd name="T73" fmla="*/ 2612 h 270"/>
                  <a:gd name="T74" fmla="*/ 5386 w 302"/>
                  <a:gd name="T75" fmla="*/ 2595 h 270"/>
                  <a:gd name="T76" fmla="*/ 6162 w 302"/>
                  <a:gd name="T77" fmla="*/ 2467 h 270"/>
                  <a:gd name="T78" fmla="*/ 6795 w 302"/>
                  <a:gd name="T79" fmla="*/ 2161 h 270"/>
                  <a:gd name="T80" fmla="*/ 7162 w 302"/>
                  <a:gd name="T81" fmla="*/ 2056 h 270"/>
                  <a:gd name="T82" fmla="*/ 7660 w 302"/>
                  <a:gd name="T83" fmla="*/ 1929 h 270"/>
                  <a:gd name="T84" fmla="*/ 8290 w 302"/>
                  <a:gd name="T85" fmla="*/ 1767 h 270"/>
                  <a:gd name="T86" fmla="*/ 8476 w 302"/>
                  <a:gd name="T87" fmla="*/ 1658 h 270"/>
                  <a:gd name="T88" fmla="*/ 9177 w 302"/>
                  <a:gd name="T89" fmla="*/ 1597 h 270"/>
                  <a:gd name="T90" fmla="*/ 9223 w 302"/>
                  <a:gd name="T91" fmla="*/ 1518 h 270"/>
                  <a:gd name="T92" fmla="*/ 9483 w 302"/>
                  <a:gd name="T93" fmla="*/ 1441 h 270"/>
                  <a:gd name="T94" fmla="*/ 9908 w 302"/>
                  <a:gd name="T95" fmla="*/ 1354 h 270"/>
                  <a:gd name="T96" fmla="*/ 10171 w 302"/>
                  <a:gd name="T97" fmla="*/ 1372 h 270"/>
                  <a:gd name="T98" fmla="*/ 10498 w 302"/>
                  <a:gd name="T99" fmla="*/ 1287 h 270"/>
                  <a:gd name="T100" fmla="*/ 10878 w 302"/>
                  <a:gd name="T101" fmla="*/ 1287 h 270"/>
                  <a:gd name="T102" fmla="*/ 11601 w 302"/>
                  <a:gd name="T103" fmla="*/ 1354 h 270"/>
                  <a:gd name="T104" fmla="*/ 12069 w 302"/>
                  <a:gd name="T105" fmla="*/ 1224 h 270"/>
                  <a:gd name="T106" fmla="*/ 11284 w 302"/>
                  <a:gd name="T107" fmla="*/ 1013 h 270"/>
                  <a:gd name="T108" fmla="*/ 11467 w 302"/>
                  <a:gd name="T109" fmla="*/ 859 h 270"/>
                  <a:gd name="T110" fmla="*/ 11467 w 302"/>
                  <a:gd name="T111" fmla="*/ 676 h 270"/>
                  <a:gd name="T112" fmla="*/ 11601 w 302"/>
                  <a:gd name="T113" fmla="*/ 388 h 270"/>
                  <a:gd name="T114" fmla="*/ 12264 w 302"/>
                  <a:gd name="T115" fmla="*/ 369 h 270"/>
                  <a:gd name="T116" fmla="*/ 12965 w 302"/>
                  <a:gd name="T117" fmla="*/ 4 h 270"/>
                  <a:gd name="T118" fmla="*/ 14766 w 302"/>
                  <a:gd name="T119" fmla="*/ 0 h 270"/>
                  <a:gd name="T120" fmla="*/ 15520 w 302"/>
                  <a:gd name="T121" fmla="*/ 1 h 270"/>
                  <a:gd name="T122" fmla="*/ 16156 w 302"/>
                  <a:gd name="T123" fmla="*/ 1 h 27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02"/>
                  <a:gd name="T187" fmla="*/ 0 h 270"/>
                  <a:gd name="T188" fmla="*/ 302 w 302"/>
                  <a:gd name="T189" fmla="*/ 270 h 27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02" h="270">
                    <a:moveTo>
                      <a:pt x="192" y="1"/>
                    </a:moveTo>
                    <a:lnTo>
                      <a:pt x="197" y="1"/>
                    </a:lnTo>
                    <a:lnTo>
                      <a:pt x="198" y="0"/>
                    </a:lnTo>
                    <a:lnTo>
                      <a:pt x="198" y="14"/>
                    </a:lnTo>
                    <a:lnTo>
                      <a:pt x="210" y="14"/>
                    </a:lnTo>
                    <a:lnTo>
                      <a:pt x="226" y="13"/>
                    </a:lnTo>
                    <a:lnTo>
                      <a:pt x="236" y="16"/>
                    </a:lnTo>
                    <a:lnTo>
                      <a:pt x="247" y="19"/>
                    </a:lnTo>
                    <a:lnTo>
                      <a:pt x="268" y="27"/>
                    </a:lnTo>
                    <a:lnTo>
                      <a:pt x="290" y="34"/>
                    </a:lnTo>
                    <a:lnTo>
                      <a:pt x="295" y="40"/>
                    </a:lnTo>
                    <a:lnTo>
                      <a:pt x="296" y="51"/>
                    </a:lnTo>
                    <a:lnTo>
                      <a:pt x="298" y="57"/>
                    </a:lnTo>
                    <a:lnTo>
                      <a:pt x="302" y="72"/>
                    </a:lnTo>
                    <a:lnTo>
                      <a:pt x="301" y="95"/>
                    </a:lnTo>
                    <a:lnTo>
                      <a:pt x="302" y="103"/>
                    </a:lnTo>
                    <a:lnTo>
                      <a:pt x="298" y="113"/>
                    </a:lnTo>
                    <a:lnTo>
                      <a:pt x="298" y="118"/>
                    </a:lnTo>
                    <a:lnTo>
                      <a:pt x="290" y="131"/>
                    </a:lnTo>
                    <a:lnTo>
                      <a:pt x="291" y="143"/>
                    </a:lnTo>
                    <a:lnTo>
                      <a:pt x="295" y="151"/>
                    </a:lnTo>
                    <a:lnTo>
                      <a:pt x="298" y="169"/>
                    </a:lnTo>
                    <a:lnTo>
                      <a:pt x="284" y="192"/>
                    </a:lnTo>
                    <a:lnTo>
                      <a:pt x="280" y="213"/>
                    </a:lnTo>
                    <a:lnTo>
                      <a:pt x="268" y="236"/>
                    </a:lnTo>
                    <a:lnTo>
                      <a:pt x="262" y="240"/>
                    </a:lnTo>
                    <a:lnTo>
                      <a:pt x="253" y="245"/>
                    </a:lnTo>
                    <a:lnTo>
                      <a:pt x="249" y="252"/>
                    </a:lnTo>
                    <a:lnTo>
                      <a:pt x="247" y="259"/>
                    </a:lnTo>
                    <a:lnTo>
                      <a:pt x="247" y="270"/>
                    </a:lnTo>
                    <a:lnTo>
                      <a:pt x="246" y="270"/>
                    </a:lnTo>
                    <a:lnTo>
                      <a:pt x="242" y="270"/>
                    </a:lnTo>
                    <a:lnTo>
                      <a:pt x="231" y="259"/>
                    </a:lnTo>
                    <a:lnTo>
                      <a:pt x="217" y="254"/>
                    </a:lnTo>
                    <a:lnTo>
                      <a:pt x="209" y="254"/>
                    </a:lnTo>
                    <a:lnTo>
                      <a:pt x="200" y="255"/>
                    </a:lnTo>
                    <a:lnTo>
                      <a:pt x="191" y="254"/>
                    </a:lnTo>
                    <a:lnTo>
                      <a:pt x="174" y="249"/>
                    </a:lnTo>
                    <a:lnTo>
                      <a:pt x="167" y="248"/>
                    </a:lnTo>
                    <a:lnTo>
                      <a:pt x="160" y="251"/>
                    </a:lnTo>
                    <a:lnTo>
                      <a:pt x="152" y="245"/>
                    </a:lnTo>
                    <a:lnTo>
                      <a:pt x="145" y="243"/>
                    </a:lnTo>
                    <a:lnTo>
                      <a:pt x="136" y="238"/>
                    </a:lnTo>
                    <a:lnTo>
                      <a:pt x="126" y="238"/>
                    </a:lnTo>
                    <a:lnTo>
                      <a:pt x="118" y="237"/>
                    </a:lnTo>
                    <a:lnTo>
                      <a:pt x="111" y="233"/>
                    </a:lnTo>
                    <a:lnTo>
                      <a:pt x="106" y="228"/>
                    </a:lnTo>
                    <a:lnTo>
                      <a:pt x="102" y="220"/>
                    </a:lnTo>
                    <a:lnTo>
                      <a:pt x="98" y="207"/>
                    </a:lnTo>
                    <a:lnTo>
                      <a:pt x="98" y="192"/>
                    </a:lnTo>
                    <a:lnTo>
                      <a:pt x="91" y="187"/>
                    </a:lnTo>
                    <a:lnTo>
                      <a:pt x="81" y="184"/>
                    </a:lnTo>
                    <a:lnTo>
                      <a:pt x="75" y="174"/>
                    </a:lnTo>
                    <a:lnTo>
                      <a:pt x="66" y="169"/>
                    </a:lnTo>
                    <a:lnTo>
                      <a:pt x="54" y="165"/>
                    </a:lnTo>
                    <a:lnTo>
                      <a:pt x="33" y="145"/>
                    </a:lnTo>
                    <a:lnTo>
                      <a:pt x="23" y="133"/>
                    </a:lnTo>
                    <a:lnTo>
                      <a:pt x="19" y="123"/>
                    </a:lnTo>
                    <a:lnTo>
                      <a:pt x="18" y="115"/>
                    </a:lnTo>
                    <a:lnTo>
                      <a:pt x="11" y="109"/>
                    </a:lnTo>
                    <a:lnTo>
                      <a:pt x="2" y="95"/>
                    </a:lnTo>
                    <a:lnTo>
                      <a:pt x="0" y="90"/>
                    </a:lnTo>
                    <a:lnTo>
                      <a:pt x="0" y="85"/>
                    </a:lnTo>
                    <a:lnTo>
                      <a:pt x="2" y="87"/>
                    </a:lnTo>
                    <a:lnTo>
                      <a:pt x="4" y="88"/>
                    </a:lnTo>
                    <a:lnTo>
                      <a:pt x="18" y="85"/>
                    </a:lnTo>
                    <a:lnTo>
                      <a:pt x="27" y="90"/>
                    </a:lnTo>
                    <a:lnTo>
                      <a:pt x="40" y="88"/>
                    </a:lnTo>
                    <a:lnTo>
                      <a:pt x="43" y="88"/>
                    </a:lnTo>
                    <a:lnTo>
                      <a:pt x="48" y="88"/>
                    </a:lnTo>
                    <a:lnTo>
                      <a:pt x="51" y="88"/>
                    </a:lnTo>
                    <a:lnTo>
                      <a:pt x="52" y="92"/>
                    </a:lnTo>
                    <a:lnTo>
                      <a:pt x="55" y="93"/>
                    </a:lnTo>
                    <a:lnTo>
                      <a:pt x="60" y="92"/>
                    </a:lnTo>
                    <a:lnTo>
                      <a:pt x="64" y="92"/>
                    </a:lnTo>
                    <a:lnTo>
                      <a:pt x="70" y="87"/>
                    </a:lnTo>
                    <a:lnTo>
                      <a:pt x="73" y="87"/>
                    </a:lnTo>
                    <a:lnTo>
                      <a:pt x="78" y="83"/>
                    </a:lnTo>
                    <a:lnTo>
                      <a:pt x="81" y="77"/>
                    </a:lnTo>
                    <a:lnTo>
                      <a:pt x="85" y="77"/>
                    </a:lnTo>
                    <a:lnTo>
                      <a:pt x="85" y="74"/>
                    </a:lnTo>
                    <a:lnTo>
                      <a:pt x="89" y="72"/>
                    </a:lnTo>
                    <a:lnTo>
                      <a:pt x="91" y="68"/>
                    </a:lnTo>
                    <a:lnTo>
                      <a:pt x="95" y="65"/>
                    </a:lnTo>
                    <a:lnTo>
                      <a:pt x="98" y="64"/>
                    </a:lnTo>
                    <a:lnTo>
                      <a:pt x="99" y="61"/>
                    </a:lnTo>
                    <a:lnTo>
                      <a:pt x="100" y="59"/>
                    </a:lnTo>
                    <a:lnTo>
                      <a:pt x="106" y="57"/>
                    </a:lnTo>
                    <a:lnTo>
                      <a:pt x="108" y="58"/>
                    </a:lnTo>
                    <a:lnTo>
                      <a:pt x="109" y="57"/>
                    </a:lnTo>
                    <a:lnTo>
                      <a:pt x="109" y="55"/>
                    </a:lnTo>
                    <a:lnTo>
                      <a:pt x="109" y="52"/>
                    </a:lnTo>
                    <a:lnTo>
                      <a:pt x="112" y="51"/>
                    </a:lnTo>
                    <a:lnTo>
                      <a:pt x="115" y="49"/>
                    </a:lnTo>
                    <a:lnTo>
                      <a:pt x="118" y="48"/>
                    </a:lnTo>
                    <a:lnTo>
                      <a:pt x="121" y="49"/>
                    </a:lnTo>
                    <a:lnTo>
                      <a:pt x="123" y="48"/>
                    </a:lnTo>
                    <a:lnTo>
                      <a:pt x="124" y="46"/>
                    </a:lnTo>
                    <a:lnTo>
                      <a:pt x="126" y="44"/>
                    </a:lnTo>
                    <a:lnTo>
                      <a:pt x="129" y="46"/>
                    </a:lnTo>
                    <a:lnTo>
                      <a:pt x="134" y="48"/>
                    </a:lnTo>
                    <a:lnTo>
                      <a:pt x="137" y="48"/>
                    </a:lnTo>
                    <a:lnTo>
                      <a:pt x="139" y="46"/>
                    </a:lnTo>
                    <a:lnTo>
                      <a:pt x="143" y="44"/>
                    </a:lnTo>
                    <a:lnTo>
                      <a:pt x="141" y="40"/>
                    </a:lnTo>
                    <a:lnTo>
                      <a:pt x="134" y="37"/>
                    </a:lnTo>
                    <a:lnTo>
                      <a:pt x="134" y="34"/>
                    </a:lnTo>
                    <a:lnTo>
                      <a:pt x="136" y="30"/>
                    </a:lnTo>
                    <a:lnTo>
                      <a:pt x="136" y="29"/>
                    </a:lnTo>
                    <a:lnTo>
                      <a:pt x="136" y="25"/>
                    </a:lnTo>
                    <a:lnTo>
                      <a:pt x="136" y="19"/>
                    </a:lnTo>
                    <a:lnTo>
                      <a:pt x="137" y="14"/>
                    </a:lnTo>
                    <a:lnTo>
                      <a:pt x="140" y="13"/>
                    </a:lnTo>
                    <a:lnTo>
                      <a:pt x="145" y="13"/>
                    </a:lnTo>
                    <a:lnTo>
                      <a:pt x="150" y="8"/>
                    </a:lnTo>
                    <a:lnTo>
                      <a:pt x="154" y="4"/>
                    </a:lnTo>
                    <a:lnTo>
                      <a:pt x="166" y="4"/>
                    </a:lnTo>
                    <a:lnTo>
                      <a:pt x="175" y="0"/>
                    </a:lnTo>
                    <a:lnTo>
                      <a:pt x="177" y="0"/>
                    </a:lnTo>
                    <a:lnTo>
                      <a:pt x="182" y="1"/>
                    </a:lnTo>
                    <a:lnTo>
                      <a:pt x="186" y="3"/>
                    </a:lnTo>
                    <a:lnTo>
                      <a:pt x="192" y="1"/>
                    </a:lnTo>
                    <a:close/>
                  </a:path>
                </a:pathLst>
              </a:custGeom>
              <a:solidFill>
                <a:srgbClr val="17375E"/>
              </a:solidFill>
              <a:ln w="7938">
                <a:solidFill>
                  <a:srgbClr val="1C1329"/>
                </a:solidFill>
                <a:miter lim="800000"/>
                <a:headEnd/>
                <a:tailEnd/>
              </a:ln>
            </p:spPr>
            <p:txBody>
              <a:bodyPr/>
              <a:lstStyle/>
              <a:p>
                <a:endParaRPr lang="en-US"/>
              </a:p>
            </p:txBody>
          </p:sp>
          <p:sp>
            <p:nvSpPr>
              <p:cNvPr id="306" name="Freeform 102"/>
              <p:cNvSpPr>
                <a:spLocks/>
              </p:cNvSpPr>
              <p:nvPr/>
            </p:nvSpPr>
            <p:spPr bwMode="auto">
              <a:xfrm>
                <a:off x="2296" y="1240"/>
                <a:ext cx="461" cy="399"/>
              </a:xfrm>
              <a:custGeom>
                <a:avLst/>
                <a:gdLst>
                  <a:gd name="T0" fmla="*/ 33704 w 431"/>
                  <a:gd name="T1" fmla="*/ 2189 h 380"/>
                  <a:gd name="T2" fmla="*/ 32364 w 431"/>
                  <a:gd name="T3" fmla="*/ 3235 h 380"/>
                  <a:gd name="T4" fmla="*/ 32012 w 431"/>
                  <a:gd name="T5" fmla="*/ 3613 h 380"/>
                  <a:gd name="T6" fmla="*/ 30890 w 431"/>
                  <a:gd name="T7" fmla="*/ 3702 h 380"/>
                  <a:gd name="T8" fmla="*/ 29102 w 431"/>
                  <a:gd name="T9" fmla="*/ 3133 h 380"/>
                  <a:gd name="T10" fmla="*/ 28289 w 431"/>
                  <a:gd name="T11" fmla="*/ 2695 h 380"/>
                  <a:gd name="T12" fmla="*/ 27146 w 431"/>
                  <a:gd name="T13" fmla="*/ 2189 h 380"/>
                  <a:gd name="T14" fmla="*/ 26283 w 431"/>
                  <a:gd name="T15" fmla="*/ 1654 h 380"/>
                  <a:gd name="T16" fmla="*/ 25844 w 431"/>
                  <a:gd name="T17" fmla="*/ 1654 h 380"/>
                  <a:gd name="T18" fmla="*/ 25450 w 431"/>
                  <a:gd name="T19" fmla="*/ 1986 h 380"/>
                  <a:gd name="T20" fmla="*/ 26283 w 431"/>
                  <a:gd name="T21" fmla="*/ 2298 h 380"/>
                  <a:gd name="T22" fmla="*/ 26511 w 431"/>
                  <a:gd name="T23" fmla="*/ 2695 h 380"/>
                  <a:gd name="T24" fmla="*/ 28880 w 431"/>
                  <a:gd name="T25" fmla="*/ 3526 h 380"/>
                  <a:gd name="T26" fmla="*/ 29642 w 431"/>
                  <a:gd name="T27" fmla="*/ 4081 h 380"/>
                  <a:gd name="T28" fmla="*/ 30699 w 431"/>
                  <a:gd name="T29" fmla="*/ 4843 h 380"/>
                  <a:gd name="T30" fmla="*/ 31942 w 431"/>
                  <a:gd name="T31" fmla="*/ 5546 h 380"/>
                  <a:gd name="T32" fmla="*/ 33736 w 431"/>
                  <a:gd name="T33" fmla="*/ 6407 h 380"/>
                  <a:gd name="T34" fmla="*/ 35122 w 431"/>
                  <a:gd name="T35" fmla="*/ 7063 h 380"/>
                  <a:gd name="T36" fmla="*/ 36543 w 431"/>
                  <a:gd name="T37" fmla="*/ 7426 h 380"/>
                  <a:gd name="T38" fmla="*/ 35613 w 431"/>
                  <a:gd name="T39" fmla="*/ 7426 h 380"/>
                  <a:gd name="T40" fmla="*/ 35686 w 431"/>
                  <a:gd name="T41" fmla="*/ 8073 h 380"/>
                  <a:gd name="T42" fmla="*/ 34051 w 431"/>
                  <a:gd name="T43" fmla="*/ 8506 h 380"/>
                  <a:gd name="T44" fmla="*/ 30890 w 431"/>
                  <a:gd name="T45" fmla="*/ 9477 h 380"/>
                  <a:gd name="T46" fmla="*/ 22530 w 431"/>
                  <a:gd name="T47" fmla="*/ 9346 h 380"/>
                  <a:gd name="T48" fmla="*/ 22530 w 431"/>
                  <a:gd name="T49" fmla="*/ 9114 h 380"/>
                  <a:gd name="T50" fmla="*/ 20255 w 431"/>
                  <a:gd name="T51" fmla="*/ 9346 h 380"/>
                  <a:gd name="T52" fmla="*/ 10880 w 431"/>
                  <a:gd name="T53" fmla="*/ 9346 h 380"/>
                  <a:gd name="T54" fmla="*/ 1496 w 431"/>
                  <a:gd name="T55" fmla="*/ 9346 h 380"/>
                  <a:gd name="T56" fmla="*/ 1496 w 431"/>
                  <a:gd name="T57" fmla="*/ 6813 h 380"/>
                  <a:gd name="T58" fmla="*/ 1496 w 431"/>
                  <a:gd name="T59" fmla="*/ 4081 h 380"/>
                  <a:gd name="T60" fmla="*/ 5 w 431"/>
                  <a:gd name="T61" fmla="*/ 2218 h 380"/>
                  <a:gd name="T62" fmla="*/ 1 w 431"/>
                  <a:gd name="T63" fmla="*/ 1824 h 380"/>
                  <a:gd name="T64" fmla="*/ 3 w 431"/>
                  <a:gd name="T65" fmla="*/ 1399 h 380"/>
                  <a:gd name="T66" fmla="*/ 873 w 431"/>
                  <a:gd name="T67" fmla="*/ 1119 h 380"/>
                  <a:gd name="T68" fmla="*/ 5 w 431"/>
                  <a:gd name="T69" fmla="*/ 360 h 380"/>
                  <a:gd name="T70" fmla="*/ 1069 w 431"/>
                  <a:gd name="T71" fmla="*/ 0 h 380"/>
                  <a:gd name="T72" fmla="*/ 2104 w 431"/>
                  <a:gd name="T73" fmla="*/ 5 h 380"/>
                  <a:gd name="T74" fmla="*/ 5370 w 431"/>
                  <a:gd name="T75" fmla="*/ 3 h 380"/>
                  <a:gd name="T76" fmla="*/ 9200 w 431"/>
                  <a:gd name="T77" fmla="*/ 378 h 380"/>
                  <a:gd name="T78" fmla="*/ 11189 w 431"/>
                  <a:gd name="T79" fmla="*/ 532 h 380"/>
                  <a:gd name="T80" fmla="*/ 13717 w 431"/>
                  <a:gd name="T81" fmla="*/ 679 h 380"/>
                  <a:gd name="T82" fmla="*/ 15915 w 431"/>
                  <a:gd name="T83" fmla="*/ 587 h 380"/>
                  <a:gd name="T84" fmla="*/ 18583 w 431"/>
                  <a:gd name="T85" fmla="*/ 7 h 380"/>
                  <a:gd name="T86" fmla="*/ 20255 w 431"/>
                  <a:gd name="T87" fmla="*/ 5 h 380"/>
                  <a:gd name="T88" fmla="*/ 19252 w 431"/>
                  <a:gd name="T89" fmla="*/ 327 h 380"/>
                  <a:gd name="T90" fmla="*/ 20739 w 431"/>
                  <a:gd name="T91" fmla="*/ 7 h 380"/>
                  <a:gd name="T92" fmla="*/ 21763 w 431"/>
                  <a:gd name="T93" fmla="*/ 7 h 380"/>
                  <a:gd name="T94" fmla="*/ 23832 w 431"/>
                  <a:gd name="T95" fmla="*/ 3 h 380"/>
                  <a:gd name="T96" fmla="*/ 24404 w 431"/>
                  <a:gd name="T97" fmla="*/ 296 h 380"/>
                  <a:gd name="T98" fmla="*/ 25437 w 431"/>
                  <a:gd name="T99" fmla="*/ 417 h 380"/>
                  <a:gd name="T100" fmla="*/ 26833 w 431"/>
                  <a:gd name="T101" fmla="*/ 587 h 380"/>
                  <a:gd name="T102" fmla="*/ 27826 w 431"/>
                  <a:gd name="T103" fmla="*/ 483 h 380"/>
                  <a:gd name="T104" fmla="*/ 30568 w 431"/>
                  <a:gd name="T105" fmla="*/ 438 h 380"/>
                  <a:gd name="T106" fmla="*/ 31193 w 431"/>
                  <a:gd name="T107" fmla="*/ 507 h 38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31"/>
                  <a:gd name="T163" fmla="*/ 0 h 380"/>
                  <a:gd name="T164" fmla="*/ 431 w 431"/>
                  <a:gd name="T165" fmla="*/ 380 h 38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31" h="380">
                    <a:moveTo>
                      <a:pt x="371" y="24"/>
                    </a:moveTo>
                    <a:lnTo>
                      <a:pt x="384" y="60"/>
                    </a:lnTo>
                    <a:lnTo>
                      <a:pt x="396" y="87"/>
                    </a:lnTo>
                    <a:lnTo>
                      <a:pt x="390" y="99"/>
                    </a:lnTo>
                    <a:lnTo>
                      <a:pt x="387" y="113"/>
                    </a:lnTo>
                    <a:lnTo>
                      <a:pt x="381" y="129"/>
                    </a:lnTo>
                    <a:lnTo>
                      <a:pt x="379" y="134"/>
                    </a:lnTo>
                    <a:lnTo>
                      <a:pt x="379" y="139"/>
                    </a:lnTo>
                    <a:lnTo>
                      <a:pt x="379" y="144"/>
                    </a:lnTo>
                    <a:lnTo>
                      <a:pt x="376" y="145"/>
                    </a:lnTo>
                    <a:lnTo>
                      <a:pt x="371" y="147"/>
                    </a:lnTo>
                    <a:lnTo>
                      <a:pt x="365" y="147"/>
                    </a:lnTo>
                    <a:lnTo>
                      <a:pt x="359" y="144"/>
                    </a:lnTo>
                    <a:lnTo>
                      <a:pt x="351" y="134"/>
                    </a:lnTo>
                    <a:lnTo>
                      <a:pt x="343" y="126"/>
                    </a:lnTo>
                    <a:lnTo>
                      <a:pt x="336" y="117"/>
                    </a:lnTo>
                    <a:lnTo>
                      <a:pt x="334" y="114"/>
                    </a:lnTo>
                    <a:lnTo>
                      <a:pt x="333" y="107"/>
                    </a:lnTo>
                    <a:lnTo>
                      <a:pt x="330" y="101"/>
                    </a:lnTo>
                    <a:lnTo>
                      <a:pt x="323" y="92"/>
                    </a:lnTo>
                    <a:lnTo>
                      <a:pt x="320" y="87"/>
                    </a:lnTo>
                    <a:lnTo>
                      <a:pt x="314" y="82"/>
                    </a:lnTo>
                    <a:lnTo>
                      <a:pt x="312" y="69"/>
                    </a:lnTo>
                    <a:lnTo>
                      <a:pt x="310" y="66"/>
                    </a:lnTo>
                    <a:lnTo>
                      <a:pt x="308" y="63"/>
                    </a:lnTo>
                    <a:lnTo>
                      <a:pt x="307" y="62"/>
                    </a:lnTo>
                    <a:lnTo>
                      <a:pt x="304" y="66"/>
                    </a:lnTo>
                    <a:lnTo>
                      <a:pt x="305" y="68"/>
                    </a:lnTo>
                    <a:lnTo>
                      <a:pt x="302" y="71"/>
                    </a:lnTo>
                    <a:lnTo>
                      <a:pt x="301" y="79"/>
                    </a:lnTo>
                    <a:lnTo>
                      <a:pt x="302" y="82"/>
                    </a:lnTo>
                    <a:lnTo>
                      <a:pt x="308" y="87"/>
                    </a:lnTo>
                    <a:lnTo>
                      <a:pt x="310" y="91"/>
                    </a:lnTo>
                    <a:lnTo>
                      <a:pt x="311" y="94"/>
                    </a:lnTo>
                    <a:lnTo>
                      <a:pt x="311" y="101"/>
                    </a:lnTo>
                    <a:lnTo>
                      <a:pt x="312" y="107"/>
                    </a:lnTo>
                    <a:lnTo>
                      <a:pt x="323" y="123"/>
                    </a:lnTo>
                    <a:lnTo>
                      <a:pt x="334" y="136"/>
                    </a:lnTo>
                    <a:lnTo>
                      <a:pt x="341" y="140"/>
                    </a:lnTo>
                    <a:lnTo>
                      <a:pt x="345" y="142"/>
                    </a:lnTo>
                    <a:lnTo>
                      <a:pt x="345" y="157"/>
                    </a:lnTo>
                    <a:lnTo>
                      <a:pt x="349" y="162"/>
                    </a:lnTo>
                    <a:lnTo>
                      <a:pt x="356" y="170"/>
                    </a:lnTo>
                    <a:lnTo>
                      <a:pt x="361" y="186"/>
                    </a:lnTo>
                    <a:lnTo>
                      <a:pt x="362" y="193"/>
                    </a:lnTo>
                    <a:lnTo>
                      <a:pt x="365" y="199"/>
                    </a:lnTo>
                    <a:lnTo>
                      <a:pt x="374" y="212"/>
                    </a:lnTo>
                    <a:lnTo>
                      <a:pt x="377" y="222"/>
                    </a:lnTo>
                    <a:lnTo>
                      <a:pt x="384" y="231"/>
                    </a:lnTo>
                    <a:lnTo>
                      <a:pt x="393" y="249"/>
                    </a:lnTo>
                    <a:lnTo>
                      <a:pt x="397" y="256"/>
                    </a:lnTo>
                    <a:lnTo>
                      <a:pt x="400" y="259"/>
                    </a:lnTo>
                    <a:lnTo>
                      <a:pt x="409" y="275"/>
                    </a:lnTo>
                    <a:lnTo>
                      <a:pt x="414" y="282"/>
                    </a:lnTo>
                    <a:lnTo>
                      <a:pt x="425" y="291"/>
                    </a:lnTo>
                    <a:lnTo>
                      <a:pt x="427" y="292"/>
                    </a:lnTo>
                    <a:lnTo>
                      <a:pt x="431" y="297"/>
                    </a:lnTo>
                    <a:lnTo>
                      <a:pt x="431" y="298"/>
                    </a:lnTo>
                    <a:lnTo>
                      <a:pt x="422" y="295"/>
                    </a:lnTo>
                    <a:lnTo>
                      <a:pt x="420" y="297"/>
                    </a:lnTo>
                    <a:lnTo>
                      <a:pt x="420" y="298"/>
                    </a:lnTo>
                    <a:lnTo>
                      <a:pt x="420" y="304"/>
                    </a:lnTo>
                    <a:lnTo>
                      <a:pt x="422" y="320"/>
                    </a:lnTo>
                    <a:lnTo>
                      <a:pt x="424" y="328"/>
                    </a:lnTo>
                    <a:lnTo>
                      <a:pt x="409" y="342"/>
                    </a:lnTo>
                    <a:lnTo>
                      <a:pt x="400" y="338"/>
                    </a:lnTo>
                    <a:lnTo>
                      <a:pt x="391" y="358"/>
                    </a:lnTo>
                    <a:lnTo>
                      <a:pt x="371" y="363"/>
                    </a:lnTo>
                    <a:lnTo>
                      <a:pt x="365" y="379"/>
                    </a:lnTo>
                    <a:lnTo>
                      <a:pt x="346" y="380"/>
                    </a:lnTo>
                    <a:lnTo>
                      <a:pt x="333" y="371"/>
                    </a:lnTo>
                    <a:lnTo>
                      <a:pt x="265" y="371"/>
                    </a:lnTo>
                    <a:lnTo>
                      <a:pt x="269" y="363"/>
                    </a:lnTo>
                    <a:lnTo>
                      <a:pt x="266" y="364"/>
                    </a:lnTo>
                    <a:lnTo>
                      <a:pt x="265" y="363"/>
                    </a:lnTo>
                    <a:lnTo>
                      <a:pt x="263" y="363"/>
                    </a:lnTo>
                    <a:lnTo>
                      <a:pt x="257" y="371"/>
                    </a:lnTo>
                    <a:lnTo>
                      <a:pt x="238" y="371"/>
                    </a:lnTo>
                    <a:lnTo>
                      <a:pt x="200" y="371"/>
                    </a:lnTo>
                    <a:lnTo>
                      <a:pt x="164" y="371"/>
                    </a:lnTo>
                    <a:lnTo>
                      <a:pt x="128" y="371"/>
                    </a:lnTo>
                    <a:lnTo>
                      <a:pt x="91" y="371"/>
                    </a:lnTo>
                    <a:lnTo>
                      <a:pt x="55" y="371"/>
                    </a:lnTo>
                    <a:lnTo>
                      <a:pt x="18" y="371"/>
                    </a:lnTo>
                    <a:lnTo>
                      <a:pt x="18" y="346"/>
                    </a:lnTo>
                    <a:lnTo>
                      <a:pt x="18" y="310"/>
                    </a:lnTo>
                    <a:lnTo>
                      <a:pt x="18" y="272"/>
                    </a:lnTo>
                    <a:lnTo>
                      <a:pt x="18" y="236"/>
                    </a:lnTo>
                    <a:lnTo>
                      <a:pt x="18" y="199"/>
                    </a:lnTo>
                    <a:lnTo>
                      <a:pt x="18" y="162"/>
                    </a:lnTo>
                    <a:lnTo>
                      <a:pt x="18" y="126"/>
                    </a:lnTo>
                    <a:lnTo>
                      <a:pt x="18" y="99"/>
                    </a:lnTo>
                    <a:lnTo>
                      <a:pt x="5" y="88"/>
                    </a:lnTo>
                    <a:lnTo>
                      <a:pt x="7" y="81"/>
                    </a:lnTo>
                    <a:lnTo>
                      <a:pt x="7" y="78"/>
                    </a:lnTo>
                    <a:lnTo>
                      <a:pt x="1" y="72"/>
                    </a:lnTo>
                    <a:lnTo>
                      <a:pt x="0" y="60"/>
                    </a:lnTo>
                    <a:lnTo>
                      <a:pt x="0" y="58"/>
                    </a:lnTo>
                    <a:lnTo>
                      <a:pt x="3" y="55"/>
                    </a:lnTo>
                    <a:lnTo>
                      <a:pt x="8" y="51"/>
                    </a:lnTo>
                    <a:lnTo>
                      <a:pt x="10" y="51"/>
                    </a:lnTo>
                    <a:lnTo>
                      <a:pt x="10" y="45"/>
                    </a:lnTo>
                    <a:lnTo>
                      <a:pt x="8" y="35"/>
                    </a:lnTo>
                    <a:lnTo>
                      <a:pt x="7" y="18"/>
                    </a:lnTo>
                    <a:lnTo>
                      <a:pt x="5" y="14"/>
                    </a:lnTo>
                    <a:lnTo>
                      <a:pt x="5" y="12"/>
                    </a:lnTo>
                    <a:lnTo>
                      <a:pt x="11" y="7"/>
                    </a:lnTo>
                    <a:lnTo>
                      <a:pt x="13" y="0"/>
                    </a:lnTo>
                    <a:lnTo>
                      <a:pt x="18" y="0"/>
                    </a:lnTo>
                    <a:lnTo>
                      <a:pt x="20" y="3"/>
                    </a:lnTo>
                    <a:lnTo>
                      <a:pt x="25" y="5"/>
                    </a:lnTo>
                    <a:lnTo>
                      <a:pt x="39" y="2"/>
                    </a:lnTo>
                    <a:lnTo>
                      <a:pt x="48" y="2"/>
                    </a:lnTo>
                    <a:lnTo>
                      <a:pt x="63" y="3"/>
                    </a:lnTo>
                    <a:lnTo>
                      <a:pt x="87" y="7"/>
                    </a:lnTo>
                    <a:lnTo>
                      <a:pt x="100" y="11"/>
                    </a:lnTo>
                    <a:lnTo>
                      <a:pt x="108" y="15"/>
                    </a:lnTo>
                    <a:lnTo>
                      <a:pt x="120" y="17"/>
                    </a:lnTo>
                    <a:lnTo>
                      <a:pt x="125" y="19"/>
                    </a:lnTo>
                    <a:lnTo>
                      <a:pt x="131" y="22"/>
                    </a:lnTo>
                    <a:lnTo>
                      <a:pt x="142" y="22"/>
                    </a:lnTo>
                    <a:lnTo>
                      <a:pt x="151" y="24"/>
                    </a:lnTo>
                    <a:lnTo>
                      <a:pt x="161" y="27"/>
                    </a:lnTo>
                    <a:lnTo>
                      <a:pt x="169" y="31"/>
                    </a:lnTo>
                    <a:lnTo>
                      <a:pt x="179" y="30"/>
                    </a:lnTo>
                    <a:lnTo>
                      <a:pt x="189" y="24"/>
                    </a:lnTo>
                    <a:lnTo>
                      <a:pt x="200" y="17"/>
                    </a:lnTo>
                    <a:lnTo>
                      <a:pt x="212" y="12"/>
                    </a:lnTo>
                    <a:lnTo>
                      <a:pt x="219" y="7"/>
                    </a:lnTo>
                    <a:lnTo>
                      <a:pt x="228" y="7"/>
                    </a:lnTo>
                    <a:lnTo>
                      <a:pt x="235" y="5"/>
                    </a:lnTo>
                    <a:lnTo>
                      <a:pt x="238" y="5"/>
                    </a:lnTo>
                    <a:lnTo>
                      <a:pt x="237" y="7"/>
                    </a:lnTo>
                    <a:lnTo>
                      <a:pt x="228" y="10"/>
                    </a:lnTo>
                    <a:lnTo>
                      <a:pt x="227" y="12"/>
                    </a:lnTo>
                    <a:lnTo>
                      <a:pt x="228" y="12"/>
                    </a:lnTo>
                    <a:lnTo>
                      <a:pt x="242" y="10"/>
                    </a:lnTo>
                    <a:lnTo>
                      <a:pt x="245" y="7"/>
                    </a:lnTo>
                    <a:lnTo>
                      <a:pt x="248" y="3"/>
                    </a:lnTo>
                    <a:lnTo>
                      <a:pt x="254" y="7"/>
                    </a:lnTo>
                    <a:lnTo>
                      <a:pt x="256" y="7"/>
                    </a:lnTo>
                    <a:lnTo>
                      <a:pt x="273" y="7"/>
                    </a:lnTo>
                    <a:lnTo>
                      <a:pt x="275" y="7"/>
                    </a:lnTo>
                    <a:lnTo>
                      <a:pt x="282" y="3"/>
                    </a:lnTo>
                    <a:lnTo>
                      <a:pt x="283" y="5"/>
                    </a:lnTo>
                    <a:lnTo>
                      <a:pt x="285" y="9"/>
                    </a:lnTo>
                    <a:lnTo>
                      <a:pt x="288" y="10"/>
                    </a:lnTo>
                    <a:lnTo>
                      <a:pt x="290" y="12"/>
                    </a:lnTo>
                    <a:lnTo>
                      <a:pt x="293" y="14"/>
                    </a:lnTo>
                    <a:lnTo>
                      <a:pt x="300" y="17"/>
                    </a:lnTo>
                    <a:lnTo>
                      <a:pt x="303" y="21"/>
                    </a:lnTo>
                    <a:lnTo>
                      <a:pt x="307" y="24"/>
                    </a:lnTo>
                    <a:lnTo>
                      <a:pt x="316" y="24"/>
                    </a:lnTo>
                    <a:lnTo>
                      <a:pt x="321" y="24"/>
                    </a:lnTo>
                    <a:lnTo>
                      <a:pt x="323" y="21"/>
                    </a:lnTo>
                    <a:lnTo>
                      <a:pt x="327" y="20"/>
                    </a:lnTo>
                    <a:lnTo>
                      <a:pt x="329" y="24"/>
                    </a:lnTo>
                    <a:lnTo>
                      <a:pt x="346" y="22"/>
                    </a:lnTo>
                    <a:lnTo>
                      <a:pt x="359" y="18"/>
                    </a:lnTo>
                    <a:lnTo>
                      <a:pt x="367" y="12"/>
                    </a:lnTo>
                    <a:lnTo>
                      <a:pt x="368" y="18"/>
                    </a:lnTo>
                    <a:lnTo>
                      <a:pt x="369" y="21"/>
                    </a:lnTo>
                    <a:lnTo>
                      <a:pt x="371"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7" name="Freeform 103"/>
              <p:cNvSpPr>
                <a:spLocks/>
              </p:cNvSpPr>
              <p:nvPr/>
            </p:nvSpPr>
            <p:spPr bwMode="auto">
              <a:xfrm>
                <a:off x="2296" y="1240"/>
                <a:ext cx="461" cy="399"/>
              </a:xfrm>
              <a:custGeom>
                <a:avLst/>
                <a:gdLst>
                  <a:gd name="T0" fmla="*/ 33704 w 431"/>
                  <a:gd name="T1" fmla="*/ 2189 h 380"/>
                  <a:gd name="T2" fmla="*/ 32364 w 431"/>
                  <a:gd name="T3" fmla="*/ 3235 h 380"/>
                  <a:gd name="T4" fmla="*/ 32012 w 431"/>
                  <a:gd name="T5" fmla="*/ 3613 h 380"/>
                  <a:gd name="T6" fmla="*/ 30890 w 431"/>
                  <a:gd name="T7" fmla="*/ 3702 h 380"/>
                  <a:gd name="T8" fmla="*/ 29102 w 431"/>
                  <a:gd name="T9" fmla="*/ 3133 h 380"/>
                  <a:gd name="T10" fmla="*/ 28289 w 431"/>
                  <a:gd name="T11" fmla="*/ 2695 h 380"/>
                  <a:gd name="T12" fmla="*/ 27146 w 431"/>
                  <a:gd name="T13" fmla="*/ 2189 h 380"/>
                  <a:gd name="T14" fmla="*/ 26283 w 431"/>
                  <a:gd name="T15" fmla="*/ 1654 h 380"/>
                  <a:gd name="T16" fmla="*/ 25844 w 431"/>
                  <a:gd name="T17" fmla="*/ 1654 h 380"/>
                  <a:gd name="T18" fmla="*/ 25450 w 431"/>
                  <a:gd name="T19" fmla="*/ 1986 h 380"/>
                  <a:gd name="T20" fmla="*/ 26283 w 431"/>
                  <a:gd name="T21" fmla="*/ 2298 h 380"/>
                  <a:gd name="T22" fmla="*/ 26511 w 431"/>
                  <a:gd name="T23" fmla="*/ 2695 h 380"/>
                  <a:gd name="T24" fmla="*/ 28880 w 431"/>
                  <a:gd name="T25" fmla="*/ 3526 h 380"/>
                  <a:gd name="T26" fmla="*/ 29642 w 431"/>
                  <a:gd name="T27" fmla="*/ 4081 h 380"/>
                  <a:gd name="T28" fmla="*/ 30699 w 431"/>
                  <a:gd name="T29" fmla="*/ 4843 h 380"/>
                  <a:gd name="T30" fmla="*/ 31942 w 431"/>
                  <a:gd name="T31" fmla="*/ 5546 h 380"/>
                  <a:gd name="T32" fmla="*/ 33736 w 431"/>
                  <a:gd name="T33" fmla="*/ 6407 h 380"/>
                  <a:gd name="T34" fmla="*/ 35122 w 431"/>
                  <a:gd name="T35" fmla="*/ 7063 h 380"/>
                  <a:gd name="T36" fmla="*/ 36543 w 431"/>
                  <a:gd name="T37" fmla="*/ 7426 h 380"/>
                  <a:gd name="T38" fmla="*/ 35613 w 431"/>
                  <a:gd name="T39" fmla="*/ 7426 h 380"/>
                  <a:gd name="T40" fmla="*/ 35686 w 431"/>
                  <a:gd name="T41" fmla="*/ 8073 h 380"/>
                  <a:gd name="T42" fmla="*/ 34051 w 431"/>
                  <a:gd name="T43" fmla="*/ 8506 h 380"/>
                  <a:gd name="T44" fmla="*/ 30890 w 431"/>
                  <a:gd name="T45" fmla="*/ 9477 h 380"/>
                  <a:gd name="T46" fmla="*/ 22530 w 431"/>
                  <a:gd name="T47" fmla="*/ 9346 h 380"/>
                  <a:gd name="T48" fmla="*/ 22530 w 431"/>
                  <a:gd name="T49" fmla="*/ 9114 h 380"/>
                  <a:gd name="T50" fmla="*/ 20255 w 431"/>
                  <a:gd name="T51" fmla="*/ 9346 h 380"/>
                  <a:gd name="T52" fmla="*/ 10880 w 431"/>
                  <a:gd name="T53" fmla="*/ 9346 h 380"/>
                  <a:gd name="T54" fmla="*/ 1496 w 431"/>
                  <a:gd name="T55" fmla="*/ 9346 h 380"/>
                  <a:gd name="T56" fmla="*/ 1496 w 431"/>
                  <a:gd name="T57" fmla="*/ 6813 h 380"/>
                  <a:gd name="T58" fmla="*/ 1496 w 431"/>
                  <a:gd name="T59" fmla="*/ 4081 h 380"/>
                  <a:gd name="T60" fmla="*/ 5 w 431"/>
                  <a:gd name="T61" fmla="*/ 2218 h 380"/>
                  <a:gd name="T62" fmla="*/ 1 w 431"/>
                  <a:gd name="T63" fmla="*/ 1824 h 380"/>
                  <a:gd name="T64" fmla="*/ 3 w 431"/>
                  <a:gd name="T65" fmla="*/ 1399 h 380"/>
                  <a:gd name="T66" fmla="*/ 873 w 431"/>
                  <a:gd name="T67" fmla="*/ 1119 h 380"/>
                  <a:gd name="T68" fmla="*/ 5 w 431"/>
                  <a:gd name="T69" fmla="*/ 360 h 380"/>
                  <a:gd name="T70" fmla="*/ 1069 w 431"/>
                  <a:gd name="T71" fmla="*/ 0 h 380"/>
                  <a:gd name="T72" fmla="*/ 2104 w 431"/>
                  <a:gd name="T73" fmla="*/ 5 h 380"/>
                  <a:gd name="T74" fmla="*/ 5370 w 431"/>
                  <a:gd name="T75" fmla="*/ 3 h 380"/>
                  <a:gd name="T76" fmla="*/ 9200 w 431"/>
                  <a:gd name="T77" fmla="*/ 378 h 380"/>
                  <a:gd name="T78" fmla="*/ 11189 w 431"/>
                  <a:gd name="T79" fmla="*/ 532 h 380"/>
                  <a:gd name="T80" fmla="*/ 13717 w 431"/>
                  <a:gd name="T81" fmla="*/ 679 h 380"/>
                  <a:gd name="T82" fmla="*/ 15915 w 431"/>
                  <a:gd name="T83" fmla="*/ 587 h 380"/>
                  <a:gd name="T84" fmla="*/ 18583 w 431"/>
                  <a:gd name="T85" fmla="*/ 7 h 380"/>
                  <a:gd name="T86" fmla="*/ 20255 w 431"/>
                  <a:gd name="T87" fmla="*/ 5 h 380"/>
                  <a:gd name="T88" fmla="*/ 19252 w 431"/>
                  <a:gd name="T89" fmla="*/ 327 h 380"/>
                  <a:gd name="T90" fmla="*/ 20739 w 431"/>
                  <a:gd name="T91" fmla="*/ 7 h 380"/>
                  <a:gd name="T92" fmla="*/ 21763 w 431"/>
                  <a:gd name="T93" fmla="*/ 7 h 380"/>
                  <a:gd name="T94" fmla="*/ 23832 w 431"/>
                  <a:gd name="T95" fmla="*/ 3 h 380"/>
                  <a:gd name="T96" fmla="*/ 24404 w 431"/>
                  <a:gd name="T97" fmla="*/ 296 h 380"/>
                  <a:gd name="T98" fmla="*/ 25437 w 431"/>
                  <a:gd name="T99" fmla="*/ 417 h 380"/>
                  <a:gd name="T100" fmla="*/ 26833 w 431"/>
                  <a:gd name="T101" fmla="*/ 587 h 380"/>
                  <a:gd name="T102" fmla="*/ 27826 w 431"/>
                  <a:gd name="T103" fmla="*/ 483 h 380"/>
                  <a:gd name="T104" fmla="*/ 30568 w 431"/>
                  <a:gd name="T105" fmla="*/ 438 h 380"/>
                  <a:gd name="T106" fmla="*/ 31193 w 431"/>
                  <a:gd name="T107" fmla="*/ 507 h 38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31"/>
                  <a:gd name="T163" fmla="*/ 0 h 380"/>
                  <a:gd name="T164" fmla="*/ 431 w 431"/>
                  <a:gd name="T165" fmla="*/ 380 h 38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31" h="380">
                    <a:moveTo>
                      <a:pt x="371" y="24"/>
                    </a:moveTo>
                    <a:lnTo>
                      <a:pt x="384" y="60"/>
                    </a:lnTo>
                    <a:lnTo>
                      <a:pt x="396" y="87"/>
                    </a:lnTo>
                    <a:lnTo>
                      <a:pt x="390" y="99"/>
                    </a:lnTo>
                    <a:lnTo>
                      <a:pt x="387" y="113"/>
                    </a:lnTo>
                    <a:lnTo>
                      <a:pt x="381" y="129"/>
                    </a:lnTo>
                    <a:lnTo>
                      <a:pt x="379" y="134"/>
                    </a:lnTo>
                    <a:lnTo>
                      <a:pt x="379" y="139"/>
                    </a:lnTo>
                    <a:lnTo>
                      <a:pt x="379" y="144"/>
                    </a:lnTo>
                    <a:lnTo>
                      <a:pt x="376" y="145"/>
                    </a:lnTo>
                    <a:lnTo>
                      <a:pt x="371" y="147"/>
                    </a:lnTo>
                    <a:lnTo>
                      <a:pt x="365" y="147"/>
                    </a:lnTo>
                    <a:lnTo>
                      <a:pt x="359" y="144"/>
                    </a:lnTo>
                    <a:lnTo>
                      <a:pt x="351" y="134"/>
                    </a:lnTo>
                    <a:lnTo>
                      <a:pt x="343" y="126"/>
                    </a:lnTo>
                    <a:lnTo>
                      <a:pt x="336" y="117"/>
                    </a:lnTo>
                    <a:lnTo>
                      <a:pt x="334" y="114"/>
                    </a:lnTo>
                    <a:lnTo>
                      <a:pt x="333" y="107"/>
                    </a:lnTo>
                    <a:lnTo>
                      <a:pt x="330" y="101"/>
                    </a:lnTo>
                    <a:lnTo>
                      <a:pt x="323" y="92"/>
                    </a:lnTo>
                    <a:lnTo>
                      <a:pt x="320" y="87"/>
                    </a:lnTo>
                    <a:lnTo>
                      <a:pt x="314" y="82"/>
                    </a:lnTo>
                    <a:lnTo>
                      <a:pt x="312" y="69"/>
                    </a:lnTo>
                    <a:lnTo>
                      <a:pt x="310" y="66"/>
                    </a:lnTo>
                    <a:lnTo>
                      <a:pt x="308" y="63"/>
                    </a:lnTo>
                    <a:lnTo>
                      <a:pt x="307" y="62"/>
                    </a:lnTo>
                    <a:lnTo>
                      <a:pt x="304" y="66"/>
                    </a:lnTo>
                    <a:lnTo>
                      <a:pt x="305" y="68"/>
                    </a:lnTo>
                    <a:lnTo>
                      <a:pt x="302" y="71"/>
                    </a:lnTo>
                    <a:lnTo>
                      <a:pt x="301" y="79"/>
                    </a:lnTo>
                    <a:lnTo>
                      <a:pt x="302" y="82"/>
                    </a:lnTo>
                    <a:lnTo>
                      <a:pt x="308" y="87"/>
                    </a:lnTo>
                    <a:lnTo>
                      <a:pt x="310" y="91"/>
                    </a:lnTo>
                    <a:lnTo>
                      <a:pt x="311" y="94"/>
                    </a:lnTo>
                    <a:lnTo>
                      <a:pt x="311" y="101"/>
                    </a:lnTo>
                    <a:lnTo>
                      <a:pt x="312" y="107"/>
                    </a:lnTo>
                    <a:lnTo>
                      <a:pt x="323" y="123"/>
                    </a:lnTo>
                    <a:lnTo>
                      <a:pt x="334" y="136"/>
                    </a:lnTo>
                    <a:lnTo>
                      <a:pt x="341" y="140"/>
                    </a:lnTo>
                    <a:lnTo>
                      <a:pt x="345" y="142"/>
                    </a:lnTo>
                    <a:lnTo>
                      <a:pt x="345" y="157"/>
                    </a:lnTo>
                    <a:lnTo>
                      <a:pt x="349" y="162"/>
                    </a:lnTo>
                    <a:lnTo>
                      <a:pt x="356" y="170"/>
                    </a:lnTo>
                    <a:lnTo>
                      <a:pt x="361" y="186"/>
                    </a:lnTo>
                    <a:lnTo>
                      <a:pt x="362" y="193"/>
                    </a:lnTo>
                    <a:lnTo>
                      <a:pt x="365" y="199"/>
                    </a:lnTo>
                    <a:lnTo>
                      <a:pt x="374" y="212"/>
                    </a:lnTo>
                    <a:lnTo>
                      <a:pt x="377" y="222"/>
                    </a:lnTo>
                    <a:lnTo>
                      <a:pt x="384" y="231"/>
                    </a:lnTo>
                    <a:lnTo>
                      <a:pt x="393" y="249"/>
                    </a:lnTo>
                    <a:lnTo>
                      <a:pt x="397" y="256"/>
                    </a:lnTo>
                    <a:lnTo>
                      <a:pt x="400" y="259"/>
                    </a:lnTo>
                    <a:lnTo>
                      <a:pt x="409" y="275"/>
                    </a:lnTo>
                    <a:lnTo>
                      <a:pt x="414" y="282"/>
                    </a:lnTo>
                    <a:lnTo>
                      <a:pt x="425" y="291"/>
                    </a:lnTo>
                    <a:lnTo>
                      <a:pt x="427" y="292"/>
                    </a:lnTo>
                    <a:lnTo>
                      <a:pt x="431" y="297"/>
                    </a:lnTo>
                    <a:lnTo>
                      <a:pt x="431" y="298"/>
                    </a:lnTo>
                    <a:lnTo>
                      <a:pt x="422" y="295"/>
                    </a:lnTo>
                    <a:lnTo>
                      <a:pt x="420" y="297"/>
                    </a:lnTo>
                    <a:lnTo>
                      <a:pt x="420" y="298"/>
                    </a:lnTo>
                    <a:lnTo>
                      <a:pt x="420" y="304"/>
                    </a:lnTo>
                    <a:lnTo>
                      <a:pt x="422" y="320"/>
                    </a:lnTo>
                    <a:lnTo>
                      <a:pt x="424" y="328"/>
                    </a:lnTo>
                    <a:lnTo>
                      <a:pt x="409" y="342"/>
                    </a:lnTo>
                    <a:lnTo>
                      <a:pt x="400" y="338"/>
                    </a:lnTo>
                    <a:lnTo>
                      <a:pt x="391" y="358"/>
                    </a:lnTo>
                    <a:lnTo>
                      <a:pt x="371" y="363"/>
                    </a:lnTo>
                    <a:lnTo>
                      <a:pt x="365" y="379"/>
                    </a:lnTo>
                    <a:lnTo>
                      <a:pt x="346" y="380"/>
                    </a:lnTo>
                    <a:lnTo>
                      <a:pt x="333" y="371"/>
                    </a:lnTo>
                    <a:lnTo>
                      <a:pt x="265" y="371"/>
                    </a:lnTo>
                    <a:lnTo>
                      <a:pt x="269" y="363"/>
                    </a:lnTo>
                    <a:lnTo>
                      <a:pt x="266" y="364"/>
                    </a:lnTo>
                    <a:lnTo>
                      <a:pt x="265" y="363"/>
                    </a:lnTo>
                    <a:lnTo>
                      <a:pt x="263" y="363"/>
                    </a:lnTo>
                    <a:lnTo>
                      <a:pt x="257" y="371"/>
                    </a:lnTo>
                    <a:lnTo>
                      <a:pt x="238" y="371"/>
                    </a:lnTo>
                    <a:lnTo>
                      <a:pt x="200" y="371"/>
                    </a:lnTo>
                    <a:lnTo>
                      <a:pt x="164" y="371"/>
                    </a:lnTo>
                    <a:lnTo>
                      <a:pt x="128" y="371"/>
                    </a:lnTo>
                    <a:lnTo>
                      <a:pt x="91" y="371"/>
                    </a:lnTo>
                    <a:lnTo>
                      <a:pt x="55" y="371"/>
                    </a:lnTo>
                    <a:lnTo>
                      <a:pt x="18" y="371"/>
                    </a:lnTo>
                    <a:lnTo>
                      <a:pt x="18" y="346"/>
                    </a:lnTo>
                    <a:lnTo>
                      <a:pt x="18" y="310"/>
                    </a:lnTo>
                    <a:lnTo>
                      <a:pt x="18" y="272"/>
                    </a:lnTo>
                    <a:lnTo>
                      <a:pt x="18" y="236"/>
                    </a:lnTo>
                    <a:lnTo>
                      <a:pt x="18" y="199"/>
                    </a:lnTo>
                    <a:lnTo>
                      <a:pt x="18" y="162"/>
                    </a:lnTo>
                    <a:lnTo>
                      <a:pt x="18" y="126"/>
                    </a:lnTo>
                    <a:lnTo>
                      <a:pt x="18" y="99"/>
                    </a:lnTo>
                    <a:lnTo>
                      <a:pt x="5" y="88"/>
                    </a:lnTo>
                    <a:lnTo>
                      <a:pt x="7" y="81"/>
                    </a:lnTo>
                    <a:lnTo>
                      <a:pt x="7" y="78"/>
                    </a:lnTo>
                    <a:lnTo>
                      <a:pt x="1" y="72"/>
                    </a:lnTo>
                    <a:lnTo>
                      <a:pt x="0" y="60"/>
                    </a:lnTo>
                    <a:lnTo>
                      <a:pt x="0" y="58"/>
                    </a:lnTo>
                    <a:lnTo>
                      <a:pt x="3" y="55"/>
                    </a:lnTo>
                    <a:lnTo>
                      <a:pt x="8" y="51"/>
                    </a:lnTo>
                    <a:lnTo>
                      <a:pt x="10" y="51"/>
                    </a:lnTo>
                    <a:lnTo>
                      <a:pt x="10" y="45"/>
                    </a:lnTo>
                    <a:lnTo>
                      <a:pt x="8" y="35"/>
                    </a:lnTo>
                    <a:lnTo>
                      <a:pt x="7" y="18"/>
                    </a:lnTo>
                    <a:lnTo>
                      <a:pt x="5" y="14"/>
                    </a:lnTo>
                    <a:lnTo>
                      <a:pt x="5" y="12"/>
                    </a:lnTo>
                    <a:lnTo>
                      <a:pt x="11" y="7"/>
                    </a:lnTo>
                    <a:lnTo>
                      <a:pt x="13" y="0"/>
                    </a:lnTo>
                    <a:lnTo>
                      <a:pt x="18" y="0"/>
                    </a:lnTo>
                    <a:lnTo>
                      <a:pt x="20" y="3"/>
                    </a:lnTo>
                    <a:lnTo>
                      <a:pt x="25" y="5"/>
                    </a:lnTo>
                    <a:lnTo>
                      <a:pt x="39" y="2"/>
                    </a:lnTo>
                    <a:lnTo>
                      <a:pt x="48" y="2"/>
                    </a:lnTo>
                    <a:lnTo>
                      <a:pt x="63" y="3"/>
                    </a:lnTo>
                    <a:lnTo>
                      <a:pt x="87" y="7"/>
                    </a:lnTo>
                    <a:lnTo>
                      <a:pt x="100" y="11"/>
                    </a:lnTo>
                    <a:lnTo>
                      <a:pt x="108" y="15"/>
                    </a:lnTo>
                    <a:lnTo>
                      <a:pt x="120" y="17"/>
                    </a:lnTo>
                    <a:lnTo>
                      <a:pt x="125" y="19"/>
                    </a:lnTo>
                    <a:lnTo>
                      <a:pt x="131" y="22"/>
                    </a:lnTo>
                    <a:lnTo>
                      <a:pt x="142" y="22"/>
                    </a:lnTo>
                    <a:lnTo>
                      <a:pt x="151" y="24"/>
                    </a:lnTo>
                    <a:lnTo>
                      <a:pt x="161" y="27"/>
                    </a:lnTo>
                    <a:lnTo>
                      <a:pt x="169" y="31"/>
                    </a:lnTo>
                    <a:lnTo>
                      <a:pt x="179" y="30"/>
                    </a:lnTo>
                    <a:lnTo>
                      <a:pt x="189" y="24"/>
                    </a:lnTo>
                    <a:lnTo>
                      <a:pt x="200" y="17"/>
                    </a:lnTo>
                    <a:lnTo>
                      <a:pt x="212" y="12"/>
                    </a:lnTo>
                    <a:lnTo>
                      <a:pt x="219" y="7"/>
                    </a:lnTo>
                    <a:lnTo>
                      <a:pt x="228" y="7"/>
                    </a:lnTo>
                    <a:lnTo>
                      <a:pt x="235" y="5"/>
                    </a:lnTo>
                    <a:lnTo>
                      <a:pt x="238" y="5"/>
                    </a:lnTo>
                    <a:lnTo>
                      <a:pt x="237" y="7"/>
                    </a:lnTo>
                    <a:lnTo>
                      <a:pt x="228" y="10"/>
                    </a:lnTo>
                    <a:lnTo>
                      <a:pt x="227" y="12"/>
                    </a:lnTo>
                    <a:lnTo>
                      <a:pt x="228" y="12"/>
                    </a:lnTo>
                    <a:lnTo>
                      <a:pt x="242" y="10"/>
                    </a:lnTo>
                    <a:lnTo>
                      <a:pt x="245" y="7"/>
                    </a:lnTo>
                    <a:lnTo>
                      <a:pt x="248" y="3"/>
                    </a:lnTo>
                    <a:lnTo>
                      <a:pt x="254" y="7"/>
                    </a:lnTo>
                    <a:lnTo>
                      <a:pt x="256" y="7"/>
                    </a:lnTo>
                    <a:lnTo>
                      <a:pt x="273" y="7"/>
                    </a:lnTo>
                    <a:lnTo>
                      <a:pt x="275" y="7"/>
                    </a:lnTo>
                    <a:lnTo>
                      <a:pt x="282" y="3"/>
                    </a:lnTo>
                    <a:lnTo>
                      <a:pt x="283" y="5"/>
                    </a:lnTo>
                    <a:lnTo>
                      <a:pt x="285" y="9"/>
                    </a:lnTo>
                    <a:lnTo>
                      <a:pt x="288" y="10"/>
                    </a:lnTo>
                    <a:lnTo>
                      <a:pt x="290" y="12"/>
                    </a:lnTo>
                    <a:lnTo>
                      <a:pt x="293" y="14"/>
                    </a:lnTo>
                    <a:lnTo>
                      <a:pt x="300" y="17"/>
                    </a:lnTo>
                    <a:lnTo>
                      <a:pt x="303" y="21"/>
                    </a:lnTo>
                    <a:lnTo>
                      <a:pt x="307" y="24"/>
                    </a:lnTo>
                    <a:lnTo>
                      <a:pt x="316" y="24"/>
                    </a:lnTo>
                    <a:lnTo>
                      <a:pt x="321" y="24"/>
                    </a:lnTo>
                    <a:lnTo>
                      <a:pt x="323" y="21"/>
                    </a:lnTo>
                    <a:lnTo>
                      <a:pt x="327" y="20"/>
                    </a:lnTo>
                    <a:lnTo>
                      <a:pt x="329" y="24"/>
                    </a:lnTo>
                    <a:lnTo>
                      <a:pt x="346" y="22"/>
                    </a:lnTo>
                    <a:lnTo>
                      <a:pt x="359" y="18"/>
                    </a:lnTo>
                    <a:lnTo>
                      <a:pt x="367" y="12"/>
                    </a:lnTo>
                    <a:lnTo>
                      <a:pt x="368" y="18"/>
                    </a:lnTo>
                    <a:lnTo>
                      <a:pt x="369" y="21"/>
                    </a:lnTo>
                    <a:lnTo>
                      <a:pt x="371" y="24"/>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 name="Freeform 104"/>
              <p:cNvSpPr>
                <a:spLocks/>
              </p:cNvSpPr>
              <p:nvPr/>
            </p:nvSpPr>
            <p:spPr bwMode="auto">
              <a:xfrm>
                <a:off x="2186" y="1586"/>
                <a:ext cx="686" cy="790"/>
              </a:xfrm>
              <a:custGeom>
                <a:avLst/>
                <a:gdLst>
                  <a:gd name="T0" fmla="*/ 47203 w 641"/>
                  <a:gd name="T1" fmla="*/ 330 h 752"/>
                  <a:gd name="T2" fmla="*/ 50137 w 641"/>
                  <a:gd name="T3" fmla="*/ 803 h 752"/>
                  <a:gd name="T4" fmla="*/ 51789 w 641"/>
                  <a:gd name="T5" fmla="*/ 1856 h 752"/>
                  <a:gd name="T6" fmla="*/ 51941 w 641"/>
                  <a:gd name="T7" fmla="*/ 3237 h 752"/>
                  <a:gd name="T8" fmla="*/ 53433 w 641"/>
                  <a:gd name="T9" fmla="*/ 4368 h 752"/>
                  <a:gd name="T10" fmla="*/ 55390 w 641"/>
                  <a:gd name="T11" fmla="*/ 4821 h 752"/>
                  <a:gd name="T12" fmla="*/ 56468 w 641"/>
                  <a:gd name="T13" fmla="*/ 5046 h 752"/>
                  <a:gd name="T14" fmla="*/ 54501 w 641"/>
                  <a:gd name="T15" fmla="*/ 5590 h 752"/>
                  <a:gd name="T16" fmla="*/ 51577 w 641"/>
                  <a:gd name="T17" fmla="*/ 5982 h 752"/>
                  <a:gd name="T18" fmla="*/ 50676 w 641"/>
                  <a:gd name="T19" fmla="*/ 7008 h 752"/>
                  <a:gd name="T20" fmla="*/ 49485 w 641"/>
                  <a:gd name="T21" fmla="*/ 8536 h 752"/>
                  <a:gd name="T22" fmla="*/ 48194 w 641"/>
                  <a:gd name="T23" fmla="*/ 10249 h 752"/>
                  <a:gd name="T24" fmla="*/ 44726 w 641"/>
                  <a:gd name="T25" fmla="*/ 11639 h 752"/>
                  <a:gd name="T26" fmla="*/ 42810 w 641"/>
                  <a:gd name="T27" fmla="*/ 12239 h 752"/>
                  <a:gd name="T28" fmla="*/ 42065 w 641"/>
                  <a:gd name="T29" fmla="*/ 12758 h 752"/>
                  <a:gd name="T30" fmla="*/ 41792 w 641"/>
                  <a:gd name="T31" fmla="*/ 14206 h 752"/>
                  <a:gd name="T32" fmla="*/ 39089 w 641"/>
                  <a:gd name="T33" fmla="*/ 14587 h 752"/>
                  <a:gd name="T34" fmla="*/ 37977 w 641"/>
                  <a:gd name="T35" fmla="*/ 15199 h 752"/>
                  <a:gd name="T36" fmla="*/ 39595 w 641"/>
                  <a:gd name="T37" fmla="*/ 15324 h 752"/>
                  <a:gd name="T38" fmla="*/ 41344 w 641"/>
                  <a:gd name="T39" fmla="*/ 15871 h 752"/>
                  <a:gd name="T40" fmla="*/ 43919 w 641"/>
                  <a:gd name="T41" fmla="*/ 16505 h 752"/>
                  <a:gd name="T42" fmla="*/ 45815 w 641"/>
                  <a:gd name="T43" fmla="*/ 17532 h 752"/>
                  <a:gd name="T44" fmla="*/ 47589 w 641"/>
                  <a:gd name="T45" fmla="*/ 18079 h 752"/>
                  <a:gd name="T46" fmla="*/ 43638 w 641"/>
                  <a:gd name="T47" fmla="*/ 18512 h 752"/>
                  <a:gd name="T48" fmla="*/ 41111 w 641"/>
                  <a:gd name="T49" fmla="*/ 18945 h 752"/>
                  <a:gd name="T50" fmla="*/ 37378 w 641"/>
                  <a:gd name="T51" fmla="*/ 19320 h 752"/>
                  <a:gd name="T52" fmla="*/ 34129 w 641"/>
                  <a:gd name="T53" fmla="*/ 19335 h 752"/>
                  <a:gd name="T54" fmla="*/ 31339 w 641"/>
                  <a:gd name="T55" fmla="*/ 19342 h 752"/>
                  <a:gd name="T56" fmla="*/ 29594 w 641"/>
                  <a:gd name="T57" fmla="*/ 19102 h 752"/>
                  <a:gd name="T58" fmla="*/ 25632 w 641"/>
                  <a:gd name="T59" fmla="*/ 18588 h 752"/>
                  <a:gd name="T60" fmla="*/ 22561 w 641"/>
                  <a:gd name="T61" fmla="*/ 18730 h 752"/>
                  <a:gd name="T62" fmla="*/ 19752 w 641"/>
                  <a:gd name="T63" fmla="*/ 18079 h 752"/>
                  <a:gd name="T64" fmla="*/ 18456 w 641"/>
                  <a:gd name="T65" fmla="*/ 17369 h 752"/>
                  <a:gd name="T66" fmla="*/ 15453 w 641"/>
                  <a:gd name="T67" fmla="*/ 16604 h 752"/>
                  <a:gd name="T68" fmla="*/ 13725 w 641"/>
                  <a:gd name="T69" fmla="*/ 15967 h 752"/>
                  <a:gd name="T70" fmla="*/ 11355 w 641"/>
                  <a:gd name="T71" fmla="*/ 15108 h 752"/>
                  <a:gd name="T72" fmla="*/ 8656 w 641"/>
                  <a:gd name="T73" fmla="*/ 14791 h 752"/>
                  <a:gd name="T74" fmla="*/ 6165 w 641"/>
                  <a:gd name="T75" fmla="*/ 14373 h 752"/>
                  <a:gd name="T76" fmla="*/ 5906 w 641"/>
                  <a:gd name="T77" fmla="*/ 13323 h 752"/>
                  <a:gd name="T78" fmla="*/ 2801 w 641"/>
                  <a:gd name="T79" fmla="*/ 12053 h 752"/>
                  <a:gd name="T80" fmla="*/ 2998 w 641"/>
                  <a:gd name="T81" fmla="*/ 11560 h 752"/>
                  <a:gd name="T82" fmla="*/ 1421 w 641"/>
                  <a:gd name="T83" fmla="*/ 10570 h 752"/>
                  <a:gd name="T84" fmla="*/ 0 w 641"/>
                  <a:gd name="T85" fmla="*/ 10367 h 752"/>
                  <a:gd name="T86" fmla="*/ 773 w 641"/>
                  <a:gd name="T87" fmla="*/ 9654 h 752"/>
                  <a:gd name="T88" fmla="*/ 1241 w 641"/>
                  <a:gd name="T89" fmla="*/ 9096 h 752"/>
                  <a:gd name="T90" fmla="*/ 1421 w 641"/>
                  <a:gd name="T91" fmla="*/ 8554 h 752"/>
                  <a:gd name="T92" fmla="*/ 3474 w 641"/>
                  <a:gd name="T93" fmla="*/ 7576 h 752"/>
                  <a:gd name="T94" fmla="*/ 4877 w 641"/>
                  <a:gd name="T95" fmla="*/ 7286 h 752"/>
                  <a:gd name="T96" fmla="*/ 7327 w 641"/>
                  <a:gd name="T97" fmla="*/ 5477 h 752"/>
                  <a:gd name="T98" fmla="*/ 10697 w 641"/>
                  <a:gd name="T99" fmla="*/ 2993 h 752"/>
                  <a:gd name="T100" fmla="*/ 17199 w 641"/>
                  <a:gd name="T101" fmla="*/ 1080 h 752"/>
                  <a:gd name="T102" fmla="*/ 29981 w 641"/>
                  <a:gd name="T103" fmla="*/ 1080 h 752"/>
                  <a:gd name="T104" fmla="*/ 32595 w 641"/>
                  <a:gd name="T105" fmla="*/ 928 h 752"/>
                  <a:gd name="T106" fmla="*/ 39595 w 641"/>
                  <a:gd name="T107" fmla="*/ 1360 h 752"/>
                  <a:gd name="T108" fmla="*/ 44246 w 641"/>
                  <a:gd name="T109" fmla="*/ 299 h 7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41"/>
                  <a:gd name="T166" fmla="*/ 0 h 752"/>
                  <a:gd name="T167" fmla="*/ 641 w 641"/>
                  <a:gd name="T168" fmla="*/ 752 h 75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41" h="752">
                    <a:moveTo>
                      <a:pt x="503" y="10"/>
                    </a:moveTo>
                    <a:lnTo>
                      <a:pt x="513" y="13"/>
                    </a:lnTo>
                    <a:lnTo>
                      <a:pt x="528" y="0"/>
                    </a:lnTo>
                    <a:lnTo>
                      <a:pt x="537" y="12"/>
                    </a:lnTo>
                    <a:lnTo>
                      <a:pt x="547" y="15"/>
                    </a:lnTo>
                    <a:lnTo>
                      <a:pt x="555" y="20"/>
                    </a:lnTo>
                    <a:lnTo>
                      <a:pt x="563" y="29"/>
                    </a:lnTo>
                    <a:lnTo>
                      <a:pt x="569" y="31"/>
                    </a:lnTo>
                    <a:lnTo>
                      <a:pt x="576" y="43"/>
                    </a:lnTo>
                    <a:lnTo>
                      <a:pt x="578" y="53"/>
                    </a:lnTo>
                    <a:lnTo>
                      <a:pt x="579" y="61"/>
                    </a:lnTo>
                    <a:lnTo>
                      <a:pt x="589" y="72"/>
                    </a:lnTo>
                    <a:lnTo>
                      <a:pt x="592" y="77"/>
                    </a:lnTo>
                    <a:lnTo>
                      <a:pt x="589" y="77"/>
                    </a:lnTo>
                    <a:lnTo>
                      <a:pt x="591" y="103"/>
                    </a:lnTo>
                    <a:lnTo>
                      <a:pt x="591" y="125"/>
                    </a:lnTo>
                    <a:lnTo>
                      <a:pt x="593" y="141"/>
                    </a:lnTo>
                    <a:lnTo>
                      <a:pt x="598" y="161"/>
                    </a:lnTo>
                    <a:lnTo>
                      <a:pt x="601" y="166"/>
                    </a:lnTo>
                    <a:lnTo>
                      <a:pt x="606" y="169"/>
                    </a:lnTo>
                    <a:lnTo>
                      <a:pt x="616" y="173"/>
                    </a:lnTo>
                    <a:lnTo>
                      <a:pt x="620" y="175"/>
                    </a:lnTo>
                    <a:lnTo>
                      <a:pt x="625" y="178"/>
                    </a:lnTo>
                    <a:lnTo>
                      <a:pt x="629" y="187"/>
                    </a:lnTo>
                    <a:lnTo>
                      <a:pt x="632" y="185"/>
                    </a:lnTo>
                    <a:lnTo>
                      <a:pt x="634" y="187"/>
                    </a:lnTo>
                    <a:lnTo>
                      <a:pt x="637" y="187"/>
                    </a:lnTo>
                    <a:lnTo>
                      <a:pt x="641" y="194"/>
                    </a:lnTo>
                    <a:lnTo>
                      <a:pt x="639" y="201"/>
                    </a:lnTo>
                    <a:lnTo>
                      <a:pt x="633" y="210"/>
                    </a:lnTo>
                    <a:lnTo>
                      <a:pt x="624" y="214"/>
                    </a:lnTo>
                    <a:lnTo>
                      <a:pt x="618" y="216"/>
                    </a:lnTo>
                    <a:lnTo>
                      <a:pt x="604" y="222"/>
                    </a:lnTo>
                    <a:lnTo>
                      <a:pt x="599" y="227"/>
                    </a:lnTo>
                    <a:lnTo>
                      <a:pt x="594" y="230"/>
                    </a:lnTo>
                    <a:lnTo>
                      <a:pt x="585" y="232"/>
                    </a:lnTo>
                    <a:lnTo>
                      <a:pt x="582" y="237"/>
                    </a:lnTo>
                    <a:lnTo>
                      <a:pt x="579" y="252"/>
                    </a:lnTo>
                    <a:lnTo>
                      <a:pt x="579" y="257"/>
                    </a:lnTo>
                    <a:lnTo>
                      <a:pt x="576" y="271"/>
                    </a:lnTo>
                    <a:lnTo>
                      <a:pt x="570" y="294"/>
                    </a:lnTo>
                    <a:lnTo>
                      <a:pt x="566" y="305"/>
                    </a:lnTo>
                    <a:lnTo>
                      <a:pt x="563" y="315"/>
                    </a:lnTo>
                    <a:lnTo>
                      <a:pt x="563" y="330"/>
                    </a:lnTo>
                    <a:lnTo>
                      <a:pt x="565" y="340"/>
                    </a:lnTo>
                    <a:lnTo>
                      <a:pt x="565" y="352"/>
                    </a:lnTo>
                    <a:lnTo>
                      <a:pt x="553" y="391"/>
                    </a:lnTo>
                    <a:lnTo>
                      <a:pt x="547" y="396"/>
                    </a:lnTo>
                    <a:lnTo>
                      <a:pt x="541" y="398"/>
                    </a:lnTo>
                    <a:lnTo>
                      <a:pt x="534" y="405"/>
                    </a:lnTo>
                    <a:lnTo>
                      <a:pt x="510" y="439"/>
                    </a:lnTo>
                    <a:lnTo>
                      <a:pt x="507" y="449"/>
                    </a:lnTo>
                    <a:lnTo>
                      <a:pt x="502" y="466"/>
                    </a:lnTo>
                    <a:lnTo>
                      <a:pt x="500" y="470"/>
                    </a:lnTo>
                    <a:lnTo>
                      <a:pt x="492" y="470"/>
                    </a:lnTo>
                    <a:lnTo>
                      <a:pt x="486" y="473"/>
                    </a:lnTo>
                    <a:lnTo>
                      <a:pt x="482" y="482"/>
                    </a:lnTo>
                    <a:lnTo>
                      <a:pt x="480" y="487"/>
                    </a:lnTo>
                    <a:lnTo>
                      <a:pt x="477" y="485"/>
                    </a:lnTo>
                    <a:lnTo>
                      <a:pt x="477" y="493"/>
                    </a:lnTo>
                    <a:lnTo>
                      <a:pt x="479" y="498"/>
                    </a:lnTo>
                    <a:lnTo>
                      <a:pt x="477" y="506"/>
                    </a:lnTo>
                    <a:lnTo>
                      <a:pt x="474" y="516"/>
                    </a:lnTo>
                    <a:lnTo>
                      <a:pt x="474" y="549"/>
                    </a:lnTo>
                    <a:lnTo>
                      <a:pt x="473" y="559"/>
                    </a:lnTo>
                    <a:lnTo>
                      <a:pt x="469" y="563"/>
                    </a:lnTo>
                    <a:lnTo>
                      <a:pt x="460" y="566"/>
                    </a:lnTo>
                    <a:lnTo>
                      <a:pt x="444" y="564"/>
                    </a:lnTo>
                    <a:lnTo>
                      <a:pt x="437" y="566"/>
                    </a:lnTo>
                    <a:lnTo>
                      <a:pt x="437" y="578"/>
                    </a:lnTo>
                    <a:lnTo>
                      <a:pt x="432" y="581"/>
                    </a:lnTo>
                    <a:lnTo>
                      <a:pt x="431" y="586"/>
                    </a:lnTo>
                    <a:lnTo>
                      <a:pt x="434" y="590"/>
                    </a:lnTo>
                    <a:lnTo>
                      <a:pt x="438" y="590"/>
                    </a:lnTo>
                    <a:lnTo>
                      <a:pt x="444" y="593"/>
                    </a:lnTo>
                    <a:lnTo>
                      <a:pt x="450" y="593"/>
                    </a:lnTo>
                    <a:lnTo>
                      <a:pt x="458" y="595"/>
                    </a:lnTo>
                    <a:lnTo>
                      <a:pt x="464" y="598"/>
                    </a:lnTo>
                    <a:lnTo>
                      <a:pt x="469" y="605"/>
                    </a:lnTo>
                    <a:lnTo>
                      <a:pt x="470" y="612"/>
                    </a:lnTo>
                    <a:lnTo>
                      <a:pt x="475" y="619"/>
                    </a:lnTo>
                    <a:lnTo>
                      <a:pt x="480" y="623"/>
                    </a:lnTo>
                    <a:lnTo>
                      <a:pt x="496" y="634"/>
                    </a:lnTo>
                    <a:lnTo>
                      <a:pt x="499" y="639"/>
                    </a:lnTo>
                    <a:lnTo>
                      <a:pt x="502" y="650"/>
                    </a:lnTo>
                    <a:lnTo>
                      <a:pt x="510" y="669"/>
                    </a:lnTo>
                    <a:lnTo>
                      <a:pt x="513" y="675"/>
                    </a:lnTo>
                    <a:lnTo>
                      <a:pt x="520" y="679"/>
                    </a:lnTo>
                    <a:lnTo>
                      <a:pt x="536" y="682"/>
                    </a:lnTo>
                    <a:lnTo>
                      <a:pt x="540" y="685"/>
                    </a:lnTo>
                    <a:lnTo>
                      <a:pt x="541" y="691"/>
                    </a:lnTo>
                    <a:lnTo>
                      <a:pt x="540" y="698"/>
                    </a:lnTo>
                    <a:lnTo>
                      <a:pt x="539" y="714"/>
                    </a:lnTo>
                    <a:lnTo>
                      <a:pt x="525" y="715"/>
                    </a:lnTo>
                    <a:lnTo>
                      <a:pt x="515" y="715"/>
                    </a:lnTo>
                    <a:lnTo>
                      <a:pt x="495" y="714"/>
                    </a:lnTo>
                    <a:lnTo>
                      <a:pt x="486" y="714"/>
                    </a:lnTo>
                    <a:lnTo>
                      <a:pt x="479" y="718"/>
                    </a:lnTo>
                    <a:lnTo>
                      <a:pt x="467" y="733"/>
                    </a:lnTo>
                    <a:lnTo>
                      <a:pt x="467" y="731"/>
                    </a:lnTo>
                    <a:lnTo>
                      <a:pt x="467" y="733"/>
                    </a:lnTo>
                    <a:lnTo>
                      <a:pt x="448" y="744"/>
                    </a:lnTo>
                    <a:lnTo>
                      <a:pt x="435" y="744"/>
                    </a:lnTo>
                    <a:lnTo>
                      <a:pt x="424" y="744"/>
                    </a:lnTo>
                    <a:lnTo>
                      <a:pt x="414" y="748"/>
                    </a:lnTo>
                    <a:lnTo>
                      <a:pt x="404" y="749"/>
                    </a:lnTo>
                    <a:lnTo>
                      <a:pt x="393" y="752"/>
                    </a:lnTo>
                    <a:lnTo>
                      <a:pt x="388" y="746"/>
                    </a:lnTo>
                    <a:lnTo>
                      <a:pt x="379" y="748"/>
                    </a:lnTo>
                    <a:lnTo>
                      <a:pt x="373" y="748"/>
                    </a:lnTo>
                    <a:lnTo>
                      <a:pt x="365" y="746"/>
                    </a:lnTo>
                    <a:lnTo>
                      <a:pt x="355" y="748"/>
                    </a:lnTo>
                    <a:lnTo>
                      <a:pt x="350" y="751"/>
                    </a:lnTo>
                    <a:lnTo>
                      <a:pt x="346" y="751"/>
                    </a:lnTo>
                    <a:lnTo>
                      <a:pt x="341" y="748"/>
                    </a:lnTo>
                    <a:lnTo>
                      <a:pt x="335" y="740"/>
                    </a:lnTo>
                    <a:lnTo>
                      <a:pt x="326" y="736"/>
                    </a:lnTo>
                    <a:lnTo>
                      <a:pt x="308" y="717"/>
                    </a:lnTo>
                    <a:lnTo>
                      <a:pt x="301" y="711"/>
                    </a:lnTo>
                    <a:lnTo>
                      <a:pt x="292" y="720"/>
                    </a:lnTo>
                    <a:lnTo>
                      <a:pt x="283" y="721"/>
                    </a:lnTo>
                    <a:lnTo>
                      <a:pt x="265" y="716"/>
                    </a:lnTo>
                    <a:lnTo>
                      <a:pt x="260" y="722"/>
                    </a:lnTo>
                    <a:lnTo>
                      <a:pt x="256" y="724"/>
                    </a:lnTo>
                    <a:lnTo>
                      <a:pt x="240" y="717"/>
                    </a:lnTo>
                    <a:lnTo>
                      <a:pt x="237" y="710"/>
                    </a:lnTo>
                    <a:lnTo>
                      <a:pt x="232" y="705"/>
                    </a:lnTo>
                    <a:lnTo>
                      <a:pt x="224" y="698"/>
                    </a:lnTo>
                    <a:lnTo>
                      <a:pt x="218" y="691"/>
                    </a:lnTo>
                    <a:lnTo>
                      <a:pt x="215" y="685"/>
                    </a:lnTo>
                    <a:lnTo>
                      <a:pt x="214" y="679"/>
                    </a:lnTo>
                    <a:lnTo>
                      <a:pt x="209" y="672"/>
                    </a:lnTo>
                    <a:lnTo>
                      <a:pt x="189" y="658"/>
                    </a:lnTo>
                    <a:lnTo>
                      <a:pt x="182" y="655"/>
                    </a:lnTo>
                    <a:lnTo>
                      <a:pt x="180" y="648"/>
                    </a:lnTo>
                    <a:lnTo>
                      <a:pt x="176" y="641"/>
                    </a:lnTo>
                    <a:lnTo>
                      <a:pt x="174" y="634"/>
                    </a:lnTo>
                    <a:lnTo>
                      <a:pt x="170" y="628"/>
                    </a:lnTo>
                    <a:lnTo>
                      <a:pt x="163" y="623"/>
                    </a:lnTo>
                    <a:lnTo>
                      <a:pt x="156" y="616"/>
                    </a:lnTo>
                    <a:lnTo>
                      <a:pt x="142" y="607"/>
                    </a:lnTo>
                    <a:lnTo>
                      <a:pt x="130" y="598"/>
                    </a:lnTo>
                    <a:lnTo>
                      <a:pt x="126" y="590"/>
                    </a:lnTo>
                    <a:lnTo>
                      <a:pt x="128" y="583"/>
                    </a:lnTo>
                    <a:lnTo>
                      <a:pt x="126" y="580"/>
                    </a:lnTo>
                    <a:lnTo>
                      <a:pt x="120" y="575"/>
                    </a:lnTo>
                    <a:lnTo>
                      <a:pt x="115" y="571"/>
                    </a:lnTo>
                    <a:lnTo>
                      <a:pt x="98" y="571"/>
                    </a:lnTo>
                    <a:lnTo>
                      <a:pt x="90" y="566"/>
                    </a:lnTo>
                    <a:lnTo>
                      <a:pt x="87" y="557"/>
                    </a:lnTo>
                    <a:lnTo>
                      <a:pt x="78" y="555"/>
                    </a:lnTo>
                    <a:lnTo>
                      <a:pt x="70" y="554"/>
                    </a:lnTo>
                    <a:lnTo>
                      <a:pt x="63" y="547"/>
                    </a:lnTo>
                    <a:lnTo>
                      <a:pt x="60" y="537"/>
                    </a:lnTo>
                    <a:lnTo>
                      <a:pt x="63" y="525"/>
                    </a:lnTo>
                    <a:lnTo>
                      <a:pt x="67" y="514"/>
                    </a:lnTo>
                    <a:lnTo>
                      <a:pt x="63" y="503"/>
                    </a:lnTo>
                    <a:lnTo>
                      <a:pt x="51" y="487"/>
                    </a:lnTo>
                    <a:lnTo>
                      <a:pt x="40" y="475"/>
                    </a:lnTo>
                    <a:lnTo>
                      <a:pt x="32" y="465"/>
                    </a:lnTo>
                    <a:lnTo>
                      <a:pt x="39" y="461"/>
                    </a:lnTo>
                    <a:lnTo>
                      <a:pt x="37" y="456"/>
                    </a:lnTo>
                    <a:lnTo>
                      <a:pt x="36" y="450"/>
                    </a:lnTo>
                    <a:lnTo>
                      <a:pt x="34" y="446"/>
                    </a:lnTo>
                    <a:lnTo>
                      <a:pt x="29" y="444"/>
                    </a:lnTo>
                    <a:lnTo>
                      <a:pt x="29" y="443"/>
                    </a:lnTo>
                    <a:lnTo>
                      <a:pt x="20" y="419"/>
                    </a:lnTo>
                    <a:lnTo>
                      <a:pt x="17" y="408"/>
                    </a:lnTo>
                    <a:lnTo>
                      <a:pt x="19" y="398"/>
                    </a:lnTo>
                    <a:lnTo>
                      <a:pt x="7" y="399"/>
                    </a:lnTo>
                    <a:lnTo>
                      <a:pt x="3" y="401"/>
                    </a:lnTo>
                    <a:lnTo>
                      <a:pt x="0" y="401"/>
                    </a:lnTo>
                    <a:lnTo>
                      <a:pt x="0" y="389"/>
                    </a:lnTo>
                    <a:lnTo>
                      <a:pt x="1" y="386"/>
                    </a:lnTo>
                    <a:lnTo>
                      <a:pt x="5" y="379"/>
                    </a:lnTo>
                    <a:lnTo>
                      <a:pt x="8" y="372"/>
                    </a:lnTo>
                    <a:lnTo>
                      <a:pt x="8" y="363"/>
                    </a:lnTo>
                    <a:lnTo>
                      <a:pt x="8" y="355"/>
                    </a:lnTo>
                    <a:lnTo>
                      <a:pt x="10" y="353"/>
                    </a:lnTo>
                    <a:lnTo>
                      <a:pt x="15" y="349"/>
                    </a:lnTo>
                    <a:lnTo>
                      <a:pt x="17" y="348"/>
                    </a:lnTo>
                    <a:lnTo>
                      <a:pt x="19" y="346"/>
                    </a:lnTo>
                    <a:lnTo>
                      <a:pt x="17" y="339"/>
                    </a:lnTo>
                    <a:lnTo>
                      <a:pt x="17" y="331"/>
                    </a:lnTo>
                    <a:lnTo>
                      <a:pt x="29" y="319"/>
                    </a:lnTo>
                    <a:lnTo>
                      <a:pt x="36" y="307"/>
                    </a:lnTo>
                    <a:lnTo>
                      <a:pt x="40" y="300"/>
                    </a:lnTo>
                    <a:lnTo>
                      <a:pt x="40" y="292"/>
                    </a:lnTo>
                    <a:lnTo>
                      <a:pt x="42" y="286"/>
                    </a:lnTo>
                    <a:lnTo>
                      <a:pt x="43" y="284"/>
                    </a:lnTo>
                    <a:lnTo>
                      <a:pt x="51" y="284"/>
                    </a:lnTo>
                    <a:lnTo>
                      <a:pt x="56" y="283"/>
                    </a:lnTo>
                    <a:lnTo>
                      <a:pt x="78" y="283"/>
                    </a:lnTo>
                    <a:lnTo>
                      <a:pt x="82" y="282"/>
                    </a:lnTo>
                    <a:lnTo>
                      <a:pt x="83" y="248"/>
                    </a:lnTo>
                    <a:lnTo>
                      <a:pt x="83" y="212"/>
                    </a:lnTo>
                    <a:lnTo>
                      <a:pt x="83" y="175"/>
                    </a:lnTo>
                    <a:lnTo>
                      <a:pt x="83" y="138"/>
                    </a:lnTo>
                    <a:lnTo>
                      <a:pt x="83" y="116"/>
                    </a:lnTo>
                    <a:lnTo>
                      <a:pt x="121" y="116"/>
                    </a:lnTo>
                    <a:lnTo>
                      <a:pt x="121" y="77"/>
                    </a:lnTo>
                    <a:lnTo>
                      <a:pt x="121" y="43"/>
                    </a:lnTo>
                    <a:lnTo>
                      <a:pt x="158" y="43"/>
                    </a:lnTo>
                    <a:lnTo>
                      <a:pt x="194" y="43"/>
                    </a:lnTo>
                    <a:lnTo>
                      <a:pt x="231" y="43"/>
                    </a:lnTo>
                    <a:lnTo>
                      <a:pt x="268" y="43"/>
                    </a:lnTo>
                    <a:lnTo>
                      <a:pt x="304" y="43"/>
                    </a:lnTo>
                    <a:lnTo>
                      <a:pt x="341" y="43"/>
                    </a:lnTo>
                    <a:lnTo>
                      <a:pt x="361" y="43"/>
                    </a:lnTo>
                    <a:lnTo>
                      <a:pt x="366" y="34"/>
                    </a:lnTo>
                    <a:lnTo>
                      <a:pt x="368" y="34"/>
                    </a:lnTo>
                    <a:lnTo>
                      <a:pt x="369" y="36"/>
                    </a:lnTo>
                    <a:lnTo>
                      <a:pt x="372" y="34"/>
                    </a:lnTo>
                    <a:lnTo>
                      <a:pt x="368" y="43"/>
                    </a:lnTo>
                    <a:lnTo>
                      <a:pt x="436" y="43"/>
                    </a:lnTo>
                    <a:lnTo>
                      <a:pt x="450" y="52"/>
                    </a:lnTo>
                    <a:lnTo>
                      <a:pt x="469" y="51"/>
                    </a:lnTo>
                    <a:lnTo>
                      <a:pt x="474" y="34"/>
                    </a:lnTo>
                    <a:lnTo>
                      <a:pt x="495" y="29"/>
                    </a:lnTo>
                    <a:lnTo>
                      <a:pt x="503" y="10"/>
                    </a:lnTo>
                    <a:close/>
                  </a:path>
                </a:pathLst>
              </a:custGeom>
              <a:solidFill>
                <a:srgbClr val="9CBC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9" name="Freeform 105"/>
              <p:cNvSpPr>
                <a:spLocks/>
              </p:cNvSpPr>
              <p:nvPr/>
            </p:nvSpPr>
            <p:spPr bwMode="auto">
              <a:xfrm>
                <a:off x="2186" y="1586"/>
                <a:ext cx="686" cy="790"/>
              </a:xfrm>
              <a:custGeom>
                <a:avLst/>
                <a:gdLst>
                  <a:gd name="T0" fmla="*/ 47203 w 641"/>
                  <a:gd name="T1" fmla="*/ 330 h 752"/>
                  <a:gd name="T2" fmla="*/ 50137 w 641"/>
                  <a:gd name="T3" fmla="*/ 803 h 752"/>
                  <a:gd name="T4" fmla="*/ 51789 w 641"/>
                  <a:gd name="T5" fmla="*/ 1856 h 752"/>
                  <a:gd name="T6" fmla="*/ 51941 w 641"/>
                  <a:gd name="T7" fmla="*/ 3237 h 752"/>
                  <a:gd name="T8" fmla="*/ 53433 w 641"/>
                  <a:gd name="T9" fmla="*/ 4368 h 752"/>
                  <a:gd name="T10" fmla="*/ 55390 w 641"/>
                  <a:gd name="T11" fmla="*/ 4821 h 752"/>
                  <a:gd name="T12" fmla="*/ 56468 w 641"/>
                  <a:gd name="T13" fmla="*/ 5046 h 752"/>
                  <a:gd name="T14" fmla="*/ 54501 w 641"/>
                  <a:gd name="T15" fmla="*/ 5590 h 752"/>
                  <a:gd name="T16" fmla="*/ 51577 w 641"/>
                  <a:gd name="T17" fmla="*/ 5982 h 752"/>
                  <a:gd name="T18" fmla="*/ 50676 w 641"/>
                  <a:gd name="T19" fmla="*/ 7008 h 752"/>
                  <a:gd name="T20" fmla="*/ 49485 w 641"/>
                  <a:gd name="T21" fmla="*/ 8536 h 752"/>
                  <a:gd name="T22" fmla="*/ 48194 w 641"/>
                  <a:gd name="T23" fmla="*/ 10249 h 752"/>
                  <a:gd name="T24" fmla="*/ 44726 w 641"/>
                  <a:gd name="T25" fmla="*/ 11639 h 752"/>
                  <a:gd name="T26" fmla="*/ 42810 w 641"/>
                  <a:gd name="T27" fmla="*/ 12239 h 752"/>
                  <a:gd name="T28" fmla="*/ 42065 w 641"/>
                  <a:gd name="T29" fmla="*/ 12758 h 752"/>
                  <a:gd name="T30" fmla="*/ 41792 w 641"/>
                  <a:gd name="T31" fmla="*/ 14206 h 752"/>
                  <a:gd name="T32" fmla="*/ 39089 w 641"/>
                  <a:gd name="T33" fmla="*/ 14587 h 752"/>
                  <a:gd name="T34" fmla="*/ 37977 w 641"/>
                  <a:gd name="T35" fmla="*/ 15199 h 752"/>
                  <a:gd name="T36" fmla="*/ 39595 w 641"/>
                  <a:gd name="T37" fmla="*/ 15324 h 752"/>
                  <a:gd name="T38" fmla="*/ 41344 w 641"/>
                  <a:gd name="T39" fmla="*/ 15871 h 752"/>
                  <a:gd name="T40" fmla="*/ 43919 w 641"/>
                  <a:gd name="T41" fmla="*/ 16505 h 752"/>
                  <a:gd name="T42" fmla="*/ 45815 w 641"/>
                  <a:gd name="T43" fmla="*/ 17532 h 752"/>
                  <a:gd name="T44" fmla="*/ 47589 w 641"/>
                  <a:gd name="T45" fmla="*/ 18079 h 752"/>
                  <a:gd name="T46" fmla="*/ 43638 w 641"/>
                  <a:gd name="T47" fmla="*/ 18512 h 752"/>
                  <a:gd name="T48" fmla="*/ 41111 w 641"/>
                  <a:gd name="T49" fmla="*/ 18945 h 752"/>
                  <a:gd name="T50" fmla="*/ 37378 w 641"/>
                  <a:gd name="T51" fmla="*/ 19320 h 752"/>
                  <a:gd name="T52" fmla="*/ 34129 w 641"/>
                  <a:gd name="T53" fmla="*/ 19335 h 752"/>
                  <a:gd name="T54" fmla="*/ 31339 w 641"/>
                  <a:gd name="T55" fmla="*/ 19342 h 752"/>
                  <a:gd name="T56" fmla="*/ 29594 w 641"/>
                  <a:gd name="T57" fmla="*/ 19102 h 752"/>
                  <a:gd name="T58" fmla="*/ 25632 w 641"/>
                  <a:gd name="T59" fmla="*/ 18588 h 752"/>
                  <a:gd name="T60" fmla="*/ 22561 w 641"/>
                  <a:gd name="T61" fmla="*/ 18730 h 752"/>
                  <a:gd name="T62" fmla="*/ 19752 w 641"/>
                  <a:gd name="T63" fmla="*/ 18079 h 752"/>
                  <a:gd name="T64" fmla="*/ 18456 w 641"/>
                  <a:gd name="T65" fmla="*/ 17369 h 752"/>
                  <a:gd name="T66" fmla="*/ 15453 w 641"/>
                  <a:gd name="T67" fmla="*/ 16604 h 752"/>
                  <a:gd name="T68" fmla="*/ 13725 w 641"/>
                  <a:gd name="T69" fmla="*/ 15967 h 752"/>
                  <a:gd name="T70" fmla="*/ 11355 w 641"/>
                  <a:gd name="T71" fmla="*/ 15108 h 752"/>
                  <a:gd name="T72" fmla="*/ 8656 w 641"/>
                  <a:gd name="T73" fmla="*/ 14791 h 752"/>
                  <a:gd name="T74" fmla="*/ 6165 w 641"/>
                  <a:gd name="T75" fmla="*/ 14373 h 752"/>
                  <a:gd name="T76" fmla="*/ 5906 w 641"/>
                  <a:gd name="T77" fmla="*/ 13323 h 752"/>
                  <a:gd name="T78" fmla="*/ 2801 w 641"/>
                  <a:gd name="T79" fmla="*/ 12053 h 752"/>
                  <a:gd name="T80" fmla="*/ 2998 w 641"/>
                  <a:gd name="T81" fmla="*/ 11560 h 752"/>
                  <a:gd name="T82" fmla="*/ 1421 w 641"/>
                  <a:gd name="T83" fmla="*/ 10570 h 752"/>
                  <a:gd name="T84" fmla="*/ 0 w 641"/>
                  <a:gd name="T85" fmla="*/ 10367 h 752"/>
                  <a:gd name="T86" fmla="*/ 773 w 641"/>
                  <a:gd name="T87" fmla="*/ 9654 h 752"/>
                  <a:gd name="T88" fmla="*/ 1241 w 641"/>
                  <a:gd name="T89" fmla="*/ 9096 h 752"/>
                  <a:gd name="T90" fmla="*/ 1421 w 641"/>
                  <a:gd name="T91" fmla="*/ 8554 h 752"/>
                  <a:gd name="T92" fmla="*/ 3474 w 641"/>
                  <a:gd name="T93" fmla="*/ 7576 h 752"/>
                  <a:gd name="T94" fmla="*/ 4877 w 641"/>
                  <a:gd name="T95" fmla="*/ 7286 h 752"/>
                  <a:gd name="T96" fmla="*/ 7327 w 641"/>
                  <a:gd name="T97" fmla="*/ 5477 h 752"/>
                  <a:gd name="T98" fmla="*/ 10697 w 641"/>
                  <a:gd name="T99" fmla="*/ 2993 h 752"/>
                  <a:gd name="T100" fmla="*/ 17199 w 641"/>
                  <a:gd name="T101" fmla="*/ 1080 h 752"/>
                  <a:gd name="T102" fmla="*/ 29981 w 641"/>
                  <a:gd name="T103" fmla="*/ 1080 h 752"/>
                  <a:gd name="T104" fmla="*/ 32595 w 641"/>
                  <a:gd name="T105" fmla="*/ 928 h 752"/>
                  <a:gd name="T106" fmla="*/ 39595 w 641"/>
                  <a:gd name="T107" fmla="*/ 1360 h 752"/>
                  <a:gd name="T108" fmla="*/ 44246 w 641"/>
                  <a:gd name="T109" fmla="*/ 299 h 7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41"/>
                  <a:gd name="T166" fmla="*/ 0 h 752"/>
                  <a:gd name="T167" fmla="*/ 641 w 641"/>
                  <a:gd name="T168" fmla="*/ 752 h 75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41" h="752">
                    <a:moveTo>
                      <a:pt x="503" y="10"/>
                    </a:moveTo>
                    <a:lnTo>
                      <a:pt x="513" y="13"/>
                    </a:lnTo>
                    <a:lnTo>
                      <a:pt x="528" y="0"/>
                    </a:lnTo>
                    <a:lnTo>
                      <a:pt x="537" y="12"/>
                    </a:lnTo>
                    <a:lnTo>
                      <a:pt x="547" y="15"/>
                    </a:lnTo>
                    <a:lnTo>
                      <a:pt x="555" y="20"/>
                    </a:lnTo>
                    <a:lnTo>
                      <a:pt x="563" y="29"/>
                    </a:lnTo>
                    <a:lnTo>
                      <a:pt x="569" y="31"/>
                    </a:lnTo>
                    <a:lnTo>
                      <a:pt x="576" y="43"/>
                    </a:lnTo>
                    <a:lnTo>
                      <a:pt x="578" y="53"/>
                    </a:lnTo>
                    <a:lnTo>
                      <a:pt x="579" y="61"/>
                    </a:lnTo>
                    <a:lnTo>
                      <a:pt x="589" y="72"/>
                    </a:lnTo>
                    <a:lnTo>
                      <a:pt x="592" y="77"/>
                    </a:lnTo>
                    <a:lnTo>
                      <a:pt x="589" y="77"/>
                    </a:lnTo>
                    <a:lnTo>
                      <a:pt x="591" y="103"/>
                    </a:lnTo>
                    <a:lnTo>
                      <a:pt x="591" y="125"/>
                    </a:lnTo>
                    <a:lnTo>
                      <a:pt x="593" y="141"/>
                    </a:lnTo>
                    <a:lnTo>
                      <a:pt x="598" y="161"/>
                    </a:lnTo>
                    <a:lnTo>
                      <a:pt x="601" y="166"/>
                    </a:lnTo>
                    <a:lnTo>
                      <a:pt x="606" y="169"/>
                    </a:lnTo>
                    <a:lnTo>
                      <a:pt x="616" y="173"/>
                    </a:lnTo>
                    <a:lnTo>
                      <a:pt x="620" y="175"/>
                    </a:lnTo>
                    <a:lnTo>
                      <a:pt x="625" y="178"/>
                    </a:lnTo>
                    <a:lnTo>
                      <a:pt x="629" y="187"/>
                    </a:lnTo>
                    <a:lnTo>
                      <a:pt x="632" y="185"/>
                    </a:lnTo>
                    <a:lnTo>
                      <a:pt x="634" y="187"/>
                    </a:lnTo>
                    <a:lnTo>
                      <a:pt x="637" y="187"/>
                    </a:lnTo>
                    <a:lnTo>
                      <a:pt x="641" y="194"/>
                    </a:lnTo>
                    <a:lnTo>
                      <a:pt x="639" y="201"/>
                    </a:lnTo>
                    <a:lnTo>
                      <a:pt x="633" y="210"/>
                    </a:lnTo>
                    <a:lnTo>
                      <a:pt x="624" y="214"/>
                    </a:lnTo>
                    <a:lnTo>
                      <a:pt x="618" y="216"/>
                    </a:lnTo>
                    <a:lnTo>
                      <a:pt x="604" y="222"/>
                    </a:lnTo>
                    <a:lnTo>
                      <a:pt x="599" y="227"/>
                    </a:lnTo>
                    <a:lnTo>
                      <a:pt x="594" y="230"/>
                    </a:lnTo>
                    <a:lnTo>
                      <a:pt x="585" y="232"/>
                    </a:lnTo>
                    <a:lnTo>
                      <a:pt x="582" y="237"/>
                    </a:lnTo>
                    <a:lnTo>
                      <a:pt x="579" y="252"/>
                    </a:lnTo>
                    <a:lnTo>
                      <a:pt x="579" y="257"/>
                    </a:lnTo>
                    <a:lnTo>
                      <a:pt x="576" y="271"/>
                    </a:lnTo>
                    <a:lnTo>
                      <a:pt x="570" y="294"/>
                    </a:lnTo>
                    <a:lnTo>
                      <a:pt x="566" y="305"/>
                    </a:lnTo>
                    <a:lnTo>
                      <a:pt x="563" y="315"/>
                    </a:lnTo>
                    <a:lnTo>
                      <a:pt x="563" y="330"/>
                    </a:lnTo>
                    <a:lnTo>
                      <a:pt x="565" y="340"/>
                    </a:lnTo>
                    <a:lnTo>
                      <a:pt x="565" y="352"/>
                    </a:lnTo>
                    <a:lnTo>
                      <a:pt x="553" y="391"/>
                    </a:lnTo>
                    <a:lnTo>
                      <a:pt x="547" y="396"/>
                    </a:lnTo>
                    <a:lnTo>
                      <a:pt x="541" y="398"/>
                    </a:lnTo>
                    <a:lnTo>
                      <a:pt x="534" y="405"/>
                    </a:lnTo>
                    <a:lnTo>
                      <a:pt x="510" y="439"/>
                    </a:lnTo>
                    <a:lnTo>
                      <a:pt x="507" y="449"/>
                    </a:lnTo>
                    <a:lnTo>
                      <a:pt x="502" y="466"/>
                    </a:lnTo>
                    <a:lnTo>
                      <a:pt x="500" y="470"/>
                    </a:lnTo>
                    <a:lnTo>
                      <a:pt x="492" y="470"/>
                    </a:lnTo>
                    <a:lnTo>
                      <a:pt x="486" y="473"/>
                    </a:lnTo>
                    <a:lnTo>
                      <a:pt x="482" y="482"/>
                    </a:lnTo>
                    <a:lnTo>
                      <a:pt x="480" y="487"/>
                    </a:lnTo>
                    <a:lnTo>
                      <a:pt x="477" y="485"/>
                    </a:lnTo>
                    <a:lnTo>
                      <a:pt x="477" y="493"/>
                    </a:lnTo>
                    <a:lnTo>
                      <a:pt x="479" y="498"/>
                    </a:lnTo>
                    <a:lnTo>
                      <a:pt x="477" y="506"/>
                    </a:lnTo>
                    <a:lnTo>
                      <a:pt x="474" y="516"/>
                    </a:lnTo>
                    <a:lnTo>
                      <a:pt x="474" y="549"/>
                    </a:lnTo>
                    <a:lnTo>
                      <a:pt x="473" y="559"/>
                    </a:lnTo>
                    <a:lnTo>
                      <a:pt x="469" y="563"/>
                    </a:lnTo>
                    <a:lnTo>
                      <a:pt x="460" y="566"/>
                    </a:lnTo>
                    <a:lnTo>
                      <a:pt x="444" y="564"/>
                    </a:lnTo>
                    <a:lnTo>
                      <a:pt x="437" y="566"/>
                    </a:lnTo>
                    <a:lnTo>
                      <a:pt x="437" y="578"/>
                    </a:lnTo>
                    <a:lnTo>
                      <a:pt x="432" y="581"/>
                    </a:lnTo>
                    <a:lnTo>
                      <a:pt x="431" y="586"/>
                    </a:lnTo>
                    <a:lnTo>
                      <a:pt x="434" y="590"/>
                    </a:lnTo>
                    <a:lnTo>
                      <a:pt x="438" y="590"/>
                    </a:lnTo>
                    <a:lnTo>
                      <a:pt x="444" y="593"/>
                    </a:lnTo>
                    <a:lnTo>
                      <a:pt x="450" y="593"/>
                    </a:lnTo>
                    <a:lnTo>
                      <a:pt x="458" y="595"/>
                    </a:lnTo>
                    <a:lnTo>
                      <a:pt x="464" y="598"/>
                    </a:lnTo>
                    <a:lnTo>
                      <a:pt x="469" y="605"/>
                    </a:lnTo>
                    <a:lnTo>
                      <a:pt x="470" y="612"/>
                    </a:lnTo>
                    <a:lnTo>
                      <a:pt x="475" y="619"/>
                    </a:lnTo>
                    <a:lnTo>
                      <a:pt x="480" y="623"/>
                    </a:lnTo>
                    <a:lnTo>
                      <a:pt x="496" y="634"/>
                    </a:lnTo>
                    <a:lnTo>
                      <a:pt x="499" y="639"/>
                    </a:lnTo>
                    <a:lnTo>
                      <a:pt x="502" y="650"/>
                    </a:lnTo>
                    <a:lnTo>
                      <a:pt x="510" y="669"/>
                    </a:lnTo>
                    <a:lnTo>
                      <a:pt x="513" y="675"/>
                    </a:lnTo>
                    <a:lnTo>
                      <a:pt x="520" y="679"/>
                    </a:lnTo>
                    <a:lnTo>
                      <a:pt x="536" y="682"/>
                    </a:lnTo>
                    <a:lnTo>
                      <a:pt x="540" y="685"/>
                    </a:lnTo>
                    <a:lnTo>
                      <a:pt x="541" y="691"/>
                    </a:lnTo>
                    <a:lnTo>
                      <a:pt x="540" y="698"/>
                    </a:lnTo>
                    <a:lnTo>
                      <a:pt x="539" y="714"/>
                    </a:lnTo>
                    <a:lnTo>
                      <a:pt x="525" y="715"/>
                    </a:lnTo>
                    <a:lnTo>
                      <a:pt x="515" y="715"/>
                    </a:lnTo>
                    <a:lnTo>
                      <a:pt x="495" y="714"/>
                    </a:lnTo>
                    <a:lnTo>
                      <a:pt x="486" y="714"/>
                    </a:lnTo>
                    <a:lnTo>
                      <a:pt x="479" y="718"/>
                    </a:lnTo>
                    <a:lnTo>
                      <a:pt x="467" y="733"/>
                    </a:lnTo>
                    <a:lnTo>
                      <a:pt x="467" y="731"/>
                    </a:lnTo>
                    <a:lnTo>
                      <a:pt x="467" y="733"/>
                    </a:lnTo>
                    <a:lnTo>
                      <a:pt x="448" y="744"/>
                    </a:lnTo>
                    <a:lnTo>
                      <a:pt x="435" y="744"/>
                    </a:lnTo>
                    <a:lnTo>
                      <a:pt x="424" y="744"/>
                    </a:lnTo>
                    <a:lnTo>
                      <a:pt x="414" y="748"/>
                    </a:lnTo>
                    <a:lnTo>
                      <a:pt x="404" y="749"/>
                    </a:lnTo>
                    <a:lnTo>
                      <a:pt x="393" y="752"/>
                    </a:lnTo>
                    <a:lnTo>
                      <a:pt x="388" y="746"/>
                    </a:lnTo>
                    <a:lnTo>
                      <a:pt x="379" y="748"/>
                    </a:lnTo>
                    <a:lnTo>
                      <a:pt x="373" y="748"/>
                    </a:lnTo>
                    <a:lnTo>
                      <a:pt x="365" y="746"/>
                    </a:lnTo>
                    <a:lnTo>
                      <a:pt x="355" y="748"/>
                    </a:lnTo>
                    <a:lnTo>
                      <a:pt x="350" y="751"/>
                    </a:lnTo>
                    <a:lnTo>
                      <a:pt x="346" y="751"/>
                    </a:lnTo>
                    <a:lnTo>
                      <a:pt x="341" y="748"/>
                    </a:lnTo>
                    <a:lnTo>
                      <a:pt x="335" y="740"/>
                    </a:lnTo>
                    <a:lnTo>
                      <a:pt x="326" y="736"/>
                    </a:lnTo>
                    <a:lnTo>
                      <a:pt x="308" y="717"/>
                    </a:lnTo>
                    <a:lnTo>
                      <a:pt x="301" y="711"/>
                    </a:lnTo>
                    <a:lnTo>
                      <a:pt x="292" y="720"/>
                    </a:lnTo>
                    <a:lnTo>
                      <a:pt x="283" y="721"/>
                    </a:lnTo>
                    <a:lnTo>
                      <a:pt x="265" y="716"/>
                    </a:lnTo>
                    <a:lnTo>
                      <a:pt x="260" y="722"/>
                    </a:lnTo>
                    <a:lnTo>
                      <a:pt x="256" y="724"/>
                    </a:lnTo>
                    <a:lnTo>
                      <a:pt x="240" y="717"/>
                    </a:lnTo>
                    <a:lnTo>
                      <a:pt x="237" y="710"/>
                    </a:lnTo>
                    <a:lnTo>
                      <a:pt x="232" y="705"/>
                    </a:lnTo>
                    <a:lnTo>
                      <a:pt x="224" y="698"/>
                    </a:lnTo>
                    <a:lnTo>
                      <a:pt x="218" y="691"/>
                    </a:lnTo>
                    <a:lnTo>
                      <a:pt x="215" y="685"/>
                    </a:lnTo>
                    <a:lnTo>
                      <a:pt x="214" y="679"/>
                    </a:lnTo>
                    <a:lnTo>
                      <a:pt x="209" y="672"/>
                    </a:lnTo>
                    <a:lnTo>
                      <a:pt x="189" y="658"/>
                    </a:lnTo>
                    <a:lnTo>
                      <a:pt x="182" y="655"/>
                    </a:lnTo>
                    <a:lnTo>
                      <a:pt x="180" y="648"/>
                    </a:lnTo>
                    <a:lnTo>
                      <a:pt x="176" y="641"/>
                    </a:lnTo>
                    <a:lnTo>
                      <a:pt x="174" y="634"/>
                    </a:lnTo>
                    <a:lnTo>
                      <a:pt x="170" y="628"/>
                    </a:lnTo>
                    <a:lnTo>
                      <a:pt x="163" y="623"/>
                    </a:lnTo>
                    <a:lnTo>
                      <a:pt x="156" y="616"/>
                    </a:lnTo>
                    <a:lnTo>
                      <a:pt x="142" y="607"/>
                    </a:lnTo>
                    <a:lnTo>
                      <a:pt x="130" y="598"/>
                    </a:lnTo>
                    <a:lnTo>
                      <a:pt x="126" y="590"/>
                    </a:lnTo>
                    <a:lnTo>
                      <a:pt x="128" y="583"/>
                    </a:lnTo>
                    <a:lnTo>
                      <a:pt x="126" y="580"/>
                    </a:lnTo>
                    <a:lnTo>
                      <a:pt x="120" y="575"/>
                    </a:lnTo>
                    <a:lnTo>
                      <a:pt x="115" y="571"/>
                    </a:lnTo>
                    <a:lnTo>
                      <a:pt x="98" y="571"/>
                    </a:lnTo>
                    <a:lnTo>
                      <a:pt x="90" y="566"/>
                    </a:lnTo>
                    <a:lnTo>
                      <a:pt x="87" y="557"/>
                    </a:lnTo>
                    <a:lnTo>
                      <a:pt x="78" y="555"/>
                    </a:lnTo>
                    <a:lnTo>
                      <a:pt x="70" y="554"/>
                    </a:lnTo>
                    <a:lnTo>
                      <a:pt x="63" y="547"/>
                    </a:lnTo>
                    <a:lnTo>
                      <a:pt x="60" y="537"/>
                    </a:lnTo>
                    <a:lnTo>
                      <a:pt x="63" y="525"/>
                    </a:lnTo>
                    <a:lnTo>
                      <a:pt x="67" y="514"/>
                    </a:lnTo>
                    <a:lnTo>
                      <a:pt x="63" y="503"/>
                    </a:lnTo>
                    <a:lnTo>
                      <a:pt x="51" y="487"/>
                    </a:lnTo>
                    <a:lnTo>
                      <a:pt x="40" y="475"/>
                    </a:lnTo>
                    <a:lnTo>
                      <a:pt x="32" y="465"/>
                    </a:lnTo>
                    <a:lnTo>
                      <a:pt x="39" y="461"/>
                    </a:lnTo>
                    <a:lnTo>
                      <a:pt x="37" y="456"/>
                    </a:lnTo>
                    <a:lnTo>
                      <a:pt x="36" y="450"/>
                    </a:lnTo>
                    <a:lnTo>
                      <a:pt x="34" y="446"/>
                    </a:lnTo>
                    <a:lnTo>
                      <a:pt x="29" y="444"/>
                    </a:lnTo>
                    <a:lnTo>
                      <a:pt x="29" y="443"/>
                    </a:lnTo>
                    <a:lnTo>
                      <a:pt x="20" y="419"/>
                    </a:lnTo>
                    <a:lnTo>
                      <a:pt x="17" y="408"/>
                    </a:lnTo>
                    <a:lnTo>
                      <a:pt x="19" y="398"/>
                    </a:lnTo>
                    <a:lnTo>
                      <a:pt x="7" y="399"/>
                    </a:lnTo>
                    <a:lnTo>
                      <a:pt x="3" y="401"/>
                    </a:lnTo>
                    <a:lnTo>
                      <a:pt x="0" y="401"/>
                    </a:lnTo>
                    <a:lnTo>
                      <a:pt x="0" y="389"/>
                    </a:lnTo>
                    <a:lnTo>
                      <a:pt x="1" y="386"/>
                    </a:lnTo>
                    <a:lnTo>
                      <a:pt x="5" y="379"/>
                    </a:lnTo>
                    <a:lnTo>
                      <a:pt x="8" y="372"/>
                    </a:lnTo>
                    <a:lnTo>
                      <a:pt x="8" y="363"/>
                    </a:lnTo>
                    <a:lnTo>
                      <a:pt x="8" y="355"/>
                    </a:lnTo>
                    <a:lnTo>
                      <a:pt x="10" y="353"/>
                    </a:lnTo>
                    <a:lnTo>
                      <a:pt x="15" y="349"/>
                    </a:lnTo>
                    <a:lnTo>
                      <a:pt x="17" y="348"/>
                    </a:lnTo>
                    <a:lnTo>
                      <a:pt x="19" y="346"/>
                    </a:lnTo>
                    <a:lnTo>
                      <a:pt x="17" y="339"/>
                    </a:lnTo>
                    <a:lnTo>
                      <a:pt x="17" y="331"/>
                    </a:lnTo>
                    <a:lnTo>
                      <a:pt x="29" y="319"/>
                    </a:lnTo>
                    <a:lnTo>
                      <a:pt x="36" y="307"/>
                    </a:lnTo>
                    <a:lnTo>
                      <a:pt x="40" y="300"/>
                    </a:lnTo>
                    <a:lnTo>
                      <a:pt x="40" y="292"/>
                    </a:lnTo>
                    <a:lnTo>
                      <a:pt x="42" y="286"/>
                    </a:lnTo>
                    <a:lnTo>
                      <a:pt x="43" y="284"/>
                    </a:lnTo>
                    <a:lnTo>
                      <a:pt x="51" y="284"/>
                    </a:lnTo>
                    <a:lnTo>
                      <a:pt x="56" y="283"/>
                    </a:lnTo>
                    <a:lnTo>
                      <a:pt x="78" y="283"/>
                    </a:lnTo>
                    <a:lnTo>
                      <a:pt x="82" y="282"/>
                    </a:lnTo>
                    <a:lnTo>
                      <a:pt x="83" y="248"/>
                    </a:lnTo>
                    <a:lnTo>
                      <a:pt x="83" y="212"/>
                    </a:lnTo>
                    <a:lnTo>
                      <a:pt x="83" y="175"/>
                    </a:lnTo>
                    <a:lnTo>
                      <a:pt x="83" y="138"/>
                    </a:lnTo>
                    <a:lnTo>
                      <a:pt x="83" y="116"/>
                    </a:lnTo>
                    <a:lnTo>
                      <a:pt x="121" y="116"/>
                    </a:lnTo>
                    <a:lnTo>
                      <a:pt x="121" y="77"/>
                    </a:lnTo>
                    <a:lnTo>
                      <a:pt x="121" y="43"/>
                    </a:lnTo>
                    <a:lnTo>
                      <a:pt x="158" y="43"/>
                    </a:lnTo>
                    <a:lnTo>
                      <a:pt x="194" y="43"/>
                    </a:lnTo>
                    <a:lnTo>
                      <a:pt x="231" y="43"/>
                    </a:lnTo>
                    <a:lnTo>
                      <a:pt x="268" y="43"/>
                    </a:lnTo>
                    <a:lnTo>
                      <a:pt x="304" y="43"/>
                    </a:lnTo>
                    <a:lnTo>
                      <a:pt x="341" y="43"/>
                    </a:lnTo>
                    <a:lnTo>
                      <a:pt x="361" y="43"/>
                    </a:lnTo>
                    <a:lnTo>
                      <a:pt x="366" y="34"/>
                    </a:lnTo>
                    <a:lnTo>
                      <a:pt x="368" y="34"/>
                    </a:lnTo>
                    <a:lnTo>
                      <a:pt x="369" y="36"/>
                    </a:lnTo>
                    <a:lnTo>
                      <a:pt x="372" y="34"/>
                    </a:lnTo>
                    <a:lnTo>
                      <a:pt x="368" y="43"/>
                    </a:lnTo>
                    <a:lnTo>
                      <a:pt x="436" y="43"/>
                    </a:lnTo>
                    <a:lnTo>
                      <a:pt x="450" y="52"/>
                    </a:lnTo>
                    <a:lnTo>
                      <a:pt x="469" y="51"/>
                    </a:lnTo>
                    <a:lnTo>
                      <a:pt x="474" y="34"/>
                    </a:lnTo>
                    <a:lnTo>
                      <a:pt x="495" y="29"/>
                    </a:lnTo>
                    <a:lnTo>
                      <a:pt x="503" y="1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10" name="Freeform 106"/>
              <p:cNvSpPr>
                <a:spLocks/>
              </p:cNvSpPr>
              <p:nvPr/>
            </p:nvSpPr>
            <p:spPr bwMode="auto">
              <a:xfrm>
                <a:off x="1657" y="1178"/>
                <a:ext cx="658" cy="553"/>
              </a:xfrm>
              <a:custGeom>
                <a:avLst/>
                <a:gdLst>
                  <a:gd name="T0" fmla="*/ 7273 w 615"/>
                  <a:gd name="T1" fmla="*/ 0 h 526"/>
                  <a:gd name="T2" fmla="*/ 10244 w 615"/>
                  <a:gd name="T3" fmla="*/ 369 h 526"/>
                  <a:gd name="T4" fmla="*/ 13800 w 615"/>
                  <a:gd name="T5" fmla="*/ 318 h 526"/>
                  <a:gd name="T6" fmla="*/ 16280 w 615"/>
                  <a:gd name="T7" fmla="*/ 451 h 526"/>
                  <a:gd name="T8" fmla="*/ 18797 w 615"/>
                  <a:gd name="T9" fmla="*/ 744 h 526"/>
                  <a:gd name="T10" fmla="*/ 20135 w 615"/>
                  <a:gd name="T11" fmla="*/ 1160 h 526"/>
                  <a:gd name="T12" fmla="*/ 21811 w 615"/>
                  <a:gd name="T13" fmla="*/ 1909 h 526"/>
                  <a:gd name="T14" fmla="*/ 25354 w 615"/>
                  <a:gd name="T15" fmla="*/ 2024 h 526"/>
                  <a:gd name="T16" fmla="*/ 28950 w 615"/>
                  <a:gd name="T17" fmla="*/ 2452 h 526"/>
                  <a:gd name="T18" fmla="*/ 30204 w 615"/>
                  <a:gd name="T19" fmla="*/ 2655 h 526"/>
                  <a:gd name="T20" fmla="*/ 33140 w 615"/>
                  <a:gd name="T21" fmla="*/ 3006 h 526"/>
                  <a:gd name="T22" fmla="*/ 35547 w 615"/>
                  <a:gd name="T23" fmla="*/ 2600 h 526"/>
                  <a:gd name="T24" fmla="*/ 36104 w 615"/>
                  <a:gd name="T25" fmla="*/ 2117 h 526"/>
                  <a:gd name="T26" fmla="*/ 35572 w 615"/>
                  <a:gd name="T27" fmla="*/ 1576 h 526"/>
                  <a:gd name="T28" fmla="*/ 36545 w 615"/>
                  <a:gd name="T29" fmla="*/ 903 h 526"/>
                  <a:gd name="T30" fmla="*/ 39100 w 615"/>
                  <a:gd name="T31" fmla="*/ 388 h 526"/>
                  <a:gd name="T32" fmla="*/ 42734 w 615"/>
                  <a:gd name="T33" fmla="*/ 302 h 526"/>
                  <a:gd name="T34" fmla="*/ 45409 w 615"/>
                  <a:gd name="T35" fmla="*/ 451 h 526"/>
                  <a:gd name="T36" fmla="*/ 46101 w 615"/>
                  <a:gd name="T37" fmla="*/ 744 h 526"/>
                  <a:gd name="T38" fmla="*/ 46613 w 615"/>
                  <a:gd name="T39" fmla="*/ 998 h 526"/>
                  <a:gd name="T40" fmla="*/ 48249 w 615"/>
                  <a:gd name="T41" fmla="*/ 1004 h 526"/>
                  <a:gd name="T42" fmla="*/ 49711 w 615"/>
                  <a:gd name="T43" fmla="*/ 1220 h 526"/>
                  <a:gd name="T44" fmla="*/ 52844 w 615"/>
                  <a:gd name="T45" fmla="*/ 1356 h 526"/>
                  <a:gd name="T46" fmla="*/ 52797 w 615"/>
                  <a:gd name="T47" fmla="*/ 1576 h 526"/>
                  <a:gd name="T48" fmla="*/ 51981 w 615"/>
                  <a:gd name="T49" fmla="*/ 1966 h 526"/>
                  <a:gd name="T50" fmla="*/ 52339 w 615"/>
                  <a:gd name="T51" fmla="*/ 2849 h 526"/>
                  <a:gd name="T52" fmla="*/ 51801 w 615"/>
                  <a:gd name="T53" fmla="*/ 3072 h 526"/>
                  <a:gd name="T54" fmla="*/ 51770 w 615"/>
                  <a:gd name="T55" fmla="*/ 3515 h 526"/>
                  <a:gd name="T56" fmla="*/ 51981 w 615"/>
                  <a:gd name="T57" fmla="*/ 4021 h 526"/>
                  <a:gd name="T58" fmla="*/ 53187 w 615"/>
                  <a:gd name="T59" fmla="*/ 6039 h 526"/>
                  <a:gd name="T60" fmla="*/ 53187 w 615"/>
                  <a:gd name="T61" fmla="*/ 9038 h 526"/>
                  <a:gd name="T62" fmla="*/ 53187 w 615"/>
                  <a:gd name="T63" fmla="*/ 11677 h 526"/>
                  <a:gd name="T64" fmla="*/ 49872 w 615"/>
                  <a:gd name="T65" fmla="*/ 13747 h 526"/>
                  <a:gd name="T66" fmla="*/ 46462 w 615"/>
                  <a:gd name="T67" fmla="*/ 13846 h 526"/>
                  <a:gd name="T68" fmla="*/ 37830 w 615"/>
                  <a:gd name="T69" fmla="*/ 12475 h 526"/>
                  <a:gd name="T70" fmla="*/ 29354 w 615"/>
                  <a:gd name="T71" fmla="*/ 11244 h 526"/>
                  <a:gd name="T72" fmla="*/ 23008 w 615"/>
                  <a:gd name="T73" fmla="*/ 10212 h 526"/>
                  <a:gd name="T74" fmla="*/ 18385 w 615"/>
                  <a:gd name="T75" fmla="*/ 10695 h 526"/>
                  <a:gd name="T76" fmla="*/ 17044 w 615"/>
                  <a:gd name="T77" fmla="*/ 10269 h 526"/>
                  <a:gd name="T78" fmla="*/ 15993 w 615"/>
                  <a:gd name="T79" fmla="*/ 10068 h 526"/>
                  <a:gd name="T80" fmla="*/ 9031 w 615"/>
                  <a:gd name="T81" fmla="*/ 10049 h 526"/>
                  <a:gd name="T82" fmla="*/ 8441 w 615"/>
                  <a:gd name="T83" fmla="*/ 9997 h 526"/>
                  <a:gd name="T84" fmla="*/ 5118 w 615"/>
                  <a:gd name="T85" fmla="*/ 9038 h 526"/>
                  <a:gd name="T86" fmla="*/ 2589 w 615"/>
                  <a:gd name="T87" fmla="*/ 8663 h 526"/>
                  <a:gd name="T88" fmla="*/ 1726 w 615"/>
                  <a:gd name="T89" fmla="*/ 7838 h 526"/>
                  <a:gd name="T90" fmla="*/ 4 w 615"/>
                  <a:gd name="T91" fmla="*/ 7084 h 526"/>
                  <a:gd name="T92" fmla="*/ 1613 w 615"/>
                  <a:gd name="T93" fmla="*/ 6039 h 526"/>
                  <a:gd name="T94" fmla="*/ 1613 w 615"/>
                  <a:gd name="T95" fmla="*/ 5246 h 526"/>
                  <a:gd name="T96" fmla="*/ 1231 w 615"/>
                  <a:gd name="T97" fmla="*/ 4021 h 526"/>
                  <a:gd name="T98" fmla="*/ 0 w 615"/>
                  <a:gd name="T99" fmla="*/ 3149 h 526"/>
                  <a:gd name="T100" fmla="*/ 1409 w 615"/>
                  <a:gd name="T101" fmla="*/ 2934 h 526"/>
                  <a:gd name="T102" fmla="*/ 3171 w 615"/>
                  <a:gd name="T103" fmla="*/ 2525 h 526"/>
                  <a:gd name="T104" fmla="*/ 2786 w 615"/>
                  <a:gd name="T105" fmla="*/ 1727 h 526"/>
                  <a:gd name="T106" fmla="*/ 4471 w 615"/>
                  <a:gd name="T107" fmla="*/ 1418 h 526"/>
                  <a:gd name="T108" fmla="*/ 6891 w 615"/>
                  <a:gd name="T109" fmla="*/ 822 h 5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15"/>
                  <a:gd name="T166" fmla="*/ 0 h 526"/>
                  <a:gd name="T167" fmla="*/ 615 w 615"/>
                  <a:gd name="T168" fmla="*/ 526 h 52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15" h="526">
                    <a:moveTo>
                      <a:pt x="84" y="24"/>
                    </a:moveTo>
                    <a:lnTo>
                      <a:pt x="83" y="2"/>
                    </a:lnTo>
                    <a:lnTo>
                      <a:pt x="84" y="0"/>
                    </a:lnTo>
                    <a:lnTo>
                      <a:pt x="90" y="2"/>
                    </a:lnTo>
                    <a:lnTo>
                      <a:pt x="100" y="7"/>
                    </a:lnTo>
                    <a:lnTo>
                      <a:pt x="119" y="14"/>
                    </a:lnTo>
                    <a:lnTo>
                      <a:pt x="134" y="14"/>
                    </a:lnTo>
                    <a:lnTo>
                      <a:pt x="148" y="10"/>
                    </a:lnTo>
                    <a:lnTo>
                      <a:pt x="158" y="11"/>
                    </a:lnTo>
                    <a:lnTo>
                      <a:pt x="166" y="15"/>
                    </a:lnTo>
                    <a:lnTo>
                      <a:pt x="177" y="15"/>
                    </a:lnTo>
                    <a:lnTo>
                      <a:pt x="188" y="18"/>
                    </a:lnTo>
                    <a:lnTo>
                      <a:pt x="194" y="21"/>
                    </a:lnTo>
                    <a:lnTo>
                      <a:pt x="208" y="27"/>
                    </a:lnTo>
                    <a:lnTo>
                      <a:pt x="218" y="28"/>
                    </a:lnTo>
                    <a:lnTo>
                      <a:pt x="227" y="31"/>
                    </a:lnTo>
                    <a:lnTo>
                      <a:pt x="232" y="35"/>
                    </a:lnTo>
                    <a:lnTo>
                      <a:pt x="234" y="43"/>
                    </a:lnTo>
                    <a:lnTo>
                      <a:pt x="235" y="50"/>
                    </a:lnTo>
                    <a:lnTo>
                      <a:pt x="242" y="59"/>
                    </a:lnTo>
                    <a:lnTo>
                      <a:pt x="252" y="69"/>
                    </a:lnTo>
                    <a:lnTo>
                      <a:pt x="261" y="73"/>
                    </a:lnTo>
                    <a:lnTo>
                      <a:pt x="267" y="74"/>
                    </a:lnTo>
                    <a:lnTo>
                      <a:pt x="293" y="75"/>
                    </a:lnTo>
                    <a:lnTo>
                      <a:pt x="304" y="78"/>
                    </a:lnTo>
                    <a:lnTo>
                      <a:pt x="324" y="84"/>
                    </a:lnTo>
                    <a:lnTo>
                      <a:pt x="334" y="89"/>
                    </a:lnTo>
                    <a:lnTo>
                      <a:pt x="339" y="91"/>
                    </a:lnTo>
                    <a:lnTo>
                      <a:pt x="347" y="94"/>
                    </a:lnTo>
                    <a:lnTo>
                      <a:pt x="350" y="98"/>
                    </a:lnTo>
                    <a:lnTo>
                      <a:pt x="363" y="107"/>
                    </a:lnTo>
                    <a:lnTo>
                      <a:pt x="373" y="110"/>
                    </a:lnTo>
                    <a:lnTo>
                      <a:pt x="382" y="110"/>
                    </a:lnTo>
                    <a:lnTo>
                      <a:pt x="395" y="106"/>
                    </a:lnTo>
                    <a:lnTo>
                      <a:pt x="403" y="103"/>
                    </a:lnTo>
                    <a:lnTo>
                      <a:pt x="410" y="96"/>
                    </a:lnTo>
                    <a:lnTo>
                      <a:pt x="414" y="89"/>
                    </a:lnTo>
                    <a:lnTo>
                      <a:pt x="418" y="83"/>
                    </a:lnTo>
                    <a:lnTo>
                      <a:pt x="418" y="78"/>
                    </a:lnTo>
                    <a:lnTo>
                      <a:pt x="415" y="71"/>
                    </a:lnTo>
                    <a:lnTo>
                      <a:pt x="415" y="65"/>
                    </a:lnTo>
                    <a:lnTo>
                      <a:pt x="411" y="59"/>
                    </a:lnTo>
                    <a:lnTo>
                      <a:pt x="411" y="50"/>
                    </a:lnTo>
                    <a:lnTo>
                      <a:pt x="413" y="42"/>
                    </a:lnTo>
                    <a:lnTo>
                      <a:pt x="422" y="33"/>
                    </a:lnTo>
                    <a:lnTo>
                      <a:pt x="428" y="28"/>
                    </a:lnTo>
                    <a:lnTo>
                      <a:pt x="441" y="19"/>
                    </a:lnTo>
                    <a:lnTo>
                      <a:pt x="452" y="15"/>
                    </a:lnTo>
                    <a:lnTo>
                      <a:pt x="464" y="14"/>
                    </a:lnTo>
                    <a:lnTo>
                      <a:pt x="473" y="10"/>
                    </a:lnTo>
                    <a:lnTo>
                      <a:pt x="494" y="10"/>
                    </a:lnTo>
                    <a:lnTo>
                      <a:pt x="515" y="16"/>
                    </a:lnTo>
                    <a:lnTo>
                      <a:pt x="520" y="18"/>
                    </a:lnTo>
                    <a:lnTo>
                      <a:pt x="525" y="18"/>
                    </a:lnTo>
                    <a:lnTo>
                      <a:pt x="532" y="21"/>
                    </a:lnTo>
                    <a:lnTo>
                      <a:pt x="532" y="27"/>
                    </a:lnTo>
                    <a:lnTo>
                      <a:pt x="531" y="28"/>
                    </a:lnTo>
                    <a:lnTo>
                      <a:pt x="530" y="28"/>
                    </a:lnTo>
                    <a:lnTo>
                      <a:pt x="531" y="31"/>
                    </a:lnTo>
                    <a:lnTo>
                      <a:pt x="539" y="37"/>
                    </a:lnTo>
                    <a:lnTo>
                      <a:pt x="542" y="38"/>
                    </a:lnTo>
                    <a:lnTo>
                      <a:pt x="545" y="37"/>
                    </a:lnTo>
                    <a:lnTo>
                      <a:pt x="556" y="38"/>
                    </a:lnTo>
                    <a:lnTo>
                      <a:pt x="562" y="40"/>
                    </a:lnTo>
                    <a:lnTo>
                      <a:pt x="565" y="41"/>
                    </a:lnTo>
                    <a:lnTo>
                      <a:pt x="575" y="45"/>
                    </a:lnTo>
                    <a:lnTo>
                      <a:pt x="587" y="47"/>
                    </a:lnTo>
                    <a:lnTo>
                      <a:pt x="604" y="47"/>
                    </a:lnTo>
                    <a:lnTo>
                      <a:pt x="610" y="50"/>
                    </a:lnTo>
                    <a:lnTo>
                      <a:pt x="613" y="58"/>
                    </a:lnTo>
                    <a:lnTo>
                      <a:pt x="615" y="58"/>
                    </a:lnTo>
                    <a:lnTo>
                      <a:pt x="609" y="59"/>
                    </a:lnTo>
                    <a:lnTo>
                      <a:pt x="607" y="65"/>
                    </a:lnTo>
                    <a:lnTo>
                      <a:pt x="601" y="71"/>
                    </a:lnTo>
                    <a:lnTo>
                      <a:pt x="601" y="72"/>
                    </a:lnTo>
                    <a:lnTo>
                      <a:pt x="604" y="76"/>
                    </a:lnTo>
                    <a:lnTo>
                      <a:pt x="604" y="94"/>
                    </a:lnTo>
                    <a:lnTo>
                      <a:pt x="606" y="104"/>
                    </a:lnTo>
                    <a:lnTo>
                      <a:pt x="606" y="109"/>
                    </a:lnTo>
                    <a:lnTo>
                      <a:pt x="604" y="110"/>
                    </a:lnTo>
                    <a:lnTo>
                      <a:pt x="599" y="113"/>
                    </a:lnTo>
                    <a:lnTo>
                      <a:pt x="595" y="116"/>
                    </a:lnTo>
                    <a:lnTo>
                      <a:pt x="595" y="119"/>
                    </a:lnTo>
                    <a:lnTo>
                      <a:pt x="597" y="130"/>
                    </a:lnTo>
                    <a:lnTo>
                      <a:pt x="603" y="137"/>
                    </a:lnTo>
                    <a:lnTo>
                      <a:pt x="604" y="139"/>
                    </a:lnTo>
                    <a:lnTo>
                      <a:pt x="601" y="147"/>
                    </a:lnTo>
                    <a:lnTo>
                      <a:pt x="615" y="158"/>
                    </a:lnTo>
                    <a:lnTo>
                      <a:pt x="615" y="185"/>
                    </a:lnTo>
                    <a:lnTo>
                      <a:pt x="615" y="221"/>
                    </a:lnTo>
                    <a:lnTo>
                      <a:pt x="615" y="257"/>
                    </a:lnTo>
                    <a:lnTo>
                      <a:pt x="615" y="295"/>
                    </a:lnTo>
                    <a:lnTo>
                      <a:pt x="615" y="331"/>
                    </a:lnTo>
                    <a:lnTo>
                      <a:pt x="615" y="369"/>
                    </a:lnTo>
                    <a:lnTo>
                      <a:pt x="615" y="405"/>
                    </a:lnTo>
                    <a:lnTo>
                      <a:pt x="615" y="430"/>
                    </a:lnTo>
                    <a:lnTo>
                      <a:pt x="615" y="464"/>
                    </a:lnTo>
                    <a:lnTo>
                      <a:pt x="615" y="504"/>
                    </a:lnTo>
                    <a:lnTo>
                      <a:pt x="577" y="504"/>
                    </a:lnTo>
                    <a:lnTo>
                      <a:pt x="577" y="526"/>
                    </a:lnTo>
                    <a:lnTo>
                      <a:pt x="570" y="525"/>
                    </a:lnTo>
                    <a:lnTo>
                      <a:pt x="537" y="509"/>
                    </a:lnTo>
                    <a:lnTo>
                      <a:pt x="504" y="493"/>
                    </a:lnTo>
                    <a:lnTo>
                      <a:pt x="470" y="476"/>
                    </a:lnTo>
                    <a:lnTo>
                      <a:pt x="437" y="459"/>
                    </a:lnTo>
                    <a:lnTo>
                      <a:pt x="405" y="444"/>
                    </a:lnTo>
                    <a:lnTo>
                      <a:pt x="372" y="428"/>
                    </a:lnTo>
                    <a:lnTo>
                      <a:pt x="339" y="412"/>
                    </a:lnTo>
                    <a:lnTo>
                      <a:pt x="305" y="395"/>
                    </a:lnTo>
                    <a:lnTo>
                      <a:pt x="271" y="379"/>
                    </a:lnTo>
                    <a:lnTo>
                      <a:pt x="265" y="377"/>
                    </a:lnTo>
                    <a:lnTo>
                      <a:pt x="230" y="387"/>
                    </a:lnTo>
                    <a:lnTo>
                      <a:pt x="226" y="389"/>
                    </a:lnTo>
                    <a:lnTo>
                      <a:pt x="213" y="392"/>
                    </a:lnTo>
                    <a:lnTo>
                      <a:pt x="210" y="385"/>
                    </a:lnTo>
                    <a:lnTo>
                      <a:pt x="207" y="384"/>
                    </a:lnTo>
                    <a:lnTo>
                      <a:pt x="196" y="379"/>
                    </a:lnTo>
                    <a:lnTo>
                      <a:pt x="194" y="375"/>
                    </a:lnTo>
                    <a:lnTo>
                      <a:pt x="191" y="374"/>
                    </a:lnTo>
                    <a:lnTo>
                      <a:pt x="185" y="372"/>
                    </a:lnTo>
                    <a:lnTo>
                      <a:pt x="156" y="370"/>
                    </a:lnTo>
                    <a:lnTo>
                      <a:pt x="126" y="370"/>
                    </a:lnTo>
                    <a:lnTo>
                      <a:pt x="105" y="370"/>
                    </a:lnTo>
                    <a:lnTo>
                      <a:pt x="101" y="370"/>
                    </a:lnTo>
                    <a:lnTo>
                      <a:pt x="98" y="372"/>
                    </a:lnTo>
                    <a:lnTo>
                      <a:pt x="98" y="367"/>
                    </a:lnTo>
                    <a:lnTo>
                      <a:pt x="94" y="358"/>
                    </a:lnTo>
                    <a:lnTo>
                      <a:pt x="81" y="339"/>
                    </a:lnTo>
                    <a:lnTo>
                      <a:pt x="60" y="331"/>
                    </a:lnTo>
                    <a:lnTo>
                      <a:pt x="52" y="331"/>
                    </a:lnTo>
                    <a:lnTo>
                      <a:pt x="40" y="331"/>
                    </a:lnTo>
                    <a:lnTo>
                      <a:pt x="30" y="321"/>
                    </a:lnTo>
                    <a:lnTo>
                      <a:pt x="29" y="313"/>
                    </a:lnTo>
                    <a:lnTo>
                      <a:pt x="27" y="300"/>
                    </a:lnTo>
                    <a:lnTo>
                      <a:pt x="20" y="290"/>
                    </a:lnTo>
                    <a:lnTo>
                      <a:pt x="7" y="276"/>
                    </a:lnTo>
                    <a:lnTo>
                      <a:pt x="3" y="268"/>
                    </a:lnTo>
                    <a:lnTo>
                      <a:pt x="4" y="262"/>
                    </a:lnTo>
                    <a:lnTo>
                      <a:pt x="12" y="260"/>
                    </a:lnTo>
                    <a:lnTo>
                      <a:pt x="19" y="257"/>
                    </a:lnTo>
                    <a:lnTo>
                      <a:pt x="19" y="221"/>
                    </a:lnTo>
                    <a:lnTo>
                      <a:pt x="22" y="208"/>
                    </a:lnTo>
                    <a:lnTo>
                      <a:pt x="22" y="199"/>
                    </a:lnTo>
                    <a:lnTo>
                      <a:pt x="19" y="194"/>
                    </a:lnTo>
                    <a:lnTo>
                      <a:pt x="20" y="176"/>
                    </a:lnTo>
                    <a:lnTo>
                      <a:pt x="19" y="161"/>
                    </a:lnTo>
                    <a:lnTo>
                      <a:pt x="15" y="147"/>
                    </a:lnTo>
                    <a:lnTo>
                      <a:pt x="7" y="134"/>
                    </a:lnTo>
                    <a:lnTo>
                      <a:pt x="0" y="125"/>
                    </a:lnTo>
                    <a:lnTo>
                      <a:pt x="0" y="115"/>
                    </a:lnTo>
                    <a:lnTo>
                      <a:pt x="7" y="110"/>
                    </a:lnTo>
                    <a:lnTo>
                      <a:pt x="8" y="109"/>
                    </a:lnTo>
                    <a:lnTo>
                      <a:pt x="17" y="108"/>
                    </a:lnTo>
                    <a:lnTo>
                      <a:pt x="25" y="104"/>
                    </a:lnTo>
                    <a:lnTo>
                      <a:pt x="32" y="98"/>
                    </a:lnTo>
                    <a:lnTo>
                      <a:pt x="36" y="93"/>
                    </a:lnTo>
                    <a:lnTo>
                      <a:pt x="36" y="86"/>
                    </a:lnTo>
                    <a:lnTo>
                      <a:pt x="33" y="69"/>
                    </a:lnTo>
                    <a:lnTo>
                      <a:pt x="33" y="63"/>
                    </a:lnTo>
                    <a:lnTo>
                      <a:pt x="36" y="59"/>
                    </a:lnTo>
                    <a:lnTo>
                      <a:pt x="46" y="56"/>
                    </a:lnTo>
                    <a:lnTo>
                      <a:pt x="52" y="52"/>
                    </a:lnTo>
                    <a:lnTo>
                      <a:pt x="55" y="45"/>
                    </a:lnTo>
                    <a:lnTo>
                      <a:pt x="75" y="33"/>
                    </a:lnTo>
                    <a:lnTo>
                      <a:pt x="80" y="30"/>
                    </a:lnTo>
                    <a:lnTo>
                      <a:pt x="84"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1" name="Freeform 107"/>
              <p:cNvSpPr>
                <a:spLocks/>
              </p:cNvSpPr>
              <p:nvPr/>
            </p:nvSpPr>
            <p:spPr bwMode="auto">
              <a:xfrm>
                <a:off x="1657" y="1178"/>
                <a:ext cx="658" cy="553"/>
              </a:xfrm>
              <a:custGeom>
                <a:avLst/>
                <a:gdLst>
                  <a:gd name="T0" fmla="*/ 7273 w 615"/>
                  <a:gd name="T1" fmla="*/ 0 h 526"/>
                  <a:gd name="T2" fmla="*/ 10244 w 615"/>
                  <a:gd name="T3" fmla="*/ 369 h 526"/>
                  <a:gd name="T4" fmla="*/ 13800 w 615"/>
                  <a:gd name="T5" fmla="*/ 318 h 526"/>
                  <a:gd name="T6" fmla="*/ 16280 w 615"/>
                  <a:gd name="T7" fmla="*/ 451 h 526"/>
                  <a:gd name="T8" fmla="*/ 18797 w 615"/>
                  <a:gd name="T9" fmla="*/ 744 h 526"/>
                  <a:gd name="T10" fmla="*/ 20135 w 615"/>
                  <a:gd name="T11" fmla="*/ 1160 h 526"/>
                  <a:gd name="T12" fmla="*/ 21811 w 615"/>
                  <a:gd name="T13" fmla="*/ 1909 h 526"/>
                  <a:gd name="T14" fmla="*/ 25354 w 615"/>
                  <a:gd name="T15" fmla="*/ 2024 h 526"/>
                  <a:gd name="T16" fmla="*/ 28950 w 615"/>
                  <a:gd name="T17" fmla="*/ 2452 h 526"/>
                  <a:gd name="T18" fmla="*/ 30204 w 615"/>
                  <a:gd name="T19" fmla="*/ 2655 h 526"/>
                  <a:gd name="T20" fmla="*/ 33140 w 615"/>
                  <a:gd name="T21" fmla="*/ 3006 h 526"/>
                  <a:gd name="T22" fmla="*/ 35547 w 615"/>
                  <a:gd name="T23" fmla="*/ 2600 h 526"/>
                  <a:gd name="T24" fmla="*/ 36104 w 615"/>
                  <a:gd name="T25" fmla="*/ 2117 h 526"/>
                  <a:gd name="T26" fmla="*/ 35572 w 615"/>
                  <a:gd name="T27" fmla="*/ 1576 h 526"/>
                  <a:gd name="T28" fmla="*/ 36545 w 615"/>
                  <a:gd name="T29" fmla="*/ 903 h 526"/>
                  <a:gd name="T30" fmla="*/ 39100 w 615"/>
                  <a:gd name="T31" fmla="*/ 388 h 526"/>
                  <a:gd name="T32" fmla="*/ 42734 w 615"/>
                  <a:gd name="T33" fmla="*/ 302 h 526"/>
                  <a:gd name="T34" fmla="*/ 45409 w 615"/>
                  <a:gd name="T35" fmla="*/ 451 h 526"/>
                  <a:gd name="T36" fmla="*/ 46101 w 615"/>
                  <a:gd name="T37" fmla="*/ 744 h 526"/>
                  <a:gd name="T38" fmla="*/ 46613 w 615"/>
                  <a:gd name="T39" fmla="*/ 998 h 526"/>
                  <a:gd name="T40" fmla="*/ 48249 w 615"/>
                  <a:gd name="T41" fmla="*/ 1004 h 526"/>
                  <a:gd name="T42" fmla="*/ 49711 w 615"/>
                  <a:gd name="T43" fmla="*/ 1220 h 526"/>
                  <a:gd name="T44" fmla="*/ 52844 w 615"/>
                  <a:gd name="T45" fmla="*/ 1356 h 526"/>
                  <a:gd name="T46" fmla="*/ 52797 w 615"/>
                  <a:gd name="T47" fmla="*/ 1576 h 526"/>
                  <a:gd name="T48" fmla="*/ 51981 w 615"/>
                  <a:gd name="T49" fmla="*/ 1966 h 526"/>
                  <a:gd name="T50" fmla="*/ 52339 w 615"/>
                  <a:gd name="T51" fmla="*/ 2849 h 526"/>
                  <a:gd name="T52" fmla="*/ 51801 w 615"/>
                  <a:gd name="T53" fmla="*/ 3072 h 526"/>
                  <a:gd name="T54" fmla="*/ 51770 w 615"/>
                  <a:gd name="T55" fmla="*/ 3515 h 526"/>
                  <a:gd name="T56" fmla="*/ 51981 w 615"/>
                  <a:gd name="T57" fmla="*/ 4021 h 526"/>
                  <a:gd name="T58" fmla="*/ 53187 w 615"/>
                  <a:gd name="T59" fmla="*/ 6039 h 526"/>
                  <a:gd name="T60" fmla="*/ 53187 w 615"/>
                  <a:gd name="T61" fmla="*/ 9038 h 526"/>
                  <a:gd name="T62" fmla="*/ 53187 w 615"/>
                  <a:gd name="T63" fmla="*/ 11677 h 526"/>
                  <a:gd name="T64" fmla="*/ 49872 w 615"/>
                  <a:gd name="T65" fmla="*/ 13747 h 526"/>
                  <a:gd name="T66" fmla="*/ 46462 w 615"/>
                  <a:gd name="T67" fmla="*/ 13846 h 526"/>
                  <a:gd name="T68" fmla="*/ 37830 w 615"/>
                  <a:gd name="T69" fmla="*/ 12475 h 526"/>
                  <a:gd name="T70" fmla="*/ 29354 w 615"/>
                  <a:gd name="T71" fmla="*/ 11244 h 526"/>
                  <a:gd name="T72" fmla="*/ 23008 w 615"/>
                  <a:gd name="T73" fmla="*/ 10212 h 526"/>
                  <a:gd name="T74" fmla="*/ 18385 w 615"/>
                  <a:gd name="T75" fmla="*/ 10695 h 526"/>
                  <a:gd name="T76" fmla="*/ 17044 w 615"/>
                  <a:gd name="T77" fmla="*/ 10269 h 526"/>
                  <a:gd name="T78" fmla="*/ 15993 w 615"/>
                  <a:gd name="T79" fmla="*/ 10068 h 526"/>
                  <a:gd name="T80" fmla="*/ 9031 w 615"/>
                  <a:gd name="T81" fmla="*/ 10049 h 526"/>
                  <a:gd name="T82" fmla="*/ 8441 w 615"/>
                  <a:gd name="T83" fmla="*/ 9997 h 526"/>
                  <a:gd name="T84" fmla="*/ 5118 w 615"/>
                  <a:gd name="T85" fmla="*/ 9038 h 526"/>
                  <a:gd name="T86" fmla="*/ 2589 w 615"/>
                  <a:gd name="T87" fmla="*/ 8663 h 526"/>
                  <a:gd name="T88" fmla="*/ 1726 w 615"/>
                  <a:gd name="T89" fmla="*/ 7838 h 526"/>
                  <a:gd name="T90" fmla="*/ 4 w 615"/>
                  <a:gd name="T91" fmla="*/ 7084 h 526"/>
                  <a:gd name="T92" fmla="*/ 1613 w 615"/>
                  <a:gd name="T93" fmla="*/ 6039 h 526"/>
                  <a:gd name="T94" fmla="*/ 1613 w 615"/>
                  <a:gd name="T95" fmla="*/ 5246 h 526"/>
                  <a:gd name="T96" fmla="*/ 1231 w 615"/>
                  <a:gd name="T97" fmla="*/ 4021 h 526"/>
                  <a:gd name="T98" fmla="*/ 0 w 615"/>
                  <a:gd name="T99" fmla="*/ 3149 h 526"/>
                  <a:gd name="T100" fmla="*/ 1409 w 615"/>
                  <a:gd name="T101" fmla="*/ 2934 h 526"/>
                  <a:gd name="T102" fmla="*/ 3171 w 615"/>
                  <a:gd name="T103" fmla="*/ 2525 h 526"/>
                  <a:gd name="T104" fmla="*/ 2786 w 615"/>
                  <a:gd name="T105" fmla="*/ 1727 h 526"/>
                  <a:gd name="T106" fmla="*/ 4471 w 615"/>
                  <a:gd name="T107" fmla="*/ 1418 h 526"/>
                  <a:gd name="T108" fmla="*/ 6891 w 615"/>
                  <a:gd name="T109" fmla="*/ 822 h 5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15"/>
                  <a:gd name="T166" fmla="*/ 0 h 526"/>
                  <a:gd name="T167" fmla="*/ 615 w 615"/>
                  <a:gd name="T168" fmla="*/ 526 h 52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15" h="526">
                    <a:moveTo>
                      <a:pt x="84" y="24"/>
                    </a:moveTo>
                    <a:lnTo>
                      <a:pt x="83" y="2"/>
                    </a:lnTo>
                    <a:lnTo>
                      <a:pt x="84" y="0"/>
                    </a:lnTo>
                    <a:lnTo>
                      <a:pt x="90" y="2"/>
                    </a:lnTo>
                    <a:lnTo>
                      <a:pt x="100" y="7"/>
                    </a:lnTo>
                    <a:lnTo>
                      <a:pt x="119" y="14"/>
                    </a:lnTo>
                    <a:lnTo>
                      <a:pt x="134" y="14"/>
                    </a:lnTo>
                    <a:lnTo>
                      <a:pt x="148" y="10"/>
                    </a:lnTo>
                    <a:lnTo>
                      <a:pt x="158" y="11"/>
                    </a:lnTo>
                    <a:lnTo>
                      <a:pt x="166" y="15"/>
                    </a:lnTo>
                    <a:lnTo>
                      <a:pt x="177" y="15"/>
                    </a:lnTo>
                    <a:lnTo>
                      <a:pt x="188" y="18"/>
                    </a:lnTo>
                    <a:lnTo>
                      <a:pt x="194" y="21"/>
                    </a:lnTo>
                    <a:lnTo>
                      <a:pt x="208" y="27"/>
                    </a:lnTo>
                    <a:lnTo>
                      <a:pt x="218" y="28"/>
                    </a:lnTo>
                    <a:lnTo>
                      <a:pt x="227" y="31"/>
                    </a:lnTo>
                    <a:lnTo>
                      <a:pt x="232" y="35"/>
                    </a:lnTo>
                    <a:lnTo>
                      <a:pt x="234" y="43"/>
                    </a:lnTo>
                    <a:lnTo>
                      <a:pt x="235" y="50"/>
                    </a:lnTo>
                    <a:lnTo>
                      <a:pt x="242" y="59"/>
                    </a:lnTo>
                    <a:lnTo>
                      <a:pt x="252" y="69"/>
                    </a:lnTo>
                    <a:lnTo>
                      <a:pt x="261" y="73"/>
                    </a:lnTo>
                    <a:lnTo>
                      <a:pt x="267" y="74"/>
                    </a:lnTo>
                    <a:lnTo>
                      <a:pt x="293" y="75"/>
                    </a:lnTo>
                    <a:lnTo>
                      <a:pt x="304" y="78"/>
                    </a:lnTo>
                    <a:lnTo>
                      <a:pt x="324" y="84"/>
                    </a:lnTo>
                    <a:lnTo>
                      <a:pt x="334" y="89"/>
                    </a:lnTo>
                    <a:lnTo>
                      <a:pt x="339" y="91"/>
                    </a:lnTo>
                    <a:lnTo>
                      <a:pt x="347" y="94"/>
                    </a:lnTo>
                    <a:lnTo>
                      <a:pt x="350" y="98"/>
                    </a:lnTo>
                    <a:lnTo>
                      <a:pt x="363" y="107"/>
                    </a:lnTo>
                    <a:lnTo>
                      <a:pt x="373" y="110"/>
                    </a:lnTo>
                    <a:lnTo>
                      <a:pt x="382" y="110"/>
                    </a:lnTo>
                    <a:lnTo>
                      <a:pt x="395" y="106"/>
                    </a:lnTo>
                    <a:lnTo>
                      <a:pt x="403" y="103"/>
                    </a:lnTo>
                    <a:lnTo>
                      <a:pt x="410" y="96"/>
                    </a:lnTo>
                    <a:lnTo>
                      <a:pt x="414" y="89"/>
                    </a:lnTo>
                    <a:lnTo>
                      <a:pt x="418" y="83"/>
                    </a:lnTo>
                    <a:lnTo>
                      <a:pt x="418" y="78"/>
                    </a:lnTo>
                    <a:lnTo>
                      <a:pt x="415" y="71"/>
                    </a:lnTo>
                    <a:lnTo>
                      <a:pt x="415" y="65"/>
                    </a:lnTo>
                    <a:lnTo>
                      <a:pt x="411" y="59"/>
                    </a:lnTo>
                    <a:lnTo>
                      <a:pt x="411" y="50"/>
                    </a:lnTo>
                    <a:lnTo>
                      <a:pt x="413" y="42"/>
                    </a:lnTo>
                    <a:lnTo>
                      <a:pt x="422" y="33"/>
                    </a:lnTo>
                    <a:lnTo>
                      <a:pt x="428" y="28"/>
                    </a:lnTo>
                    <a:lnTo>
                      <a:pt x="441" y="19"/>
                    </a:lnTo>
                    <a:lnTo>
                      <a:pt x="452" y="15"/>
                    </a:lnTo>
                    <a:lnTo>
                      <a:pt x="464" y="14"/>
                    </a:lnTo>
                    <a:lnTo>
                      <a:pt x="473" y="10"/>
                    </a:lnTo>
                    <a:lnTo>
                      <a:pt x="494" y="10"/>
                    </a:lnTo>
                    <a:lnTo>
                      <a:pt x="515" y="16"/>
                    </a:lnTo>
                    <a:lnTo>
                      <a:pt x="520" y="18"/>
                    </a:lnTo>
                    <a:lnTo>
                      <a:pt x="525" y="18"/>
                    </a:lnTo>
                    <a:lnTo>
                      <a:pt x="532" y="21"/>
                    </a:lnTo>
                    <a:lnTo>
                      <a:pt x="532" y="27"/>
                    </a:lnTo>
                    <a:lnTo>
                      <a:pt x="531" y="28"/>
                    </a:lnTo>
                    <a:lnTo>
                      <a:pt x="530" y="28"/>
                    </a:lnTo>
                    <a:lnTo>
                      <a:pt x="531" y="31"/>
                    </a:lnTo>
                    <a:lnTo>
                      <a:pt x="539" y="37"/>
                    </a:lnTo>
                    <a:lnTo>
                      <a:pt x="542" y="38"/>
                    </a:lnTo>
                    <a:lnTo>
                      <a:pt x="545" y="37"/>
                    </a:lnTo>
                    <a:lnTo>
                      <a:pt x="556" y="38"/>
                    </a:lnTo>
                    <a:lnTo>
                      <a:pt x="562" y="40"/>
                    </a:lnTo>
                    <a:lnTo>
                      <a:pt x="565" y="41"/>
                    </a:lnTo>
                    <a:lnTo>
                      <a:pt x="575" y="45"/>
                    </a:lnTo>
                    <a:lnTo>
                      <a:pt x="587" y="47"/>
                    </a:lnTo>
                    <a:lnTo>
                      <a:pt x="604" y="47"/>
                    </a:lnTo>
                    <a:lnTo>
                      <a:pt x="610" y="50"/>
                    </a:lnTo>
                    <a:lnTo>
                      <a:pt x="613" y="58"/>
                    </a:lnTo>
                    <a:lnTo>
                      <a:pt x="615" y="58"/>
                    </a:lnTo>
                    <a:lnTo>
                      <a:pt x="609" y="59"/>
                    </a:lnTo>
                    <a:lnTo>
                      <a:pt x="607" y="65"/>
                    </a:lnTo>
                    <a:lnTo>
                      <a:pt x="601" y="71"/>
                    </a:lnTo>
                    <a:lnTo>
                      <a:pt x="601" y="72"/>
                    </a:lnTo>
                    <a:lnTo>
                      <a:pt x="604" y="76"/>
                    </a:lnTo>
                    <a:lnTo>
                      <a:pt x="604" y="94"/>
                    </a:lnTo>
                    <a:lnTo>
                      <a:pt x="606" y="104"/>
                    </a:lnTo>
                    <a:lnTo>
                      <a:pt x="606" y="109"/>
                    </a:lnTo>
                    <a:lnTo>
                      <a:pt x="604" y="110"/>
                    </a:lnTo>
                    <a:lnTo>
                      <a:pt x="599" y="113"/>
                    </a:lnTo>
                    <a:lnTo>
                      <a:pt x="595" y="116"/>
                    </a:lnTo>
                    <a:lnTo>
                      <a:pt x="595" y="119"/>
                    </a:lnTo>
                    <a:lnTo>
                      <a:pt x="597" y="130"/>
                    </a:lnTo>
                    <a:lnTo>
                      <a:pt x="603" y="137"/>
                    </a:lnTo>
                    <a:lnTo>
                      <a:pt x="604" y="139"/>
                    </a:lnTo>
                    <a:lnTo>
                      <a:pt x="601" y="147"/>
                    </a:lnTo>
                    <a:lnTo>
                      <a:pt x="615" y="158"/>
                    </a:lnTo>
                    <a:lnTo>
                      <a:pt x="615" y="185"/>
                    </a:lnTo>
                    <a:lnTo>
                      <a:pt x="615" y="221"/>
                    </a:lnTo>
                    <a:lnTo>
                      <a:pt x="615" y="257"/>
                    </a:lnTo>
                    <a:lnTo>
                      <a:pt x="615" y="295"/>
                    </a:lnTo>
                    <a:lnTo>
                      <a:pt x="615" y="331"/>
                    </a:lnTo>
                    <a:lnTo>
                      <a:pt x="615" y="369"/>
                    </a:lnTo>
                    <a:lnTo>
                      <a:pt x="615" y="405"/>
                    </a:lnTo>
                    <a:lnTo>
                      <a:pt x="615" y="430"/>
                    </a:lnTo>
                    <a:lnTo>
                      <a:pt x="615" y="464"/>
                    </a:lnTo>
                    <a:lnTo>
                      <a:pt x="615" y="504"/>
                    </a:lnTo>
                    <a:lnTo>
                      <a:pt x="577" y="504"/>
                    </a:lnTo>
                    <a:lnTo>
                      <a:pt x="577" y="526"/>
                    </a:lnTo>
                    <a:lnTo>
                      <a:pt x="570" y="525"/>
                    </a:lnTo>
                    <a:lnTo>
                      <a:pt x="537" y="509"/>
                    </a:lnTo>
                    <a:lnTo>
                      <a:pt x="504" y="493"/>
                    </a:lnTo>
                    <a:lnTo>
                      <a:pt x="470" y="476"/>
                    </a:lnTo>
                    <a:lnTo>
                      <a:pt x="437" y="459"/>
                    </a:lnTo>
                    <a:lnTo>
                      <a:pt x="405" y="444"/>
                    </a:lnTo>
                    <a:lnTo>
                      <a:pt x="372" y="428"/>
                    </a:lnTo>
                    <a:lnTo>
                      <a:pt x="339" y="412"/>
                    </a:lnTo>
                    <a:lnTo>
                      <a:pt x="305" y="395"/>
                    </a:lnTo>
                    <a:lnTo>
                      <a:pt x="271" y="379"/>
                    </a:lnTo>
                    <a:lnTo>
                      <a:pt x="265" y="377"/>
                    </a:lnTo>
                    <a:lnTo>
                      <a:pt x="230" y="387"/>
                    </a:lnTo>
                    <a:lnTo>
                      <a:pt x="226" y="389"/>
                    </a:lnTo>
                    <a:lnTo>
                      <a:pt x="213" y="392"/>
                    </a:lnTo>
                    <a:lnTo>
                      <a:pt x="210" y="385"/>
                    </a:lnTo>
                    <a:lnTo>
                      <a:pt x="207" y="384"/>
                    </a:lnTo>
                    <a:lnTo>
                      <a:pt x="196" y="379"/>
                    </a:lnTo>
                    <a:lnTo>
                      <a:pt x="194" y="375"/>
                    </a:lnTo>
                    <a:lnTo>
                      <a:pt x="191" y="374"/>
                    </a:lnTo>
                    <a:lnTo>
                      <a:pt x="185" y="372"/>
                    </a:lnTo>
                    <a:lnTo>
                      <a:pt x="156" y="370"/>
                    </a:lnTo>
                    <a:lnTo>
                      <a:pt x="126" y="370"/>
                    </a:lnTo>
                    <a:lnTo>
                      <a:pt x="105" y="370"/>
                    </a:lnTo>
                    <a:lnTo>
                      <a:pt x="101" y="370"/>
                    </a:lnTo>
                    <a:lnTo>
                      <a:pt x="98" y="372"/>
                    </a:lnTo>
                    <a:lnTo>
                      <a:pt x="98" y="367"/>
                    </a:lnTo>
                    <a:lnTo>
                      <a:pt x="94" y="358"/>
                    </a:lnTo>
                    <a:lnTo>
                      <a:pt x="81" y="339"/>
                    </a:lnTo>
                    <a:lnTo>
                      <a:pt x="60" y="331"/>
                    </a:lnTo>
                    <a:lnTo>
                      <a:pt x="52" y="331"/>
                    </a:lnTo>
                    <a:lnTo>
                      <a:pt x="40" y="331"/>
                    </a:lnTo>
                    <a:lnTo>
                      <a:pt x="30" y="321"/>
                    </a:lnTo>
                    <a:lnTo>
                      <a:pt x="29" y="313"/>
                    </a:lnTo>
                    <a:lnTo>
                      <a:pt x="27" y="300"/>
                    </a:lnTo>
                    <a:lnTo>
                      <a:pt x="20" y="290"/>
                    </a:lnTo>
                    <a:lnTo>
                      <a:pt x="7" y="276"/>
                    </a:lnTo>
                    <a:lnTo>
                      <a:pt x="3" y="268"/>
                    </a:lnTo>
                    <a:lnTo>
                      <a:pt x="4" y="262"/>
                    </a:lnTo>
                    <a:lnTo>
                      <a:pt x="12" y="260"/>
                    </a:lnTo>
                    <a:lnTo>
                      <a:pt x="19" y="257"/>
                    </a:lnTo>
                    <a:lnTo>
                      <a:pt x="19" y="221"/>
                    </a:lnTo>
                    <a:lnTo>
                      <a:pt x="22" y="208"/>
                    </a:lnTo>
                    <a:lnTo>
                      <a:pt x="22" y="199"/>
                    </a:lnTo>
                    <a:lnTo>
                      <a:pt x="19" y="194"/>
                    </a:lnTo>
                    <a:lnTo>
                      <a:pt x="20" y="176"/>
                    </a:lnTo>
                    <a:lnTo>
                      <a:pt x="19" y="161"/>
                    </a:lnTo>
                    <a:lnTo>
                      <a:pt x="15" y="147"/>
                    </a:lnTo>
                    <a:lnTo>
                      <a:pt x="7" y="134"/>
                    </a:lnTo>
                    <a:lnTo>
                      <a:pt x="0" y="125"/>
                    </a:lnTo>
                    <a:lnTo>
                      <a:pt x="0" y="115"/>
                    </a:lnTo>
                    <a:lnTo>
                      <a:pt x="7" y="110"/>
                    </a:lnTo>
                    <a:lnTo>
                      <a:pt x="8" y="109"/>
                    </a:lnTo>
                    <a:lnTo>
                      <a:pt x="17" y="108"/>
                    </a:lnTo>
                    <a:lnTo>
                      <a:pt x="25" y="104"/>
                    </a:lnTo>
                    <a:lnTo>
                      <a:pt x="32" y="98"/>
                    </a:lnTo>
                    <a:lnTo>
                      <a:pt x="36" y="93"/>
                    </a:lnTo>
                    <a:lnTo>
                      <a:pt x="36" y="86"/>
                    </a:lnTo>
                    <a:lnTo>
                      <a:pt x="33" y="69"/>
                    </a:lnTo>
                    <a:lnTo>
                      <a:pt x="33" y="63"/>
                    </a:lnTo>
                    <a:lnTo>
                      <a:pt x="36" y="59"/>
                    </a:lnTo>
                    <a:lnTo>
                      <a:pt x="46" y="56"/>
                    </a:lnTo>
                    <a:lnTo>
                      <a:pt x="52" y="52"/>
                    </a:lnTo>
                    <a:lnTo>
                      <a:pt x="55" y="45"/>
                    </a:lnTo>
                    <a:lnTo>
                      <a:pt x="75" y="33"/>
                    </a:lnTo>
                    <a:lnTo>
                      <a:pt x="80" y="30"/>
                    </a:lnTo>
                    <a:lnTo>
                      <a:pt x="84" y="24"/>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12" name="Freeform 108"/>
              <p:cNvSpPr>
                <a:spLocks/>
              </p:cNvSpPr>
              <p:nvPr/>
            </p:nvSpPr>
            <p:spPr bwMode="auto">
              <a:xfrm>
                <a:off x="922" y="1017"/>
                <a:ext cx="839" cy="735"/>
              </a:xfrm>
              <a:custGeom>
                <a:avLst/>
                <a:gdLst>
                  <a:gd name="T0" fmla="*/ 23860 w 784"/>
                  <a:gd name="T1" fmla="*/ 1891 h 700"/>
                  <a:gd name="T2" fmla="*/ 27535 w 784"/>
                  <a:gd name="T3" fmla="*/ 1332 h 700"/>
                  <a:gd name="T4" fmla="*/ 30466 w 784"/>
                  <a:gd name="T5" fmla="*/ 921 h 700"/>
                  <a:gd name="T6" fmla="*/ 34291 w 784"/>
                  <a:gd name="T7" fmla="*/ 483 h 700"/>
                  <a:gd name="T8" fmla="*/ 39957 w 784"/>
                  <a:gd name="T9" fmla="*/ 343 h 700"/>
                  <a:gd name="T10" fmla="*/ 43600 w 784"/>
                  <a:gd name="T11" fmla="*/ 8 h 700"/>
                  <a:gd name="T12" fmla="*/ 48050 w 784"/>
                  <a:gd name="T13" fmla="*/ 343 h 700"/>
                  <a:gd name="T14" fmla="*/ 51505 w 784"/>
                  <a:gd name="T15" fmla="*/ 3 h 700"/>
                  <a:gd name="T16" fmla="*/ 53953 w 784"/>
                  <a:gd name="T17" fmla="*/ 1 h 700"/>
                  <a:gd name="T18" fmla="*/ 57758 w 784"/>
                  <a:gd name="T19" fmla="*/ 7 h 700"/>
                  <a:gd name="T20" fmla="*/ 57325 w 784"/>
                  <a:gd name="T21" fmla="*/ 460 h 700"/>
                  <a:gd name="T22" fmla="*/ 57325 w 784"/>
                  <a:gd name="T23" fmla="*/ 1234 h 700"/>
                  <a:gd name="T24" fmla="*/ 57325 w 784"/>
                  <a:gd name="T25" fmla="*/ 2277 h 700"/>
                  <a:gd name="T26" fmla="*/ 55028 w 784"/>
                  <a:gd name="T27" fmla="*/ 2934 h 700"/>
                  <a:gd name="T28" fmla="*/ 54504 w 784"/>
                  <a:gd name="T29" fmla="*/ 3358 h 700"/>
                  <a:gd name="T30" fmla="*/ 56928 w 784"/>
                  <a:gd name="T31" fmla="*/ 4511 h 700"/>
                  <a:gd name="T32" fmla="*/ 60922 w 784"/>
                  <a:gd name="T33" fmla="*/ 6495 h 700"/>
                  <a:gd name="T34" fmla="*/ 60922 w 784"/>
                  <a:gd name="T35" fmla="*/ 7161 h 700"/>
                  <a:gd name="T36" fmla="*/ 62126 w 784"/>
                  <a:gd name="T37" fmla="*/ 8901 h 700"/>
                  <a:gd name="T38" fmla="*/ 60526 w 784"/>
                  <a:gd name="T39" fmla="*/ 10423 h 700"/>
                  <a:gd name="T40" fmla="*/ 62635 w 784"/>
                  <a:gd name="T41" fmla="*/ 11693 h 700"/>
                  <a:gd name="T42" fmla="*/ 67440 w 784"/>
                  <a:gd name="T43" fmla="*/ 12377 h 700"/>
                  <a:gd name="T44" fmla="*/ 64551 w 784"/>
                  <a:gd name="T45" fmla="*/ 13967 h 700"/>
                  <a:gd name="T46" fmla="*/ 51025 w 784"/>
                  <a:gd name="T47" fmla="*/ 16457 h 700"/>
                  <a:gd name="T48" fmla="*/ 42700 w 784"/>
                  <a:gd name="T49" fmla="*/ 17295 h 700"/>
                  <a:gd name="T50" fmla="*/ 40239 w 784"/>
                  <a:gd name="T51" fmla="*/ 17557 h 700"/>
                  <a:gd name="T52" fmla="*/ 39901 w 784"/>
                  <a:gd name="T53" fmla="*/ 17036 h 700"/>
                  <a:gd name="T54" fmla="*/ 39982 w 784"/>
                  <a:gd name="T55" fmla="*/ 16793 h 700"/>
                  <a:gd name="T56" fmla="*/ 38967 w 784"/>
                  <a:gd name="T57" fmla="*/ 16586 h 700"/>
                  <a:gd name="T58" fmla="*/ 37172 w 784"/>
                  <a:gd name="T59" fmla="*/ 16399 h 700"/>
                  <a:gd name="T60" fmla="*/ 35203 w 784"/>
                  <a:gd name="T61" fmla="*/ 16188 h 700"/>
                  <a:gd name="T62" fmla="*/ 33840 w 784"/>
                  <a:gd name="T63" fmla="*/ 15811 h 700"/>
                  <a:gd name="T64" fmla="*/ 32629 w 784"/>
                  <a:gd name="T65" fmla="*/ 15438 h 700"/>
                  <a:gd name="T66" fmla="*/ 4190 w 784"/>
                  <a:gd name="T67" fmla="*/ 10304 h 700"/>
                  <a:gd name="T68" fmla="*/ 2798 w 784"/>
                  <a:gd name="T69" fmla="*/ 7432 h 700"/>
                  <a:gd name="T70" fmla="*/ 5136 w 784"/>
                  <a:gd name="T71" fmla="*/ 7152 h 700"/>
                  <a:gd name="T72" fmla="*/ 6959 w 784"/>
                  <a:gd name="T73" fmla="*/ 7161 h 700"/>
                  <a:gd name="T74" fmla="*/ 8955 w 784"/>
                  <a:gd name="T75" fmla="*/ 7015 h 700"/>
                  <a:gd name="T76" fmla="*/ 11792 w 784"/>
                  <a:gd name="T77" fmla="*/ 6642 h 700"/>
                  <a:gd name="T78" fmla="*/ 14028 w 784"/>
                  <a:gd name="T79" fmla="*/ 6202 h 700"/>
                  <a:gd name="T80" fmla="*/ 16560 w 784"/>
                  <a:gd name="T81" fmla="*/ 5758 h 700"/>
                  <a:gd name="T82" fmla="*/ 16310 w 784"/>
                  <a:gd name="T83" fmla="*/ 5546 h 700"/>
                  <a:gd name="T84" fmla="*/ 16265 w 784"/>
                  <a:gd name="T85" fmla="*/ 5337 h 700"/>
                  <a:gd name="T86" fmla="*/ 17711 w 784"/>
                  <a:gd name="T87" fmla="*/ 5223 h 700"/>
                  <a:gd name="T88" fmla="*/ 19240 w 784"/>
                  <a:gd name="T89" fmla="*/ 4860 h 700"/>
                  <a:gd name="T90" fmla="*/ 20299 w 784"/>
                  <a:gd name="T91" fmla="*/ 4790 h 700"/>
                  <a:gd name="T92" fmla="*/ 24824 w 784"/>
                  <a:gd name="T93" fmla="*/ 4724 h 700"/>
                  <a:gd name="T94" fmla="*/ 25234 w 784"/>
                  <a:gd name="T95" fmla="*/ 4552 h 700"/>
                  <a:gd name="T96" fmla="*/ 24824 w 784"/>
                  <a:gd name="T97" fmla="*/ 4183 h 700"/>
                  <a:gd name="T98" fmla="*/ 24111 w 784"/>
                  <a:gd name="T99" fmla="*/ 3611 h 700"/>
                  <a:gd name="T100" fmla="*/ 23861 w 784"/>
                  <a:gd name="T101" fmla="*/ 3205 h 700"/>
                  <a:gd name="T102" fmla="*/ 23861 w 784"/>
                  <a:gd name="T103" fmla="*/ 2567 h 700"/>
                  <a:gd name="T104" fmla="*/ 23580 w 784"/>
                  <a:gd name="T105" fmla="*/ 2329 h 7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84"/>
                  <a:gd name="T160" fmla="*/ 0 h 700"/>
                  <a:gd name="T161" fmla="*/ 784 w 784"/>
                  <a:gd name="T162" fmla="*/ 700 h 7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84" h="700">
                    <a:moveTo>
                      <a:pt x="257" y="85"/>
                    </a:moveTo>
                    <a:lnTo>
                      <a:pt x="256" y="81"/>
                    </a:lnTo>
                    <a:lnTo>
                      <a:pt x="256" y="79"/>
                    </a:lnTo>
                    <a:lnTo>
                      <a:pt x="261" y="78"/>
                    </a:lnTo>
                    <a:lnTo>
                      <a:pt x="271" y="75"/>
                    </a:lnTo>
                    <a:lnTo>
                      <a:pt x="282" y="70"/>
                    </a:lnTo>
                    <a:lnTo>
                      <a:pt x="293" y="57"/>
                    </a:lnTo>
                    <a:lnTo>
                      <a:pt x="302" y="52"/>
                    </a:lnTo>
                    <a:lnTo>
                      <a:pt x="309" y="51"/>
                    </a:lnTo>
                    <a:lnTo>
                      <a:pt x="313" y="52"/>
                    </a:lnTo>
                    <a:lnTo>
                      <a:pt x="320" y="47"/>
                    </a:lnTo>
                    <a:lnTo>
                      <a:pt x="329" y="50"/>
                    </a:lnTo>
                    <a:lnTo>
                      <a:pt x="336" y="47"/>
                    </a:lnTo>
                    <a:lnTo>
                      <a:pt x="340" y="41"/>
                    </a:lnTo>
                    <a:lnTo>
                      <a:pt x="347" y="37"/>
                    </a:lnTo>
                    <a:lnTo>
                      <a:pt x="350" y="35"/>
                    </a:lnTo>
                    <a:lnTo>
                      <a:pt x="357" y="34"/>
                    </a:lnTo>
                    <a:lnTo>
                      <a:pt x="363" y="29"/>
                    </a:lnTo>
                    <a:lnTo>
                      <a:pt x="383" y="23"/>
                    </a:lnTo>
                    <a:lnTo>
                      <a:pt x="391" y="20"/>
                    </a:lnTo>
                    <a:lnTo>
                      <a:pt x="428" y="18"/>
                    </a:lnTo>
                    <a:lnTo>
                      <a:pt x="437" y="19"/>
                    </a:lnTo>
                    <a:lnTo>
                      <a:pt x="444" y="16"/>
                    </a:lnTo>
                    <a:lnTo>
                      <a:pt x="450" y="11"/>
                    </a:lnTo>
                    <a:lnTo>
                      <a:pt x="455" y="13"/>
                    </a:lnTo>
                    <a:lnTo>
                      <a:pt x="464" y="13"/>
                    </a:lnTo>
                    <a:lnTo>
                      <a:pt x="467" y="13"/>
                    </a:lnTo>
                    <a:lnTo>
                      <a:pt x="474" y="13"/>
                    </a:lnTo>
                    <a:lnTo>
                      <a:pt x="485" y="8"/>
                    </a:lnTo>
                    <a:lnTo>
                      <a:pt x="497" y="8"/>
                    </a:lnTo>
                    <a:lnTo>
                      <a:pt x="507" y="8"/>
                    </a:lnTo>
                    <a:lnTo>
                      <a:pt x="525" y="9"/>
                    </a:lnTo>
                    <a:lnTo>
                      <a:pt x="530" y="13"/>
                    </a:lnTo>
                    <a:lnTo>
                      <a:pt x="539" y="16"/>
                    </a:lnTo>
                    <a:lnTo>
                      <a:pt x="546" y="13"/>
                    </a:lnTo>
                    <a:lnTo>
                      <a:pt x="552" y="11"/>
                    </a:lnTo>
                    <a:lnTo>
                      <a:pt x="563" y="9"/>
                    </a:lnTo>
                    <a:lnTo>
                      <a:pt x="572" y="7"/>
                    </a:lnTo>
                    <a:lnTo>
                      <a:pt x="578" y="0"/>
                    </a:lnTo>
                    <a:lnTo>
                      <a:pt x="586" y="3"/>
                    </a:lnTo>
                    <a:lnTo>
                      <a:pt x="593" y="6"/>
                    </a:lnTo>
                    <a:lnTo>
                      <a:pt x="596" y="6"/>
                    </a:lnTo>
                    <a:lnTo>
                      <a:pt x="603" y="8"/>
                    </a:lnTo>
                    <a:lnTo>
                      <a:pt x="611" y="6"/>
                    </a:lnTo>
                    <a:lnTo>
                      <a:pt x="615" y="1"/>
                    </a:lnTo>
                    <a:lnTo>
                      <a:pt x="629" y="4"/>
                    </a:lnTo>
                    <a:lnTo>
                      <a:pt x="635" y="9"/>
                    </a:lnTo>
                    <a:lnTo>
                      <a:pt x="642" y="8"/>
                    </a:lnTo>
                    <a:lnTo>
                      <a:pt x="649" y="6"/>
                    </a:lnTo>
                    <a:lnTo>
                      <a:pt x="659" y="7"/>
                    </a:lnTo>
                    <a:lnTo>
                      <a:pt x="668" y="6"/>
                    </a:lnTo>
                    <a:lnTo>
                      <a:pt x="667" y="9"/>
                    </a:lnTo>
                    <a:lnTo>
                      <a:pt x="663" y="11"/>
                    </a:lnTo>
                    <a:lnTo>
                      <a:pt x="659" y="14"/>
                    </a:lnTo>
                    <a:lnTo>
                      <a:pt x="653" y="19"/>
                    </a:lnTo>
                    <a:lnTo>
                      <a:pt x="651" y="23"/>
                    </a:lnTo>
                    <a:lnTo>
                      <a:pt x="656" y="24"/>
                    </a:lnTo>
                    <a:lnTo>
                      <a:pt x="657" y="26"/>
                    </a:lnTo>
                    <a:lnTo>
                      <a:pt x="653" y="45"/>
                    </a:lnTo>
                    <a:lnTo>
                      <a:pt x="653" y="49"/>
                    </a:lnTo>
                    <a:lnTo>
                      <a:pt x="654" y="55"/>
                    </a:lnTo>
                    <a:lnTo>
                      <a:pt x="654" y="67"/>
                    </a:lnTo>
                    <a:lnTo>
                      <a:pt x="658" y="71"/>
                    </a:lnTo>
                    <a:lnTo>
                      <a:pt x="658" y="75"/>
                    </a:lnTo>
                    <a:lnTo>
                      <a:pt x="653" y="90"/>
                    </a:lnTo>
                    <a:lnTo>
                      <a:pt x="649" y="97"/>
                    </a:lnTo>
                    <a:lnTo>
                      <a:pt x="636" y="105"/>
                    </a:lnTo>
                    <a:lnTo>
                      <a:pt x="635" y="111"/>
                    </a:lnTo>
                    <a:lnTo>
                      <a:pt x="628" y="112"/>
                    </a:lnTo>
                    <a:lnTo>
                      <a:pt x="625" y="117"/>
                    </a:lnTo>
                    <a:lnTo>
                      <a:pt x="616" y="123"/>
                    </a:lnTo>
                    <a:lnTo>
                      <a:pt x="615" y="123"/>
                    </a:lnTo>
                    <a:lnTo>
                      <a:pt x="616" y="126"/>
                    </a:lnTo>
                    <a:lnTo>
                      <a:pt x="621" y="133"/>
                    </a:lnTo>
                    <a:lnTo>
                      <a:pt x="625" y="149"/>
                    </a:lnTo>
                    <a:lnTo>
                      <a:pt x="638" y="154"/>
                    </a:lnTo>
                    <a:lnTo>
                      <a:pt x="642" y="157"/>
                    </a:lnTo>
                    <a:lnTo>
                      <a:pt x="647" y="168"/>
                    </a:lnTo>
                    <a:lnTo>
                      <a:pt x="647" y="180"/>
                    </a:lnTo>
                    <a:lnTo>
                      <a:pt x="661" y="186"/>
                    </a:lnTo>
                    <a:lnTo>
                      <a:pt x="677" y="195"/>
                    </a:lnTo>
                    <a:lnTo>
                      <a:pt x="680" y="195"/>
                    </a:lnTo>
                    <a:lnTo>
                      <a:pt x="689" y="237"/>
                    </a:lnTo>
                    <a:lnTo>
                      <a:pt x="692" y="260"/>
                    </a:lnTo>
                    <a:lnTo>
                      <a:pt x="694" y="263"/>
                    </a:lnTo>
                    <a:lnTo>
                      <a:pt x="692" y="263"/>
                    </a:lnTo>
                    <a:lnTo>
                      <a:pt x="685" y="269"/>
                    </a:lnTo>
                    <a:lnTo>
                      <a:pt x="685" y="279"/>
                    </a:lnTo>
                    <a:lnTo>
                      <a:pt x="692" y="287"/>
                    </a:lnTo>
                    <a:lnTo>
                      <a:pt x="701" y="300"/>
                    </a:lnTo>
                    <a:lnTo>
                      <a:pt x="705" y="315"/>
                    </a:lnTo>
                    <a:lnTo>
                      <a:pt x="706" y="329"/>
                    </a:lnTo>
                    <a:lnTo>
                      <a:pt x="705" y="347"/>
                    </a:lnTo>
                    <a:lnTo>
                      <a:pt x="707" y="353"/>
                    </a:lnTo>
                    <a:lnTo>
                      <a:pt x="707" y="361"/>
                    </a:lnTo>
                    <a:lnTo>
                      <a:pt x="705" y="375"/>
                    </a:lnTo>
                    <a:lnTo>
                      <a:pt x="704" y="410"/>
                    </a:lnTo>
                    <a:lnTo>
                      <a:pt x="698" y="414"/>
                    </a:lnTo>
                    <a:lnTo>
                      <a:pt x="690" y="416"/>
                    </a:lnTo>
                    <a:lnTo>
                      <a:pt x="689" y="421"/>
                    </a:lnTo>
                    <a:lnTo>
                      <a:pt x="692" y="430"/>
                    </a:lnTo>
                    <a:lnTo>
                      <a:pt x="706" y="444"/>
                    </a:lnTo>
                    <a:lnTo>
                      <a:pt x="712" y="454"/>
                    </a:lnTo>
                    <a:lnTo>
                      <a:pt x="714" y="467"/>
                    </a:lnTo>
                    <a:lnTo>
                      <a:pt x="715" y="474"/>
                    </a:lnTo>
                    <a:lnTo>
                      <a:pt x="725" y="485"/>
                    </a:lnTo>
                    <a:lnTo>
                      <a:pt x="739" y="485"/>
                    </a:lnTo>
                    <a:lnTo>
                      <a:pt x="746" y="485"/>
                    </a:lnTo>
                    <a:lnTo>
                      <a:pt x="766" y="493"/>
                    </a:lnTo>
                    <a:lnTo>
                      <a:pt x="780" y="512"/>
                    </a:lnTo>
                    <a:lnTo>
                      <a:pt x="783" y="521"/>
                    </a:lnTo>
                    <a:lnTo>
                      <a:pt x="784" y="526"/>
                    </a:lnTo>
                    <a:lnTo>
                      <a:pt x="765" y="538"/>
                    </a:lnTo>
                    <a:lnTo>
                      <a:pt x="735" y="558"/>
                    </a:lnTo>
                    <a:lnTo>
                      <a:pt x="704" y="577"/>
                    </a:lnTo>
                    <a:lnTo>
                      <a:pt x="673" y="597"/>
                    </a:lnTo>
                    <a:lnTo>
                      <a:pt x="642" y="618"/>
                    </a:lnTo>
                    <a:lnTo>
                      <a:pt x="612" y="638"/>
                    </a:lnTo>
                    <a:lnTo>
                      <a:pt x="581" y="658"/>
                    </a:lnTo>
                    <a:lnTo>
                      <a:pt x="550" y="678"/>
                    </a:lnTo>
                    <a:lnTo>
                      <a:pt x="541" y="681"/>
                    </a:lnTo>
                    <a:lnTo>
                      <a:pt x="497" y="692"/>
                    </a:lnTo>
                    <a:lnTo>
                      <a:pt x="491" y="692"/>
                    </a:lnTo>
                    <a:lnTo>
                      <a:pt x="486" y="692"/>
                    </a:lnTo>
                    <a:lnTo>
                      <a:pt x="479" y="696"/>
                    </a:lnTo>
                    <a:lnTo>
                      <a:pt x="474" y="697"/>
                    </a:lnTo>
                    <a:lnTo>
                      <a:pt x="467" y="700"/>
                    </a:lnTo>
                    <a:lnTo>
                      <a:pt x="462" y="700"/>
                    </a:lnTo>
                    <a:lnTo>
                      <a:pt x="459" y="700"/>
                    </a:lnTo>
                    <a:lnTo>
                      <a:pt x="453" y="694"/>
                    </a:lnTo>
                    <a:lnTo>
                      <a:pt x="453" y="691"/>
                    </a:lnTo>
                    <a:lnTo>
                      <a:pt x="454" y="687"/>
                    </a:lnTo>
                    <a:lnTo>
                      <a:pt x="454" y="682"/>
                    </a:lnTo>
                    <a:lnTo>
                      <a:pt x="454" y="681"/>
                    </a:lnTo>
                    <a:lnTo>
                      <a:pt x="456" y="680"/>
                    </a:lnTo>
                    <a:lnTo>
                      <a:pt x="456" y="678"/>
                    </a:lnTo>
                    <a:lnTo>
                      <a:pt x="455" y="675"/>
                    </a:lnTo>
                    <a:lnTo>
                      <a:pt x="455" y="673"/>
                    </a:lnTo>
                    <a:lnTo>
                      <a:pt x="456" y="671"/>
                    </a:lnTo>
                    <a:lnTo>
                      <a:pt x="455" y="668"/>
                    </a:lnTo>
                    <a:lnTo>
                      <a:pt x="454" y="666"/>
                    </a:lnTo>
                    <a:lnTo>
                      <a:pt x="454" y="665"/>
                    </a:lnTo>
                    <a:lnTo>
                      <a:pt x="450" y="663"/>
                    </a:lnTo>
                    <a:lnTo>
                      <a:pt x="444" y="662"/>
                    </a:lnTo>
                    <a:lnTo>
                      <a:pt x="439" y="658"/>
                    </a:lnTo>
                    <a:lnTo>
                      <a:pt x="436" y="658"/>
                    </a:lnTo>
                    <a:lnTo>
                      <a:pt x="433" y="658"/>
                    </a:lnTo>
                    <a:lnTo>
                      <a:pt x="425" y="658"/>
                    </a:lnTo>
                    <a:lnTo>
                      <a:pt x="422" y="654"/>
                    </a:lnTo>
                    <a:lnTo>
                      <a:pt x="419" y="650"/>
                    </a:lnTo>
                    <a:lnTo>
                      <a:pt x="418" y="649"/>
                    </a:lnTo>
                    <a:lnTo>
                      <a:pt x="411" y="650"/>
                    </a:lnTo>
                    <a:lnTo>
                      <a:pt x="406" y="649"/>
                    </a:lnTo>
                    <a:lnTo>
                      <a:pt x="402" y="647"/>
                    </a:lnTo>
                    <a:lnTo>
                      <a:pt x="396" y="643"/>
                    </a:lnTo>
                    <a:lnTo>
                      <a:pt x="395" y="640"/>
                    </a:lnTo>
                    <a:lnTo>
                      <a:pt x="395" y="635"/>
                    </a:lnTo>
                    <a:lnTo>
                      <a:pt x="393" y="634"/>
                    </a:lnTo>
                    <a:lnTo>
                      <a:pt x="385" y="631"/>
                    </a:lnTo>
                    <a:lnTo>
                      <a:pt x="380" y="630"/>
                    </a:lnTo>
                    <a:lnTo>
                      <a:pt x="374" y="628"/>
                    </a:lnTo>
                    <a:lnTo>
                      <a:pt x="374" y="624"/>
                    </a:lnTo>
                    <a:lnTo>
                      <a:pt x="376" y="620"/>
                    </a:lnTo>
                    <a:lnTo>
                      <a:pt x="373" y="617"/>
                    </a:lnTo>
                    <a:lnTo>
                      <a:pt x="373" y="613"/>
                    </a:lnTo>
                    <a:lnTo>
                      <a:pt x="188" y="495"/>
                    </a:lnTo>
                    <a:lnTo>
                      <a:pt x="142" y="467"/>
                    </a:lnTo>
                    <a:lnTo>
                      <a:pt x="89" y="435"/>
                    </a:lnTo>
                    <a:lnTo>
                      <a:pt x="47" y="410"/>
                    </a:lnTo>
                    <a:lnTo>
                      <a:pt x="0" y="383"/>
                    </a:lnTo>
                    <a:lnTo>
                      <a:pt x="0" y="362"/>
                    </a:lnTo>
                    <a:lnTo>
                      <a:pt x="0" y="319"/>
                    </a:lnTo>
                    <a:lnTo>
                      <a:pt x="19" y="306"/>
                    </a:lnTo>
                    <a:lnTo>
                      <a:pt x="32" y="298"/>
                    </a:lnTo>
                    <a:lnTo>
                      <a:pt x="41" y="298"/>
                    </a:lnTo>
                    <a:lnTo>
                      <a:pt x="46" y="294"/>
                    </a:lnTo>
                    <a:lnTo>
                      <a:pt x="52" y="293"/>
                    </a:lnTo>
                    <a:lnTo>
                      <a:pt x="55" y="288"/>
                    </a:lnTo>
                    <a:lnTo>
                      <a:pt x="58" y="285"/>
                    </a:lnTo>
                    <a:lnTo>
                      <a:pt x="63" y="287"/>
                    </a:lnTo>
                    <a:lnTo>
                      <a:pt x="68" y="285"/>
                    </a:lnTo>
                    <a:lnTo>
                      <a:pt x="72" y="288"/>
                    </a:lnTo>
                    <a:lnTo>
                      <a:pt x="79" y="288"/>
                    </a:lnTo>
                    <a:lnTo>
                      <a:pt x="79" y="287"/>
                    </a:lnTo>
                    <a:lnTo>
                      <a:pt x="79" y="282"/>
                    </a:lnTo>
                    <a:lnTo>
                      <a:pt x="80" y="279"/>
                    </a:lnTo>
                    <a:lnTo>
                      <a:pt x="92" y="280"/>
                    </a:lnTo>
                    <a:lnTo>
                      <a:pt x="95" y="279"/>
                    </a:lnTo>
                    <a:lnTo>
                      <a:pt x="102" y="279"/>
                    </a:lnTo>
                    <a:lnTo>
                      <a:pt x="113" y="277"/>
                    </a:lnTo>
                    <a:lnTo>
                      <a:pt x="125" y="274"/>
                    </a:lnTo>
                    <a:lnTo>
                      <a:pt x="130" y="270"/>
                    </a:lnTo>
                    <a:lnTo>
                      <a:pt x="134" y="267"/>
                    </a:lnTo>
                    <a:lnTo>
                      <a:pt x="135" y="263"/>
                    </a:lnTo>
                    <a:lnTo>
                      <a:pt x="135" y="262"/>
                    </a:lnTo>
                    <a:lnTo>
                      <a:pt x="138" y="257"/>
                    </a:lnTo>
                    <a:lnTo>
                      <a:pt x="145" y="253"/>
                    </a:lnTo>
                    <a:lnTo>
                      <a:pt x="154" y="249"/>
                    </a:lnTo>
                    <a:lnTo>
                      <a:pt x="159" y="249"/>
                    </a:lnTo>
                    <a:lnTo>
                      <a:pt x="178" y="237"/>
                    </a:lnTo>
                    <a:lnTo>
                      <a:pt x="192" y="236"/>
                    </a:lnTo>
                    <a:lnTo>
                      <a:pt x="195" y="234"/>
                    </a:lnTo>
                    <a:lnTo>
                      <a:pt x="194" y="232"/>
                    </a:lnTo>
                    <a:lnTo>
                      <a:pt x="190" y="229"/>
                    </a:lnTo>
                    <a:lnTo>
                      <a:pt x="189" y="227"/>
                    </a:lnTo>
                    <a:lnTo>
                      <a:pt x="188" y="227"/>
                    </a:lnTo>
                    <a:lnTo>
                      <a:pt x="186" y="229"/>
                    </a:lnTo>
                    <a:lnTo>
                      <a:pt x="185" y="229"/>
                    </a:lnTo>
                    <a:lnTo>
                      <a:pt x="186" y="222"/>
                    </a:lnTo>
                    <a:lnTo>
                      <a:pt x="189" y="219"/>
                    </a:lnTo>
                    <a:lnTo>
                      <a:pt x="189" y="218"/>
                    </a:lnTo>
                    <a:lnTo>
                      <a:pt x="185" y="217"/>
                    </a:lnTo>
                    <a:lnTo>
                      <a:pt x="185" y="216"/>
                    </a:lnTo>
                    <a:lnTo>
                      <a:pt x="185" y="212"/>
                    </a:lnTo>
                    <a:lnTo>
                      <a:pt x="186" y="209"/>
                    </a:lnTo>
                    <a:lnTo>
                      <a:pt x="189" y="206"/>
                    </a:lnTo>
                    <a:lnTo>
                      <a:pt x="192" y="206"/>
                    </a:lnTo>
                    <a:lnTo>
                      <a:pt x="197" y="208"/>
                    </a:lnTo>
                    <a:lnTo>
                      <a:pt x="202" y="208"/>
                    </a:lnTo>
                    <a:lnTo>
                      <a:pt x="208" y="206"/>
                    </a:lnTo>
                    <a:lnTo>
                      <a:pt x="218" y="202"/>
                    </a:lnTo>
                    <a:lnTo>
                      <a:pt x="219" y="201"/>
                    </a:lnTo>
                    <a:lnTo>
                      <a:pt x="219" y="198"/>
                    </a:lnTo>
                    <a:lnTo>
                      <a:pt x="219" y="195"/>
                    </a:lnTo>
                    <a:lnTo>
                      <a:pt x="221" y="191"/>
                    </a:lnTo>
                    <a:lnTo>
                      <a:pt x="223" y="191"/>
                    </a:lnTo>
                    <a:lnTo>
                      <a:pt x="227" y="191"/>
                    </a:lnTo>
                    <a:lnTo>
                      <a:pt x="230" y="191"/>
                    </a:lnTo>
                    <a:lnTo>
                      <a:pt x="233" y="191"/>
                    </a:lnTo>
                    <a:lnTo>
                      <a:pt x="240" y="188"/>
                    </a:lnTo>
                    <a:lnTo>
                      <a:pt x="261" y="188"/>
                    </a:lnTo>
                    <a:lnTo>
                      <a:pt x="265" y="188"/>
                    </a:lnTo>
                    <a:lnTo>
                      <a:pt x="272" y="188"/>
                    </a:lnTo>
                    <a:lnTo>
                      <a:pt x="282" y="188"/>
                    </a:lnTo>
                    <a:lnTo>
                      <a:pt x="287" y="191"/>
                    </a:lnTo>
                    <a:lnTo>
                      <a:pt x="288" y="190"/>
                    </a:lnTo>
                    <a:lnTo>
                      <a:pt x="288" y="188"/>
                    </a:lnTo>
                    <a:lnTo>
                      <a:pt x="287" y="186"/>
                    </a:lnTo>
                    <a:lnTo>
                      <a:pt x="287" y="181"/>
                    </a:lnTo>
                    <a:lnTo>
                      <a:pt x="290" y="177"/>
                    </a:lnTo>
                    <a:lnTo>
                      <a:pt x="293" y="176"/>
                    </a:lnTo>
                    <a:lnTo>
                      <a:pt x="293" y="175"/>
                    </a:lnTo>
                    <a:lnTo>
                      <a:pt x="288" y="173"/>
                    </a:lnTo>
                    <a:lnTo>
                      <a:pt x="282" y="167"/>
                    </a:lnTo>
                    <a:lnTo>
                      <a:pt x="277" y="159"/>
                    </a:lnTo>
                    <a:lnTo>
                      <a:pt x="277" y="154"/>
                    </a:lnTo>
                    <a:lnTo>
                      <a:pt x="275" y="150"/>
                    </a:lnTo>
                    <a:lnTo>
                      <a:pt x="274" y="146"/>
                    </a:lnTo>
                    <a:lnTo>
                      <a:pt x="274" y="143"/>
                    </a:lnTo>
                    <a:lnTo>
                      <a:pt x="275" y="140"/>
                    </a:lnTo>
                    <a:lnTo>
                      <a:pt x="275" y="137"/>
                    </a:lnTo>
                    <a:lnTo>
                      <a:pt x="275" y="135"/>
                    </a:lnTo>
                    <a:lnTo>
                      <a:pt x="271" y="130"/>
                    </a:lnTo>
                    <a:lnTo>
                      <a:pt x="272" y="128"/>
                    </a:lnTo>
                    <a:lnTo>
                      <a:pt x="272" y="123"/>
                    </a:lnTo>
                    <a:lnTo>
                      <a:pt x="272" y="117"/>
                    </a:lnTo>
                    <a:lnTo>
                      <a:pt x="272" y="111"/>
                    </a:lnTo>
                    <a:lnTo>
                      <a:pt x="269" y="106"/>
                    </a:lnTo>
                    <a:lnTo>
                      <a:pt x="272" y="102"/>
                    </a:lnTo>
                    <a:lnTo>
                      <a:pt x="268" y="97"/>
                    </a:lnTo>
                    <a:lnTo>
                      <a:pt x="268" y="96"/>
                    </a:lnTo>
                    <a:lnTo>
                      <a:pt x="269" y="96"/>
                    </a:lnTo>
                    <a:lnTo>
                      <a:pt x="269" y="95"/>
                    </a:lnTo>
                    <a:lnTo>
                      <a:pt x="268" y="92"/>
                    </a:lnTo>
                    <a:lnTo>
                      <a:pt x="266" y="91"/>
                    </a:lnTo>
                    <a:lnTo>
                      <a:pt x="262" y="89"/>
                    </a:lnTo>
                    <a:lnTo>
                      <a:pt x="261" y="86"/>
                    </a:lnTo>
                    <a:lnTo>
                      <a:pt x="257" y="85"/>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3" name="Freeform 109"/>
              <p:cNvSpPr>
                <a:spLocks/>
              </p:cNvSpPr>
              <p:nvPr/>
            </p:nvSpPr>
            <p:spPr bwMode="auto">
              <a:xfrm>
                <a:off x="922" y="1017"/>
                <a:ext cx="839" cy="735"/>
              </a:xfrm>
              <a:custGeom>
                <a:avLst/>
                <a:gdLst>
                  <a:gd name="T0" fmla="*/ 23860 w 784"/>
                  <a:gd name="T1" fmla="*/ 1891 h 700"/>
                  <a:gd name="T2" fmla="*/ 27535 w 784"/>
                  <a:gd name="T3" fmla="*/ 1332 h 700"/>
                  <a:gd name="T4" fmla="*/ 30466 w 784"/>
                  <a:gd name="T5" fmla="*/ 921 h 700"/>
                  <a:gd name="T6" fmla="*/ 34291 w 784"/>
                  <a:gd name="T7" fmla="*/ 483 h 700"/>
                  <a:gd name="T8" fmla="*/ 39957 w 784"/>
                  <a:gd name="T9" fmla="*/ 343 h 700"/>
                  <a:gd name="T10" fmla="*/ 43600 w 784"/>
                  <a:gd name="T11" fmla="*/ 8 h 700"/>
                  <a:gd name="T12" fmla="*/ 48050 w 784"/>
                  <a:gd name="T13" fmla="*/ 343 h 700"/>
                  <a:gd name="T14" fmla="*/ 51505 w 784"/>
                  <a:gd name="T15" fmla="*/ 3 h 700"/>
                  <a:gd name="T16" fmla="*/ 53953 w 784"/>
                  <a:gd name="T17" fmla="*/ 1 h 700"/>
                  <a:gd name="T18" fmla="*/ 57758 w 784"/>
                  <a:gd name="T19" fmla="*/ 7 h 700"/>
                  <a:gd name="T20" fmla="*/ 57325 w 784"/>
                  <a:gd name="T21" fmla="*/ 460 h 700"/>
                  <a:gd name="T22" fmla="*/ 57325 w 784"/>
                  <a:gd name="T23" fmla="*/ 1234 h 700"/>
                  <a:gd name="T24" fmla="*/ 57325 w 784"/>
                  <a:gd name="T25" fmla="*/ 2277 h 700"/>
                  <a:gd name="T26" fmla="*/ 55028 w 784"/>
                  <a:gd name="T27" fmla="*/ 2934 h 700"/>
                  <a:gd name="T28" fmla="*/ 54504 w 784"/>
                  <a:gd name="T29" fmla="*/ 3358 h 700"/>
                  <a:gd name="T30" fmla="*/ 56928 w 784"/>
                  <a:gd name="T31" fmla="*/ 4511 h 700"/>
                  <a:gd name="T32" fmla="*/ 60922 w 784"/>
                  <a:gd name="T33" fmla="*/ 6495 h 700"/>
                  <a:gd name="T34" fmla="*/ 60922 w 784"/>
                  <a:gd name="T35" fmla="*/ 7161 h 700"/>
                  <a:gd name="T36" fmla="*/ 62126 w 784"/>
                  <a:gd name="T37" fmla="*/ 8901 h 700"/>
                  <a:gd name="T38" fmla="*/ 60526 w 784"/>
                  <a:gd name="T39" fmla="*/ 10423 h 700"/>
                  <a:gd name="T40" fmla="*/ 62635 w 784"/>
                  <a:gd name="T41" fmla="*/ 11693 h 700"/>
                  <a:gd name="T42" fmla="*/ 67440 w 784"/>
                  <a:gd name="T43" fmla="*/ 12377 h 700"/>
                  <a:gd name="T44" fmla="*/ 64551 w 784"/>
                  <a:gd name="T45" fmla="*/ 13967 h 700"/>
                  <a:gd name="T46" fmla="*/ 51025 w 784"/>
                  <a:gd name="T47" fmla="*/ 16457 h 700"/>
                  <a:gd name="T48" fmla="*/ 42700 w 784"/>
                  <a:gd name="T49" fmla="*/ 17295 h 700"/>
                  <a:gd name="T50" fmla="*/ 40239 w 784"/>
                  <a:gd name="T51" fmla="*/ 17557 h 700"/>
                  <a:gd name="T52" fmla="*/ 39901 w 784"/>
                  <a:gd name="T53" fmla="*/ 17036 h 700"/>
                  <a:gd name="T54" fmla="*/ 39982 w 784"/>
                  <a:gd name="T55" fmla="*/ 16793 h 700"/>
                  <a:gd name="T56" fmla="*/ 38967 w 784"/>
                  <a:gd name="T57" fmla="*/ 16586 h 700"/>
                  <a:gd name="T58" fmla="*/ 37172 w 784"/>
                  <a:gd name="T59" fmla="*/ 16399 h 700"/>
                  <a:gd name="T60" fmla="*/ 35203 w 784"/>
                  <a:gd name="T61" fmla="*/ 16188 h 700"/>
                  <a:gd name="T62" fmla="*/ 33840 w 784"/>
                  <a:gd name="T63" fmla="*/ 15811 h 700"/>
                  <a:gd name="T64" fmla="*/ 32629 w 784"/>
                  <a:gd name="T65" fmla="*/ 15438 h 700"/>
                  <a:gd name="T66" fmla="*/ 4190 w 784"/>
                  <a:gd name="T67" fmla="*/ 10304 h 700"/>
                  <a:gd name="T68" fmla="*/ 2798 w 784"/>
                  <a:gd name="T69" fmla="*/ 7432 h 700"/>
                  <a:gd name="T70" fmla="*/ 5136 w 784"/>
                  <a:gd name="T71" fmla="*/ 7152 h 700"/>
                  <a:gd name="T72" fmla="*/ 6959 w 784"/>
                  <a:gd name="T73" fmla="*/ 7161 h 700"/>
                  <a:gd name="T74" fmla="*/ 8955 w 784"/>
                  <a:gd name="T75" fmla="*/ 7015 h 700"/>
                  <a:gd name="T76" fmla="*/ 11792 w 784"/>
                  <a:gd name="T77" fmla="*/ 6642 h 700"/>
                  <a:gd name="T78" fmla="*/ 14028 w 784"/>
                  <a:gd name="T79" fmla="*/ 6202 h 700"/>
                  <a:gd name="T80" fmla="*/ 16560 w 784"/>
                  <a:gd name="T81" fmla="*/ 5758 h 700"/>
                  <a:gd name="T82" fmla="*/ 16310 w 784"/>
                  <a:gd name="T83" fmla="*/ 5546 h 700"/>
                  <a:gd name="T84" fmla="*/ 16265 w 784"/>
                  <a:gd name="T85" fmla="*/ 5337 h 700"/>
                  <a:gd name="T86" fmla="*/ 17711 w 784"/>
                  <a:gd name="T87" fmla="*/ 5223 h 700"/>
                  <a:gd name="T88" fmla="*/ 19240 w 784"/>
                  <a:gd name="T89" fmla="*/ 4860 h 700"/>
                  <a:gd name="T90" fmla="*/ 20299 w 784"/>
                  <a:gd name="T91" fmla="*/ 4790 h 700"/>
                  <a:gd name="T92" fmla="*/ 24824 w 784"/>
                  <a:gd name="T93" fmla="*/ 4724 h 700"/>
                  <a:gd name="T94" fmla="*/ 25234 w 784"/>
                  <a:gd name="T95" fmla="*/ 4552 h 700"/>
                  <a:gd name="T96" fmla="*/ 24824 w 784"/>
                  <a:gd name="T97" fmla="*/ 4183 h 700"/>
                  <a:gd name="T98" fmla="*/ 24111 w 784"/>
                  <a:gd name="T99" fmla="*/ 3611 h 700"/>
                  <a:gd name="T100" fmla="*/ 23861 w 784"/>
                  <a:gd name="T101" fmla="*/ 3205 h 700"/>
                  <a:gd name="T102" fmla="*/ 23861 w 784"/>
                  <a:gd name="T103" fmla="*/ 2567 h 700"/>
                  <a:gd name="T104" fmla="*/ 23580 w 784"/>
                  <a:gd name="T105" fmla="*/ 2329 h 7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84"/>
                  <a:gd name="T160" fmla="*/ 0 h 700"/>
                  <a:gd name="T161" fmla="*/ 784 w 784"/>
                  <a:gd name="T162" fmla="*/ 700 h 7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84" h="700">
                    <a:moveTo>
                      <a:pt x="257" y="85"/>
                    </a:moveTo>
                    <a:lnTo>
                      <a:pt x="256" y="81"/>
                    </a:lnTo>
                    <a:lnTo>
                      <a:pt x="256" y="79"/>
                    </a:lnTo>
                    <a:lnTo>
                      <a:pt x="261" y="78"/>
                    </a:lnTo>
                    <a:lnTo>
                      <a:pt x="271" y="75"/>
                    </a:lnTo>
                    <a:lnTo>
                      <a:pt x="282" y="70"/>
                    </a:lnTo>
                    <a:lnTo>
                      <a:pt x="293" y="57"/>
                    </a:lnTo>
                    <a:lnTo>
                      <a:pt x="302" y="52"/>
                    </a:lnTo>
                    <a:lnTo>
                      <a:pt x="309" y="51"/>
                    </a:lnTo>
                    <a:lnTo>
                      <a:pt x="313" y="52"/>
                    </a:lnTo>
                    <a:lnTo>
                      <a:pt x="320" y="47"/>
                    </a:lnTo>
                    <a:lnTo>
                      <a:pt x="329" y="50"/>
                    </a:lnTo>
                    <a:lnTo>
                      <a:pt x="336" y="47"/>
                    </a:lnTo>
                    <a:lnTo>
                      <a:pt x="340" y="41"/>
                    </a:lnTo>
                    <a:lnTo>
                      <a:pt x="347" y="37"/>
                    </a:lnTo>
                    <a:lnTo>
                      <a:pt x="350" y="35"/>
                    </a:lnTo>
                    <a:lnTo>
                      <a:pt x="357" y="34"/>
                    </a:lnTo>
                    <a:lnTo>
                      <a:pt x="363" y="29"/>
                    </a:lnTo>
                    <a:lnTo>
                      <a:pt x="383" y="23"/>
                    </a:lnTo>
                    <a:lnTo>
                      <a:pt x="391" y="20"/>
                    </a:lnTo>
                    <a:lnTo>
                      <a:pt x="428" y="18"/>
                    </a:lnTo>
                    <a:lnTo>
                      <a:pt x="437" y="19"/>
                    </a:lnTo>
                    <a:lnTo>
                      <a:pt x="444" y="16"/>
                    </a:lnTo>
                    <a:lnTo>
                      <a:pt x="450" y="11"/>
                    </a:lnTo>
                    <a:lnTo>
                      <a:pt x="455" y="13"/>
                    </a:lnTo>
                    <a:lnTo>
                      <a:pt x="464" y="13"/>
                    </a:lnTo>
                    <a:lnTo>
                      <a:pt x="467" y="13"/>
                    </a:lnTo>
                    <a:lnTo>
                      <a:pt x="474" y="13"/>
                    </a:lnTo>
                    <a:lnTo>
                      <a:pt x="485" y="8"/>
                    </a:lnTo>
                    <a:lnTo>
                      <a:pt x="497" y="8"/>
                    </a:lnTo>
                    <a:lnTo>
                      <a:pt x="507" y="8"/>
                    </a:lnTo>
                    <a:lnTo>
                      <a:pt x="525" y="9"/>
                    </a:lnTo>
                    <a:lnTo>
                      <a:pt x="530" y="13"/>
                    </a:lnTo>
                    <a:lnTo>
                      <a:pt x="539" y="16"/>
                    </a:lnTo>
                    <a:lnTo>
                      <a:pt x="546" y="13"/>
                    </a:lnTo>
                    <a:lnTo>
                      <a:pt x="552" y="11"/>
                    </a:lnTo>
                    <a:lnTo>
                      <a:pt x="563" y="9"/>
                    </a:lnTo>
                    <a:lnTo>
                      <a:pt x="572" y="7"/>
                    </a:lnTo>
                    <a:lnTo>
                      <a:pt x="578" y="0"/>
                    </a:lnTo>
                    <a:lnTo>
                      <a:pt x="586" y="3"/>
                    </a:lnTo>
                    <a:lnTo>
                      <a:pt x="593" y="6"/>
                    </a:lnTo>
                    <a:lnTo>
                      <a:pt x="596" y="6"/>
                    </a:lnTo>
                    <a:lnTo>
                      <a:pt x="603" y="8"/>
                    </a:lnTo>
                    <a:lnTo>
                      <a:pt x="611" y="6"/>
                    </a:lnTo>
                    <a:lnTo>
                      <a:pt x="615" y="1"/>
                    </a:lnTo>
                    <a:lnTo>
                      <a:pt x="629" y="4"/>
                    </a:lnTo>
                    <a:lnTo>
                      <a:pt x="635" y="9"/>
                    </a:lnTo>
                    <a:lnTo>
                      <a:pt x="642" y="8"/>
                    </a:lnTo>
                    <a:lnTo>
                      <a:pt x="649" y="6"/>
                    </a:lnTo>
                    <a:lnTo>
                      <a:pt x="659" y="7"/>
                    </a:lnTo>
                    <a:lnTo>
                      <a:pt x="668" y="6"/>
                    </a:lnTo>
                    <a:lnTo>
                      <a:pt x="667" y="9"/>
                    </a:lnTo>
                    <a:lnTo>
                      <a:pt x="663" y="11"/>
                    </a:lnTo>
                    <a:lnTo>
                      <a:pt x="659" y="14"/>
                    </a:lnTo>
                    <a:lnTo>
                      <a:pt x="653" y="19"/>
                    </a:lnTo>
                    <a:lnTo>
                      <a:pt x="651" y="23"/>
                    </a:lnTo>
                    <a:lnTo>
                      <a:pt x="656" y="24"/>
                    </a:lnTo>
                    <a:lnTo>
                      <a:pt x="657" y="26"/>
                    </a:lnTo>
                    <a:lnTo>
                      <a:pt x="653" y="45"/>
                    </a:lnTo>
                    <a:lnTo>
                      <a:pt x="653" y="49"/>
                    </a:lnTo>
                    <a:lnTo>
                      <a:pt x="654" y="55"/>
                    </a:lnTo>
                    <a:lnTo>
                      <a:pt x="654" y="67"/>
                    </a:lnTo>
                    <a:lnTo>
                      <a:pt x="658" y="71"/>
                    </a:lnTo>
                    <a:lnTo>
                      <a:pt x="658" y="75"/>
                    </a:lnTo>
                    <a:lnTo>
                      <a:pt x="653" y="90"/>
                    </a:lnTo>
                    <a:lnTo>
                      <a:pt x="649" y="97"/>
                    </a:lnTo>
                    <a:lnTo>
                      <a:pt x="636" y="105"/>
                    </a:lnTo>
                    <a:lnTo>
                      <a:pt x="635" y="111"/>
                    </a:lnTo>
                    <a:lnTo>
                      <a:pt x="628" y="112"/>
                    </a:lnTo>
                    <a:lnTo>
                      <a:pt x="625" y="117"/>
                    </a:lnTo>
                    <a:lnTo>
                      <a:pt x="616" y="123"/>
                    </a:lnTo>
                    <a:lnTo>
                      <a:pt x="615" y="123"/>
                    </a:lnTo>
                    <a:lnTo>
                      <a:pt x="616" y="126"/>
                    </a:lnTo>
                    <a:lnTo>
                      <a:pt x="621" y="133"/>
                    </a:lnTo>
                    <a:lnTo>
                      <a:pt x="625" y="149"/>
                    </a:lnTo>
                    <a:lnTo>
                      <a:pt x="638" y="154"/>
                    </a:lnTo>
                    <a:lnTo>
                      <a:pt x="642" y="157"/>
                    </a:lnTo>
                    <a:lnTo>
                      <a:pt x="647" y="168"/>
                    </a:lnTo>
                    <a:lnTo>
                      <a:pt x="647" y="180"/>
                    </a:lnTo>
                    <a:lnTo>
                      <a:pt x="661" y="186"/>
                    </a:lnTo>
                    <a:lnTo>
                      <a:pt x="677" y="195"/>
                    </a:lnTo>
                    <a:lnTo>
                      <a:pt x="680" y="195"/>
                    </a:lnTo>
                    <a:lnTo>
                      <a:pt x="689" y="237"/>
                    </a:lnTo>
                    <a:lnTo>
                      <a:pt x="692" y="260"/>
                    </a:lnTo>
                    <a:lnTo>
                      <a:pt x="694" y="263"/>
                    </a:lnTo>
                    <a:lnTo>
                      <a:pt x="692" y="263"/>
                    </a:lnTo>
                    <a:lnTo>
                      <a:pt x="685" y="269"/>
                    </a:lnTo>
                    <a:lnTo>
                      <a:pt x="685" y="279"/>
                    </a:lnTo>
                    <a:lnTo>
                      <a:pt x="692" y="287"/>
                    </a:lnTo>
                    <a:lnTo>
                      <a:pt x="701" y="300"/>
                    </a:lnTo>
                    <a:lnTo>
                      <a:pt x="705" y="315"/>
                    </a:lnTo>
                    <a:lnTo>
                      <a:pt x="706" y="329"/>
                    </a:lnTo>
                    <a:lnTo>
                      <a:pt x="705" y="347"/>
                    </a:lnTo>
                    <a:lnTo>
                      <a:pt x="707" y="353"/>
                    </a:lnTo>
                    <a:lnTo>
                      <a:pt x="707" y="361"/>
                    </a:lnTo>
                    <a:lnTo>
                      <a:pt x="705" y="375"/>
                    </a:lnTo>
                    <a:lnTo>
                      <a:pt x="704" y="410"/>
                    </a:lnTo>
                    <a:lnTo>
                      <a:pt x="698" y="414"/>
                    </a:lnTo>
                    <a:lnTo>
                      <a:pt x="690" y="416"/>
                    </a:lnTo>
                    <a:lnTo>
                      <a:pt x="689" y="421"/>
                    </a:lnTo>
                    <a:lnTo>
                      <a:pt x="692" y="430"/>
                    </a:lnTo>
                    <a:lnTo>
                      <a:pt x="706" y="444"/>
                    </a:lnTo>
                    <a:lnTo>
                      <a:pt x="712" y="454"/>
                    </a:lnTo>
                    <a:lnTo>
                      <a:pt x="714" y="467"/>
                    </a:lnTo>
                    <a:lnTo>
                      <a:pt x="715" y="474"/>
                    </a:lnTo>
                    <a:lnTo>
                      <a:pt x="725" y="485"/>
                    </a:lnTo>
                    <a:lnTo>
                      <a:pt x="739" y="485"/>
                    </a:lnTo>
                    <a:lnTo>
                      <a:pt x="746" y="485"/>
                    </a:lnTo>
                    <a:lnTo>
                      <a:pt x="766" y="493"/>
                    </a:lnTo>
                    <a:lnTo>
                      <a:pt x="780" y="512"/>
                    </a:lnTo>
                    <a:lnTo>
                      <a:pt x="783" y="521"/>
                    </a:lnTo>
                    <a:lnTo>
                      <a:pt x="784" y="526"/>
                    </a:lnTo>
                    <a:lnTo>
                      <a:pt x="765" y="538"/>
                    </a:lnTo>
                    <a:lnTo>
                      <a:pt x="735" y="558"/>
                    </a:lnTo>
                    <a:lnTo>
                      <a:pt x="704" y="577"/>
                    </a:lnTo>
                    <a:lnTo>
                      <a:pt x="673" y="597"/>
                    </a:lnTo>
                    <a:lnTo>
                      <a:pt x="642" y="618"/>
                    </a:lnTo>
                    <a:lnTo>
                      <a:pt x="612" y="638"/>
                    </a:lnTo>
                    <a:lnTo>
                      <a:pt x="581" y="658"/>
                    </a:lnTo>
                    <a:lnTo>
                      <a:pt x="550" y="678"/>
                    </a:lnTo>
                    <a:lnTo>
                      <a:pt x="541" y="681"/>
                    </a:lnTo>
                    <a:lnTo>
                      <a:pt x="497" y="692"/>
                    </a:lnTo>
                    <a:lnTo>
                      <a:pt x="491" y="692"/>
                    </a:lnTo>
                    <a:lnTo>
                      <a:pt x="486" y="692"/>
                    </a:lnTo>
                    <a:lnTo>
                      <a:pt x="479" y="696"/>
                    </a:lnTo>
                    <a:lnTo>
                      <a:pt x="474" y="697"/>
                    </a:lnTo>
                    <a:lnTo>
                      <a:pt x="467" y="700"/>
                    </a:lnTo>
                    <a:lnTo>
                      <a:pt x="462" y="700"/>
                    </a:lnTo>
                    <a:lnTo>
                      <a:pt x="459" y="700"/>
                    </a:lnTo>
                    <a:lnTo>
                      <a:pt x="453" y="694"/>
                    </a:lnTo>
                    <a:lnTo>
                      <a:pt x="453" y="691"/>
                    </a:lnTo>
                    <a:lnTo>
                      <a:pt x="454" y="687"/>
                    </a:lnTo>
                    <a:lnTo>
                      <a:pt x="454" y="682"/>
                    </a:lnTo>
                    <a:lnTo>
                      <a:pt x="454" y="681"/>
                    </a:lnTo>
                    <a:lnTo>
                      <a:pt x="456" y="680"/>
                    </a:lnTo>
                    <a:lnTo>
                      <a:pt x="456" y="678"/>
                    </a:lnTo>
                    <a:lnTo>
                      <a:pt x="455" y="675"/>
                    </a:lnTo>
                    <a:lnTo>
                      <a:pt x="455" y="673"/>
                    </a:lnTo>
                    <a:lnTo>
                      <a:pt x="456" y="671"/>
                    </a:lnTo>
                    <a:lnTo>
                      <a:pt x="455" y="668"/>
                    </a:lnTo>
                    <a:lnTo>
                      <a:pt x="454" y="666"/>
                    </a:lnTo>
                    <a:lnTo>
                      <a:pt x="454" y="665"/>
                    </a:lnTo>
                    <a:lnTo>
                      <a:pt x="450" y="663"/>
                    </a:lnTo>
                    <a:lnTo>
                      <a:pt x="444" y="662"/>
                    </a:lnTo>
                    <a:lnTo>
                      <a:pt x="439" y="658"/>
                    </a:lnTo>
                    <a:lnTo>
                      <a:pt x="436" y="658"/>
                    </a:lnTo>
                    <a:lnTo>
                      <a:pt x="433" y="658"/>
                    </a:lnTo>
                    <a:lnTo>
                      <a:pt x="425" y="658"/>
                    </a:lnTo>
                    <a:lnTo>
                      <a:pt x="422" y="654"/>
                    </a:lnTo>
                    <a:lnTo>
                      <a:pt x="419" y="650"/>
                    </a:lnTo>
                    <a:lnTo>
                      <a:pt x="418" y="649"/>
                    </a:lnTo>
                    <a:lnTo>
                      <a:pt x="411" y="650"/>
                    </a:lnTo>
                    <a:lnTo>
                      <a:pt x="406" y="649"/>
                    </a:lnTo>
                    <a:lnTo>
                      <a:pt x="402" y="647"/>
                    </a:lnTo>
                    <a:lnTo>
                      <a:pt x="396" y="643"/>
                    </a:lnTo>
                    <a:lnTo>
                      <a:pt x="395" y="640"/>
                    </a:lnTo>
                    <a:lnTo>
                      <a:pt x="395" y="635"/>
                    </a:lnTo>
                    <a:lnTo>
                      <a:pt x="393" y="634"/>
                    </a:lnTo>
                    <a:lnTo>
                      <a:pt x="385" y="631"/>
                    </a:lnTo>
                    <a:lnTo>
                      <a:pt x="380" y="630"/>
                    </a:lnTo>
                    <a:lnTo>
                      <a:pt x="374" y="628"/>
                    </a:lnTo>
                    <a:lnTo>
                      <a:pt x="374" y="624"/>
                    </a:lnTo>
                    <a:lnTo>
                      <a:pt x="376" y="620"/>
                    </a:lnTo>
                    <a:lnTo>
                      <a:pt x="373" y="617"/>
                    </a:lnTo>
                    <a:lnTo>
                      <a:pt x="373" y="613"/>
                    </a:lnTo>
                    <a:lnTo>
                      <a:pt x="188" y="495"/>
                    </a:lnTo>
                    <a:lnTo>
                      <a:pt x="142" y="467"/>
                    </a:lnTo>
                    <a:lnTo>
                      <a:pt x="89" y="435"/>
                    </a:lnTo>
                    <a:lnTo>
                      <a:pt x="47" y="410"/>
                    </a:lnTo>
                    <a:lnTo>
                      <a:pt x="0" y="383"/>
                    </a:lnTo>
                    <a:lnTo>
                      <a:pt x="0" y="362"/>
                    </a:lnTo>
                    <a:lnTo>
                      <a:pt x="0" y="319"/>
                    </a:lnTo>
                    <a:lnTo>
                      <a:pt x="19" y="306"/>
                    </a:lnTo>
                    <a:lnTo>
                      <a:pt x="32" y="298"/>
                    </a:lnTo>
                    <a:lnTo>
                      <a:pt x="41" y="298"/>
                    </a:lnTo>
                    <a:lnTo>
                      <a:pt x="46" y="294"/>
                    </a:lnTo>
                    <a:lnTo>
                      <a:pt x="52" y="293"/>
                    </a:lnTo>
                    <a:lnTo>
                      <a:pt x="55" y="288"/>
                    </a:lnTo>
                    <a:lnTo>
                      <a:pt x="58" y="285"/>
                    </a:lnTo>
                    <a:lnTo>
                      <a:pt x="63" y="287"/>
                    </a:lnTo>
                    <a:lnTo>
                      <a:pt x="68" y="285"/>
                    </a:lnTo>
                    <a:lnTo>
                      <a:pt x="72" y="288"/>
                    </a:lnTo>
                    <a:lnTo>
                      <a:pt x="79" y="288"/>
                    </a:lnTo>
                    <a:lnTo>
                      <a:pt x="79" y="287"/>
                    </a:lnTo>
                    <a:lnTo>
                      <a:pt x="79" y="282"/>
                    </a:lnTo>
                    <a:lnTo>
                      <a:pt x="80" y="279"/>
                    </a:lnTo>
                    <a:lnTo>
                      <a:pt x="92" y="280"/>
                    </a:lnTo>
                    <a:lnTo>
                      <a:pt x="95" y="279"/>
                    </a:lnTo>
                    <a:lnTo>
                      <a:pt x="102" y="279"/>
                    </a:lnTo>
                    <a:lnTo>
                      <a:pt x="113" y="277"/>
                    </a:lnTo>
                    <a:lnTo>
                      <a:pt x="125" y="274"/>
                    </a:lnTo>
                    <a:lnTo>
                      <a:pt x="130" y="270"/>
                    </a:lnTo>
                    <a:lnTo>
                      <a:pt x="134" y="267"/>
                    </a:lnTo>
                    <a:lnTo>
                      <a:pt x="135" y="263"/>
                    </a:lnTo>
                    <a:lnTo>
                      <a:pt x="135" y="262"/>
                    </a:lnTo>
                    <a:lnTo>
                      <a:pt x="138" y="257"/>
                    </a:lnTo>
                    <a:lnTo>
                      <a:pt x="145" y="253"/>
                    </a:lnTo>
                    <a:lnTo>
                      <a:pt x="154" y="249"/>
                    </a:lnTo>
                    <a:lnTo>
                      <a:pt x="159" y="249"/>
                    </a:lnTo>
                    <a:lnTo>
                      <a:pt x="178" y="237"/>
                    </a:lnTo>
                    <a:lnTo>
                      <a:pt x="192" y="236"/>
                    </a:lnTo>
                    <a:lnTo>
                      <a:pt x="195" y="234"/>
                    </a:lnTo>
                    <a:lnTo>
                      <a:pt x="194" y="232"/>
                    </a:lnTo>
                    <a:lnTo>
                      <a:pt x="190" y="229"/>
                    </a:lnTo>
                    <a:lnTo>
                      <a:pt x="189" y="227"/>
                    </a:lnTo>
                    <a:lnTo>
                      <a:pt x="188" y="227"/>
                    </a:lnTo>
                    <a:lnTo>
                      <a:pt x="186" y="229"/>
                    </a:lnTo>
                    <a:lnTo>
                      <a:pt x="185" y="229"/>
                    </a:lnTo>
                    <a:lnTo>
                      <a:pt x="186" y="222"/>
                    </a:lnTo>
                    <a:lnTo>
                      <a:pt x="189" y="219"/>
                    </a:lnTo>
                    <a:lnTo>
                      <a:pt x="189" y="218"/>
                    </a:lnTo>
                    <a:lnTo>
                      <a:pt x="185" y="217"/>
                    </a:lnTo>
                    <a:lnTo>
                      <a:pt x="185" y="216"/>
                    </a:lnTo>
                    <a:lnTo>
                      <a:pt x="185" y="212"/>
                    </a:lnTo>
                    <a:lnTo>
                      <a:pt x="186" y="209"/>
                    </a:lnTo>
                    <a:lnTo>
                      <a:pt x="189" y="206"/>
                    </a:lnTo>
                    <a:lnTo>
                      <a:pt x="192" y="206"/>
                    </a:lnTo>
                    <a:lnTo>
                      <a:pt x="197" y="208"/>
                    </a:lnTo>
                    <a:lnTo>
                      <a:pt x="202" y="208"/>
                    </a:lnTo>
                    <a:lnTo>
                      <a:pt x="208" y="206"/>
                    </a:lnTo>
                    <a:lnTo>
                      <a:pt x="218" y="202"/>
                    </a:lnTo>
                    <a:lnTo>
                      <a:pt x="219" y="201"/>
                    </a:lnTo>
                    <a:lnTo>
                      <a:pt x="219" y="198"/>
                    </a:lnTo>
                    <a:lnTo>
                      <a:pt x="219" y="195"/>
                    </a:lnTo>
                    <a:lnTo>
                      <a:pt x="221" y="191"/>
                    </a:lnTo>
                    <a:lnTo>
                      <a:pt x="223" y="191"/>
                    </a:lnTo>
                    <a:lnTo>
                      <a:pt x="227" y="191"/>
                    </a:lnTo>
                    <a:lnTo>
                      <a:pt x="230" y="191"/>
                    </a:lnTo>
                    <a:lnTo>
                      <a:pt x="233" y="191"/>
                    </a:lnTo>
                    <a:lnTo>
                      <a:pt x="240" y="188"/>
                    </a:lnTo>
                    <a:lnTo>
                      <a:pt x="261" y="188"/>
                    </a:lnTo>
                    <a:lnTo>
                      <a:pt x="265" y="188"/>
                    </a:lnTo>
                    <a:lnTo>
                      <a:pt x="272" y="188"/>
                    </a:lnTo>
                    <a:lnTo>
                      <a:pt x="282" y="188"/>
                    </a:lnTo>
                    <a:lnTo>
                      <a:pt x="287" y="191"/>
                    </a:lnTo>
                    <a:lnTo>
                      <a:pt x="288" y="190"/>
                    </a:lnTo>
                    <a:lnTo>
                      <a:pt x="288" y="188"/>
                    </a:lnTo>
                    <a:lnTo>
                      <a:pt x="287" y="186"/>
                    </a:lnTo>
                    <a:lnTo>
                      <a:pt x="287" y="181"/>
                    </a:lnTo>
                    <a:lnTo>
                      <a:pt x="290" y="177"/>
                    </a:lnTo>
                    <a:lnTo>
                      <a:pt x="293" y="176"/>
                    </a:lnTo>
                    <a:lnTo>
                      <a:pt x="293" y="175"/>
                    </a:lnTo>
                    <a:lnTo>
                      <a:pt x="288" y="173"/>
                    </a:lnTo>
                    <a:lnTo>
                      <a:pt x="282" y="167"/>
                    </a:lnTo>
                    <a:lnTo>
                      <a:pt x="277" y="159"/>
                    </a:lnTo>
                    <a:lnTo>
                      <a:pt x="277" y="154"/>
                    </a:lnTo>
                    <a:lnTo>
                      <a:pt x="275" y="150"/>
                    </a:lnTo>
                    <a:lnTo>
                      <a:pt x="274" y="146"/>
                    </a:lnTo>
                    <a:lnTo>
                      <a:pt x="274" y="143"/>
                    </a:lnTo>
                    <a:lnTo>
                      <a:pt x="275" y="140"/>
                    </a:lnTo>
                    <a:lnTo>
                      <a:pt x="275" y="137"/>
                    </a:lnTo>
                    <a:lnTo>
                      <a:pt x="275" y="135"/>
                    </a:lnTo>
                    <a:lnTo>
                      <a:pt x="271" y="130"/>
                    </a:lnTo>
                    <a:lnTo>
                      <a:pt x="272" y="128"/>
                    </a:lnTo>
                    <a:lnTo>
                      <a:pt x="272" y="123"/>
                    </a:lnTo>
                    <a:lnTo>
                      <a:pt x="272" y="117"/>
                    </a:lnTo>
                    <a:lnTo>
                      <a:pt x="272" y="111"/>
                    </a:lnTo>
                    <a:lnTo>
                      <a:pt x="269" y="106"/>
                    </a:lnTo>
                    <a:lnTo>
                      <a:pt x="272" y="102"/>
                    </a:lnTo>
                    <a:lnTo>
                      <a:pt x="268" y="97"/>
                    </a:lnTo>
                    <a:lnTo>
                      <a:pt x="268" y="96"/>
                    </a:lnTo>
                    <a:lnTo>
                      <a:pt x="269" y="96"/>
                    </a:lnTo>
                    <a:lnTo>
                      <a:pt x="269" y="95"/>
                    </a:lnTo>
                    <a:lnTo>
                      <a:pt x="268" y="92"/>
                    </a:lnTo>
                    <a:lnTo>
                      <a:pt x="266" y="91"/>
                    </a:lnTo>
                    <a:lnTo>
                      <a:pt x="262" y="89"/>
                    </a:lnTo>
                    <a:lnTo>
                      <a:pt x="261" y="86"/>
                    </a:lnTo>
                    <a:lnTo>
                      <a:pt x="257" y="85"/>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14" name="Freeform 110"/>
              <p:cNvSpPr>
                <a:spLocks/>
              </p:cNvSpPr>
              <p:nvPr/>
            </p:nvSpPr>
            <p:spPr bwMode="auto">
              <a:xfrm>
                <a:off x="1280" y="1568"/>
                <a:ext cx="659" cy="478"/>
              </a:xfrm>
              <a:custGeom>
                <a:avLst/>
                <a:gdLst>
                  <a:gd name="T0" fmla="*/ 48480 w 615"/>
                  <a:gd name="T1" fmla="*/ 9698 h 455"/>
                  <a:gd name="T2" fmla="*/ 47728 w 615"/>
                  <a:gd name="T3" fmla="*/ 9930 h 455"/>
                  <a:gd name="T4" fmla="*/ 46381 w 615"/>
                  <a:gd name="T5" fmla="*/ 10053 h 455"/>
                  <a:gd name="T6" fmla="*/ 45315 w 615"/>
                  <a:gd name="T7" fmla="*/ 10257 h 455"/>
                  <a:gd name="T8" fmla="*/ 43630 w 615"/>
                  <a:gd name="T9" fmla="*/ 10195 h 455"/>
                  <a:gd name="T10" fmla="*/ 41305 w 615"/>
                  <a:gd name="T11" fmla="*/ 10126 h 455"/>
                  <a:gd name="T12" fmla="*/ 37663 w 615"/>
                  <a:gd name="T13" fmla="*/ 10188 h 455"/>
                  <a:gd name="T14" fmla="*/ 34872 w 615"/>
                  <a:gd name="T15" fmla="*/ 10699 h 455"/>
                  <a:gd name="T16" fmla="*/ 31627 w 615"/>
                  <a:gd name="T17" fmla="*/ 10576 h 455"/>
                  <a:gd name="T18" fmla="*/ 28137 w 615"/>
                  <a:gd name="T19" fmla="*/ 10184 h 455"/>
                  <a:gd name="T20" fmla="*/ 25923 w 615"/>
                  <a:gd name="T21" fmla="*/ 10557 h 455"/>
                  <a:gd name="T22" fmla="*/ 24580 w 615"/>
                  <a:gd name="T23" fmla="*/ 10336 h 455"/>
                  <a:gd name="T24" fmla="*/ 19663 w 615"/>
                  <a:gd name="T25" fmla="*/ 9698 h 455"/>
                  <a:gd name="T26" fmla="*/ 17427 w 615"/>
                  <a:gd name="T27" fmla="*/ 9755 h 455"/>
                  <a:gd name="T28" fmla="*/ 14921 w 615"/>
                  <a:gd name="T29" fmla="*/ 10126 h 455"/>
                  <a:gd name="T30" fmla="*/ 13919 w 615"/>
                  <a:gd name="T31" fmla="*/ 10775 h 455"/>
                  <a:gd name="T32" fmla="*/ 12995 w 615"/>
                  <a:gd name="T33" fmla="*/ 11054 h 455"/>
                  <a:gd name="T34" fmla="*/ 12995 w 615"/>
                  <a:gd name="T35" fmla="*/ 11808 h 455"/>
                  <a:gd name="T36" fmla="*/ 11203 w 615"/>
                  <a:gd name="T37" fmla="*/ 11311 h 455"/>
                  <a:gd name="T38" fmla="*/ 9464 w 615"/>
                  <a:gd name="T39" fmla="*/ 11176 h 455"/>
                  <a:gd name="T40" fmla="*/ 8582 w 615"/>
                  <a:gd name="T41" fmla="*/ 11310 h 455"/>
                  <a:gd name="T42" fmla="*/ 8508 w 615"/>
                  <a:gd name="T43" fmla="*/ 11525 h 455"/>
                  <a:gd name="T44" fmla="*/ 7178 w 615"/>
                  <a:gd name="T45" fmla="*/ 11176 h 455"/>
                  <a:gd name="T46" fmla="*/ 7940 w 615"/>
                  <a:gd name="T47" fmla="*/ 11095 h 455"/>
                  <a:gd name="T48" fmla="*/ 7474 w 615"/>
                  <a:gd name="T49" fmla="*/ 10775 h 455"/>
                  <a:gd name="T50" fmla="*/ 6509 w 615"/>
                  <a:gd name="T51" fmla="*/ 10850 h 455"/>
                  <a:gd name="T52" fmla="*/ 5290 w 615"/>
                  <a:gd name="T53" fmla="*/ 10775 h 455"/>
                  <a:gd name="T54" fmla="*/ 3852 w 615"/>
                  <a:gd name="T55" fmla="*/ 10418 h 455"/>
                  <a:gd name="T56" fmla="*/ 1803 w 615"/>
                  <a:gd name="T57" fmla="*/ 9755 h 455"/>
                  <a:gd name="T58" fmla="*/ 904 w 615"/>
                  <a:gd name="T59" fmla="*/ 9228 h 455"/>
                  <a:gd name="T60" fmla="*/ 0 w 615"/>
                  <a:gd name="T61" fmla="*/ 8915 h 455"/>
                  <a:gd name="T62" fmla="*/ 4 w 615"/>
                  <a:gd name="T63" fmla="*/ 8479 h 455"/>
                  <a:gd name="T64" fmla="*/ 10468 w 615"/>
                  <a:gd name="T65" fmla="*/ 8142 h 455"/>
                  <a:gd name="T66" fmla="*/ 11644 w 615"/>
                  <a:gd name="T67" fmla="*/ 8078 h 455"/>
                  <a:gd name="T68" fmla="*/ 12864 w 615"/>
                  <a:gd name="T69" fmla="*/ 7967 h 455"/>
                  <a:gd name="T70" fmla="*/ 13919 w 615"/>
                  <a:gd name="T71" fmla="*/ 7651 h 455"/>
                  <a:gd name="T72" fmla="*/ 15077 w 615"/>
                  <a:gd name="T73" fmla="*/ 7479 h 455"/>
                  <a:gd name="T74" fmla="*/ 15077 w 615"/>
                  <a:gd name="T75" fmla="*/ 4573 h 455"/>
                  <a:gd name="T76" fmla="*/ 15077 w 615"/>
                  <a:gd name="T77" fmla="*/ 4298 h 455"/>
                  <a:gd name="T78" fmla="*/ 20694 w 615"/>
                  <a:gd name="T79" fmla="*/ 4017 h 455"/>
                  <a:gd name="T80" fmla="*/ 29424 w 615"/>
                  <a:gd name="T81" fmla="*/ 2453 h 455"/>
                  <a:gd name="T82" fmla="*/ 38459 w 615"/>
                  <a:gd name="T83" fmla="*/ 886 h 455"/>
                  <a:gd name="T84" fmla="*/ 43284 w 615"/>
                  <a:gd name="T85" fmla="*/ 0 h 455"/>
                  <a:gd name="T86" fmla="*/ 48557 w 615"/>
                  <a:gd name="T87" fmla="*/ 0 h 455"/>
                  <a:gd name="T88" fmla="*/ 52123 w 615"/>
                  <a:gd name="T89" fmla="*/ 5 h 455"/>
                  <a:gd name="T90" fmla="*/ 53680 w 615"/>
                  <a:gd name="T91" fmla="*/ 383 h 455"/>
                  <a:gd name="T92" fmla="*/ 55037 w 615"/>
                  <a:gd name="T93" fmla="*/ 1949 h 455"/>
                  <a:gd name="T94" fmla="*/ 55665 w 615"/>
                  <a:gd name="T95" fmla="*/ 2261 h 455"/>
                  <a:gd name="T96" fmla="*/ 56413 w 615"/>
                  <a:gd name="T97" fmla="*/ 2658 h 455"/>
                  <a:gd name="T98" fmla="*/ 58829 w 615"/>
                  <a:gd name="T99" fmla="*/ 3081 h 455"/>
                  <a:gd name="T100" fmla="*/ 56566 w 615"/>
                  <a:gd name="T101" fmla="*/ 6576 h 455"/>
                  <a:gd name="T102" fmla="*/ 50218 w 615"/>
                  <a:gd name="T103" fmla="*/ 8667 h 455"/>
                  <a:gd name="T104" fmla="*/ 49401 w 615"/>
                  <a:gd name="T105" fmla="*/ 8840 h 455"/>
                  <a:gd name="T106" fmla="*/ 48873 w 615"/>
                  <a:gd name="T107" fmla="*/ 9195 h 455"/>
                  <a:gd name="T108" fmla="*/ 47814 w 615"/>
                  <a:gd name="T109" fmla="*/ 9366 h 4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15"/>
                  <a:gd name="T166" fmla="*/ 0 h 455"/>
                  <a:gd name="T167" fmla="*/ 615 w 615"/>
                  <a:gd name="T168" fmla="*/ 455 h 4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15" h="455">
                    <a:moveTo>
                      <a:pt x="500" y="366"/>
                    </a:moveTo>
                    <a:lnTo>
                      <a:pt x="503" y="369"/>
                    </a:lnTo>
                    <a:lnTo>
                      <a:pt x="506" y="374"/>
                    </a:lnTo>
                    <a:lnTo>
                      <a:pt x="505" y="376"/>
                    </a:lnTo>
                    <a:lnTo>
                      <a:pt x="504" y="376"/>
                    </a:lnTo>
                    <a:lnTo>
                      <a:pt x="499" y="384"/>
                    </a:lnTo>
                    <a:lnTo>
                      <a:pt x="495" y="384"/>
                    </a:lnTo>
                    <a:lnTo>
                      <a:pt x="490" y="384"/>
                    </a:lnTo>
                    <a:lnTo>
                      <a:pt x="485" y="387"/>
                    </a:lnTo>
                    <a:lnTo>
                      <a:pt x="485" y="388"/>
                    </a:lnTo>
                    <a:lnTo>
                      <a:pt x="479" y="395"/>
                    </a:lnTo>
                    <a:lnTo>
                      <a:pt x="473" y="397"/>
                    </a:lnTo>
                    <a:lnTo>
                      <a:pt x="466" y="399"/>
                    </a:lnTo>
                    <a:lnTo>
                      <a:pt x="463" y="395"/>
                    </a:lnTo>
                    <a:lnTo>
                      <a:pt x="456" y="394"/>
                    </a:lnTo>
                    <a:lnTo>
                      <a:pt x="451" y="390"/>
                    </a:lnTo>
                    <a:lnTo>
                      <a:pt x="446" y="390"/>
                    </a:lnTo>
                    <a:lnTo>
                      <a:pt x="432" y="390"/>
                    </a:lnTo>
                    <a:lnTo>
                      <a:pt x="425" y="393"/>
                    </a:lnTo>
                    <a:lnTo>
                      <a:pt x="412" y="392"/>
                    </a:lnTo>
                    <a:lnTo>
                      <a:pt x="394" y="393"/>
                    </a:lnTo>
                    <a:lnTo>
                      <a:pt x="387" y="395"/>
                    </a:lnTo>
                    <a:lnTo>
                      <a:pt x="377" y="405"/>
                    </a:lnTo>
                    <a:lnTo>
                      <a:pt x="365" y="412"/>
                    </a:lnTo>
                    <a:lnTo>
                      <a:pt x="357" y="414"/>
                    </a:lnTo>
                    <a:lnTo>
                      <a:pt x="339" y="410"/>
                    </a:lnTo>
                    <a:lnTo>
                      <a:pt x="332" y="409"/>
                    </a:lnTo>
                    <a:lnTo>
                      <a:pt x="316" y="399"/>
                    </a:lnTo>
                    <a:lnTo>
                      <a:pt x="303" y="392"/>
                    </a:lnTo>
                    <a:lnTo>
                      <a:pt x="294" y="392"/>
                    </a:lnTo>
                    <a:lnTo>
                      <a:pt x="288" y="394"/>
                    </a:lnTo>
                    <a:lnTo>
                      <a:pt x="277" y="400"/>
                    </a:lnTo>
                    <a:lnTo>
                      <a:pt x="271" y="406"/>
                    </a:lnTo>
                    <a:lnTo>
                      <a:pt x="265" y="406"/>
                    </a:lnTo>
                    <a:lnTo>
                      <a:pt x="262" y="404"/>
                    </a:lnTo>
                    <a:lnTo>
                      <a:pt x="257" y="400"/>
                    </a:lnTo>
                    <a:lnTo>
                      <a:pt x="242" y="387"/>
                    </a:lnTo>
                    <a:lnTo>
                      <a:pt x="216" y="374"/>
                    </a:lnTo>
                    <a:lnTo>
                      <a:pt x="205" y="374"/>
                    </a:lnTo>
                    <a:lnTo>
                      <a:pt x="199" y="376"/>
                    </a:lnTo>
                    <a:lnTo>
                      <a:pt x="194" y="377"/>
                    </a:lnTo>
                    <a:lnTo>
                      <a:pt x="183" y="376"/>
                    </a:lnTo>
                    <a:lnTo>
                      <a:pt x="169" y="379"/>
                    </a:lnTo>
                    <a:lnTo>
                      <a:pt x="157" y="388"/>
                    </a:lnTo>
                    <a:lnTo>
                      <a:pt x="156" y="390"/>
                    </a:lnTo>
                    <a:lnTo>
                      <a:pt x="153" y="403"/>
                    </a:lnTo>
                    <a:lnTo>
                      <a:pt x="148" y="412"/>
                    </a:lnTo>
                    <a:lnTo>
                      <a:pt x="145" y="417"/>
                    </a:lnTo>
                    <a:lnTo>
                      <a:pt x="141" y="419"/>
                    </a:lnTo>
                    <a:lnTo>
                      <a:pt x="137" y="422"/>
                    </a:lnTo>
                    <a:lnTo>
                      <a:pt x="136" y="426"/>
                    </a:lnTo>
                    <a:lnTo>
                      <a:pt x="135" y="431"/>
                    </a:lnTo>
                    <a:lnTo>
                      <a:pt x="136" y="448"/>
                    </a:lnTo>
                    <a:lnTo>
                      <a:pt x="136" y="455"/>
                    </a:lnTo>
                    <a:lnTo>
                      <a:pt x="130" y="448"/>
                    </a:lnTo>
                    <a:lnTo>
                      <a:pt x="125" y="445"/>
                    </a:lnTo>
                    <a:lnTo>
                      <a:pt x="116" y="437"/>
                    </a:lnTo>
                    <a:lnTo>
                      <a:pt x="109" y="429"/>
                    </a:lnTo>
                    <a:lnTo>
                      <a:pt x="106" y="428"/>
                    </a:lnTo>
                    <a:lnTo>
                      <a:pt x="100" y="431"/>
                    </a:lnTo>
                    <a:lnTo>
                      <a:pt x="97" y="431"/>
                    </a:lnTo>
                    <a:lnTo>
                      <a:pt x="89" y="434"/>
                    </a:lnTo>
                    <a:lnTo>
                      <a:pt x="90" y="436"/>
                    </a:lnTo>
                    <a:lnTo>
                      <a:pt x="93" y="443"/>
                    </a:lnTo>
                    <a:lnTo>
                      <a:pt x="90" y="445"/>
                    </a:lnTo>
                    <a:lnTo>
                      <a:pt x="89" y="445"/>
                    </a:lnTo>
                    <a:lnTo>
                      <a:pt x="82" y="438"/>
                    </a:lnTo>
                    <a:lnTo>
                      <a:pt x="77" y="432"/>
                    </a:lnTo>
                    <a:lnTo>
                      <a:pt x="76" y="431"/>
                    </a:lnTo>
                    <a:lnTo>
                      <a:pt x="77" y="428"/>
                    </a:lnTo>
                    <a:lnTo>
                      <a:pt x="80" y="427"/>
                    </a:lnTo>
                    <a:lnTo>
                      <a:pt x="83" y="428"/>
                    </a:lnTo>
                    <a:lnTo>
                      <a:pt x="85" y="426"/>
                    </a:lnTo>
                    <a:lnTo>
                      <a:pt x="83" y="425"/>
                    </a:lnTo>
                    <a:lnTo>
                      <a:pt x="78" y="417"/>
                    </a:lnTo>
                    <a:lnTo>
                      <a:pt x="75" y="416"/>
                    </a:lnTo>
                    <a:lnTo>
                      <a:pt x="71" y="416"/>
                    </a:lnTo>
                    <a:lnTo>
                      <a:pt x="68" y="419"/>
                    </a:lnTo>
                    <a:lnTo>
                      <a:pt x="65" y="421"/>
                    </a:lnTo>
                    <a:lnTo>
                      <a:pt x="63" y="421"/>
                    </a:lnTo>
                    <a:lnTo>
                      <a:pt x="55" y="417"/>
                    </a:lnTo>
                    <a:lnTo>
                      <a:pt x="50" y="416"/>
                    </a:lnTo>
                    <a:lnTo>
                      <a:pt x="42" y="406"/>
                    </a:lnTo>
                    <a:lnTo>
                      <a:pt x="40" y="402"/>
                    </a:lnTo>
                    <a:lnTo>
                      <a:pt x="35" y="392"/>
                    </a:lnTo>
                    <a:lnTo>
                      <a:pt x="30" y="386"/>
                    </a:lnTo>
                    <a:lnTo>
                      <a:pt x="19" y="376"/>
                    </a:lnTo>
                    <a:lnTo>
                      <a:pt x="10" y="366"/>
                    </a:lnTo>
                    <a:lnTo>
                      <a:pt x="9" y="361"/>
                    </a:lnTo>
                    <a:lnTo>
                      <a:pt x="9" y="355"/>
                    </a:lnTo>
                    <a:lnTo>
                      <a:pt x="7" y="353"/>
                    </a:lnTo>
                    <a:lnTo>
                      <a:pt x="1" y="348"/>
                    </a:lnTo>
                    <a:lnTo>
                      <a:pt x="0" y="346"/>
                    </a:lnTo>
                    <a:lnTo>
                      <a:pt x="2" y="339"/>
                    </a:lnTo>
                    <a:lnTo>
                      <a:pt x="2" y="332"/>
                    </a:lnTo>
                    <a:lnTo>
                      <a:pt x="4" y="328"/>
                    </a:lnTo>
                    <a:lnTo>
                      <a:pt x="29" y="328"/>
                    </a:lnTo>
                    <a:lnTo>
                      <a:pt x="47" y="315"/>
                    </a:lnTo>
                    <a:lnTo>
                      <a:pt x="109" y="314"/>
                    </a:lnTo>
                    <a:lnTo>
                      <a:pt x="113" y="315"/>
                    </a:lnTo>
                    <a:lnTo>
                      <a:pt x="113" y="311"/>
                    </a:lnTo>
                    <a:lnTo>
                      <a:pt x="123" y="313"/>
                    </a:lnTo>
                    <a:lnTo>
                      <a:pt x="130" y="314"/>
                    </a:lnTo>
                    <a:lnTo>
                      <a:pt x="130" y="311"/>
                    </a:lnTo>
                    <a:lnTo>
                      <a:pt x="133" y="308"/>
                    </a:lnTo>
                    <a:lnTo>
                      <a:pt x="135" y="306"/>
                    </a:lnTo>
                    <a:lnTo>
                      <a:pt x="144" y="301"/>
                    </a:lnTo>
                    <a:lnTo>
                      <a:pt x="145" y="296"/>
                    </a:lnTo>
                    <a:lnTo>
                      <a:pt x="147" y="292"/>
                    </a:lnTo>
                    <a:lnTo>
                      <a:pt x="153" y="288"/>
                    </a:lnTo>
                    <a:lnTo>
                      <a:pt x="157" y="287"/>
                    </a:lnTo>
                    <a:lnTo>
                      <a:pt x="157" y="250"/>
                    </a:lnTo>
                    <a:lnTo>
                      <a:pt x="157" y="214"/>
                    </a:lnTo>
                    <a:lnTo>
                      <a:pt x="157" y="177"/>
                    </a:lnTo>
                    <a:lnTo>
                      <a:pt x="157" y="170"/>
                    </a:lnTo>
                    <a:lnTo>
                      <a:pt x="157" y="167"/>
                    </a:lnTo>
                    <a:lnTo>
                      <a:pt x="162" y="167"/>
                    </a:lnTo>
                    <a:lnTo>
                      <a:pt x="207" y="157"/>
                    </a:lnTo>
                    <a:lnTo>
                      <a:pt x="216" y="154"/>
                    </a:lnTo>
                    <a:lnTo>
                      <a:pt x="247" y="134"/>
                    </a:lnTo>
                    <a:lnTo>
                      <a:pt x="278" y="113"/>
                    </a:lnTo>
                    <a:lnTo>
                      <a:pt x="308" y="94"/>
                    </a:lnTo>
                    <a:lnTo>
                      <a:pt x="339" y="74"/>
                    </a:lnTo>
                    <a:lnTo>
                      <a:pt x="370" y="53"/>
                    </a:lnTo>
                    <a:lnTo>
                      <a:pt x="401" y="34"/>
                    </a:lnTo>
                    <a:lnTo>
                      <a:pt x="432" y="14"/>
                    </a:lnTo>
                    <a:lnTo>
                      <a:pt x="450" y="2"/>
                    </a:lnTo>
                    <a:lnTo>
                      <a:pt x="453" y="0"/>
                    </a:lnTo>
                    <a:lnTo>
                      <a:pt x="456" y="0"/>
                    </a:lnTo>
                    <a:lnTo>
                      <a:pt x="477" y="0"/>
                    </a:lnTo>
                    <a:lnTo>
                      <a:pt x="507" y="0"/>
                    </a:lnTo>
                    <a:lnTo>
                      <a:pt x="536" y="2"/>
                    </a:lnTo>
                    <a:lnTo>
                      <a:pt x="542" y="4"/>
                    </a:lnTo>
                    <a:lnTo>
                      <a:pt x="545" y="5"/>
                    </a:lnTo>
                    <a:lnTo>
                      <a:pt x="548" y="9"/>
                    </a:lnTo>
                    <a:lnTo>
                      <a:pt x="558" y="14"/>
                    </a:lnTo>
                    <a:lnTo>
                      <a:pt x="561" y="15"/>
                    </a:lnTo>
                    <a:lnTo>
                      <a:pt x="564" y="22"/>
                    </a:lnTo>
                    <a:lnTo>
                      <a:pt x="577" y="19"/>
                    </a:lnTo>
                    <a:lnTo>
                      <a:pt x="577" y="75"/>
                    </a:lnTo>
                    <a:lnTo>
                      <a:pt x="578" y="78"/>
                    </a:lnTo>
                    <a:lnTo>
                      <a:pt x="581" y="85"/>
                    </a:lnTo>
                    <a:lnTo>
                      <a:pt x="581" y="87"/>
                    </a:lnTo>
                    <a:lnTo>
                      <a:pt x="585" y="93"/>
                    </a:lnTo>
                    <a:lnTo>
                      <a:pt x="587" y="99"/>
                    </a:lnTo>
                    <a:lnTo>
                      <a:pt x="590" y="103"/>
                    </a:lnTo>
                    <a:lnTo>
                      <a:pt x="594" y="108"/>
                    </a:lnTo>
                    <a:lnTo>
                      <a:pt x="599" y="111"/>
                    </a:lnTo>
                    <a:lnTo>
                      <a:pt x="615" y="119"/>
                    </a:lnTo>
                    <a:lnTo>
                      <a:pt x="604" y="135"/>
                    </a:lnTo>
                    <a:lnTo>
                      <a:pt x="594" y="188"/>
                    </a:lnTo>
                    <a:lnTo>
                      <a:pt x="591" y="254"/>
                    </a:lnTo>
                    <a:lnTo>
                      <a:pt x="589" y="257"/>
                    </a:lnTo>
                    <a:lnTo>
                      <a:pt x="525" y="325"/>
                    </a:lnTo>
                    <a:lnTo>
                      <a:pt x="525" y="332"/>
                    </a:lnTo>
                    <a:lnTo>
                      <a:pt x="522" y="333"/>
                    </a:lnTo>
                    <a:lnTo>
                      <a:pt x="522" y="340"/>
                    </a:lnTo>
                    <a:lnTo>
                      <a:pt x="516" y="342"/>
                    </a:lnTo>
                    <a:lnTo>
                      <a:pt x="513" y="345"/>
                    </a:lnTo>
                    <a:lnTo>
                      <a:pt x="514" y="352"/>
                    </a:lnTo>
                    <a:lnTo>
                      <a:pt x="511" y="354"/>
                    </a:lnTo>
                    <a:lnTo>
                      <a:pt x="508" y="355"/>
                    </a:lnTo>
                    <a:lnTo>
                      <a:pt x="504" y="358"/>
                    </a:lnTo>
                    <a:lnTo>
                      <a:pt x="500" y="363"/>
                    </a:lnTo>
                    <a:lnTo>
                      <a:pt x="500" y="366"/>
                    </a:lnTo>
                    <a:close/>
                  </a:path>
                </a:pathLst>
              </a:custGeom>
              <a:solidFill>
                <a:srgbClr val="D996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5" name="Freeform 111"/>
              <p:cNvSpPr>
                <a:spLocks/>
              </p:cNvSpPr>
              <p:nvPr/>
            </p:nvSpPr>
            <p:spPr bwMode="auto">
              <a:xfrm>
                <a:off x="1280" y="1568"/>
                <a:ext cx="659" cy="478"/>
              </a:xfrm>
              <a:custGeom>
                <a:avLst/>
                <a:gdLst>
                  <a:gd name="T0" fmla="*/ 48480 w 615"/>
                  <a:gd name="T1" fmla="*/ 9698 h 455"/>
                  <a:gd name="T2" fmla="*/ 47728 w 615"/>
                  <a:gd name="T3" fmla="*/ 9930 h 455"/>
                  <a:gd name="T4" fmla="*/ 46381 w 615"/>
                  <a:gd name="T5" fmla="*/ 10053 h 455"/>
                  <a:gd name="T6" fmla="*/ 45315 w 615"/>
                  <a:gd name="T7" fmla="*/ 10257 h 455"/>
                  <a:gd name="T8" fmla="*/ 43630 w 615"/>
                  <a:gd name="T9" fmla="*/ 10195 h 455"/>
                  <a:gd name="T10" fmla="*/ 41305 w 615"/>
                  <a:gd name="T11" fmla="*/ 10126 h 455"/>
                  <a:gd name="T12" fmla="*/ 37663 w 615"/>
                  <a:gd name="T13" fmla="*/ 10188 h 455"/>
                  <a:gd name="T14" fmla="*/ 34872 w 615"/>
                  <a:gd name="T15" fmla="*/ 10699 h 455"/>
                  <a:gd name="T16" fmla="*/ 31627 w 615"/>
                  <a:gd name="T17" fmla="*/ 10576 h 455"/>
                  <a:gd name="T18" fmla="*/ 28137 w 615"/>
                  <a:gd name="T19" fmla="*/ 10184 h 455"/>
                  <a:gd name="T20" fmla="*/ 25923 w 615"/>
                  <a:gd name="T21" fmla="*/ 10557 h 455"/>
                  <a:gd name="T22" fmla="*/ 24580 w 615"/>
                  <a:gd name="T23" fmla="*/ 10336 h 455"/>
                  <a:gd name="T24" fmla="*/ 19663 w 615"/>
                  <a:gd name="T25" fmla="*/ 9698 h 455"/>
                  <a:gd name="T26" fmla="*/ 17427 w 615"/>
                  <a:gd name="T27" fmla="*/ 9755 h 455"/>
                  <a:gd name="T28" fmla="*/ 14921 w 615"/>
                  <a:gd name="T29" fmla="*/ 10126 h 455"/>
                  <a:gd name="T30" fmla="*/ 13919 w 615"/>
                  <a:gd name="T31" fmla="*/ 10775 h 455"/>
                  <a:gd name="T32" fmla="*/ 12995 w 615"/>
                  <a:gd name="T33" fmla="*/ 11054 h 455"/>
                  <a:gd name="T34" fmla="*/ 12995 w 615"/>
                  <a:gd name="T35" fmla="*/ 11808 h 455"/>
                  <a:gd name="T36" fmla="*/ 11203 w 615"/>
                  <a:gd name="T37" fmla="*/ 11311 h 455"/>
                  <a:gd name="T38" fmla="*/ 9464 w 615"/>
                  <a:gd name="T39" fmla="*/ 11176 h 455"/>
                  <a:gd name="T40" fmla="*/ 8582 w 615"/>
                  <a:gd name="T41" fmla="*/ 11310 h 455"/>
                  <a:gd name="T42" fmla="*/ 8508 w 615"/>
                  <a:gd name="T43" fmla="*/ 11525 h 455"/>
                  <a:gd name="T44" fmla="*/ 7178 w 615"/>
                  <a:gd name="T45" fmla="*/ 11176 h 455"/>
                  <a:gd name="T46" fmla="*/ 7940 w 615"/>
                  <a:gd name="T47" fmla="*/ 11095 h 455"/>
                  <a:gd name="T48" fmla="*/ 7474 w 615"/>
                  <a:gd name="T49" fmla="*/ 10775 h 455"/>
                  <a:gd name="T50" fmla="*/ 6509 w 615"/>
                  <a:gd name="T51" fmla="*/ 10850 h 455"/>
                  <a:gd name="T52" fmla="*/ 5290 w 615"/>
                  <a:gd name="T53" fmla="*/ 10775 h 455"/>
                  <a:gd name="T54" fmla="*/ 3852 w 615"/>
                  <a:gd name="T55" fmla="*/ 10418 h 455"/>
                  <a:gd name="T56" fmla="*/ 1803 w 615"/>
                  <a:gd name="T57" fmla="*/ 9755 h 455"/>
                  <a:gd name="T58" fmla="*/ 904 w 615"/>
                  <a:gd name="T59" fmla="*/ 9228 h 455"/>
                  <a:gd name="T60" fmla="*/ 0 w 615"/>
                  <a:gd name="T61" fmla="*/ 8915 h 455"/>
                  <a:gd name="T62" fmla="*/ 4 w 615"/>
                  <a:gd name="T63" fmla="*/ 8479 h 455"/>
                  <a:gd name="T64" fmla="*/ 10468 w 615"/>
                  <a:gd name="T65" fmla="*/ 8142 h 455"/>
                  <a:gd name="T66" fmla="*/ 11644 w 615"/>
                  <a:gd name="T67" fmla="*/ 8078 h 455"/>
                  <a:gd name="T68" fmla="*/ 12864 w 615"/>
                  <a:gd name="T69" fmla="*/ 7967 h 455"/>
                  <a:gd name="T70" fmla="*/ 13919 w 615"/>
                  <a:gd name="T71" fmla="*/ 7651 h 455"/>
                  <a:gd name="T72" fmla="*/ 15077 w 615"/>
                  <a:gd name="T73" fmla="*/ 7479 h 455"/>
                  <a:gd name="T74" fmla="*/ 15077 w 615"/>
                  <a:gd name="T75" fmla="*/ 4573 h 455"/>
                  <a:gd name="T76" fmla="*/ 15077 w 615"/>
                  <a:gd name="T77" fmla="*/ 4298 h 455"/>
                  <a:gd name="T78" fmla="*/ 20694 w 615"/>
                  <a:gd name="T79" fmla="*/ 4017 h 455"/>
                  <a:gd name="T80" fmla="*/ 29424 w 615"/>
                  <a:gd name="T81" fmla="*/ 2453 h 455"/>
                  <a:gd name="T82" fmla="*/ 38459 w 615"/>
                  <a:gd name="T83" fmla="*/ 886 h 455"/>
                  <a:gd name="T84" fmla="*/ 43284 w 615"/>
                  <a:gd name="T85" fmla="*/ 0 h 455"/>
                  <a:gd name="T86" fmla="*/ 48557 w 615"/>
                  <a:gd name="T87" fmla="*/ 0 h 455"/>
                  <a:gd name="T88" fmla="*/ 52123 w 615"/>
                  <a:gd name="T89" fmla="*/ 5 h 455"/>
                  <a:gd name="T90" fmla="*/ 53680 w 615"/>
                  <a:gd name="T91" fmla="*/ 383 h 455"/>
                  <a:gd name="T92" fmla="*/ 55037 w 615"/>
                  <a:gd name="T93" fmla="*/ 1949 h 455"/>
                  <a:gd name="T94" fmla="*/ 55665 w 615"/>
                  <a:gd name="T95" fmla="*/ 2261 h 455"/>
                  <a:gd name="T96" fmla="*/ 56413 w 615"/>
                  <a:gd name="T97" fmla="*/ 2658 h 455"/>
                  <a:gd name="T98" fmla="*/ 58829 w 615"/>
                  <a:gd name="T99" fmla="*/ 3081 h 455"/>
                  <a:gd name="T100" fmla="*/ 56566 w 615"/>
                  <a:gd name="T101" fmla="*/ 6576 h 455"/>
                  <a:gd name="T102" fmla="*/ 50218 w 615"/>
                  <a:gd name="T103" fmla="*/ 8667 h 455"/>
                  <a:gd name="T104" fmla="*/ 49401 w 615"/>
                  <a:gd name="T105" fmla="*/ 8840 h 455"/>
                  <a:gd name="T106" fmla="*/ 48873 w 615"/>
                  <a:gd name="T107" fmla="*/ 9195 h 455"/>
                  <a:gd name="T108" fmla="*/ 47814 w 615"/>
                  <a:gd name="T109" fmla="*/ 9366 h 4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15"/>
                  <a:gd name="T166" fmla="*/ 0 h 455"/>
                  <a:gd name="T167" fmla="*/ 615 w 615"/>
                  <a:gd name="T168" fmla="*/ 455 h 4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15" h="455">
                    <a:moveTo>
                      <a:pt x="500" y="366"/>
                    </a:moveTo>
                    <a:lnTo>
                      <a:pt x="503" y="369"/>
                    </a:lnTo>
                    <a:lnTo>
                      <a:pt x="506" y="374"/>
                    </a:lnTo>
                    <a:lnTo>
                      <a:pt x="505" y="376"/>
                    </a:lnTo>
                    <a:lnTo>
                      <a:pt x="504" y="376"/>
                    </a:lnTo>
                    <a:lnTo>
                      <a:pt x="499" y="384"/>
                    </a:lnTo>
                    <a:lnTo>
                      <a:pt x="495" y="384"/>
                    </a:lnTo>
                    <a:lnTo>
                      <a:pt x="490" y="384"/>
                    </a:lnTo>
                    <a:lnTo>
                      <a:pt x="485" y="387"/>
                    </a:lnTo>
                    <a:lnTo>
                      <a:pt x="485" y="388"/>
                    </a:lnTo>
                    <a:lnTo>
                      <a:pt x="479" y="395"/>
                    </a:lnTo>
                    <a:lnTo>
                      <a:pt x="473" y="397"/>
                    </a:lnTo>
                    <a:lnTo>
                      <a:pt x="466" y="399"/>
                    </a:lnTo>
                    <a:lnTo>
                      <a:pt x="463" y="395"/>
                    </a:lnTo>
                    <a:lnTo>
                      <a:pt x="456" y="394"/>
                    </a:lnTo>
                    <a:lnTo>
                      <a:pt x="451" y="390"/>
                    </a:lnTo>
                    <a:lnTo>
                      <a:pt x="446" y="390"/>
                    </a:lnTo>
                    <a:lnTo>
                      <a:pt x="432" y="390"/>
                    </a:lnTo>
                    <a:lnTo>
                      <a:pt x="425" y="393"/>
                    </a:lnTo>
                    <a:lnTo>
                      <a:pt x="412" y="392"/>
                    </a:lnTo>
                    <a:lnTo>
                      <a:pt x="394" y="393"/>
                    </a:lnTo>
                    <a:lnTo>
                      <a:pt x="387" y="395"/>
                    </a:lnTo>
                    <a:lnTo>
                      <a:pt x="377" y="405"/>
                    </a:lnTo>
                    <a:lnTo>
                      <a:pt x="365" y="412"/>
                    </a:lnTo>
                    <a:lnTo>
                      <a:pt x="357" y="414"/>
                    </a:lnTo>
                    <a:lnTo>
                      <a:pt x="339" y="410"/>
                    </a:lnTo>
                    <a:lnTo>
                      <a:pt x="332" y="409"/>
                    </a:lnTo>
                    <a:lnTo>
                      <a:pt x="316" y="399"/>
                    </a:lnTo>
                    <a:lnTo>
                      <a:pt x="303" y="392"/>
                    </a:lnTo>
                    <a:lnTo>
                      <a:pt x="294" y="392"/>
                    </a:lnTo>
                    <a:lnTo>
                      <a:pt x="288" y="394"/>
                    </a:lnTo>
                    <a:lnTo>
                      <a:pt x="277" y="400"/>
                    </a:lnTo>
                    <a:lnTo>
                      <a:pt x="271" y="406"/>
                    </a:lnTo>
                    <a:lnTo>
                      <a:pt x="265" y="406"/>
                    </a:lnTo>
                    <a:lnTo>
                      <a:pt x="262" y="404"/>
                    </a:lnTo>
                    <a:lnTo>
                      <a:pt x="257" y="400"/>
                    </a:lnTo>
                    <a:lnTo>
                      <a:pt x="242" y="387"/>
                    </a:lnTo>
                    <a:lnTo>
                      <a:pt x="216" y="374"/>
                    </a:lnTo>
                    <a:lnTo>
                      <a:pt x="205" y="374"/>
                    </a:lnTo>
                    <a:lnTo>
                      <a:pt x="199" y="376"/>
                    </a:lnTo>
                    <a:lnTo>
                      <a:pt x="194" y="377"/>
                    </a:lnTo>
                    <a:lnTo>
                      <a:pt x="183" y="376"/>
                    </a:lnTo>
                    <a:lnTo>
                      <a:pt x="169" y="379"/>
                    </a:lnTo>
                    <a:lnTo>
                      <a:pt x="157" y="388"/>
                    </a:lnTo>
                    <a:lnTo>
                      <a:pt x="156" y="390"/>
                    </a:lnTo>
                    <a:lnTo>
                      <a:pt x="153" y="403"/>
                    </a:lnTo>
                    <a:lnTo>
                      <a:pt x="148" y="412"/>
                    </a:lnTo>
                    <a:lnTo>
                      <a:pt x="145" y="417"/>
                    </a:lnTo>
                    <a:lnTo>
                      <a:pt x="141" y="419"/>
                    </a:lnTo>
                    <a:lnTo>
                      <a:pt x="137" y="422"/>
                    </a:lnTo>
                    <a:lnTo>
                      <a:pt x="136" y="426"/>
                    </a:lnTo>
                    <a:lnTo>
                      <a:pt x="135" y="431"/>
                    </a:lnTo>
                    <a:lnTo>
                      <a:pt x="136" y="448"/>
                    </a:lnTo>
                    <a:lnTo>
                      <a:pt x="136" y="455"/>
                    </a:lnTo>
                    <a:lnTo>
                      <a:pt x="130" y="448"/>
                    </a:lnTo>
                    <a:lnTo>
                      <a:pt x="125" y="445"/>
                    </a:lnTo>
                    <a:lnTo>
                      <a:pt x="116" y="437"/>
                    </a:lnTo>
                    <a:lnTo>
                      <a:pt x="109" y="429"/>
                    </a:lnTo>
                    <a:lnTo>
                      <a:pt x="106" y="428"/>
                    </a:lnTo>
                    <a:lnTo>
                      <a:pt x="100" y="431"/>
                    </a:lnTo>
                    <a:lnTo>
                      <a:pt x="97" y="431"/>
                    </a:lnTo>
                    <a:lnTo>
                      <a:pt x="89" y="434"/>
                    </a:lnTo>
                    <a:lnTo>
                      <a:pt x="90" y="436"/>
                    </a:lnTo>
                    <a:lnTo>
                      <a:pt x="93" y="443"/>
                    </a:lnTo>
                    <a:lnTo>
                      <a:pt x="90" y="445"/>
                    </a:lnTo>
                    <a:lnTo>
                      <a:pt x="89" y="445"/>
                    </a:lnTo>
                    <a:lnTo>
                      <a:pt x="82" y="438"/>
                    </a:lnTo>
                    <a:lnTo>
                      <a:pt x="77" y="432"/>
                    </a:lnTo>
                    <a:lnTo>
                      <a:pt x="76" y="431"/>
                    </a:lnTo>
                    <a:lnTo>
                      <a:pt x="77" y="428"/>
                    </a:lnTo>
                    <a:lnTo>
                      <a:pt x="80" y="427"/>
                    </a:lnTo>
                    <a:lnTo>
                      <a:pt x="83" y="428"/>
                    </a:lnTo>
                    <a:lnTo>
                      <a:pt x="85" y="426"/>
                    </a:lnTo>
                    <a:lnTo>
                      <a:pt x="83" y="425"/>
                    </a:lnTo>
                    <a:lnTo>
                      <a:pt x="78" y="417"/>
                    </a:lnTo>
                    <a:lnTo>
                      <a:pt x="75" y="416"/>
                    </a:lnTo>
                    <a:lnTo>
                      <a:pt x="71" y="416"/>
                    </a:lnTo>
                    <a:lnTo>
                      <a:pt x="68" y="419"/>
                    </a:lnTo>
                    <a:lnTo>
                      <a:pt x="65" y="421"/>
                    </a:lnTo>
                    <a:lnTo>
                      <a:pt x="63" y="421"/>
                    </a:lnTo>
                    <a:lnTo>
                      <a:pt x="55" y="417"/>
                    </a:lnTo>
                    <a:lnTo>
                      <a:pt x="50" y="416"/>
                    </a:lnTo>
                    <a:lnTo>
                      <a:pt x="42" y="406"/>
                    </a:lnTo>
                    <a:lnTo>
                      <a:pt x="40" y="402"/>
                    </a:lnTo>
                    <a:lnTo>
                      <a:pt x="35" y="392"/>
                    </a:lnTo>
                    <a:lnTo>
                      <a:pt x="30" y="386"/>
                    </a:lnTo>
                    <a:lnTo>
                      <a:pt x="19" y="376"/>
                    </a:lnTo>
                    <a:lnTo>
                      <a:pt x="10" y="366"/>
                    </a:lnTo>
                    <a:lnTo>
                      <a:pt x="9" y="361"/>
                    </a:lnTo>
                    <a:lnTo>
                      <a:pt x="9" y="355"/>
                    </a:lnTo>
                    <a:lnTo>
                      <a:pt x="7" y="353"/>
                    </a:lnTo>
                    <a:lnTo>
                      <a:pt x="1" y="348"/>
                    </a:lnTo>
                    <a:lnTo>
                      <a:pt x="0" y="346"/>
                    </a:lnTo>
                    <a:lnTo>
                      <a:pt x="2" y="339"/>
                    </a:lnTo>
                    <a:lnTo>
                      <a:pt x="2" y="332"/>
                    </a:lnTo>
                    <a:lnTo>
                      <a:pt x="4" y="328"/>
                    </a:lnTo>
                    <a:lnTo>
                      <a:pt x="29" y="328"/>
                    </a:lnTo>
                    <a:lnTo>
                      <a:pt x="47" y="315"/>
                    </a:lnTo>
                    <a:lnTo>
                      <a:pt x="109" y="314"/>
                    </a:lnTo>
                    <a:lnTo>
                      <a:pt x="113" y="315"/>
                    </a:lnTo>
                    <a:lnTo>
                      <a:pt x="113" y="311"/>
                    </a:lnTo>
                    <a:lnTo>
                      <a:pt x="123" y="313"/>
                    </a:lnTo>
                    <a:lnTo>
                      <a:pt x="130" y="314"/>
                    </a:lnTo>
                    <a:lnTo>
                      <a:pt x="130" y="311"/>
                    </a:lnTo>
                    <a:lnTo>
                      <a:pt x="133" y="308"/>
                    </a:lnTo>
                    <a:lnTo>
                      <a:pt x="135" y="306"/>
                    </a:lnTo>
                    <a:lnTo>
                      <a:pt x="144" y="301"/>
                    </a:lnTo>
                    <a:lnTo>
                      <a:pt x="145" y="296"/>
                    </a:lnTo>
                    <a:lnTo>
                      <a:pt x="147" y="292"/>
                    </a:lnTo>
                    <a:lnTo>
                      <a:pt x="153" y="288"/>
                    </a:lnTo>
                    <a:lnTo>
                      <a:pt x="157" y="287"/>
                    </a:lnTo>
                    <a:lnTo>
                      <a:pt x="157" y="250"/>
                    </a:lnTo>
                    <a:lnTo>
                      <a:pt x="157" y="214"/>
                    </a:lnTo>
                    <a:lnTo>
                      <a:pt x="157" y="177"/>
                    </a:lnTo>
                    <a:lnTo>
                      <a:pt x="157" y="170"/>
                    </a:lnTo>
                    <a:lnTo>
                      <a:pt x="157" y="167"/>
                    </a:lnTo>
                    <a:lnTo>
                      <a:pt x="162" y="167"/>
                    </a:lnTo>
                    <a:lnTo>
                      <a:pt x="207" y="157"/>
                    </a:lnTo>
                    <a:lnTo>
                      <a:pt x="216" y="154"/>
                    </a:lnTo>
                    <a:lnTo>
                      <a:pt x="247" y="134"/>
                    </a:lnTo>
                    <a:lnTo>
                      <a:pt x="278" y="113"/>
                    </a:lnTo>
                    <a:lnTo>
                      <a:pt x="308" y="94"/>
                    </a:lnTo>
                    <a:lnTo>
                      <a:pt x="339" y="74"/>
                    </a:lnTo>
                    <a:lnTo>
                      <a:pt x="370" y="53"/>
                    </a:lnTo>
                    <a:lnTo>
                      <a:pt x="401" y="34"/>
                    </a:lnTo>
                    <a:lnTo>
                      <a:pt x="432" y="14"/>
                    </a:lnTo>
                    <a:lnTo>
                      <a:pt x="450" y="2"/>
                    </a:lnTo>
                    <a:lnTo>
                      <a:pt x="453" y="0"/>
                    </a:lnTo>
                    <a:lnTo>
                      <a:pt x="456" y="0"/>
                    </a:lnTo>
                    <a:lnTo>
                      <a:pt x="477" y="0"/>
                    </a:lnTo>
                    <a:lnTo>
                      <a:pt x="507" y="0"/>
                    </a:lnTo>
                    <a:lnTo>
                      <a:pt x="536" y="2"/>
                    </a:lnTo>
                    <a:lnTo>
                      <a:pt x="542" y="4"/>
                    </a:lnTo>
                    <a:lnTo>
                      <a:pt x="545" y="5"/>
                    </a:lnTo>
                    <a:lnTo>
                      <a:pt x="548" y="9"/>
                    </a:lnTo>
                    <a:lnTo>
                      <a:pt x="558" y="14"/>
                    </a:lnTo>
                    <a:lnTo>
                      <a:pt x="561" y="15"/>
                    </a:lnTo>
                    <a:lnTo>
                      <a:pt x="564" y="22"/>
                    </a:lnTo>
                    <a:lnTo>
                      <a:pt x="577" y="19"/>
                    </a:lnTo>
                    <a:lnTo>
                      <a:pt x="577" y="75"/>
                    </a:lnTo>
                    <a:lnTo>
                      <a:pt x="578" y="78"/>
                    </a:lnTo>
                    <a:lnTo>
                      <a:pt x="581" y="85"/>
                    </a:lnTo>
                    <a:lnTo>
                      <a:pt x="581" y="87"/>
                    </a:lnTo>
                    <a:lnTo>
                      <a:pt x="585" y="93"/>
                    </a:lnTo>
                    <a:lnTo>
                      <a:pt x="587" y="99"/>
                    </a:lnTo>
                    <a:lnTo>
                      <a:pt x="590" y="103"/>
                    </a:lnTo>
                    <a:lnTo>
                      <a:pt x="594" y="108"/>
                    </a:lnTo>
                    <a:lnTo>
                      <a:pt x="599" y="111"/>
                    </a:lnTo>
                    <a:lnTo>
                      <a:pt x="615" y="119"/>
                    </a:lnTo>
                    <a:lnTo>
                      <a:pt x="604" y="135"/>
                    </a:lnTo>
                    <a:lnTo>
                      <a:pt x="594" y="188"/>
                    </a:lnTo>
                    <a:lnTo>
                      <a:pt x="591" y="254"/>
                    </a:lnTo>
                    <a:lnTo>
                      <a:pt x="589" y="257"/>
                    </a:lnTo>
                    <a:lnTo>
                      <a:pt x="525" y="325"/>
                    </a:lnTo>
                    <a:lnTo>
                      <a:pt x="525" y="332"/>
                    </a:lnTo>
                    <a:lnTo>
                      <a:pt x="522" y="333"/>
                    </a:lnTo>
                    <a:lnTo>
                      <a:pt x="522" y="340"/>
                    </a:lnTo>
                    <a:lnTo>
                      <a:pt x="516" y="342"/>
                    </a:lnTo>
                    <a:lnTo>
                      <a:pt x="513" y="345"/>
                    </a:lnTo>
                    <a:lnTo>
                      <a:pt x="514" y="352"/>
                    </a:lnTo>
                    <a:lnTo>
                      <a:pt x="511" y="354"/>
                    </a:lnTo>
                    <a:lnTo>
                      <a:pt x="508" y="355"/>
                    </a:lnTo>
                    <a:lnTo>
                      <a:pt x="504" y="358"/>
                    </a:lnTo>
                    <a:lnTo>
                      <a:pt x="500" y="363"/>
                    </a:lnTo>
                    <a:lnTo>
                      <a:pt x="500" y="366"/>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16" name="Freeform 112"/>
              <p:cNvSpPr>
                <a:spLocks/>
              </p:cNvSpPr>
              <p:nvPr/>
            </p:nvSpPr>
            <p:spPr bwMode="auto">
              <a:xfrm>
                <a:off x="575" y="1398"/>
                <a:ext cx="345" cy="270"/>
              </a:xfrm>
              <a:custGeom>
                <a:avLst/>
                <a:gdLst>
                  <a:gd name="T0" fmla="*/ 1 w 322"/>
                  <a:gd name="T1" fmla="*/ 6582 h 257"/>
                  <a:gd name="T2" fmla="*/ 3 w 322"/>
                  <a:gd name="T3" fmla="*/ 6582 h 257"/>
                  <a:gd name="T4" fmla="*/ 0 w 322"/>
                  <a:gd name="T5" fmla="*/ 6671 h 257"/>
                  <a:gd name="T6" fmla="*/ 0 w 322"/>
                  <a:gd name="T7" fmla="*/ 6540 h 257"/>
                  <a:gd name="T8" fmla="*/ 3 w 322"/>
                  <a:gd name="T9" fmla="*/ 5925 h 257"/>
                  <a:gd name="T10" fmla="*/ 969 w 322"/>
                  <a:gd name="T11" fmla="*/ 5476 h 257"/>
                  <a:gd name="T12" fmla="*/ 1802 w 322"/>
                  <a:gd name="T13" fmla="*/ 5347 h 257"/>
                  <a:gd name="T14" fmla="*/ 2634 w 322"/>
                  <a:gd name="T15" fmla="*/ 4895 h 257"/>
                  <a:gd name="T16" fmla="*/ 3131 w 322"/>
                  <a:gd name="T17" fmla="*/ 4675 h 257"/>
                  <a:gd name="T18" fmla="*/ 3024 w 322"/>
                  <a:gd name="T19" fmla="*/ 4530 h 257"/>
                  <a:gd name="T20" fmla="*/ 4270 w 322"/>
                  <a:gd name="T21" fmla="*/ 4047 h 257"/>
                  <a:gd name="T22" fmla="*/ 4575 w 322"/>
                  <a:gd name="T23" fmla="*/ 3906 h 257"/>
                  <a:gd name="T24" fmla="*/ 4738 w 322"/>
                  <a:gd name="T25" fmla="*/ 3754 h 257"/>
                  <a:gd name="T26" fmla="*/ 5076 w 322"/>
                  <a:gd name="T27" fmla="*/ 3641 h 257"/>
                  <a:gd name="T28" fmla="*/ 7067 w 322"/>
                  <a:gd name="T29" fmla="*/ 3081 h 257"/>
                  <a:gd name="T30" fmla="*/ 8113 w 322"/>
                  <a:gd name="T31" fmla="*/ 2658 h 257"/>
                  <a:gd name="T32" fmla="*/ 8229 w 322"/>
                  <a:gd name="T33" fmla="*/ 2375 h 257"/>
                  <a:gd name="T34" fmla="*/ 8817 w 322"/>
                  <a:gd name="T35" fmla="*/ 1958 h 257"/>
                  <a:gd name="T36" fmla="*/ 9294 w 322"/>
                  <a:gd name="T37" fmla="*/ 1600 h 257"/>
                  <a:gd name="T38" fmla="*/ 10413 w 322"/>
                  <a:gd name="T39" fmla="*/ 1314 h 257"/>
                  <a:gd name="T40" fmla="*/ 11575 w 322"/>
                  <a:gd name="T41" fmla="*/ 1083 h 257"/>
                  <a:gd name="T42" fmla="*/ 12808 w 322"/>
                  <a:gd name="T43" fmla="*/ 889 h 257"/>
                  <a:gd name="T44" fmla="*/ 13128 w 322"/>
                  <a:gd name="T45" fmla="*/ 596 h 257"/>
                  <a:gd name="T46" fmla="*/ 13288 w 322"/>
                  <a:gd name="T47" fmla="*/ 489 h 257"/>
                  <a:gd name="T48" fmla="*/ 13723 w 322"/>
                  <a:gd name="T49" fmla="*/ 365 h 257"/>
                  <a:gd name="T50" fmla="*/ 14237 w 322"/>
                  <a:gd name="T51" fmla="*/ 4 h 257"/>
                  <a:gd name="T52" fmla="*/ 14703 w 322"/>
                  <a:gd name="T53" fmla="*/ 0 h 257"/>
                  <a:gd name="T54" fmla="*/ 15096 w 322"/>
                  <a:gd name="T55" fmla="*/ 0 h 257"/>
                  <a:gd name="T56" fmla="*/ 17329 w 322"/>
                  <a:gd name="T57" fmla="*/ 0 h 257"/>
                  <a:gd name="T58" fmla="*/ 19861 w 322"/>
                  <a:gd name="T59" fmla="*/ 0 h 257"/>
                  <a:gd name="T60" fmla="*/ 22495 w 322"/>
                  <a:gd name="T61" fmla="*/ 0 h 257"/>
                  <a:gd name="T62" fmla="*/ 25347 w 322"/>
                  <a:gd name="T63" fmla="*/ 0 h 257"/>
                  <a:gd name="T64" fmla="*/ 28153 w 322"/>
                  <a:gd name="T65" fmla="*/ 0 h 257"/>
                  <a:gd name="T66" fmla="*/ 30539 w 322"/>
                  <a:gd name="T67" fmla="*/ 0 h 257"/>
                  <a:gd name="T68" fmla="*/ 30539 w 322"/>
                  <a:gd name="T69" fmla="*/ 489 h 257"/>
                  <a:gd name="T70" fmla="*/ 30539 w 322"/>
                  <a:gd name="T71" fmla="*/ 1608 h 257"/>
                  <a:gd name="T72" fmla="*/ 27158 w 322"/>
                  <a:gd name="T73" fmla="*/ 1608 h 257"/>
                  <a:gd name="T74" fmla="*/ 23524 w 322"/>
                  <a:gd name="T75" fmla="*/ 1608 h 257"/>
                  <a:gd name="T76" fmla="*/ 19893 w 322"/>
                  <a:gd name="T77" fmla="*/ 1608 h 257"/>
                  <a:gd name="T78" fmla="*/ 18762 w 322"/>
                  <a:gd name="T79" fmla="*/ 1608 h 257"/>
                  <a:gd name="T80" fmla="*/ 18762 w 322"/>
                  <a:gd name="T81" fmla="*/ 2621 h 257"/>
                  <a:gd name="T82" fmla="*/ 18762 w 322"/>
                  <a:gd name="T83" fmla="*/ 3573 h 257"/>
                  <a:gd name="T84" fmla="*/ 18762 w 322"/>
                  <a:gd name="T85" fmla="*/ 4179 h 257"/>
                  <a:gd name="T86" fmla="*/ 17454 w 322"/>
                  <a:gd name="T87" fmla="*/ 4279 h 257"/>
                  <a:gd name="T88" fmla="*/ 16174 w 322"/>
                  <a:gd name="T89" fmla="*/ 4294 h 257"/>
                  <a:gd name="T90" fmla="*/ 15254 w 322"/>
                  <a:gd name="T91" fmla="*/ 4435 h 257"/>
                  <a:gd name="T92" fmla="*/ 14984 w 322"/>
                  <a:gd name="T93" fmla="*/ 4450 h 257"/>
                  <a:gd name="T94" fmla="*/ 14734 w 322"/>
                  <a:gd name="T95" fmla="*/ 4530 h 257"/>
                  <a:gd name="T96" fmla="*/ 14292 w 322"/>
                  <a:gd name="T97" fmla="*/ 4739 h 257"/>
                  <a:gd name="T98" fmla="*/ 14237 w 322"/>
                  <a:gd name="T99" fmla="*/ 4895 h 257"/>
                  <a:gd name="T100" fmla="*/ 14292 w 322"/>
                  <a:gd name="T101" fmla="*/ 5321 h 257"/>
                  <a:gd name="T102" fmla="*/ 14703 w 322"/>
                  <a:gd name="T103" fmla="*/ 5676 h 257"/>
                  <a:gd name="T104" fmla="*/ 14734 w 322"/>
                  <a:gd name="T105" fmla="*/ 5982 h 257"/>
                  <a:gd name="T106" fmla="*/ 14785 w 322"/>
                  <a:gd name="T107" fmla="*/ 6265 h 257"/>
                  <a:gd name="T108" fmla="*/ 13128 w 322"/>
                  <a:gd name="T109" fmla="*/ 6265 h 257"/>
                  <a:gd name="T110" fmla="*/ 9773 w 322"/>
                  <a:gd name="T111" fmla="*/ 6265 h 257"/>
                  <a:gd name="T112" fmla="*/ 6244 w 322"/>
                  <a:gd name="T113" fmla="*/ 6265 h 257"/>
                  <a:gd name="T114" fmla="*/ 3024 w 322"/>
                  <a:gd name="T115" fmla="*/ 6265 h 257"/>
                  <a:gd name="T116" fmla="*/ 1038 w 322"/>
                  <a:gd name="T117" fmla="*/ 6265 h 257"/>
                  <a:gd name="T118" fmla="*/ 969 w 322"/>
                  <a:gd name="T119" fmla="*/ 6373 h 257"/>
                  <a:gd name="T120" fmla="*/ 3 w 322"/>
                  <a:gd name="T121" fmla="*/ 6513 h 257"/>
                  <a:gd name="T122" fmla="*/ 1 w 322"/>
                  <a:gd name="T123" fmla="*/ 6582 h 25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2"/>
                  <a:gd name="T187" fmla="*/ 0 h 257"/>
                  <a:gd name="T188" fmla="*/ 322 w 322"/>
                  <a:gd name="T189" fmla="*/ 257 h 25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2" h="257">
                    <a:moveTo>
                      <a:pt x="1" y="254"/>
                    </a:moveTo>
                    <a:lnTo>
                      <a:pt x="3" y="254"/>
                    </a:lnTo>
                    <a:lnTo>
                      <a:pt x="0" y="257"/>
                    </a:lnTo>
                    <a:lnTo>
                      <a:pt x="0" y="252"/>
                    </a:lnTo>
                    <a:lnTo>
                      <a:pt x="3" y="228"/>
                    </a:lnTo>
                    <a:lnTo>
                      <a:pt x="10" y="211"/>
                    </a:lnTo>
                    <a:lnTo>
                      <a:pt x="19" y="206"/>
                    </a:lnTo>
                    <a:lnTo>
                      <a:pt x="28" y="188"/>
                    </a:lnTo>
                    <a:lnTo>
                      <a:pt x="33" y="180"/>
                    </a:lnTo>
                    <a:lnTo>
                      <a:pt x="32" y="175"/>
                    </a:lnTo>
                    <a:lnTo>
                      <a:pt x="45" y="156"/>
                    </a:lnTo>
                    <a:lnTo>
                      <a:pt x="48" y="151"/>
                    </a:lnTo>
                    <a:lnTo>
                      <a:pt x="50" y="145"/>
                    </a:lnTo>
                    <a:lnTo>
                      <a:pt x="54" y="140"/>
                    </a:lnTo>
                    <a:lnTo>
                      <a:pt x="74" y="119"/>
                    </a:lnTo>
                    <a:lnTo>
                      <a:pt x="85" y="103"/>
                    </a:lnTo>
                    <a:lnTo>
                      <a:pt x="87" y="91"/>
                    </a:lnTo>
                    <a:lnTo>
                      <a:pt x="93" y="76"/>
                    </a:lnTo>
                    <a:lnTo>
                      <a:pt x="97" y="62"/>
                    </a:lnTo>
                    <a:lnTo>
                      <a:pt x="108" y="50"/>
                    </a:lnTo>
                    <a:lnTo>
                      <a:pt x="122" y="43"/>
                    </a:lnTo>
                    <a:lnTo>
                      <a:pt x="133" y="35"/>
                    </a:lnTo>
                    <a:lnTo>
                      <a:pt x="138" y="24"/>
                    </a:lnTo>
                    <a:lnTo>
                      <a:pt x="140" y="20"/>
                    </a:lnTo>
                    <a:lnTo>
                      <a:pt x="143" y="14"/>
                    </a:lnTo>
                    <a:lnTo>
                      <a:pt x="150" y="4"/>
                    </a:lnTo>
                    <a:lnTo>
                      <a:pt x="153" y="0"/>
                    </a:lnTo>
                    <a:lnTo>
                      <a:pt x="160" y="0"/>
                    </a:lnTo>
                    <a:lnTo>
                      <a:pt x="183" y="0"/>
                    </a:lnTo>
                    <a:lnTo>
                      <a:pt x="209" y="0"/>
                    </a:lnTo>
                    <a:lnTo>
                      <a:pt x="237" y="0"/>
                    </a:lnTo>
                    <a:lnTo>
                      <a:pt x="266" y="0"/>
                    </a:lnTo>
                    <a:lnTo>
                      <a:pt x="297" y="0"/>
                    </a:lnTo>
                    <a:lnTo>
                      <a:pt x="322" y="0"/>
                    </a:lnTo>
                    <a:lnTo>
                      <a:pt x="322" y="20"/>
                    </a:lnTo>
                    <a:lnTo>
                      <a:pt x="322" y="63"/>
                    </a:lnTo>
                    <a:lnTo>
                      <a:pt x="285" y="63"/>
                    </a:lnTo>
                    <a:lnTo>
                      <a:pt x="247" y="63"/>
                    </a:lnTo>
                    <a:lnTo>
                      <a:pt x="210" y="63"/>
                    </a:lnTo>
                    <a:lnTo>
                      <a:pt x="198" y="63"/>
                    </a:lnTo>
                    <a:lnTo>
                      <a:pt x="198" y="101"/>
                    </a:lnTo>
                    <a:lnTo>
                      <a:pt x="198" y="138"/>
                    </a:lnTo>
                    <a:lnTo>
                      <a:pt x="198" y="161"/>
                    </a:lnTo>
                    <a:lnTo>
                      <a:pt x="184" y="165"/>
                    </a:lnTo>
                    <a:lnTo>
                      <a:pt x="171" y="166"/>
                    </a:lnTo>
                    <a:lnTo>
                      <a:pt x="161" y="170"/>
                    </a:lnTo>
                    <a:lnTo>
                      <a:pt x="157" y="171"/>
                    </a:lnTo>
                    <a:lnTo>
                      <a:pt x="154" y="175"/>
                    </a:lnTo>
                    <a:lnTo>
                      <a:pt x="151" y="183"/>
                    </a:lnTo>
                    <a:lnTo>
                      <a:pt x="150" y="188"/>
                    </a:lnTo>
                    <a:lnTo>
                      <a:pt x="151" y="205"/>
                    </a:lnTo>
                    <a:lnTo>
                      <a:pt x="153" y="219"/>
                    </a:lnTo>
                    <a:lnTo>
                      <a:pt x="154" y="231"/>
                    </a:lnTo>
                    <a:lnTo>
                      <a:pt x="155" y="242"/>
                    </a:lnTo>
                    <a:lnTo>
                      <a:pt x="138" y="242"/>
                    </a:lnTo>
                    <a:lnTo>
                      <a:pt x="103" y="242"/>
                    </a:lnTo>
                    <a:lnTo>
                      <a:pt x="66" y="242"/>
                    </a:lnTo>
                    <a:lnTo>
                      <a:pt x="32" y="242"/>
                    </a:lnTo>
                    <a:lnTo>
                      <a:pt x="11" y="242"/>
                    </a:lnTo>
                    <a:lnTo>
                      <a:pt x="10" y="246"/>
                    </a:lnTo>
                    <a:lnTo>
                      <a:pt x="3" y="250"/>
                    </a:lnTo>
                    <a:lnTo>
                      <a:pt x="1" y="2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7" name="Freeform 113"/>
              <p:cNvSpPr>
                <a:spLocks/>
              </p:cNvSpPr>
              <p:nvPr/>
            </p:nvSpPr>
            <p:spPr bwMode="auto">
              <a:xfrm>
                <a:off x="575" y="1398"/>
                <a:ext cx="345" cy="270"/>
              </a:xfrm>
              <a:custGeom>
                <a:avLst/>
                <a:gdLst>
                  <a:gd name="T0" fmla="*/ 1 w 322"/>
                  <a:gd name="T1" fmla="*/ 6582 h 257"/>
                  <a:gd name="T2" fmla="*/ 3 w 322"/>
                  <a:gd name="T3" fmla="*/ 6582 h 257"/>
                  <a:gd name="T4" fmla="*/ 0 w 322"/>
                  <a:gd name="T5" fmla="*/ 6671 h 257"/>
                  <a:gd name="T6" fmla="*/ 0 w 322"/>
                  <a:gd name="T7" fmla="*/ 6540 h 257"/>
                  <a:gd name="T8" fmla="*/ 3 w 322"/>
                  <a:gd name="T9" fmla="*/ 5925 h 257"/>
                  <a:gd name="T10" fmla="*/ 969 w 322"/>
                  <a:gd name="T11" fmla="*/ 5476 h 257"/>
                  <a:gd name="T12" fmla="*/ 1802 w 322"/>
                  <a:gd name="T13" fmla="*/ 5347 h 257"/>
                  <a:gd name="T14" fmla="*/ 2634 w 322"/>
                  <a:gd name="T15" fmla="*/ 4895 h 257"/>
                  <a:gd name="T16" fmla="*/ 3131 w 322"/>
                  <a:gd name="T17" fmla="*/ 4675 h 257"/>
                  <a:gd name="T18" fmla="*/ 3024 w 322"/>
                  <a:gd name="T19" fmla="*/ 4530 h 257"/>
                  <a:gd name="T20" fmla="*/ 4270 w 322"/>
                  <a:gd name="T21" fmla="*/ 4047 h 257"/>
                  <a:gd name="T22" fmla="*/ 4575 w 322"/>
                  <a:gd name="T23" fmla="*/ 3906 h 257"/>
                  <a:gd name="T24" fmla="*/ 4738 w 322"/>
                  <a:gd name="T25" fmla="*/ 3754 h 257"/>
                  <a:gd name="T26" fmla="*/ 5076 w 322"/>
                  <a:gd name="T27" fmla="*/ 3641 h 257"/>
                  <a:gd name="T28" fmla="*/ 7067 w 322"/>
                  <a:gd name="T29" fmla="*/ 3081 h 257"/>
                  <a:gd name="T30" fmla="*/ 8113 w 322"/>
                  <a:gd name="T31" fmla="*/ 2658 h 257"/>
                  <a:gd name="T32" fmla="*/ 8229 w 322"/>
                  <a:gd name="T33" fmla="*/ 2375 h 257"/>
                  <a:gd name="T34" fmla="*/ 8817 w 322"/>
                  <a:gd name="T35" fmla="*/ 1958 h 257"/>
                  <a:gd name="T36" fmla="*/ 9294 w 322"/>
                  <a:gd name="T37" fmla="*/ 1600 h 257"/>
                  <a:gd name="T38" fmla="*/ 10413 w 322"/>
                  <a:gd name="T39" fmla="*/ 1314 h 257"/>
                  <a:gd name="T40" fmla="*/ 11575 w 322"/>
                  <a:gd name="T41" fmla="*/ 1083 h 257"/>
                  <a:gd name="T42" fmla="*/ 12808 w 322"/>
                  <a:gd name="T43" fmla="*/ 889 h 257"/>
                  <a:gd name="T44" fmla="*/ 13128 w 322"/>
                  <a:gd name="T45" fmla="*/ 596 h 257"/>
                  <a:gd name="T46" fmla="*/ 13288 w 322"/>
                  <a:gd name="T47" fmla="*/ 489 h 257"/>
                  <a:gd name="T48" fmla="*/ 13723 w 322"/>
                  <a:gd name="T49" fmla="*/ 365 h 257"/>
                  <a:gd name="T50" fmla="*/ 14237 w 322"/>
                  <a:gd name="T51" fmla="*/ 4 h 257"/>
                  <a:gd name="T52" fmla="*/ 14703 w 322"/>
                  <a:gd name="T53" fmla="*/ 0 h 257"/>
                  <a:gd name="T54" fmla="*/ 15096 w 322"/>
                  <a:gd name="T55" fmla="*/ 0 h 257"/>
                  <a:gd name="T56" fmla="*/ 17329 w 322"/>
                  <a:gd name="T57" fmla="*/ 0 h 257"/>
                  <a:gd name="T58" fmla="*/ 19861 w 322"/>
                  <a:gd name="T59" fmla="*/ 0 h 257"/>
                  <a:gd name="T60" fmla="*/ 22495 w 322"/>
                  <a:gd name="T61" fmla="*/ 0 h 257"/>
                  <a:gd name="T62" fmla="*/ 25347 w 322"/>
                  <a:gd name="T63" fmla="*/ 0 h 257"/>
                  <a:gd name="T64" fmla="*/ 28153 w 322"/>
                  <a:gd name="T65" fmla="*/ 0 h 257"/>
                  <a:gd name="T66" fmla="*/ 30539 w 322"/>
                  <a:gd name="T67" fmla="*/ 0 h 257"/>
                  <a:gd name="T68" fmla="*/ 30539 w 322"/>
                  <a:gd name="T69" fmla="*/ 489 h 257"/>
                  <a:gd name="T70" fmla="*/ 30539 w 322"/>
                  <a:gd name="T71" fmla="*/ 1608 h 257"/>
                  <a:gd name="T72" fmla="*/ 27158 w 322"/>
                  <a:gd name="T73" fmla="*/ 1608 h 257"/>
                  <a:gd name="T74" fmla="*/ 23524 w 322"/>
                  <a:gd name="T75" fmla="*/ 1608 h 257"/>
                  <a:gd name="T76" fmla="*/ 19893 w 322"/>
                  <a:gd name="T77" fmla="*/ 1608 h 257"/>
                  <a:gd name="T78" fmla="*/ 18762 w 322"/>
                  <a:gd name="T79" fmla="*/ 1608 h 257"/>
                  <a:gd name="T80" fmla="*/ 18762 w 322"/>
                  <a:gd name="T81" fmla="*/ 2621 h 257"/>
                  <a:gd name="T82" fmla="*/ 18762 w 322"/>
                  <a:gd name="T83" fmla="*/ 3573 h 257"/>
                  <a:gd name="T84" fmla="*/ 18762 w 322"/>
                  <a:gd name="T85" fmla="*/ 4179 h 257"/>
                  <a:gd name="T86" fmla="*/ 17454 w 322"/>
                  <a:gd name="T87" fmla="*/ 4279 h 257"/>
                  <a:gd name="T88" fmla="*/ 16174 w 322"/>
                  <a:gd name="T89" fmla="*/ 4294 h 257"/>
                  <a:gd name="T90" fmla="*/ 15254 w 322"/>
                  <a:gd name="T91" fmla="*/ 4435 h 257"/>
                  <a:gd name="T92" fmla="*/ 14984 w 322"/>
                  <a:gd name="T93" fmla="*/ 4450 h 257"/>
                  <a:gd name="T94" fmla="*/ 14734 w 322"/>
                  <a:gd name="T95" fmla="*/ 4530 h 257"/>
                  <a:gd name="T96" fmla="*/ 14292 w 322"/>
                  <a:gd name="T97" fmla="*/ 4739 h 257"/>
                  <a:gd name="T98" fmla="*/ 14237 w 322"/>
                  <a:gd name="T99" fmla="*/ 4895 h 257"/>
                  <a:gd name="T100" fmla="*/ 14292 w 322"/>
                  <a:gd name="T101" fmla="*/ 5321 h 257"/>
                  <a:gd name="T102" fmla="*/ 14703 w 322"/>
                  <a:gd name="T103" fmla="*/ 5676 h 257"/>
                  <a:gd name="T104" fmla="*/ 14734 w 322"/>
                  <a:gd name="T105" fmla="*/ 5982 h 257"/>
                  <a:gd name="T106" fmla="*/ 14785 w 322"/>
                  <a:gd name="T107" fmla="*/ 6265 h 257"/>
                  <a:gd name="T108" fmla="*/ 13128 w 322"/>
                  <a:gd name="T109" fmla="*/ 6265 h 257"/>
                  <a:gd name="T110" fmla="*/ 9773 w 322"/>
                  <a:gd name="T111" fmla="*/ 6265 h 257"/>
                  <a:gd name="T112" fmla="*/ 6244 w 322"/>
                  <a:gd name="T113" fmla="*/ 6265 h 257"/>
                  <a:gd name="T114" fmla="*/ 3024 w 322"/>
                  <a:gd name="T115" fmla="*/ 6265 h 257"/>
                  <a:gd name="T116" fmla="*/ 1038 w 322"/>
                  <a:gd name="T117" fmla="*/ 6265 h 257"/>
                  <a:gd name="T118" fmla="*/ 969 w 322"/>
                  <a:gd name="T119" fmla="*/ 6373 h 257"/>
                  <a:gd name="T120" fmla="*/ 3 w 322"/>
                  <a:gd name="T121" fmla="*/ 6513 h 257"/>
                  <a:gd name="T122" fmla="*/ 1 w 322"/>
                  <a:gd name="T123" fmla="*/ 6582 h 25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2"/>
                  <a:gd name="T187" fmla="*/ 0 h 257"/>
                  <a:gd name="T188" fmla="*/ 322 w 322"/>
                  <a:gd name="T189" fmla="*/ 257 h 25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2" h="257">
                    <a:moveTo>
                      <a:pt x="1" y="254"/>
                    </a:moveTo>
                    <a:lnTo>
                      <a:pt x="3" y="254"/>
                    </a:lnTo>
                    <a:lnTo>
                      <a:pt x="0" y="257"/>
                    </a:lnTo>
                    <a:lnTo>
                      <a:pt x="0" y="252"/>
                    </a:lnTo>
                    <a:lnTo>
                      <a:pt x="3" y="228"/>
                    </a:lnTo>
                    <a:lnTo>
                      <a:pt x="10" y="211"/>
                    </a:lnTo>
                    <a:lnTo>
                      <a:pt x="19" y="206"/>
                    </a:lnTo>
                    <a:lnTo>
                      <a:pt x="28" y="188"/>
                    </a:lnTo>
                    <a:lnTo>
                      <a:pt x="33" y="180"/>
                    </a:lnTo>
                    <a:lnTo>
                      <a:pt x="32" y="175"/>
                    </a:lnTo>
                    <a:lnTo>
                      <a:pt x="45" y="156"/>
                    </a:lnTo>
                    <a:lnTo>
                      <a:pt x="48" y="151"/>
                    </a:lnTo>
                    <a:lnTo>
                      <a:pt x="50" y="145"/>
                    </a:lnTo>
                    <a:lnTo>
                      <a:pt x="54" y="140"/>
                    </a:lnTo>
                    <a:lnTo>
                      <a:pt x="74" y="119"/>
                    </a:lnTo>
                    <a:lnTo>
                      <a:pt x="85" y="103"/>
                    </a:lnTo>
                    <a:lnTo>
                      <a:pt x="87" y="91"/>
                    </a:lnTo>
                    <a:lnTo>
                      <a:pt x="93" y="76"/>
                    </a:lnTo>
                    <a:lnTo>
                      <a:pt x="97" y="62"/>
                    </a:lnTo>
                    <a:lnTo>
                      <a:pt x="108" y="50"/>
                    </a:lnTo>
                    <a:lnTo>
                      <a:pt x="122" y="43"/>
                    </a:lnTo>
                    <a:lnTo>
                      <a:pt x="133" y="35"/>
                    </a:lnTo>
                    <a:lnTo>
                      <a:pt x="138" y="24"/>
                    </a:lnTo>
                    <a:lnTo>
                      <a:pt x="140" y="20"/>
                    </a:lnTo>
                    <a:lnTo>
                      <a:pt x="143" y="14"/>
                    </a:lnTo>
                    <a:lnTo>
                      <a:pt x="150" y="4"/>
                    </a:lnTo>
                    <a:lnTo>
                      <a:pt x="153" y="0"/>
                    </a:lnTo>
                    <a:lnTo>
                      <a:pt x="160" y="0"/>
                    </a:lnTo>
                    <a:lnTo>
                      <a:pt x="183" y="0"/>
                    </a:lnTo>
                    <a:lnTo>
                      <a:pt x="209" y="0"/>
                    </a:lnTo>
                    <a:lnTo>
                      <a:pt x="237" y="0"/>
                    </a:lnTo>
                    <a:lnTo>
                      <a:pt x="266" y="0"/>
                    </a:lnTo>
                    <a:lnTo>
                      <a:pt x="297" y="0"/>
                    </a:lnTo>
                    <a:lnTo>
                      <a:pt x="322" y="0"/>
                    </a:lnTo>
                    <a:lnTo>
                      <a:pt x="322" y="20"/>
                    </a:lnTo>
                    <a:lnTo>
                      <a:pt x="322" y="63"/>
                    </a:lnTo>
                    <a:lnTo>
                      <a:pt x="285" y="63"/>
                    </a:lnTo>
                    <a:lnTo>
                      <a:pt x="247" y="63"/>
                    </a:lnTo>
                    <a:lnTo>
                      <a:pt x="210" y="63"/>
                    </a:lnTo>
                    <a:lnTo>
                      <a:pt x="198" y="63"/>
                    </a:lnTo>
                    <a:lnTo>
                      <a:pt x="198" y="101"/>
                    </a:lnTo>
                    <a:lnTo>
                      <a:pt x="198" y="138"/>
                    </a:lnTo>
                    <a:lnTo>
                      <a:pt x="198" y="161"/>
                    </a:lnTo>
                    <a:lnTo>
                      <a:pt x="184" y="165"/>
                    </a:lnTo>
                    <a:lnTo>
                      <a:pt x="171" y="166"/>
                    </a:lnTo>
                    <a:lnTo>
                      <a:pt x="161" y="170"/>
                    </a:lnTo>
                    <a:lnTo>
                      <a:pt x="157" y="171"/>
                    </a:lnTo>
                    <a:lnTo>
                      <a:pt x="154" y="175"/>
                    </a:lnTo>
                    <a:lnTo>
                      <a:pt x="151" y="183"/>
                    </a:lnTo>
                    <a:lnTo>
                      <a:pt x="150" y="188"/>
                    </a:lnTo>
                    <a:lnTo>
                      <a:pt x="151" y="205"/>
                    </a:lnTo>
                    <a:lnTo>
                      <a:pt x="153" y="219"/>
                    </a:lnTo>
                    <a:lnTo>
                      <a:pt x="154" y="231"/>
                    </a:lnTo>
                    <a:lnTo>
                      <a:pt x="155" y="242"/>
                    </a:lnTo>
                    <a:lnTo>
                      <a:pt x="138" y="242"/>
                    </a:lnTo>
                    <a:lnTo>
                      <a:pt x="103" y="242"/>
                    </a:lnTo>
                    <a:lnTo>
                      <a:pt x="66" y="242"/>
                    </a:lnTo>
                    <a:lnTo>
                      <a:pt x="32" y="242"/>
                    </a:lnTo>
                    <a:lnTo>
                      <a:pt x="11" y="242"/>
                    </a:lnTo>
                    <a:lnTo>
                      <a:pt x="10" y="246"/>
                    </a:lnTo>
                    <a:lnTo>
                      <a:pt x="3" y="250"/>
                    </a:lnTo>
                    <a:lnTo>
                      <a:pt x="1" y="254"/>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18" name="Freeform 114"/>
              <p:cNvSpPr>
                <a:spLocks/>
              </p:cNvSpPr>
              <p:nvPr/>
            </p:nvSpPr>
            <p:spPr bwMode="auto">
              <a:xfrm>
                <a:off x="2688" y="2337"/>
                <a:ext cx="327" cy="374"/>
              </a:xfrm>
              <a:custGeom>
                <a:avLst/>
                <a:gdLst>
                  <a:gd name="T0" fmla="*/ 23265 w 306"/>
                  <a:gd name="T1" fmla="*/ 6147 h 356"/>
                  <a:gd name="T2" fmla="*/ 23239 w 306"/>
                  <a:gd name="T3" fmla="*/ 6308 h 356"/>
                  <a:gd name="T4" fmla="*/ 22097 w 306"/>
                  <a:gd name="T5" fmla="*/ 6537 h 356"/>
                  <a:gd name="T6" fmla="*/ 21416 w 306"/>
                  <a:gd name="T7" fmla="*/ 6780 h 356"/>
                  <a:gd name="T8" fmla="*/ 21119 w 306"/>
                  <a:gd name="T9" fmla="*/ 6962 h 356"/>
                  <a:gd name="T10" fmla="*/ 20041 w 306"/>
                  <a:gd name="T11" fmla="*/ 7190 h 356"/>
                  <a:gd name="T12" fmla="*/ 19434 w 306"/>
                  <a:gd name="T13" fmla="*/ 7554 h 356"/>
                  <a:gd name="T14" fmla="*/ 18494 w 306"/>
                  <a:gd name="T15" fmla="*/ 8265 h 356"/>
                  <a:gd name="T16" fmla="*/ 17841 w 306"/>
                  <a:gd name="T17" fmla="*/ 8784 h 356"/>
                  <a:gd name="T18" fmla="*/ 17306 w 306"/>
                  <a:gd name="T19" fmla="*/ 9035 h 356"/>
                  <a:gd name="T20" fmla="*/ 16508 w 306"/>
                  <a:gd name="T21" fmla="*/ 9233 h 356"/>
                  <a:gd name="T22" fmla="*/ 11945 w 306"/>
                  <a:gd name="T23" fmla="*/ 8153 h 356"/>
                  <a:gd name="T24" fmla="*/ 11742 w 306"/>
                  <a:gd name="T25" fmla="*/ 7628 h 356"/>
                  <a:gd name="T26" fmla="*/ 871 w 306"/>
                  <a:gd name="T27" fmla="*/ 5517 h 356"/>
                  <a:gd name="T28" fmla="*/ 815 w 306"/>
                  <a:gd name="T29" fmla="*/ 5141 h 356"/>
                  <a:gd name="T30" fmla="*/ 1903 w 306"/>
                  <a:gd name="T31" fmla="*/ 4998 h 356"/>
                  <a:gd name="T32" fmla="*/ 2520 w 306"/>
                  <a:gd name="T33" fmla="*/ 4814 h 356"/>
                  <a:gd name="T34" fmla="*/ 1297 w 306"/>
                  <a:gd name="T35" fmla="*/ 4837 h 356"/>
                  <a:gd name="T36" fmla="*/ 7 w 306"/>
                  <a:gd name="T37" fmla="*/ 4929 h 356"/>
                  <a:gd name="T38" fmla="*/ 0 w 306"/>
                  <a:gd name="T39" fmla="*/ 4604 h 356"/>
                  <a:gd name="T40" fmla="*/ 5 w 306"/>
                  <a:gd name="T41" fmla="*/ 4251 h 356"/>
                  <a:gd name="T42" fmla="*/ 2034 w 306"/>
                  <a:gd name="T43" fmla="*/ 3539 h 356"/>
                  <a:gd name="T44" fmla="*/ 2520 w 306"/>
                  <a:gd name="T45" fmla="*/ 3259 h 356"/>
                  <a:gd name="T46" fmla="*/ 3141 w 306"/>
                  <a:gd name="T47" fmla="*/ 2792 h 356"/>
                  <a:gd name="T48" fmla="*/ 3076 w 306"/>
                  <a:gd name="T49" fmla="*/ 2230 h 356"/>
                  <a:gd name="T50" fmla="*/ 3028 w 306"/>
                  <a:gd name="T51" fmla="*/ 1774 h 356"/>
                  <a:gd name="T52" fmla="*/ 2207 w 306"/>
                  <a:gd name="T53" fmla="*/ 1608 h 356"/>
                  <a:gd name="T54" fmla="*/ 1808 w 306"/>
                  <a:gd name="T55" fmla="*/ 1457 h 356"/>
                  <a:gd name="T56" fmla="*/ 1136 w 306"/>
                  <a:gd name="T57" fmla="*/ 846 h 356"/>
                  <a:gd name="T58" fmla="*/ 995 w 306"/>
                  <a:gd name="T59" fmla="*/ 763 h 356"/>
                  <a:gd name="T60" fmla="*/ 871 w 306"/>
                  <a:gd name="T61" fmla="*/ 540 h 356"/>
                  <a:gd name="T62" fmla="*/ 1 w 306"/>
                  <a:gd name="T63" fmla="*/ 489 h 356"/>
                  <a:gd name="T64" fmla="*/ 871 w 306"/>
                  <a:gd name="T65" fmla="*/ 4 h 356"/>
                  <a:gd name="T66" fmla="*/ 2174 w 306"/>
                  <a:gd name="T67" fmla="*/ 0 h 356"/>
                  <a:gd name="T68" fmla="*/ 4638 w 306"/>
                  <a:gd name="T69" fmla="*/ 1 h 356"/>
                  <a:gd name="T70" fmla="*/ 6462 w 306"/>
                  <a:gd name="T71" fmla="*/ 2 h 356"/>
                  <a:gd name="T72" fmla="*/ 8325 w 306"/>
                  <a:gd name="T73" fmla="*/ 2 h 356"/>
                  <a:gd name="T74" fmla="*/ 11287 w 306"/>
                  <a:gd name="T75" fmla="*/ 567 h 356"/>
                  <a:gd name="T76" fmla="*/ 13198 w 306"/>
                  <a:gd name="T77" fmla="*/ 934 h 356"/>
                  <a:gd name="T78" fmla="*/ 15312 w 306"/>
                  <a:gd name="T79" fmla="*/ 1031 h 356"/>
                  <a:gd name="T80" fmla="*/ 17964 w 306"/>
                  <a:gd name="T81" fmla="*/ 846 h 356"/>
                  <a:gd name="T82" fmla="*/ 19763 w 306"/>
                  <a:gd name="T83" fmla="*/ 422 h 356"/>
                  <a:gd name="T84" fmla="*/ 22886 w 306"/>
                  <a:gd name="T85" fmla="*/ 658 h 356"/>
                  <a:gd name="T86" fmla="*/ 24117 w 306"/>
                  <a:gd name="T87" fmla="*/ 658 h 356"/>
                  <a:gd name="T88" fmla="*/ 24367 w 306"/>
                  <a:gd name="T89" fmla="*/ 726 h 356"/>
                  <a:gd name="T90" fmla="*/ 21922 w 306"/>
                  <a:gd name="T91" fmla="*/ 1743 h 356"/>
                  <a:gd name="T92" fmla="*/ 21747 w 306"/>
                  <a:gd name="T93" fmla="*/ 2754 h 356"/>
                  <a:gd name="T94" fmla="*/ 21747 w 306"/>
                  <a:gd name="T95" fmla="*/ 4673 h 356"/>
                  <a:gd name="T96" fmla="*/ 21983 w 306"/>
                  <a:gd name="T97" fmla="*/ 5609 h 3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06"/>
                  <a:gd name="T148" fmla="*/ 0 h 356"/>
                  <a:gd name="T149" fmla="*/ 306 w 306"/>
                  <a:gd name="T150" fmla="*/ 356 h 3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06" h="356">
                    <a:moveTo>
                      <a:pt x="276" y="216"/>
                    </a:moveTo>
                    <a:lnTo>
                      <a:pt x="292" y="236"/>
                    </a:lnTo>
                    <a:lnTo>
                      <a:pt x="293" y="239"/>
                    </a:lnTo>
                    <a:lnTo>
                      <a:pt x="291" y="244"/>
                    </a:lnTo>
                    <a:lnTo>
                      <a:pt x="283" y="251"/>
                    </a:lnTo>
                    <a:lnTo>
                      <a:pt x="277" y="252"/>
                    </a:lnTo>
                    <a:lnTo>
                      <a:pt x="273" y="254"/>
                    </a:lnTo>
                    <a:lnTo>
                      <a:pt x="268" y="260"/>
                    </a:lnTo>
                    <a:lnTo>
                      <a:pt x="265" y="265"/>
                    </a:lnTo>
                    <a:lnTo>
                      <a:pt x="265" y="269"/>
                    </a:lnTo>
                    <a:lnTo>
                      <a:pt x="252" y="275"/>
                    </a:lnTo>
                    <a:lnTo>
                      <a:pt x="251" y="277"/>
                    </a:lnTo>
                    <a:lnTo>
                      <a:pt x="247" y="280"/>
                    </a:lnTo>
                    <a:lnTo>
                      <a:pt x="243" y="291"/>
                    </a:lnTo>
                    <a:lnTo>
                      <a:pt x="241" y="303"/>
                    </a:lnTo>
                    <a:lnTo>
                      <a:pt x="232" y="318"/>
                    </a:lnTo>
                    <a:lnTo>
                      <a:pt x="227" y="326"/>
                    </a:lnTo>
                    <a:lnTo>
                      <a:pt x="224" y="338"/>
                    </a:lnTo>
                    <a:lnTo>
                      <a:pt x="220" y="344"/>
                    </a:lnTo>
                    <a:lnTo>
                      <a:pt x="217" y="348"/>
                    </a:lnTo>
                    <a:lnTo>
                      <a:pt x="214" y="351"/>
                    </a:lnTo>
                    <a:lnTo>
                      <a:pt x="207" y="356"/>
                    </a:lnTo>
                    <a:lnTo>
                      <a:pt x="154" y="321"/>
                    </a:lnTo>
                    <a:lnTo>
                      <a:pt x="150" y="314"/>
                    </a:lnTo>
                    <a:lnTo>
                      <a:pt x="147" y="301"/>
                    </a:lnTo>
                    <a:lnTo>
                      <a:pt x="147" y="295"/>
                    </a:lnTo>
                    <a:lnTo>
                      <a:pt x="145" y="292"/>
                    </a:lnTo>
                    <a:lnTo>
                      <a:pt x="11" y="213"/>
                    </a:lnTo>
                    <a:lnTo>
                      <a:pt x="4" y="208"/>
                    </a:lnTo>
                    <a:lnTo>
                      <a:pt x="10" y="198"/>
                    </a:lnTo>
                    <a:lnTo>
                      <a:pt x="17" y="198"/>
                    </a:lnTo>
                    <a:lnTo>
                      <a:pt x="23" y="193"/>
                    </a:lnTo>
                    <a:lnTo>
                      <a:pt x="32" y="189"/>
                    </a:lnTo>
                    <a:lnTo>
                      <a:pt x="32" y="186"/>
                    </a:lnTo>
                    <a:lnTo>
                      <a:pt x="25" y="186"/>
                    </a:lnTo>
                    <a:lnTo>
                      <a:pt x="17" y="187"/>
                    </a:lnTo>
                    <a:lnTo>
                      <a:pt x="11" y="189"/>
                    </a:lnTo>
                    <a:lnTo>
                      <a:pt x="7" y="190"/>
                    </a:lnTo>
                    <a:lnTo>
                      <a:pt x="5" y="184"/>
                    </a:lnTo>
                    <a:lnTo>
                      <a:pt x="0" y="178"/>
                    </a:lnTo>
                    <a:lnTo>
                      <a:pt x="1" y="168"/>
                    </a:lnTo>
                    <a:lnTo>
                      <a:pt x="5" y="164"/>
                    </a:lnTo>
                    <a:lnTo>
                      <a:pt x="17" y="145"/>
                    </a:lnTo>
                    <a:lnTo>
                      <a:pt x="25" y="137"/>
                    </a:lnTo>
                    <a:lnTo>
                      <a:pt x="25" y="134"/>
                    </a:lnTo>
                    <a:lnTo>
                      <a:pt x="32" y="126"/>
                    </a:lnTo>
                    <a:lnTo>
                      <a:pt x="37" y="119"/>
                    </a:lnTo>
                    <a:lnTo>
                      <a:pt x="39" y="108"/>
                    </a:lnTo>
                    <a:lnTo>
                      <a:pt x="39" y="95"/>
                    </a:lnTo>
                    <a:lnTo>
                      <a:pt x="38" y="86"/>
                    </a:lnTo>
                    <a:lnTo>
                      <a:pt x="38" y="74"/>
                    </a:lnTo>
                    <a:lnTo>
                      <a:pt x="37" y="69"/>
                    </a:lnTo>
                    <a:lnTo>
                      <a:pt x="32" y="64"/>
                    </a:lnTo>
                    <a:lnTo>
                      <a:pt x="28" y="63"/>
                    </a:lnTo>
                    <a:lnTo>
                      <a:pt x="25" y="60"/>
                    </a:lnTo>
                    <a:lnTo>
                      <a:pt x="22" y="57"/>
                    </a:lnTo>
                    <a:lnTo>
                      <a:pt x="18" y="51"/>
                    </a:lnTo>
                    <a:lnTo>
                      <a:pt x="15" y="33"/>
                    </a:lnTo>
                    <a:lnTo>
                      <a:pt x="13" y="30"/>
                    </a:lnTo>
                    <a:lnTo>
                      <a:pt x="13" y="29"/>
                    </a:lnTo>
                    <a:lnTo>
                      <a:pt x="13" y="25"/>
                    </a:lnTo>
                    <a:lnTo>
                      <a:pt x="11" y="22"/>
                    </a:lnTo>
                    <a:lnTo>
                      <a:pt x="3" y="22"/>
                    </a:lnTo>
                    <a:lnTo>
                      <a:pt x="1" y="20"/>
                    </a:lnTo>
                    <a:lnTo>
                      <a:pt x="0" y="19"/>
                    </a:lnTo>
                    <a:lnTo>
                      <a:pt x="11" y="4"/>
                    </a:lnTo>
                    <a:lnTo>
                      <a:pt x="18" y="0"/>
                    </a:lnTo>
                    <a:lnTo>
                      <a:pt x="27" y="0"/>
                    </a:lnTo>
                    <a:lnTo>
                      <a:pt x="48" y="1"/>
                    </a:lnTo>
                    <a:lnTo>
                      <a:pt x="58" y="1"/>
                    </a:lnTo>
                    <a:lnTo>
                      <a:pt x="71" y="0"/>
                    </a:lnTo>
                    <a:lnTo>
                      <a:pt x="81" y="2"/>
                    </a:lnTo>
                    <a:lnTo>
                      <a:pt x="91" y="1"/>
                    </a:lnTo>
                    <a:lnTo>
                      <a:pt x="103" y="2"/>
                    </a:lnTo>
                    <a:lnTo>
                      <a:pt x="116" y="7"/>
                    </a:lnTo>
                    <a:lnTo>
                      <a:pt x="141" y="23"/>
                    </a:lnTo>
                    <a:lnTo>
                      <a:pt x="149" y="32"/>
                    </a:lnTo>
                    <a:lnTo>
                      <a:pt x="164" y="37"/>
                    </a:lnTo>
                    <a:lnTo>
                      <a:pt x="176" y="37"/>
                    </a:lnTo>
                    <a:lnTo>
                      <a:pt x="192" y="41"/>
                    </a:lnTo>
                    <a:lnTo>
                      <a:pt x="207" y="41"/>
                    </a:lnTo>
                    <a:lnTo>
                      <a:pt x="225" y="33"/>
                    </a:lnTo>
                    <a:lnTo>
                      <a:pt x="236" y="22"/>
                    </a:lnTo>
                    <a:lnTo>
                      <a:pt x="248" y="17"/>
                    </a:lnTo>
                    <a:lnTo>
                      <a:pt x="262" y="14"/>
                    </a:lnTo>
                    <a:lnTo>
                      <a:pt x="286" y="26"/>
                    </a:lnTo>
                    <a:lnTo>
                      <a:pt x="295" y="25"/>
                    </a:lnTo>
                    <a:lnTo>
                      <a:pt x="302" y="26"/>
                    </a:lnTo>
                    <a:lnTo>
                      <a:pt x="306" y="25"/>
                    </a:lnTo>
                    <a:lnTo>
                      <a:pt x="305" y="28"/>
                    </a:lnTo>
                    <a:lnTo>
                      <a:pt x="290" y="51"/>
                    </a:lnTo>
                    <a:lnTo>
                      <a:pt x="274" y="67"/>
                    </a:lnTo>
                    <a:lnTo>
                      <a:pt x="272" y="68"/>
                    </a:lnTo>
                    <a:lnTo>
                      <a:pt x="272" y="106"/>
                    </a:lnTo>
                    <a:lnTo>
                      <a:pt x="272" y="142"/>
                    </a:lnTo>
                    <a:lnTo>
                      <a:pt x="272" y="180"/>
                    </a:lnTo>
                    <a:lnTo>
                      <a:pt x="272" y="211"/>
                    </a:lnTo>
                    <a:lnTo>
                      <a:pt x="276" y="216"/>
                    </a:lnTo>
                    <a:close/>
                  </a:path>
                </a:pathLst>
              </a:custGeom>
              <a:solidFill>
                <a:srgbClr val="1737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9" name="Freeform 115"/>
              <p:cNvSpPr>
                <a:spLocks/>
              </p:cNvSpPr>
              <p:nvPr/>
            </p:nvSpPr>
            <p:spPr bwMode="auto">
              <a:xfrm>
                <a:off x="2688" y="2337"/>
                <a:ext cx="327" cy="374"/>
              </a:xfrm>
              <a:custGeom>
                <a:avLst/>
                <a:gdLst>
                  <a:gd name="T0" fmla="*/ 23265 w 306"/>
                  <a:gd name="T1" fmla="*/ 6147 h 356"/>
                  <a:gd name="T2" fmla="*/ 23239 w 306"/>
                  <a:gd name="T3" fmla="*/ 6308 h 356"/>
                  <a:gd name="T4" fmla="*/ 22097 w 306"/>
                  <a:gd name="T5" fmla="*/ 6537 h 356"/>
                  <a:gd name="T6" fmla="*/ 21416 w 306"/>
                  <a:gd name="T7" fmla="*/ 6780 h 356"/>
                  <a:gd name="T8" fmla="*/ 21119 w 306"/>
                  <a:gd name="T9" fmla="*/ 6962 h 356"/>
                  <a:gd name="T10" fmla="*/ 20041 w 306"/>
                  <a:gd name="T11" fmla="*/ 7190 h 356"/>
                  <a:gd name="T12" fmla="*/ 19434 w 306"/>
                  <a:gd name="T13" fmla="*/ 7554 h 356"/>
                  <a:gd name="T14" fmla="*/ 18494 w 306"/>
                  <a:gd name="T15" fmla="*/ 8265 h 356"/>
                  <a:gd name="T16" fmla="*/ 17841 w 306"/>
                  <a:gd name="T17" fmla="*/ 8784 h 356"/>
                  <a:gd name="T18" fmla="*/ 17306 w 306"/>
                  <a:gd name="T19" fmla="*/ 9035 h 356"/>
                  <a:gd name="T20" fmla="*/ 16508 w 306"/>
                  <a:gd name="T21" fmla="*/ 9233 h 356"/>
                  <a:gd name="T22" fmla="*/ 11945 w 306"/>
                  <a:gd name="T23" fmla="*/ 8153 h 356"/>
                  <a:gd name="T24" fmla="*/ 11742 w 306"/>
                  <a:gd name="T25" fmla="*/ 7628 h 356"/>
                  <a:gd name="T26" fmla="*/ 871 w 306"/>
                  <a:gd name="T27" fmla="*/ 5517 h 356"/>
                  <a:gd name="T28" fmla="*/ 815 w 306"/>
                  <a:gd name="T29" fmla="*/ 5141 h 356"/>
                  <a:gd name="T30" fmla="*/ 1903 w 306"/>
                  <a:gd name="T31" fmla="*/ 4998 h 356"/>
                  <a:gd name="T32" fmla="*/ 2520 w 306"/>
                  <a:gd name="T33" fmla="*/ 4814 h 356"/>
                  <a:gd name="T34" fmla="*/ 1297 w 306"/>
                  <a:gd name="T35" fmla="*/ 4837 h 356"/>
                  <a:gd name="T36" fmla="*/ 7 w 306"/>
                  <a:gd name="T37" fmla="*/ 4929 h 356"/>
                  <a:gd name="T38" fmla="*/ 0 w 306"/>
                  <a:gd name="T39" fmla="*/ 4604 h 356"/>
                  <a:gd name="T40" fmla="*/ 5 w 306"/>
                  <a:gd name="T41" fmla="*/ 4251 h 356"/>
                  <a:gd name="T42" fmla="*/ 2034 w 306"/>
                  <a:gd name="T43" fmla="*/ 3539 h 356"/>
                  <a:gd name="T44" fmla="*/ 2520 w 306"/>
                  <a:gd name="T45" fmla="*/ 3259 h 356"/>
                  <a:gd name="T46" fmla="*/ 3141 w 306"/>
                  <a:gd name="T47" fmla="*/ 2792 h 356"/>
                  <a:gd name="T48" fmla="*/ 3076 w 306"/>
                  <a:gd name="T49" fmla="*/ 2230 h 356"/>
                  <a:gd name="T50" fmla="*/ 3028 w 306"/>
                  <a:gd name="T51" fmla="*/ 1774 h 356"/>
                  <a:gd name="T52" fmla="*/ 2207 w 306"/>
                  <a:gd name="T53" fmla="*/ 1608 h 356"/>
                  <a:gd name="T54" fmla="*/ 1808 w 306"/>
                  <a:gd name="T55" fmla="*/ 1457 h 356"/>
                  <a:gd name="T56" fmla="*/ 1136 w 306"/>
                  <a:gd name="T57" fmla="*/ 846 h 356"/>
                  <a:gd name="T58" fmla="*/ 995 w 306"/>
                  <a:gd name="T59" fmla="*/ 763 h 356"/>
                  <a:gd name="T60" fmla="*/ 871 w 306"/>
                  <a:gd name="T61" fmla="*/ 540 h 356"/>
                  <a:gd name="T62" fmla="*/ 1 w 306"/>
                  <a:gd name="T63" fmla="*/ 489 h 356"/>
                  <a:gd name="T64" fmla="*/ 871 w 306"/>
                  <a:gd name="T65" fmla="*/ 4 h 356"/>
                  <a:gd name="T66" fmla="*/ 2174 w 306"/>
                  <a:gd name="T67" fmla="*/ 0 h 356"/>
                  <a:gd name="T68" fmla="*/ 4638 w 306"/>
                  <a:gd name="T69" fmla="*/ 1 h 356"/>
                  <a:gd name="T70" fmla="*/ 6462 w 306"/>
                  <a:gd name="T71" fmla="*/ 2 h 356"/>
                  <a:gd name="T72" fmla="*/ 8325 w 306"/>
                  <a:gd name="T73" fmla="*/ 2 h 356"/>
                  <a:gd name="T74" fmla="*/ 11287 w 306"/>
                  <a:gd name="T75" fmla="*/ 567 h 356"/>
                  <a:gd name="T76" fmla="*/ 13198 w 306"/>
                  <a:gd name="T77" fmla="*/ 934 h 356"/>
                  <a:gd name="T78" fmla="*/ 15312 w 306"/>
                  <a:gd name="T79" fmla="*/ 1031 h 356"/>
                  <a:gd name="T80" fmla="*/ 17964 w 306"/>
                  <a:gd name="T81" fmla="*/ 846 h 356"/>
                  <a:gd name="T82" fmla="*/ 19763 w 306"/>
                  <a:gd name="T83" fmla="*/ 422 h 356"/>
                  <a:gd name="T84" fmla="*/ 22886 w 306"/>
                  <a:gd name="T85" fmla="*/ 658 h 356"/>
                  <a:gd name="T86" fmla="*/ 24117 w 306"/>
                  <a:gd name="T87" fmla="*/ 658 h 356"/>
                  <a:gd name="T88" fmla="*/ 24367 w 306"/>
                  <a:gd name="T89" fmla="*/ 726 h 356"/>
                  <a:gd name="T90" fmla="*/ 21922 w 306"/>
                  <a:gd name="T91" fmla="*/ 1743 h 356"/>
                  <a:gd name="T92" fmla="*/ 21747 w 306"/>
                  <a:gd name="T93" fmla="*/ 2754 h 356"/>
                  <a:gd name="T94" fmla="*/ 21747 w 306"/>
                  <a:gd name="T95" fmla="*/ 4673 h 356"/>
                  <a:gd name="T96" fmla="*/ 21983 w 306"/>
                  <a:gd name="T97" fmla="*/ 5609 h 3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06"/>
                  <a:gd name="T148" fmla="*/ 0 h 356"/>
                  <a:gd name="T149" fmla="*/ 306 w 306"/>
                  <a:gd name="T150" fmla="*/ 356 h 3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06" h="356">
                    <a:moveTo>
                      <a:pt x="276" y="216"/>
                    </a:moveTo>
                    <a:lnTo>
                      <a:pt x="292" y="236"/>
                    </a:lnTo>
                    <a:lnTo>
                      <a:pt x="293" y="239"/>
                    </a:lnTo>
                    <a:lnTo>
                      <a:pt x="291" y="244"/>
                    </a:lnTo>
                    <a:lnTo>
                      <a:pt x="283" y="251"/>
                    </a:lnTo>
                    <a:lnTo>
                      <a:pt x="277" y="252"/>
                    </a:lnTo>
                    <a:lnTo>
                      <a:pt x="273" y="254"/>
                    </a:lnTo>
                    <a:lnTo>
                      <a:pt x="268" y="260"/>
                    </a:lnTo>
                    <a:lnTo>
                      <a:pt x="265" y="265"/>
                    </a:lnTo>
                    <a:lnTo>
                      <a:pt x="265" y="269"/>
                    </a:lnTo>
                    <a:lnTo>
                      <a:pt x="252" y="275"/>
                    </a:lnTo>
                    <a:lnTo>
                      <a:pt x="251" y="277"/>
                    </a:lnTo>
                    <a:lnTo>
                      <a:pt x="247" y="280"/>
                    </a:lnTo>
                    <a:lnTo>
                      <a:pt x="243" y="291"/>
                    </a:lnTo>
                    <a:lnTo>
                      <a:pt x="241" y="303"/>
                    </a:lnTo>
                    <a:lnTo>
                      <a:pt x="232" y="318"/>
                    </a:lnTo>
                    <a:lnTo>
                      <a:pt x="227" y="326"/>
                    </a:lnTo>
                    <a:lnTo>
                      <a:pt x="224" y="338"/>
                    </a:lnTo>
                    <a:lnTo>
                      <a:pt x="220" y="344"/>
                    </a:lnTo>
                    <a:lnTo>
                      <a:pt x="217" y="348"/>
                    </a:lnTo>
                    <a:lnTo>
                      <a:pt x="214" y="351"/>
                    </a:lnTo>
                    <a:lnTo>
                      <a:pt x="207" y="356"/>
                    </a:lnTo>
                    <a:lnTo>
                      <a:pt x="154" y="321"/>
                    </a:lnTo>
                    <a:lnTo>
                      <a:pt x="150" y="314"/>
                    </a:lnTo>
                    <a:lnTo>
                      <a:pt x="147" y="301"/>
                    </a:lnTo>
                    <a:lnTo>
                      <a:pt x="147" y="295"/>
                    </a:lnTo>
                    <a:lnTo>
                      <a:pt x="145" y="292"/>
                    </a:lnTo>
                    <a:lnTo>
                      <a:pt x="11" y="213"/>
                    </a:lnTo>
                    <a:lnTo>
                      <a:pt x="4" y="208"/>
                    </a:lnTo>
                    <a:lnTo>
                      <a:pt x="10" y="198"/>
                    </a:lnTo>
                    <a:lnTo>
                      <a:pt x="17" y="198"/>
                    </a:lnTo>
                    <a:lnTo>
                      <a:pt x="23" y="193"/>
                    </a:lnTo>
                    <a:lnTo>
                      <a:pt x="32" y="189"/>
                    </a:lnTo>
                    <a:lnTo>
                      <a:pt x="32" y="186"/>
                    </a:lnTo>
                    <a:lnTo>
                      <a:pt x="25" y="186"/>
                    </a:lnTo>
                    <a:lnTo>
                      <a:pt x="17" y="187"/>
                    </a:lnTo>
                    <a:lnTo>
                      <a:pt x="11" y="189"/>
                    </a:lnTo>
                    <a:lnTo>
                      <a:pt x="7" y="190"/>
                    </a:lnTo>
                    <a:lnTo>
                      <a:pt x="5" y="184"/>
                    </a:lnTo>
                    <a:lnTo>
                      <a:pt x="0" y="178"/>
                    </a:lnTo>
                    <a:lnTo>
                      <a:pt x="1" y="168"/>
                    </a:lnTo>
                    <a:lnTo>
                      <a:pt x="5" y="164"/>
                    </a:lnTo>
                    <a:lnTo>
                      <a:pt x="17" y="145"/>
                    </a:lnTo>
                    <a:lnTo>
                      <a:pt x="25" y="137"/>
                    </a:lnTo>
                    <a:lnTo>
                      <a:pt x="25" y="134"/>
                    </a:lnTo>
                    <a:lnTo>
                      <a:pt x="32" y="126"/>
                    </a:lnTo>
                    <a:lnTo>
                      <a:pt x="37" y="119"/>
                    </a:lnTo>
                    <a:lnTo>
                      <a:pt x="39" y="108"/>
                    </a:lnTo>
                    <a:lnTo>
                      <a:pt x="39" y="95"/>
                    </a:lnTo>
                    <a:lnTo>
                      <a:pt x="38" y="86"/>
                    </a:lnTo>
                    <a:lnTo>
                      <a:pt x="38" y="74"/>
                    </a:lnTo>
                    <a:lnTo>
                      <a:pt x="37" y="69"/>
                    </a:lnTo>
                    <a:lnTo>
                      <a:pt x="32" y="64"/>
                    </a:lnTo>
                    <a:lnTo>
                      <a:pt x="28" y="63"/>
                    </a:lnTo>
                    <a:lnTo>
                      <a:pt x="25" y="60"/>
                    </a:lnTo>
                    <a:lnTo>
                      <a:pt x="22" y="57"/>
                    </a:lnTo>
                    <a:lnTo>
                      <a:pt x="18" y="51"/>
                    </a:lnTo>
                    <a:lnTo>
                      <a:pt x="15" y="33"/>
                    </a:lnTo>
                    <a:lnTo>
                      <a:pt x="13" y="30"/>
                    </a:lnTo>
                    <a:lnTo>
                      <a:pt x="13" y="29"/>
                    </a:lnTo>
                    <a:lnTo>
                      <a:pt x="13" y="25"/>
                    </a:lnTo>
                    <a:lnTo>
                      <a:pt x="11" y="22"/>
                    </a:lnTo>
                    <a:lnTo>
                      <a:pt x="3" y="22"/>
                    </a:lnTo>
                    <a:lnTo>
                      <a:pt x="1" y="20"/>
                    </a:lnTo>
                    <a:lnTo>
                      <a:pt x="0" y="19"/>
                    </a:lnTo>
                    <a:lnTo>
                      <a:pt x="11" y="4"/>
                    </a:lnTo>
                    <a:lnTo>
                      <a:pt x="18" y="0"/>
                    </a:lnTo>
                    <a:lnTo>
                      <a:pt x="27" y="0"/>
                    </a:lnTo>
                    <a:lnTo>
                      <a:pt x="48" y="1"/>
                    </a:lnTo>
                    <a:lnTo>
                      <a:pt x="58" y="1"/>
                    </a:lnTo>
                    <a:lnTo>
                      <a:pt x="71" y="0"/>
                    </a:lnTo>
                    <a:lnTo>
                      <a:pt x="81" y="2"/>
                    </a:lnTo>
                    <a:lnTo>
                      <a:pt x="91" y="1"/>
                    </a:lnTo>
                    <a:lnTo>
                      <a:pt x="103" y="2"/>
                    </a:lnTo>
                    <a:lnTo>
                      <a:pt x="116" y="7"/>
                    </a:lnTo>
                    <a:lnTo>
                      <a:pt x="141" y="23"/>
                    </a:lnTo>
                    <a:lnTo>
                      <a:pt x="149" y="32"/>
                    </a:lnTo>
                    <a:lnTo>
                      <a:pt x="164" y="37"/>
                    </a:lnTo>
                    <a:lnTo>
                      <a:pt x="176" y="37"/>
                    </a:lnTo>
                    <a:lnTo>
                      <a:pt x="192" y="41"/>
                    </a:lnTo>
                    <a:lnTo>
                      <a:pt x="207" y="41"/>
                    </a:lnTo>
                    <a:lnTo>
                      <a:pt x="225" y="33"/>
                    </a:lnTo>
                    <a:lnTo>
                      <a:pt x="236" y="22"/>
                    </a:lnTo>
                    <a:lnTo>
                      <a:pt x="248" y="17"/>
                    </a:lnTo>
                    <a:lnTo>
                      <a:pt x="262" y="14"/>
                    </a:lnTo>
                    <a:lnTo>
                      <a:pt x="286" y="26"/>
                    </a:lnTo>
                    <a:lnTo>
                      <a:pt x="295" y="25"/>
                    </a:lnTo>
                    <a:lnTo>
                      <a:pt x="302" y="26"/>
                    </a:lnTo>
                    <a:lnTo>
                      <a:pt x="306" y="25"/>
                    </a:lnTo>
                    <a:lnTo>
                      <a:pt x="305" y="28"/>
                    </a:lnTo>
                    <a:lnTo>
                      <a:pt x="290" y="51"/>
                    </a:lnTo>
                    <a:lnTo>
                      <a:pt x="274" y="67"/>
                    </a:lnTo>
                    <a:lnTo>
                      <a:pt x="272" y="68"/>
                    </a:lnTo>
                    <a:lnTo>
                      <a:pt x="272" y="106"/>
                    </a:lnTo>
                    <a:lnTo>
                      <a:pt x="272" y="142"/>
                    </a:lnTo>
                    <a:lnTo>
                      <a:pt x="272" y="180"/>
                    </a:lnTo>
                    <a:lnTo>
                      <a:pt x="272" y="211"/>
                    </a:lnTo>
                    <a:lnTo>
                      <a:pt x="276" y="216"/>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20" name="Freeform 116"/>
              <p:cNvSpPr>
                <a:spLocks/>
              </p:cNvSpPr>
              <p:nvPr/>
            </p:nvSpPr>
            <p:spPr bwMode="auto">
              <a:xfrm>
                <a:off x="2191" y="2856"/>
                <a:ext cx="483" cy="396"/>
              </a:xfrm>
              <a:custGeom>
                <a:avLst/>
                <a:gdLst>
                  <a:gd name="T0" fmla="*/ 32929 w 451"/>
                  <a:gd name="T1" fmla="*/ 347 h 377"/>
                  <a:gd name="T2" fmla="*/ 34887 w 451"/>
                  <a:gd name="T3" fmla="*/ 722 h 377"/>
                  <a:gd name="T4" fmla="*/ 38779 w 451"/>
                  <a:gd name="T5" fmla="*/ 1024 h 377"/>
                  <a:gd name="T6" fmla="*/ 39031 w 451"/>
                  <a:gd name="T7" fmla="*/ 1310 h 377"/>
                  <a:gd name="T8" fmla="*/ 40382 w 451"/>
                  <a:gd name="T9" fmla="*/ 1583 h 377"/>
                  <a:gd name="T10" fmla="*/ 41252 w 451"/>
                  <a:gd name="T11" fmla="*/ 2259 h 377"/>
                  <a:gd name="T12" fmla="*/ 41192 w 451"/>
                  <a:gd name="T13" fmla="*/ 2607 h 377"/>
                  <a:gd name="T14" fmla="*/ 40470 w 451"/>
                  <a:gd name="T15" fmla="*/ 2999 h 377"/>
                  <a:gd name="T16" fmla="*/ 40220 w 451"/>
                  <a:gd name="T17" fmla="*/ 3939 h 377"/>
                  <a:gd name="T18" fmla="*/ 40802 w 451"/>
                  <a:gd name="T19" fmla="*/ 4217 h 377"/>
                  <a:gd name="T20" fmla="*/ 39412 w 451"/>
                  <a:gd name="T21" fmla="*/ 4407 h 377"/>
                  <a:gd name="T22" fmla="*/ 38779 w 451"/>
                  <a:gd name="T23" fmla="*/ 5145 h 377"/>
                  <a:gd name="T24" fmla="*/ 38779 w 451"/>
                  <a:gd name="T25" fmla="*/ 5559 h 377"/>
                  <a:gd name="T26" fmla="*/ 39872 w 451"/>
                  <a:gd name="T27" fmla="*/ 5683 h 377"/>
                  <a:gd name="T28" fmla="*/ 28962 w 451"/>
                  <a:gd name="T29" fmla="*/ 7204 h 377"/>
                  <a:gd name="T30" fmla="*/ 28403 w 451"/>
                  <a:gd name="T31" fmla="*/ 7318 h 377"/>
                  <a:gd name="T32" fmla="*/ 26434 w 451"/>
                  <a:gd name="T33" fmla="*/ 7358 h 377"/>
                  <a:gd name="T34" fmla="*/ 24057 w 451"/>
                  <a:gd name="T35" fmla="*/ 7567 h 377"/>
                  <a:gd name="T36" fmla="*/ 23806 w 451"/>
                  <a:gd name="T37" fmla="*/ 7994 h 377"/>
                  <a:gd name="T38" fmla="*/ 23040 w 451"/>
                  <a:gd name="T39" fmla="*/ 8237 h 377"/>
                  <a:gd name="T40" fmla="*/ 21521 w 451"/>
                  <a:gd name="T41" fmla="*/ 8324 h 377"/>
                  <a:gd name="T42" fmla="*/ 20095 w 451"/>
                  <a:gd name="T43" fmla="*/ 8481 h 377"/>
                  <a:gd name="T44" fmla="*/ 18578 w 451"/>
                  <a:gd name="T45" fmla="*/ 9058 h 377"/>
                  <a:gd name="T46" fmla="*/ 17912 w 451"/>
                  <a:gd name="T47" fmla="*/ 9281 h 377"/>
                  <a:gd name="T48" fmla="*/ 16129 w 451"/>
                  <a:gd name="T49" fmla="*/ 9675 h 377"/>
                  <a:gd name="T50" fmla="*/ 15060 w 451"/>
                  <a:gd name="T51" fmla="*/ 9563 h 377"/>
                  <a:gd name="T52" fmla="*/ 11599 w 451"/>
                  <a:gd name="T53" fmla="*/ 9563 h 377"/>
                  <a:gd name="T54" fmla="*/ 10268 w 451"/>
                  <a:gd name="T55" fmla="*/ 9200 h 377"/>
                  <a:gd name="T56" fmla="*/ 7469 w 451"/>
                  <a:gd name="T57" fmla="*/ 9058 h 377"/>
                  <a:gd name="T58" fmla="*/ 3431 w 451"/>
                  <a:gd name="T59" fmla="*/ 9088 h 377"/>
                  <a:gd name="T60" fmla="*/ 1353 w 451"/>
                  <a:gd name="T61" fmla="*/ 8652 h 377"/>
                  <a:gd name="T62" fmla="*/ 0 w 451"/>
                  <a:gd name="T63" fmla="*/ 8237 h 377"/>
                  <a:gd name="T64" fmla="*/ 0 w 451"/>
                  <a:gd name="T65" fmla="*/ 4702 h 377"/>
                  <a:gd name="T66" fmla="*/ 6974 w 451"/>
                  <a:gd name="T67" fmla="*/ 4573 h 377"/>
                  <a:gd name="T68" fmla="*/ 6974 w 451"/>
                  <a:gd name="T69" fmla="*/ 3835 h 377"/>
                  <a:gd name="T70" fmla="*/ 7289 w 451"/>
                  <a:gd name="T71" fmla="*/ 3036 h 377"/>
                  <a:gd name="T72" fmla="*/ 7469 w 451"/>
                  <a:gd name="T73" fmla="*/ 2718 h 377"/>
                  <a:gd name="T74" fmla="*/ 8008 w 451"/>
                  <a:gd name="T75" fmla="*/ 2493 h 377"/>
                  <a:gd name="T76" fmla="*/ 8615 w 451"/>
                  <a:gd name="T77" fmla="*/ 3036 h 377"/>
                  <a:gd name="T78" fmla="*/ 10472 w 451"/>
                  <a:gd name="T79" fmla="*/ 2933 h 377"/>
                  <a:gd name="T80" fmla="*/ 12081 w 451"/>
                  <a:gd name="T81" fmla="*/ 3242 h 377"/>
                  <a:gd name="T82" fmla="*/ 15800 w 451"/>
                  <a:gd name="T83" fmla="*/ 3646 h 377"/>
                  <a:gd name="T84" fmla="*/ 18097 w 451"/>
                  <a:gd name="T85" fmla="*/ 3476 h 377"/>
                  <a:gd name="T86" fmla="*/ 21790 w 451"/>
                  <a:gd name="T87" fmla="*/ 3995 h 377"/>
                  <a:gd name="T88" fmla="*/ 23387 w 451"/>
                  <a:gd name="T89" fmla="*/ 4653 h 377"/>
                  <a:gd name="T90" fmla="*/ 26062 w 451"/>
                  <a:gd name="T91" fmla="*/ 4888 h 377"/>
                  <a:gd name="T92" fmla="*/ 27026 w 451"/>
                  <a:gd name="T93" fmla="*/ 4965 h 377"/>
                  <a:gd name="T94" fmla="*/ 27526 w 451"/>
                  <a:gd name="T95" fmla="*/ 4803 h 377"/>
                  <a:gd name="T96" fmla="*/ 27026 w 451"/>
                  <a:gd name="T97" fmla="*/ 3939 h 377"/>
                  <a:gd name="T98" fmla="*/ 24439 w 451"/>
                  <a:gd name="T99" fmla="*/ 3882 h 377"/>
                  <a:gd name="T100" fmla="*/ 23123 w 451"/>
                  <a:gd name="T101" fmla="*/ 3333 h 377"/>
                  <a:gd name="T102" fmla="*/ 24654 w 451"/>
                  <a:gd name="T103" fmla="*/ 2151 h 377"/>
                  <a:gd name="T104" fmla="*/ 23978 w 451"/>
                  <a:gd name="T105" fmla="*/ 968 h 377"/>
                  <a:gd name="T106" fmla="*/ 25032 w 451"/>
                  <a:gd name="T107" fmla="*/ 382 h 377"/>
                  <a:gd name="T108" fmla="*/ 26434 w 451"/>
                  <a:gd name="T109" fmla="*/ 8 h 377"/>
                  <a:gd name="T110" fmla="*/ 30438 w 451"/>
                  <a:gd name="T111" fmla="*/ 364 h 37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51"/>
                  <a:gd name="T169" fmla="*/ 0 h 377"/>
                  <a:gd name="T170" fmla="*/ 451 w 451"/>
                  <a:gd name="T171" fmla="*/ 377 h 37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51" h="377">
                    <a:moveTo>
                      <a:pt x="340" y="15"/>
                    </a:moveTo>
                    <a:lnTo>
                      <a:pt x="347" y="22"/>
                    </a:lnTo>
                    <a:lnTo>
                      <a:pt x="353" y="14"/>
                    </a:lnTo>
                    <a:lnTo>
                      <a:pt x="357" y="13"/>
                    </a:lnTo>
                    <a:lnTo>
                      <a:pt x="362" y="15"/>
                    </a:lnTo>
                    <a:lnTo>
                      <a:pt x="369" y="21"/>
                    </a:lnTo>
                    <a:lnTo>
                      <a:pt x="374" y="25"/>
                    </a:lnTo>
                    <a:lnTo>
                      <a:pt x="378" y="28"/>
                    </a:lnTo>
                    <a:lnTo>
                      <a:pt x="385" y="30"/>
                    </a:lnTo>
                    <a:lnTo>
                      <a:pt x="405" y="39"/>
                    </a:lnTo>
                    <a:lnTo>
                      <a:pt x="413" y="41"/>
                    </a:lnTo>
                    <a:lnTo>
                      <a:pt x="421" y="41"/>
                    </a:lnTo>
                    <a:lnTo>
                      <a:pt x="422" y="43"/>
                    </a:lnTo>
                    <a:lnTo>
                      <a:pt x="424" y="46"/>
                    </a:lnTo>
                    <a:lnTo>
                      <a:pt x="424" y="47"/>
                    </a:lnTo>
                    <a:lnTo>
                      <a:pt x="424" y="51"/>
                    </a:lnTo>
                    <a:lnTo>
                      <a:pt x="426" y="51"/>
                    </a:lnTo>
                    <a:lnTo>
                      <a:pt x="427" y="56"/>
                    </a:lnTo>
                    <a:lnTo>
                      <a:pt x="433" y="56"/>
                    </a:lnTo>
                    <a:lnTo>
                      <a:pt x="437" y="62"/>
                    </a:lnTo>
                    <a:lnTo>
                      <a:pt x="439" y="65"/>
                    </a:lnTo>
                    <a:lnTo>
                      <a:pt x="442" y="72"/>
                    </a:lnTo>
                    <a:lnTo>
                      <a:pt x="445" y="76"/>
                    </a:lnTo>
                    <a:lnTo>
                      <a:pt x="447" y="89"/>
                    </a:lnTo>
                    <a:lnTo>
                      <a:pt x="451" y="91"/>
                    </a:lnTo>
                    <a:lnTo>
                      <a:pt x="451" y="95"/>
                    </a:lnTo>
                    <a:lnTo>
                      <a:pt x="451" y="98"/>
                    </a:lnTo>
                    <a:lnTo>
                      <a:pt x="445" y="102"/>
                    </a:lnTo>
                    <a:lnTo>
                      <a:pt x="443" y="102"/>
                    </a:lnTo>
                    <a:lnTo>
                      <a:pt x="440" y="104"/>
                    </a:lnTo>
                    <a:lnTo>
                      <a:pt x="439" y="110"/>
                    </a:lnTo>
                    <a:lnTo>
                      <a:pt x="440" y="117"/>
                    </a:lnTo>
                    <a:lnTo>
                      <a:pt x="436" y="127"/>
                    </a:lnTo>
                    <a:lnTo>
                      <a:pt x="437" y="133"/>
                    </a:lnTo>
                    <a:lnTo>
                      <a:pt x="437" y="143"/>
                    </a:lnTo>
                    <a:lnTo>
                      <a:pt x="436" y="153"/>
                    </a:lnTo>
                    <a:lnTo>
                      <a:pt x="437" y="155"/>
                    </a:lnTo>
                    <a:lnTo>
                      <a:pt x="439" y="159"/>
                    </a:lnTo>
                    <a:lnTo>
                      <a:pt x="443" y="160"/>
                    </a:lnTo>
                    <a:lnTo>
                      <a:pt x="443" y="164"/>
                    </a:lnTo>
                    <a:lnTo>
                      <a:pt x="443" y="167"/>
                    </a:lnTo>
                    <a:lnTo>
                      <a:pt x="436" y="168"/>
                    </a:lnTo>
                    <a:lnTo>
                      <a:pt x="432" y="170"/>
                    </a:lnTo>
                    <a:lnTo>
                      <a:pt x="428" y="171"/>
                    </a:lnTo>
                    <a:lnTo>
                      <a:pt x="428" y="172"/>
                    </a:lnTo>
                    <a:lnTo>
                      <a:pt x="426" y="183"/>
                    </a:lnTo>
                    <a:lnTo>
                      <a:pt x="424" y="193"/>
                    </a:lnTo>
                    <a:lnTo>
                      <a:pt x="421" y="201"/>
                    </a:lnTo>
                    <a:lnTo>
                      <a:pt x="416" y="208"/>
                    </a:lnTo>
                    <a:lnTo>
                      <a:pt x="416" y="210"/>
                    </a:lnTo>
                    <a:lnTo>
                      <a:pt x="416" y="216"/>
                    </a:lnTo>
                    <a:lnTo>
                      <a:pt x="421" y="216"/>
                    </a:lnTo>
                    <a:lnTo>
                      <a:pt x="423" y="221"/>
                    </a:lnTo>
                    <a:lnTo>
                      <a:pt x="429" y="221"/>
                    </a:lnTo>
                    <a:lnTo>
                      <a:pt x="430" y="222"/>
                    </a:lnTo>
                    <a:lnTo>
                      <a:pt x="432" y="223"/>
                    </a:lnTo>
                    <a:lnTo>
                      <a:pt x="424" y="223"/>
                    </a:lnTo>
                    <a:lnTo>
                      <a:pt x="309" y="263"/>
                    </a:lnTo>
                    <a:lnTo>
                      <a:pt x="314" y="273"/>
                    </a:lnTo>
                    <a:lnTo>
                      <a:pt x="315" y="282"/>
                    </a:lnTo>
                    <a:lnTo>
                      <a:pt x="319" y="284"/>
                    </a:lnTo>
                    <a:lnTo>
                      <a:pt x="318" y="285"/>
                    </a:lnTo>
                    <a:lnTo>
                      <a:pt x="313" y="285"/>
                    </a:lnTo>
                    <a:lnTo>
                      <a:pt x="308" y="286"/>
                    </a:lnTo>
                    <a:lnTo>
                      <a:pt x="303" y="285"/>
                    </a:lnTo>
                    <a:lnTo>
                      <a:pt x="298" y="284"/>
                    </a:lnTo>
                    <a:lnTo>
                      <a:pt x="296" y="284"/>
                    </a:lnTo>
                    <a:lnTo>
                      <a:pt x="287" y="287"/>
                    </a:lnTo>
                    <a:lnTo>
                      <a:pt x="275" y="289"/>
                    </a:lnTo>
                    <a:lnTo>
                      <a:pt x="271" y="292"/>
                    </a:lnTo>
                    <a:lnTo>
                      <a:pt x="266" y="296"/>
                    </a:lnTo>
                    <a:lnTo>
                      <a:pt x="261" y="296"/>
                    </a:lnTo>
                    <a:lnTo>
                      <a:pt x="258" y="299"/>
                    </a:lnTo>
                    <a:lnTo>
                      <a:pt x="257" y="302"/>
                    </a:lnTo>
                    <a:lnTo>
                      <a:pt x="257" y="309"/>
                    </a:lnTo>
                    <a:lnTo>
                      <a:pt x="257" y="312"/>
                    </a:lnTo>
                    <a:lnTo>
                      <a:pt x="257" y="315"/>
                    </a:lnTo>
                    <a:lnTo>
                      <a:pt x="255" y="318"/>
                    </a:lnTo>
                    <a:lnTo>
                      <a:pt x="255" y="320"/>
                    </a:lnTo>
                    <a:lnTo>
                      <a:pt x="249" y="320"/>
                    </a:lnTo>
                    <a:lnTo>
                      <a:pt x="240" y="319"/>
                    </a:lnTo>
                    <a:lnTo>
                      <a:pt x="236" y="321"/>
                    </a:lnTo>
                    <a:lnTo>
                      <a:pt x="235" y="324"/>
                    </a:lnTo>
                    <a:lnTo>
                      <a:pt x="233" y="324"/>
                    </a:lnTo>
                    <a:lnTo>
                      <a:pt x="228" y="331"/>
                    </a:lnTo>
                    <a:lnTo>
                      <a:pt x="223" y="330"/>
                    </a:lnTo>
                    <a:lnTo>
                      <a:pt x="219" y="331"/>
                    </a:lnTo>
                    <a:lnTo>
                      <a:pt x="218" y="331"/>
                    </a:lnTo>
                    <a:lnTo>
                      <a:pt x="216" y="335"/>
                    </a:lnTo>
                    <a:lnTo>
                      <a:pt x="213" y="336"/>
                    </a:lnTo>
                    <a:lnTo>
                      <a:pt x="209" y="344"/>
                    </a:lnTo>
                    <a:lnTo>
                      <a:pt x="202" y="351"/>
                    </a:lnTo>
                    <a:lnTo>
                      <a:pt x="199" y="355"/>
                    </a:lnTo>
                    <a:lnTo>
                      <a:pt x="199" y="358"/>
                    </a:lnTo>
                    <a:lnTo>
                      <a:pt x="197" y="362"/>
                    </a:lnTo>
                    <a:lnTo>
                      <a:pt x="194" y="363"/>
                    </a:lnTo>
                    <a:lnTo>
                      <a:pt x="191" y="370"/>
                    </a:lnTo>
                    <a:lnTo>
                      <a:pt x="185" y="375"/>
                    </a:lnTo>
                    <a:lnTo>
                      <a:pt x="181" y="375"/>
                    </a:lnTo>
                    <a:lnTo>
                      <a:pt x="176" y="377"/>
                    </a:lnTo>
                    <a:lnTo>
                      <a:pt x="173" y="376"/>
                    </a:lnTo>
                    <a:lnTo>
                      <a:pt x="172" y="372"/>
                    </a:lnTo>
                    <a:lnTo>
                      <a:pt x="169" y="372"/>
                    </a:lnTo>
                    <a:lnTo>
                      <a:pt x="164" y="372"/>
                    </a:lnTo>
                    <a:lnTo>
                      <a:pt x="161" y="372"/>
                    </a:lnTo>
                    <a:lnTo>
                      <a:pt x="148" y="373"/>
                    </a:lnTo>
                    <a:lnTo>
                      <a:pt x="138" y="369"/>
                    </a:lnTo>
                    <a:lnTo>
                      <a:pt x="125" y="372"/>
                    </a:lnTo>
                    <a:lnTo>
                      <a:pt x="123" y="370"/>
                    </a:lnTo>
                    <a:lnTo>
                      <a:pt x="120" y="368"/>
                    </a:lnTo>
                    <a:lnTo>
                      <a:pt x="116" y="367"/>
                    </a:lnTo>
                    <a:lnTo>
                      <a:pt x="110" y="358"/>
                    </a:lnTo>
                    <a:lnTo>
                      <a:pt x="108" y="357"/>
                    </a:lnTo>
                    <a:lnTo>
                      <a:pt x="97" y="355"/>
                    </a:lnTo>
                    <a:lnTo>
                      <a:pt x="83" y="355"/>
                    </a:lnTo>
                    <a:lnTo>
                      <a:pt x="80" y="351"/>
                    </a:lnTo>
                    <a:lnTo>
                      <a:pt x="51" y="359"/>
                    </a:lnTo>
                    <a:lnTo>
                      <a:pt x="45" y="360"/>
                    </a:lnTo>
                    <a:lnTo>
                      <a:pt x="39" y="357"/>
                    </a:lnTo>
                    <a:lnTo>
                      <a:pt x="37" y="353"/>
                    </a:lnTo>
                    <a:lnTo>
                      <a:pt x="30" y="350"/>
                    </a:lnTo>
                    <a:lnTo>
                      <a:pt x="27" y="346"/>
                    </a:lnTo>
                    <a:lnTo>
                      <a:pt x="20" y="341"/>
                    </a:lnTo>
                    <a:lnTo>
                      <a:pt x="16" y="336"/>
                    </a:lnTo>
                    <a:lnTo>
                      <a:pt x="7" y="331"/>
                    </a:lnTo>
                    <a:lnTo>
                      <a:pt x="4" y="325"/>
                    </a:lnTo>
                    <a:lnTo>
                      <a:pt x="0" y="321"/>
                    </a:lnTo>
                    <a:lnTo>
                      <a:pt x="0" y="320"/>
                    </a:lnTo>
                    <a:lnTo>
                      <a:pt x="0" y="295"/>
                    </a:lnTo>
                    <a:lnTo>
                      <a:pt x="0" y="258"/>
                    </a:lnTo>
                    <a:lnTo>
                      <a:pt x="0" y="220"/>
                    </a:lnTo>
                    <a:lnTo>
                      <a:pt x="0" y="184"/>
                    </a:lnTo>
                    <a:lnTo>
                      <a:pt x="41" y="184"/>
                    </a:lnTo>
                    <a:lnTo>
                      <a:pt x="83" y="184"/>
                    </a:lnTo>
                    <a:lnTo>
                      <a:pt x="77" y="181"/>
                    </a:lnTo>
                    <a:lnTo>
                      <a:pt x="75" y="179"/>
                    </a:lnTo>
                    <a:lnTo>
                      <a:pt x="73" y="175"/>
                    </a:lnTo>
                    <a:lnTo>
                      <a:pt x="73" y="165"/>
                    </a:lnTo>
                    <a:lnTo>
                      <a:pt x="75" y="160"/>
                    </a:lnTo>
                    <a:lnTo>
                      <a:pt x="75" y="150"/>
                    </a:lnTo>
                    <a:lnTo>
                      <a:pt x="75" y="140"/>
                    </a:lnTo>
                    <a:lnTo>
                      <a:pt x="77" y="132"/>
                    </a:lnTo>
                    <a:lnTo>
                      <a:pt x="78" y="122"/>
                    </a:lnTo>
                    <a:lnTo>
                      <a:pt x="78" y="119"/>
                    </a:lnTo>
                    <a:lnTo>
                      <a:pt x="78" y="116"/>
                    </a:lnTo>
                    <a:lnTo>
                      <a:pt x="78" y="109"/>
                    </a:lnTo>
                    <a:lnTo>
                      <a:pt x="78" y="106"/>
                    </a:lnTo>
                    <a:lnTo>
                      <a:pt x="80" y="106"/>
                    </a:lnTo>
                    <a:lnTo>
                      <a:pt x="78" y="102"/>
                    </a:lnTo>
                    <a:lnTo>
                      <a:pt x="77" y="102"/>
                    </a:lnTo>
                    <a:lnTo>
                      <a:pt x="83" y="99"/>
                    </a:lnTo>
                    <a:lnTo>
                      <a:pt x="87" y="98"/>
                    </a:lnTo>
                    <a:lnTo>
                      <a:pt x="89" y="99"/>
                    </a:lnTo>
                    <a:lnTo>
                      <a:pt x="93" y="106"/>
                    </a:lnTo>
                    <a:lnTo>
                      <a:pt x="92" y="116"/>
                    </a:lnTo>
                    <a:lnTo>
                      <a:pt x="94" y="119"/>
                    </a:lnTo>
                    <a:lnTo>
                      <a:pt x="96" y="119"/>
                    </a:lnTo>
                    <a:lnTo>
                      <a:pt x="105" y="116"/>
                    </a:lnTo>
                    <a:lnTo>
                      <a:pt x="109" y="114"/>
                    </a:lnTo>
                    <a:lnTo>
                      <a:pt x="113" y="114"/>
                    </a:lnTo>
                    <a:lnTo>
                      <a:pt x="121" y="111"/>
                    </a:lnTo>
                    <a:lnTo>
                      <a:pt x="126" y="117"/>
                    </a:lnTo>
                    <a:lnTo>
                      <a:pt x="128" y="122"/>
                    </a:lnTo>
                    <a:lnTo>
                      <a:pt x="132" y="127"/>
                    </a:lnTo>
                    <a:lnTo>
                      <a:pt x="141" y="130"/>
                    </a:lnTo>
                    <a:lnTo>
                      <a:pt x="150" y="136"/>
                    </a:lnTo>
                    <a:lnTo>
                      <a:pt x="163" y="140"/>
                    </a:lnTo>
                    <a:lnTo>
                      <a:pt x="171" y="142"/>
                    </a:lnTo>
                    <a:lnTo>
                      <a:pt x="176" y="140"/>
                    </a:lnTo>
                    <a:lnTo>
                      <a:pt x="185" y="136"/>
                    </a:lnTo>
                    <a:lnTo>
                      <a:pt x="192" y="135"/>
                    </a:lnTo>
                    <a:lnTo>
                      <a:pt x="195" y="136"/>
                    </a:lnTo>
                    <a:lnTo>
                      <a:pt x="210" y="148"/>
                    </a:lnTo>
                    <a:lnTo>
                      <a:pt x="219" y="153"/>
                    </a:lnTo>
                    <a:lnTo>
                      <a:pt x="227" y="155"/>
                    </a:lnTo>
                    <a:lnTo>
                      <a:pt x="235" y="155"/>
                    </a:lnTo>
                    <a:lnTo>
                      <a:pt x="240" y="161"/>
                    </a:lnTo>
                    <a:lnTo>
                      <a:pt x="244" y="169"/>
                    </a:lnTo>
                    <a:lnTo>
                      <a:pt x="245" y="174"/>
                    </a:lnTo>
                    <a:lnTo>
                      <a:pt x="255" y="181"/>
                    </a:lnTo>
                    <a:lnTo>
                      <a:pt x="265" y="187"/>
                    </a:lnTo>
                    <a:lnTo>
                      <a:pt x="271" y="190"/>
                    </a:lnTo>
                    <a:lnTo>
                      <a:pt x="278" y="190"/>
                    </a:lnTo>
                    <a:lnTo>
                      <a:pt x="282" y="190"/>
                    </a:lnTo>
                    <a:lnTo>
                      <a:pt x="285" y="188"/>
                    </a:lnTo>
                    <a:lnTo>
                      <a:pt x="288" y="188"/>
                    </a:lnTo>
                    <a:lnTo>
                      <a:pt x="289" y="188"/>
                    </a:lnTo>
                    <a:lnTo>
                      <a:pt x="293" y="194"/>
                    </a:lnTo>
                    <a:lnTo>
                      <a:pt x="296" y="195"/>
                    </a:lnTo>
                    <a:lnTo>
                      <a:pt x="298" y="195"/>
                    </a:lnTo>
                    <a:lnTo>
                      <a:pt x="299" y="193"/>
                    </a:lnTo>
                    <a:lnTo>
                      <a:pt x="299" y="188"/>
                    </a:lnTo>
                    <a:lnTo>
                      <a:pt x="298" y="184"/>
                    </a:lnTo>
                    <a:lnTo>
                      <a:pt x="298" y="159"/>
                    </a:lnTo>
                    <a:lnTo>
                      <a:pt x="296" y="153"/>
                    </a:lnTo>
                    <a:lnTo>
                      <a:pt x="293" y="153"/>
                    </a:lnTo>
                    <a:lnTo>
                      <a:pt x="285" y="157"/>
                    </a:lnTo>
                    <a:lnTo>
                      <a:pt x="278" y="155"/>
                    </a:lnTo>
                    <a:lnTo>
                      <a:pt x="270" y="153"/>
                    </a:lnTo>
                    <a:lnTo>
                      <a:pt x="265" y="152"/>
                    </a:lnTo>
                    <a:lnTo>
                      <a:pt x="257" y="143"/>
                    </a:lnTo>
                    <a:lnTo>
                      <a:pt x="252" y="138"/>
                    </a:lnTo>
                    <a:lnTo>
                      <a:pt x="252" y="136"/>
                    </a:lnTo>
                    <a:lnTo>
                      <a:pt x="251" y="130"/>
                    </a:lnTo>
                    <a:lnTo>
                      <a:pt x="252" y="124"/>
                    </a:lnTo>
                    <a:lnTo>
                      <a:pt x="255" y="117"/>
                    </a:lnTo>
                    <a:lnTo>
                      <a:pt x="265" y="91"/>
                    </a:lnTo>
                    <a:lnTo>
                      <a:pt x="266" y="85"/>
                    </a:lnTo>
                    <a:lnTo>
                      <a:pt x="267" y="68"/>
                    </a:lnTo>
                    <a:lnTo>
                      <a:pt x="265" y="58"/>
                    </a:lnTo>
                    <a:lnTo>
                      <a:pt x="260" y="44"/>
                    </a:lnTo>
                    <a:lnTo>
                      <a:pt x="260" y="38"/>
                    </a:lnTo>
                    <a:lnTo>
                      <a:pt x="261" y="36"/>
                    </a:lnTo>
                    <a:lnTo>
                      <a:pt x="264" y="28"/>
                    </a:lnTo>
                    <a:lnTo>
                      <a:pt x="267" y="24"/>
                    </a:lnTo>
                    <a:lnTo>
                      <a:pt x="271" y="15"/>
                    </a:lnTo>
                    <a:lnTo>
                      <a:pt x="274" y="13"/>
                    </a:lnTo>
                    <a:lnTo>
                      <a:pt x="277" y="11"/>
                    </a:lnTo>
                    <a:lnTo>
                      <a:pt x="278" y="11"/>
                    </a:lnTo>
                    <a:lnTo>
                      <a:pt x="287" y="8"/>
                    </a:lnTo>
                    <a:lnTo>
                      <a:pt x="330" y="0"/>
                    </a:lnTo>
                    <a:lnTo>
                      <a:pt x="331" y="3"/>
                    </a:lnTo>
                    <a:lnTo>
                      <a:pt x="331" y="7"/>
                    </a:lnTo>
                    <a:lnTo>
                      <a:pt x="331" y="14"/>
                    </a:lnTo>
                    <a:lnTo>
                      <a:pt x="335" y="15"/>
                    </a:lnTo>
                    <a:lnTo>
                      <a:pt x="340" y="15"/>
                    </a:lnTo>
                    <a:close/>
                  </a:path>
                </a:pathLst>
              </a:custGeom>
              <a:solidFill>
                <a:srgbClr val="7891B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1" name="Freeform 117"/>
              <p:cNvSpPr>
                <a:spLocks/>
              </p:cNvSpPr>
              <p:nvPr/>
            </p:nvSpPr>
            <p:spPr bwMode="auto">
              <a:xfrm>
                <a:off x="2191" y="2856"/>
                <a:ext cx="483" cy="396"/>
              </a:xfrm>
              <a:custGeom>
                <a:avLst/>
                <a:gdLst>
                  <a:gd name="T0" fmla="*/ 32929 w 451"/>
                  <a:gd name="T1" fmla="*/ 347 h 377"/>
                  <a:gd name="T2" fmla="*/ 34887 w 451"/>
                  <a:gd name="T3" fmla="*/ 722 h 377"/>
                  <a:gd name="T4" fmla="*/ 38779 w 451"/>
                  <a:gd name="T5" fmla="*/ 1024 h 377"/>
                  <a:gd name="T6" fmla="*/ 39031 w 451"/>
                  <a:gd name="T7" fmla="*/ 1310 h 377"/>
                  <a:gd name="T8" fmla="*/ 40382 w 451"/>
                  <a:gd name="T9" fmla="*/ 1583 h 377"/>
                  <a:gd name="T10" fmla="*/ 41252 w 451"/>
                  <a:gd name="T11" fmla="*/ 2259 h 377"/>
                  <a:gd name="T12" fmla="*/ 41192 w 451"/>
                  <a:gd name="T13" fmla="*/ 2607 h 377"/>
                  <a:gd name="T14" fmla="*/ 40470 w 451"/>
                  <a:gd name="T15" fmla="*/ 2999 h 377"/>
                  <a:gd name="T16" fmla="*/ 40220 w 451"/>
                  <a:gd name="T17" fmla="*/ 3939 h 377"/>
                  <a:gd name="T18" fmla="*/ 40802 w 451"/>
                  <a:gd name="T19" fmla="*/ 4217 h 377"/>
                  <a:gd name="T20" fmla="*/ 39412 w 451"/>
                  <a:gd name="T21" fmla="*/ 4407 h 377"/>
                  <a:gd name="T22" fmla="*/ 38779 w 451"/>
                  <a:gd name="T23" fmla="*/ 5145 h 377"/>
                  <a:gd name="T24" fmla="*/ 38779 w 451"/>
                  <a:gd name="T25" fmla="*/ 5559 h 377"/>
                  <a:gd name="T26" fmla="*/ 39872 w 451"/>
                  <a:gd name="T27" fmla="*/ 5683 h 377"/>
                  <a:gd name="T28" fmla="*/ 28962 w 451"/>
                  <a:gd name="T29" fmla="*/ 7204 h 377"/>
                  <a:gd name="T30" fmla="*/ 28403 w 451"/>
                  <a:gd name="T31" fmla="*/ 7318 h 377"/>
                  <a:gd name="T32" fmla="*/ 26434 w 451"/>
                  <a:gd name="T33" fmla="*/ 7358 h 377"/>
                  <a:gd name="T34" fmla="*/ 24057 w 451"/>
                  <a:gd name="T35" fmla="*/ 7567 h 377"/>
                  <a:gd name="T36" fmla="*/ 23806 w 451"/>
                  <a:gd name="T37" fmla="*/ 7994 h 377"/>
                  <a:gd name="T38" fmla="*/ 23040 w 451"/>
                  <a:gd name="T39" fmla="*/ 8237 h 377"/>
                  <a:gd name="T40" fmla="*/ 21521 w 451"/>
                  <a:gd name="T41" fmla="*/ 8324 h 377"/>
                  <a:gd name="T42" fmla="*/ 20095 w 451"/>
                  <a:gd name="T43" fmla="*/ 8481 h 377"/>
                  <a:gd name="T44" fmla="*/ 18578 w 451"/>
                  <a:gd name="T45" fmla="*/ 9058 h 377"/>
                  <a:gd name="T46" fmla="*/ 17912 w 451"/>
                  <a:gd name="T47" fmla="*/ 9281 h 377"/>
                  <a:gd name="T48" fmla="*/ 16129 w 451"/>
                  <a:gd name="T49" fmla="*/ 9675 h 377"/>
                  <a:gd name="T50" fmla="*/ 15060 w 451"/>
                  <a:gd name="T51" fmla="*/ 9563 h 377"/>
                  <a:gd name="T52" fmla="*/ 11599 w 451"/>
                  <a:gd name="T53" fmla="*/ 9563 h 377"/>
                  <a:gd name="T54" fmla="*/ 10268 w 451"/>
                  <a:gd name="T55" fmla="*/ 9200 h 377"/>
                  <a:gd name="T56" fmla="*/ 7469 w 451"/>
                  <a:gd name="T57" fmla="*/ 9058 h 377"/>
                  <a:gd name="T58" fmla="*/ 3431 w 451"/>
                  <a:gd name="T59" fmla="*/ 9088 h 377"/>
                  <a:gd name="T60" fmla="*/ 1353 w 451"/>
                  <a:gd name="T61" fmla="*/ 8652 h 377"/>
                  <a:gd name="T62" fmla="*/ 0 w 451"/>
                  <a:gd name="T63" fmla="*/ 8237 h 377"/>
                  <a:gd name="T64" fmla="*/ 0 w 451"/>
                  <a:gd name="T65" fmla="*/ 4702 h 377"/>
                  <a:gd name="T66" fmla="*/ 6974 w 451"/>
                  <a:gd name="T67" fmla="*/ 4573 h 377"/>
                  <a:gd name="T68" fmla="*/ 6974 w 451"/>
                  <a:gd name="T69" fmla="*/ 3835 h 377"/>
                  <a:gd name="T70" fmla="*/ 7289 w 451"/>
                  <a:gd name="T71" fmla="*/ 3036 h 377"/>
                  <a:gd name="T72" fmla="*/ 7469 w 451"/>
                  <a:gd name="T73" fmla="*/ 2718 h 377"/>
                  <a:gd name="T74" fmla="*/ 8008 w 451"/>
                  <a:gd name="T75" fmla="*/ 2493 h 377"/>
                  <a:gd name="T76" fmla="*/ 8615 w 451"/>
                  <a:gd name="T77" fmla="*/ 3036 h 377"/>
                  <a:gd name="T78" fmla="*/ 10472 w 451"/>
                  <a:gd name="T79" fmla="*/ 2933 h 377"/>
                  <a:gd name="T80" fmla="*/ 12081 w 451"/>
                  <a:gd name="T81" fmla="*/ 3242 h 377"/>
                  <a:gd name="T82" fmla="*/ 15800 w 451"/>
                  <a:gd name="T83" fmla="*/ 3646 h 377"/>
                  <a:gd name="T84" fmla="*/ 18097 w 451"/>
                  <a:gd name="T85" fmla="*/ 3476 h 377"/>
                  <a:gd name="T86" fmla="*/ 21790 w 451"/>
                  <a:gd name="T87" fmla="*/ 3995 h 377"/>
                  <a:gd name="T88" fmla="*/ 23387 w 451"/>
                  <a:gd name="T89" fmla="*/ 4653 h 377"/>
                  <a:gd name="T90" fmla="*/ 26062 w 451"/>
                  <a:gd name="T91" fmla="*/ 4888 h 377"/>
                  <a:gd name="T92" fmla="*/ 27026 w 451"/>
                  <a:gd name="T93" fmla="*/ 4965 h 377"/>
                  <a:gd name="T94" fmla="*/ 27526 w 451"/>
                  <a:gd name="T95" fmla="*/ 4803 h 377"/>
                  <a:gd name="T96" fmla="*/ 27026 w 451"/>
                  <a:gd name="T97" fmla="*/ 3939 h 377"/>
                  <a:gd name="T98" fmla="*/ 24439 w 451"/>
                  <a:gd name="T99" fmla="*/ 3882 h 377"/>
                  <a:gd name="T100" fmla="*/ 23123 w 451"/>
                  <a:gd name="T101" fmla="*/ 3333 h 377"/>
                  <a:gd name="T102" fmla="*/ 24654 w 451"/>
                  <a:gd name="T103" fmla="*/ 2151 h 377"/>
                  <a:gd name="T104" fmla="*/ 23978 w 451"/>
                  <a:gd name="T105" fmla="*/ 968 h 377"/>
                  <a:gd name="T106" fmla="*/ 25032 w 451"/>
                  <a:gd name="T107" fmla="*/ 382 h 377"/>
                  <a:gd name="T108" fmla="*/ 26434 w 451"/>
                  <a:gd name="T109" fmla="*/ 8 h 377"/>
                  <a:gd name="T110" fmla="*/ 30438 w 451"/>
                  <a:gd name="T111" fmla="*/ 364 h 37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51"/>
                  <a:gd name="T169" fmla="*/ 0 h 377"/>
                  <a:gd name="T170" fmla="*/ 451 w 451"/>
                  <a:gd name="T171" fmla="*/ 377 h 37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51" h="377">
                    <a:moveTo>
                      <a:pt x="340" y="15"/>
                    </a:moveTo>
                    <a:lnTo>
                      <a:pt x="347" y="22"/>
                    </a:lnTo>
                    <a:lnTo>
                      <a:pt x="353" y="14"/>
                    </a:lnTo>
                    <a:lnTo>
                      <a:pt x="357" y="13"/>
                    </a:lnTo>
                    <a:lnTo>
                      <a:pt x="362" y="15"/>
                    </a:lnTo>
                    <a:lnTo>
                      <a:pt x="369" y="21"/>
                    </a:lnTo>
                    <a:lnTo>
                      <a:pt x="374" y="25"/>
                    </a:lnTo>
                    <a:lnTo>
                      <a:pt x="378" y="28"/>
                    </a:lnTo>
                    <a:lnTo>
                      <a:pt x="385" y="30"/>
                    </a:lnTo>
                    <a:lnTo>
                      <a:pt x="405" y="39"/>
                    </a:lnTo>
                    <a:lnTo>
                      <a:pt x="413" y="41"/>
                    </a:lnTo>
                    <a:lnTo>
                      <a:pt x="421" y="41"/>
                    </a:lnTo>
                    <a:lnTo>
                      <a:pt x="422" y="43"/>
                    </a:lnTo>
                    <a:lnTo>
                      <a:pt x="424" y="46"/>
                    </a:lnTo>
                    <a:lnTo>
                      <a:pt x="424" y="47"/>
                    </a:lnTo>
                    <a:lnTo>
                      <a:pt x="424" y="51"/>
                    </a:lnTo>
                    <a:lnTo>
                      <a:pt x="426" y="51"/>
                    </a:lnTo>
                    <a:lnTo>
                      <a:pt x="427" y="56"/>
                    </a:lnTo>
                    <a:lnTo>
                      <a:pt x="433" y="56"/>
                    </a:lnTo>
                    <a:lnTo>
                      <a:pt x="437" y="62"/>
                    </a:lnTo>
                    <a:lnTo>
                      <a:pt x="439" y="65"/>
                    </a:lnTo>
                    <a:lnTo>
                      <a:pt x="442" y="72"/>
                    </a:lnTo>
                    <a:lnTo>
                      <a:pt x="445" y="76"/>
                    </a:lnTo>
                    <a:lnTo>
                      <a:pt x="447" y="89"/>
                    </a:lnTo>
                    <a:lnTo>
                      <a:pt x="451" y="91"/>
                    </a:lnTo>
                    <a:lnTo>
                      <a:pt x="451" y="95"/>
                    </a:lnTo>
                    <a:lnTo>
                      <a:pt x="451" y="98"/>
                    </a:lnTo>
                    <a:lnTo>
                      <a:pt x="445" y="102"/>
                    </a:lnTo>
                    <a:lnTo>
                      <a:pt x="443" y="102"/>
                    </a:lnTo>
                    <a:lnTo>
                      <a:pt x="440" y="104"/>
                    </a:lnTo>
                    <a:lnTo>
                      <a:pt x="439" y="110"/>
                    </a:lnTo>
                    <a:lnTo>
                      <a:pt x="440" y="117"/>
                    </a:lnTo>
                    <a:lnTo>
                      <a:pt x="436" y="127"/>
                    </a:lnTo>
                    <a:lnTo>
                      <a:pt x="437" y="133"/>
                    </a:lnTo>
                    <a:lnTo>
                      <a:pt x="437" y="143"/>
                    </a:lnTo>
                    <a:lnTo>
                      <a:pt x="436" y="153"/>
                    </a:lnTo>
                    <a:lnTo>
                      <a:pt x="437" y="155"/>
                    </a:lnTo>
                    <a:lnTo>
                      <a:pt x="439" y="159"/>
                    </a:lnTo>
                    <a:lnTo>
                      <a:pt x="443" y="160"/>
                    </a:lnTo>
                    <a:lnTo>
                      <a:pt x="443" y="164"/>
                    </a:lnTo>
                    <a:lnTo>
                      <a:pt x="443" y="167"/>
                    </a:lnTo>
                    <a:lnTo>
                      <a:pt x="436" y="168"/>
                    </a:lnTo>
                    <a:lnTo>
                      <a:pt x="432" y="170"/>
                    </a:lnTo>
                    <a:lnTo>
                      <a:pt x="428" y="171"/>
                    </a:lnTo>
                    <a:lnTo>
                      <a:pt x="428" y="172"/>
                    </a:lnTo>
                    <a:lnTo>
                      <a:pt x="426" y="183"/>
                    </a:lnTo>
                    <a:lnTo>
                      <a:pt x="424" y="193"/>
                    </a:lnTo>
                    <a:lnTo>
                      <a:pt x="421" y="201"/>
                    </a:lnTo>
                    <a:lnTo>
                      <a:pt x="416" y="208"/>
                    </a:lnTo>
                    <a:lnTo>
                      <a:pt x="416" y="210"/>
                    </a:lnTo>
                    <a:lnTo>
                      <a:pt x="416" y="216"/>
                    </a:lnTo>
                    <a:lnTo>
                      <a:pt x="421" y="216"/>
                    </a:lnTo>
                    <a:lnTo>
                      <a:pt x="423" y="221"/>
                    </a:lnTo>
                    <a:lnTo>
                      <a:pt x="429" y="221"/>
                    </a:lnTo>
                    <a:lnTo>
                      <a:pt x="430" y="222"/>
                    </a:lnTo>
                    <a:lnTo>
                      <a:pt x="432" y="223"/>
                    </a:lnTo>
                    <a:lnTo>
                      <a:pt x="424" y="223"/>
                    </a:lnTo>
                    <a:lnTo>
                      <a:pt x="309" y="263"/>
                    </a:lnTo>
                    <a:lnTo>
                      <a:pt x="314" y="273"/>
                    </a:lnTo>
                    <a:lnTo>
                      <a:pt x="315" y="282"/>
                    </a:lnTo>
                    <a:lnTo>
                      <a:pt x="319" y="284"/>
                    </a:lnTo>
                    <a:lnTo>
                      <a:pt x="318" y="285"/>
                    </a:lnTo>
                    <a:lnTo>
                      <a:pt x="313" y="285"/>
                    </a:lnTo>
                    <a:lnTo>
                      <a:pt x="308" y="286"/>
                    </a:lnTo>
                    <a:lnTo>
                      <a:pt x="303" y="285"/>
                    </a:lnTo>
                    <a:lnTo>
                      <a:pt x="298" y="284"/>
                    </a:lnTo>
                    <a:lnTo>
                      <a:pt x="296" y="284"/>
                    </a:lnTo>
                    <a:lnTo>
                      <a:pt x="287" y="287"/>
                    </a:lnTo>
                    <a:lnTo>
                      <a:pt x="275" y="289"/>
                    </a:lnTo>
                    <a:lnTo>
                      <a:pt x="271" y="292"/>
                    </a:lnTo>
                    <a:lnTo>
                      <a:pt x="266" y="296"/>
                    </a:lnTo>
                    <a:lnTo>
                      <a:pt x="261" y="296"/>
                    </a:lnTo>
                    <a:lnTo>
                      <a:pt x="258" y="299"/>
                    </a:lnTo>
                    <a:lnTo>
                      <a:pt x="257" y="302"/>
                    </a:lnTo>
                    <a:lnTo>
                      <a:pt x="257" y="309"/>
                    </a:lnTo>
                    <a:lnTo>
                      <a:pt x="257" y="312"/>
                    </a:lnTo>
                    <a:lnTo>
                      <a:pt x="257" y="315"/>
                    </a:lnTo>
                    <a:lnTo>
                      <a:pt x="255" y="318"/>
                    </a:lnTo>
                    <a:lnTo>
                      <a:pt x="255" y="320"/>
                    </a:lnTo>
                    <a:lnTo>
                      <a:pt x="249" y="320"/>
                    </a:lnTo>
                    <a:lnTo>
                      <a:pt x="240" y="319"/>
                    </a:lnTo>
                    <a:lnTo>
                      <a:pt x="236" y="321"/>
                    </a:lnTo>
                    <a:lnTo>
                      <a:pt x="235" y="324"/>
                    </a:lnTo>
                    <a:lnTo>
                      <a:pt x="233" y="324"/>
                    </a:lnTo>
                    <a:lnTo>
                      <a:pt x="228" y="331"/>
                    </a:lnTo>
                    <a:lnTo>
                      <a:pt x="223" y="330"/>
                    </a:lnTo>
                    <a:lnTo>
                      <a:pt x="219" y="331"/>
                    </a:lnTo>
                    <a:lnTo>
                      <a:pt x="218" y="331"/>
                    </a:lnTo>
                    <a:lnTo>
                      <a:pt x="216" y="335"/>
                    </a:lnTo>
                    <a:lnTo>
                      <a:pt x="213" y="336"/>
                    </a:lnTo>
                    <a:lnTo>
                      <a:pt x="209" y="344"/>
                    </a:lnTo>
                    <a:lnTo>
                      <a:pt x="202" y="351"/>
                    </a:lnTo>
                    <a:lnTo>
                      <a:pt x="199" y="355"/>
                    </a:lnTo>
                    <a:lnTo>
                      <a:pt x="199" y="358"/>
                    </a:lnTo>
                    <a:lnTo>
                      <a:pt x="197" y="362"/>
                    </a:lnTo>
                    <a:lnTo>
                      <a:pt x="194" y="363"/>
                    </a:lnTo>
                    <a:lnTo>
                      <a:pt x="191" y="370"/>
                    </a:lnTo>
                    <a:lnTo>
                      <a:pt x="185" y="375"/>
                    </a:lnTo>
                    <a:lnTo>
                      <a:pt x="181" y="375"/>
                    </a:lnTo>
                    <a:lnTo>
                      <a:pt x="176" y="377"/>
                    </a:lnTo>
                    <a:lnTo>
                      <a:pt x="173" y="376"/>
                    </a:lnTo>
                    <a:lnTo>
                      <a:pt x="172" y="372"/>
                    </a:lnTo>
                    <a:lnTo>
                      <a:pt x="169" y="372"/>
                    </a:lnTo>
                    <a:lnTo>
                      <a:pt x="164" y="372"/>
                    </a:lnTo>
                    <a:lnTo>
                      <a:pt x="161" y="372"/>
                    </a:lnTo>
                    <a:lnTo>
                      <a:pt x="148" y="373"/>
                    </a:lnTo>
                    <a:lnTo>
                      <a:pt x="138" y="369"/>
                    </a:lnTo>
                    <a:lnTo>
                      <a:pt x="125" y="372"/>
                    </a:lnTo>
                    <a:lnTo>
                      <a:pt x="123" y="370"/>
                    </a:lnTo>
                    <a:lnTo>
                      <a:pt x="120" y="368"/>
                    </a:lnTo>
                    <a:lnTo>
                      <a:pt x="116" y="367"/>
                    </a:lnTo>
                    <a:lnTo>
                      <a:pt x="110" y="358"/>
                    </a:lnTo>
                    <a:lnTo>
                      <a:pt x="108" y="357"/>
                    </a:lnTo>
                    <a:lnTo>
                      <a:pt x="97" y="355"/>
                    </a:lnTo>
                    <a:lnTo>
                      <a:pt x="83" y="355"/>
                    </a:lnTo>
                    <a:lnTo>
                      <a:pt x="80" y="351"/>
                    </a:lnTo>
                    <a:lnTo>
                      <a:pt x="51" y="359"/>
                    </a:lnTo>
                    <a:lnTo>
                      <a:pt x="45" y="360"/>
                    </a:lnTo>
                    <a:lnTo>
                      <a:pt x="39" y="357"/>
                    </a:lnTo>
                    <a:lnTo>
                      <a:pt x="37" y="353"/>
                    </a:lnTo>
                    <a:lnTo>
                      <a:pt x="30" y="350"/>
                    </a:lnTo>
                    <a:lnTo>
                      <a:pt x="27" y="346"/>
                    </a:lnTo>
                    <a:lnTo>
                      <a:pt x="20" y="341"/>
                    </a:lnTo>
                    <a:lnTo>
                      <a:pt x="16" y="336"/>
                    </a:lnTo>
                    <a:lnTo>
                      <a:pt x="7" y="331"/>
                    </a:lnTo>
                    <a:lnTo>
                      <a:pt x="4" y="325"/>
                    </a:lnTo>
                    <a:lnTo>
                      <a:pt x="0" y="321"/>
                    </a:lnTo>
                    <a:lnTo>
                      <a:pt x="0" y="320"/>
                    </a:lnTo>
                    <a:lnTo>
                      <a:pt x="0" y="295"/>
                    </a:lnTo>
                    <a:lnTo>
                      <a:pt x="0" y="258"/>
                    </a:lnTo>
                    <a:lnTo>
                      <a:pt x="0" y="220"/>
                    </a:lnTo>
                    <a:lnTo>
                      <a:pt x="0" y="184"/>
                    </a:lnTo>
                    <a:lnTo>
                      <a:pt x="41" y="184"/>
                    </a:lnTo>
                    <a:lnTo>
                      <a:pt x="83" y="184"/>
                    </a:lnTo>
                    <a:lnTo>
                      <a:pt x="77" y="181"/>
                    </a:lnTo>
                    <a:lnTo>
                      <a:pt x="75" y="179"/>
                    </a:lnTo>
                    <a:lnTo>
                      <a:pt x="73" y="175"/>
                    </a:lnTo>
                    <a:lnTo>
                      <a:pt x="73" y="165"/>
                    </a:lnTo>
                    <a:lnTo>
                      <a:pt x="75" y="160"/>
                    </a:lnTo>
                    <a:lnTo>
                      <a:pt x="75" y="150"/>
                    </a:lnTo>
                    <a:lnTo>
                      <a:pt x="75" y="140"/>
                    </a:lnTo>
                    <a:lnTo>
                      <a:pt x="77" y="132"/>
                    </a:lnTo>
                    <a:lnTo>
                      <a:pt x="78" y="122"/>
                    </a:lnTo>
                    <a:lnTo>
                      <a:pt x="78" y="119"/>
                    </a:lnTo>
                    <a:lnTo>
                      <a:pt x="78" y="116"/>
                    </a:lnTo>
                    <a:lnTo>
                      <a:pt x="78" y="109"/>
                    </a:lnTo>
                    <a:lnTo>
                      <a:pt x="78" y="106"/>
                    </a:lnTo>
                    <a:lnTo>
                      <a:pt x="80" y="106"/>
                    </a:lnTo>
                    <a:lnTo>
                      <a:pt x="78" y="102"/>
                    </a:lnTo>
                    <a:lnTo>
                      <a:pt x="77" y="102"/>
                    </a:lnTo>
                    <a:lnTo>
                      <a:pt x="83" y="99"/>
                    </a:lnTo>
                    <a:lnTo>
                      <a:pt x="87" y="98"/>
                    </a:lnTo>
                    <a:lnTo>
                      <a:pt x="89" y="99"/>
                    </a:lnTo>
                    <a:lnTo>
                      <a:pt x="93" y="106"/>
                    </a:lnTo>
                    <a:lnTo>
                      <a:pt x="92" y="116"/>
                    </a:lnTo>
                    <a:lnTo>
                      <a:pt x="94" y="119"/>
                    </a:lnTo>
                    <a:lnTo>
                      <a:pt x="96" y="119"/>
                    </a:lnTo>
                    <a:lnTo>
                      <a:pt x="105" y="116"/>
                    </a:lnTo>
                    <a:lnTo>
                      <a:pt x="109" y="114"/>
                    </a:lnTo>
                    <a:lnTo>
                      <a:pt x="113" y="114"/>
                    </a:lnTo>
                    <a:lnTo>
                      <a:pt x="121" y="111"/>
                    </a:lnTo>
                    <a:lnTo>
                      <a:pt x="126" y="117"/>
                    </a:lnTo>
                    <a:lnTo>
                      <a:pt x="128" y="122"/>
                    </a:lnTo>
                    <a:lnTo>
                      <a:pt x="132" y="127"/>
                    </a:lnTo>
                    <a:lnTo>
                      <a:pt x="141" y="130"/>
                    </a:lnTo>
                    <a:lnTo>
                      <a:pt x="150" y="136"/>
                    </a:lnTo>
                    <a:lnTo>
                      <a:pt x="163" y="140"/>
                    </a:lnTo>
                    <a:lnTo>
                      <a:pt x="171" y="142"/>
                    </a:lnTo>
                    <a:lnTo>
                      <a:pt x="176" y="140"/>
                    </a:lnTo>
                    <a:lnTo>
                      <a:pt x="185" y="136"/>
                    </a:lnTo>
                    <a:lnTo>
                      <a:pt x="192" y="135"/>
                    </a:lnTo>
                    <a:lnTo>
                      <a:pt x="195" y="136"/>
                    </a:lnTo>
                    <a:lnTo>
                      <a:pt x="210" y="148"/>
                    </a:lnTo>
                    <a:lnTo>
                      <a:pt x="219" y="153"/>
                    </a:lnTo>
                    <a:lnTo>
                      <a:pt x="227" y="155"/>
                    </a:lnTo>
                    <a:lnTo>
                      <a:pt x="235" y="155"/>
                    </a:lnTo>
                    <a:lnTo>
                      <a:pt x="240" y="161"/>
                    </a:lnTo>
                    <a:lnTo>
                      <a:pt x="244" y="169"/>
                    </a:lnTo>
                    <a:lnTo>
                      <a:pt x="245" y="174"/>
                    </a:lnTo>
                    <a:lnTo>
                      <a:pt x="255" y="181"/>
                    </a:lnTo>
                    <a:lnTo>
                      <a:pt x="265" y="187"/>
                    </a:lnTo>
                    <a:lnTo>
                      <a:pt x="271" y="190"/>
                    </a:lnTo>
                    <a:lnTo>
                      <a:pt x="278" y="190"/>
                    </a:lnTo>
                    <a:lnTo>
                      <a:pt x="282" y="190"/>
                    </a:lnTo>
                    <a:lnTo>
                      <a:pt x="285" y="188"/>
                    </a:lnTo>
                    <a:lnTo>
                      <a:pt x="288" y="188"/>
                    </a:lnTo>
                    <a:lnTo>
                      <a:pt x="289" y="188"/>
                    </a:lnTo>
                    <a:lnTo>
                      <a:pt x="293" y="194"/>
                    </a:lnTo>
                    <a:lnTo>
                      <a:pt x="296" y="195"/>
                    </a:lnTo>
                    <a:lnTo>
                      <a:pt x="298" y="195"/>
                    </a:lnTo>
                    <a:lnTo>
                      <a:pt x="299" y="193"/>
                    </a:lnTo>
                    <a:lnTo>
                      <a:pt x="299" y="188"/>
                    </a:lnTo>
                    <a:lnTo>
                      <a:pt x="298" y="184"/>
                    </a:lnTo>
                    <a:lnTo>
                      <a:pt x="298" y="159"/>
                    </a:lnTo>
                    <a:lnTo>
                      <a:pt x="296" y="153"/>
                    </a:lnTo>
                    <a:lnTo>
                      <a:pt x="293" y="153"/>
                    </a:lnTo>
                    <a:lnTo>
                      <a:pt x="285" y="157"/>
                    </a:lnTo>
                    <a:lnTo>
                      <a:pt x="278" y="155"/>
                    </a:lnTo>
                    <a:lnTo>
                      <a:pt x="270" y="153"/>
                    </a:lnTo>
                    <a:lnTo>
                      <a:pt x="265" y="152"/>
                    </a:lnTo>
                    <a:lnTo>
                      <a:pt x="257" y="143"/>
                    </a:lnTo>
                    <a:lnTo>
                      <a:pt x="252" y="138"/>
                    </a:lnTo>
                    <a:lnTo>
                      <a:pt x="252" y="136"/>
                    </a:lnTo>
                    <a:lnTo>
                      <a:pt x="251" y="130"/>
                    </a:lnTo>
                    <a:lnTo>
                      <a:pt x="252" y="124"/>
                    </a:lnTo>
                    <a:lnTo>
                      <a:pt x="255" y="117"/>
                    </a:lnTo>
                    <a:lnTo>
                      <a:pt x="265" y="91"/>
                    </a:lnTo>
                    <a:lnTo>
                      <a:pt x="266" y="85"/>
                    </a:lnTo>
                    <a:lnTo>
                      <a:pt x="267" y="68"/>
                    </a:lnTo>
                    <a:lnTo>
                      <a:pt x="265" y="58"/>
                    </a:lnTo>
                    <a:lnTo>
                      <a:pt x="260" y="44"/>
                    </a:lnTo>
                    <a:lnTo>
                      <a:pt x="260" y="38"/>
                    </a:lnTo>
                    <a:lnTo>
                      <a:pt x="261" y="36"/>
                    </a:lnTo>
                    <a:lnTo>
                      <a:pt x="264" y="28"/>
                    </a:lnTo>
                    <a:lnTo>
                      <a:pt x="267" y="24"/>
                    </a:lnTo>
                    <a:lnTo>
                      <a:pt x="271" y="15"/>
                    </a:lnTo>
                    <a:lnTo>
                      <a:pt x="274" y="13"/>
                    </a:lnTo>
                    <a:lnTo>
                      <a:pt x="277" y="11"/>
                    </a:lnTo>
                    <a:lnTo>
                      <a:pt x="278" y="11"/>
                    </a:lnTo>
                    <a:lnTo>
                      <a:pt x="287" y="8"/>
                    </a:lnTo>
                    <a:lnTo>
                      <a:pt x="330" y="0"/>
                    </a:lnTo>
                    <a:lnTo>
                      <a:pt x="331" y="3"/>
                    </a:lnTo>
                    <a:lnTo>
                      <a:pt x="331" y="7"/>
                    </a:lnTo>
                    <a:lnTo>
                      <a:pt x="331" y="14"/>
                    </a:lnTo>
                    <a:lnTo>
                      <a:pt x="335" y="15"/>
                    </a:lnTo>
                    <a:lnTo>
                      <a:pt x="340" y="15"/>
                    </a:lnTo>
                    <a:close/>
                  </a:path>
                </a:pathLst>
              </a:custGeom>
              <a:solidFill>
                <a:srgbClr val="17375E"/>
              </a:solidFill>
              <a:ln w="7938">
                <a:solidFill>
                  <a:srgbClr val="1C1329"/>
                </a:solidFill>
                <a:miter lim="800000"/>
                <a:headEnd/>
                <a:tailEnd/>
              </a:ln>
            </p:spPr>
            <p:txBody>
              <a:bodyPr/>
              <a:lstStyle/>
              <a:p>
                <a:endParaRPr lang="en-US"/>
              </a:p>
            </p:txBody>
          </p:sp>
          <p:sp>
            <p:nvSpPr>
              <p:cNvPr id="322" name="Freeform 118"/>
              <p:cNvSpPr>
                <a:spLocks/>
              </p:cNvSpPr>
              <p:nvPr/>
            </p:nvSpPr>
            <p:spPr bwMode="auto">
              <a:xfrm>
                <a:off x="1958" y="3414"/>
                <a:ext cx="679" cy="514"/>
              </a:xfrm>
              <a:custGeom>
                <a:avLst/>
                <a:gdLst>
                  <a:gd name="T0" fmla="*/ 58499 w 634"/>
                  <a:gd name="T1" fmla="*/ 4456 h 490"/>
                  <a:gd name="T2" fmla="*/ 57645 w 634"/>
                  <a:gd name="T3" fmla="*/ 5147 h 490"/>
                  <a:gd name="T4" fmla="*/ 54996 w 634"/>
                  <a:gd name="T5" fmla="*/ 6227 h 490"/>
                  <a:gd name="T6" fmla="*/ 52664 w 634"/>
                  <a:gd name="T7" fmla="*/ 6808 h 490"/>
                  <a:gd name="T8" fmla="*/ 50622 w 634"/>
                  <a:gd name="T9" fmla="*/ 7771 h 490"/>
                  <a:gd name="T10" fmla="*/ 46454 w 634"/>
                  <a:gd name="T11" fmla="*/ 8702 h 490"/>
                  <a:gd name="T12" fmla="*/ 41726 w 634"/>
                  <a:gd name="T13" fmla="*/ 9795 h 490"/>
                  <a:gd name="T14" fmla="*/ 36792 w 634"/>
                  <a:gd name="T15" fmla="*/ 10576 h 490"/>
                  <a:gd name="T16" fmla="*/ 33227 w 634"/>
                  <a:gd name="T17" fmla="*/ 10639 h 490"/>
                  <a:gd name="T18" fmla="*/ 32042 w 634"/>
                  <a:gd name="T19" fmla="*/ 10888 h 490"/>
                  <a:gd name="T20" fmla="*/ 28969 w 634"/>
                  <a:gd name="T21" fmla="*/ 11052 h 490"/>
                  <a:gd name="T22" fmla="*/ 24108 w 634"/>
                  <a:gd name="T23" fmla="*/ 10983 h 490"/>
                  <a:gd name="T24" fmla="*/ 20440 w 634"/>
                  <a:gd name="T25" fmla="*/ 10888 h 490"/>
                  <a:gd name="T26" fmla="*/ 19085 w 634"/>
                  <a:gd name="T27" fmla="*/ 11203 h 490"/>
                  <a:gd name="T28" fmla="*/ 15912 w 634"/>
                  <a:gd name="T29" fmla="*/ 11203 h 490"/>
                  <a:gd name="T30" fmla="*/ 13309 w 634"/>
                  <a:gd name="T31" fmla="*/ 11442 h 490"/>
                  <a:gd name="T32" fmla="*/ 10998 w 634"/>
                  <a:gd name="T33" fmla="*/ 11442 h 490"/>
                  <a:gd name="T34" fmla="*/ 8584 w 634"/>
                  <a:gd name="T35" fmla="*/ 11215 h 490"/>
                  <a:gd name="T36" fmla="*/ 7689 w 634"/>
                  <a:gd name="T37" fmla="*/ 10959 h 490"/>
                  <a:gd name="T38" fmla="*/ 7289 w 634"/>
                  <a:gd name="T39" fmla="*/ 11203 h 490"/>
                  <a:gd name="T40" fmla="*/ 6806 w 634"/>
                  <a:gd name="T41" fmla="*/ 10822 h 490"/>
                  <a:gd name="T42" fmla="*/ 6093 w 634"/>
                  <a:gd name="T43" fmla="*/ 10352 h 490"/>
                  <a:gd name="T44" fmla="*/ 5544 w 634"/>
                  <a:gd name="T45" fmla="*/ 10006 h 490"/>
                  <a:gd name="T46" fmla="*/ 4980 w 634"/>
                  <a:gd name="T47" fmla="*/ 9696 h 490"/>
                  <a:gd name="T48" fmla="*/ 6086 w 634"/>
                  <a:gd name="T49" fmla="*/ 8734 h 490"/>
                  <a:gd name="T50" fmla="*/ 3431 w 634"/>
                  <a:gd name="T51" fmla="*/ 7841 h 490"/>
                  <a:gd name="T52" fmla="*/ 3 w 634"/>
                  <a:gd name="T53" fmla="*/ 6227 h 490"/>
                  <a:gd name="T54" fmla="*/ 3 w 634"/>
                  <a:gd name="T55" fmla="*/ 5940 h 490"/>
                  <a:gd name="T56" fmla="*/ 2124 w 634"/>
                  <a:gd name="T57" fmla="*/ 5661 h 490"/>
                  <a:gd name="T58" fmla="*/ 5544 w 634"/>
                  <a:gd name="T59" fmla="*/ 6249 h 490"/>
                  <a:gd name="T60" fmla="*/ 9184 w 634"/>
                  <a:gd name="T61" fmla="*/ 6249 h 490"/>
                  <a:gd name="T62" fmla="*/ 12083 w 634"/>
                  <a:gd name="T63" fmla="*/ 5886 h 490"/>
                  <a:gd name="T64" fmla="*/ 12083 w 634"/>
                  <a:gd name="T65" fmla="*/ 2422 h 490"/>
                  <a:gd name="T66" fmla="*/ 13860 w 634"/>
                  <a:gd name="T67" fmla="*/ 2751 h 490"/>
                  <a:gd name="T68" fmla="*/ 15628 w 634"/>
                  <a:gd name="T69" fmla="*/ 3494 h 490"/>
                  <a:gd name="T70" fmla="*/ 15266 w 634"/>
                  <a:gd name="T71" fmla="*/ 4231 h 490"/>
                  <a:gd name="T72" fmla="*/ 20387 w 634"/>
                  <a:gd name="T73" fmla="*/ 4212 h 490"/>
                  <a:gd name="T74" fmla="*/ 22510 w 634"/>
                  <a:gd name="T75" fmla="*/ 3615 h 490"/>
                  <a:gd name="T76" fmla="*/ 25256 w 634"/>
                  <a:gd name="T77" fmla="*/ 3026 h 490"/>
                  <a:gd name="T78" fmla="*/ 29467 w 634"/>
                  <a:gd name="T79" fmla="*/ 3331 h 490"/>
                  <a:gd name="T80" fmla="*/ 32595 w 634"/>
                  <a:gd name="T81" fmla="*/ 3040 h 490"/>
                  <a:gd name="T82" fmla="*/ 37387 w 634"/>
                  <a:gd name="T83" fmla="*/ 1559 h 490"/>
                  <a:gd name="T84" fmla="*/ 41704 w 634"/>
                  <a:gd name="T85" fmla="*/ 576 h 490"/>
                  <a:gd name="T86" fmla="*/ 45927 w 634"/>
                  <a:gd name="T87" fmla="*/ 3 h 490"/>
                  <a:gd name="T88" fmla="*/ 49705 w 634"/>
                  <a:gd name="T89" fmla="*/ 8 h 490"/>
                  <a:gd name="T90" fmla="*/ 53554 w 634"/>
                  <a:gd name="T91" fmla="*/ 476 h 490"/>
                  <a:gd name="T92" fmla="*/ 54622 w 634"/>
                  <a:gd name="T93" fmla="*/ 1300 h 490"/>
                  <a:gd name="T94" fmla="*/ 53554 w 634"/>
                  <a:gd name="T95" fmla="*/ 3331 h 490"/>
                  <a:gd name="T96" fmla="*/ 51257 w 634"/>
                  <a:gd name="T97" fmla="*/ 4099 h 490"/>
                  <a:gd name="T98" fmla="*/ 54622 w 634"/>
                  <a:gd name="T99" fmla="*/ 4655 h 4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4"/>
                  <a:gd name="T151" fmla="*/ 0 h 490"/>
                  <a:gd name="T152" fmla="*/ 634 w 634"/>
                  <a:gd name="T153" fmla="*/ 490 h 49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4" h="490">
                    <a:moveTo>
                      <a:pt x="604" y="181"/>
                    </a:moveTo>
                    <a:lnTo>
                      <a:pt x="629" y="180"/>
                    </a:lnTo>
                    <a:lnTo>
                      <a:pt x="634" y="181"/>
                    </a:lnTo>
                    <a:lnTo>
                      <a:pt x="633" y="190"/>
                    </a:lnTo>
                    <a:lnTo>
                      <a:pt x="630" y="196"/>
                    </a:lnTo>
                    <a:lnTo>
                      <a:pt x="627" y="204"/>
                    </a:lnTo>
                    <a:lnTo>
                      <a:pt x="626" y="212"/>
                    </a:lnTo>
                    <a:lnTo>
                      <a:pt x="625" y="221"/>
                    </a:lnTo>
                    <a:lnTo>
                      <a:pt x="622" y="227"/>
                    </a:lnTo>
                    <a:lnTo>
                      <a:pt x="617" y="248"/>
                    </a:lnTo>
                    <a:lnTo>
                      <a:pt x="612" y="255"/>
                    </a:lnTo>
                    <a:lnTo>
                      <a:pt x="596" y="265"/>
                    </a:lnTo>
                    <a:lnTo>
                      <a:pt x="591" y="268"/>
                    </a:lnTo>
                    <a:lnTo>
                      <a:pt x="585" y="272"/>
                    </a:lnTo>
                    <a:lnTo>
                      <a:pt x="578" y="279"/>
                    </a:lnTo>
                    <a:lnTo>
                      <a:pt x="570" y="289"/>
                    </a:lnTo>
                    <a:lnTo>
                      <a:pt x="567" y="295"/>
                    </a:lnTo>
                    <a:lnTo>
                      <a:pt x="564" y="300"/>
                    </a:lnTo>
                    <a:lnTo>
                      <a:pt x="562" y="305"/>
                    </a:lnTo>
                    <a:lnTo>
                      <a:pt x="547" y="330"/>
                    </a:lnTo>
                    <a:lnTo>
                      <a:pt x="540" y="336"/>
                    </a:lnTo>
                    <a:lnTo>
                      <a:pt x="527" y="354"/>
                    </a:lnTo>
                    <a:lnTo>
                      <a:pt x="510" y="366"/>
                    </a:lnTo>
                    <a:lnTo>
                      <a:pt x="503" y="371"/>
                    </a:lnTo>
                    <a:lnTo>
                      <a:pt x="498" y="378"/>
                    </a:lnTo>
                    <a:lnTo>
                      <a:pt x="486" y="392"/>
                    </a:lnTo>
                    <a:lnTo>
                      <a:pt x="468" y="409"/>
                    </a:lnTo>
                    <a:lnTo>
                      <a:pt x="453" y="418"/>
                    </a:lnTo>
                    <a:lnTo>
                      <a:pt x="446" y="425"/>
                    </a:lnTo>
                    <a:lnTo>
                      <a:pt x="440" y="430"/>
                    </a:lnTo>
                    <a:lnTo>
                      <a:pt x="414" y="445"/>
                    </a:lnTo>
                    <a:lnTo>
                      <a:pt x="398" y="452"/>
                    </a:lnTo>
                    <a:lnTo>
                      <a:pt x="390" y="453"/>
                    </a:lnTo>
                    <a:lnTo>
                      <a:pt x="375" y="452"/>
                    </a:lnTo>
                    <a:lnTo>
                      <a:pt x="367" y="452"/>
                    </a:lnTo>
                    <a:lnTo>
                      <a:pt x="360" y="453"/>
                    </a:lnTo>
                    <a:lnTo>
                      <a:pt x="355" y="456"/>
                    </a:lnTo>
                    <a:lnTo>
                      <a:pt x="357" y="461"/>
                    </a:lnTo>
                    <a:lnTo>
                      <a:pt x="357" y="466"/>
                    </a:lnTo>
                    <a:lnTo>
                      <a:pt x="346" y="464"/>
                    </a:lnTo>
                    <a:lnTo>
                      <a:pt x="338" y="462"/>
                    </a:lnTo>
                    <a:lnTo>
                      <a:pt x="329" y="463"/>
                    </a:lnTo>
                    <a:lnTo>
                      <a:pt x="324" y="471"/>
                    </a:lnTo>
                    <a:lnTo>
                      <a:pt x="314" y="471"/>
                    </a:lnTo>
                    <a:lnTo>
                      <a:pt x="288" y="464"/>
                    </a:lnTo>
                    <a:lnTo>
                      <a:pt x="278" y="462"/>
                    </a:lnTo>
                    <a:lnTo>
                      <a:pt x="268" y="463"/>
                    </a:lnTo>
                    <a:lnTo>
                      <a:pt x="262" y="467"/>
                    </a:lnTo>
                    <a:lnTo>
                      <a:pt x="257" y="467"/>
                    </a:lnTo>
                    <a:lnTo>
                      <a:pt x="240" y="463"/>
                    </a:lnTo>
                    <a:lnTo>
                      <a:pt x="235" y="463"/>
                    </a:lnTo>
                    <a:lnTo>
                      <a:pt x="222" y="464"/>
                    </a:lnTo>
                    <a:lnTo>
                      <a:pt x="219" y="467"/>
                    </a:lnTo>
                    <a:lnTo>
                      <a:pt x="216" y="471"/>
                    </a:lnTo>
                    <a:lnTo>
                      <a:pt x="209" y="472"/>
                    </a:lnTo>
                    <a:lnTo>
                      <a:pt x="207" y="477"/>
                    </a:lnTo>
                    <a:lnTo>
                      <a:pt x="202" y="478"/>
                    </a:lnTo>
                    <a:lnTo>
                      <a:pt x="188" y="477"/>
                    </a:lnTo>
                    <a:lnTo>
                      <a:pt x="185" y="479"/>
                    </a:lnTo>
                    <a:lnTo>
                      <a:pt x="173" y="477"/>
                    </a:lnTo>
                    <a:lnTo>
                      <a:pt x="166" y="478"/>
                    </a:lnTo>
                    <a:lnTo>
                      <a:pt x="164" y="481"/>
                    </a:lnTo>
                    <a:lnTo>
                      <a:pt x="151" y="482"/>
                    </a:lnTo>
                    <a:lnTo>
                      <a:pt x="144" y="488"/>
                    </a:lnTo>
                    <a:lnTo>
                      <a:pt x="137" y="490"/>
                    </a:lnTo>
                    <a:lnTo>
                      <a:pt x="130" y="490"/>
                    </a:lnTo>
                    <a:lnTo>
                      <a:pt x="124" y="488"/>
                    </a:lnTo>
                    <a:lnTo>
                      <a:pt x="118" y="488"/>
                    </a:lnTo>
                    <a:lnTo>
                      <a:pt x="109" y="485"/>
                    </a:lnTo>
                    <a:lnTo>
                      <a:pt x="109" y="481"/>
                    </a:lnTo>
                    <a:lnTo>
                      <a:pt x="106" y="477"/>
                    </a:lnTo>
                    <a:lnTo>
                      <a:pt x="93" y="478"/>
                    </a:lnTo>
                    <a:lnTo>
                      <a:pt x="90" y="477"/>
                    </a:lnTo>
                    <a:lnTo>
                      <a:pt x="90" y="474"/>
                    </a:lnTo>
                    <a:lnTo>
                      <a:pt x="90" y="466"/>
                    </a:lnTo>
                    <a:lnTo>
                      <a:pt x="83" y="466"/>
                    </a:lnTo>
                    <a:lnTo>
                      <a:pt x="78" y="467"/>
                    </a:lnTo>
                    <a:lnTo>
                      <a:pt x="78" y="469"/>
                    </a:lnTo>
                    <a:lnTo>
                      <a:pt x="78" y="472"/>
                    </a:lnTo>
                    <a:lnTo>
                      <a:pt x="78" y="477"/>
                    </a:lnTo>
                    <a:lnTo>
                      <a:pt x="76" y="477"/>
                    </a:lnTo>
                    <a:lnTo>
                      <a:pt x="73" y="472"/>
                    </a:lnTo>
                    <a:lnTo>
                      <a:pt x="73" y="466"/>
                    </a:lnTo>
                    <a:lnTo>
                      <a:pt x="73" y="461"/>
                    </a:lnTo>
                    <a:lnTo>
                      <a:pt x="75" y="456"/>
                    </a:lnTo>
                    <a:lnTo>
                      <a:pt x="75" y="452"/>
                    </a:lnTo>
                    <a:lnTo>
                      <a:pt x="70" y="446"/>
                    </a:lnTo>
                    <a:lnTo>
                      <a:pt x="66" y="440"/>
                    </a:lnTo>
                    <a:lnTo>
                      <a:pt x="63" y="437"/>
                    </a:lnTo>
                    <a:lnTo>
                      <a:pt x="58" y="431"/>
                    </a:lnTo>
                    <a:lnTo>
                      <a:pt x="61" y="430"/>
                    </a:lnTo>
                    <a:lnTo>
                      <a:pt x="60" y="426"/>
                    </a:lnTo>
                    <a:lnTo>
                      <a:pt x="55" y="423"/>
                    </a:lnTo>
                    <a:lnTo>
                      <a:pt x="52" y="423"/>
                    </a:lnTo>
                    <a:lnTo>
                      <a:pt x="54" y="416"/>
                    </a:lnTo>
                    <a:lnTo>
                      <a:pt x="55" y="413"/>
                    </a:lnTo>
                    <a:lnTo>
                      <a:pt x="64" y="415"/>
                    </a:lnTo>
                    <a:lnTo>
                      <a:pt x="71" y="406"/>
                    </a:lnTo>
                    <a:lnTo>
                      <a:pt x="68" y="382"/>
                    </a:lnTo>
                    <a:lnTo>
                      <a:pt x="65" y="374"/>
                    </a:lnTo>
                    <a:lnTo>
                      <a:pt x="49" y="355"/>
                    </a:lnTo>
                    <a:lnTo>
                      <a:pt x="45" y="347"/>
                    </a:lnTo>
                    <a:lnTo>
                      <a:pt x="41" y="339"/>
                    </a:lnTo>
                    <a:lnTo>
                      <a:pt x="37" y="333"/>
                    </a:lnTo>
                    <a:lnTo>
                      <a:pt x="26" y="311"/>
                    </a:lnTo>
                    <a:lnTo>
                      <a:pt x="20" y="294"/>
                    </a:lnTo>
                    <a:lnTo>
                      <a:pt x="10" y="272"/>
                    </a:lnTo>
                    <a:lnTo>
                      <a:pt x="3" y="265"/>
                    </a:lnTo>
                    <a:lnTo>
                      <a:pt x="1" y="262"/>
                    </a:lnTo>
                    <a:lnTo>
                      <a:pt x="2" y="258"/>
                    </a:lnTo>
                    <a:lnTo>
                      <a:pt x="0" y="255"/>
                    </a:lnTo>
                    <a:lnTo>
                      <a:pt x="3" y="255"/>
                    </a:lnTo>
                    <a:lnTo>
                      <a:pt x="7" y="254"/>
                    </a:lnTo>
                    <a:lnTo>
                      <a:pt x="10" y="250"/>
                    </a:lnTo>
                    <a:lnTo>
                      <a:pt x="14" y="242"/>
                    </a:lnTo>
                    <a:lnTo>
                      <a:pt x="23" y="242"/>
                    </a:lnTo>
                    <a:lnTo>
                      <a:pt x="41" y="253"/>
                    </a:lnTo>
                    <a:lnTo>
                      <a:pt x="41" y="260"/>
                    </a:lnTo>
                    <a:lnTo>
                      <a:pt x="49" y="268"/>
                    </a:lnTo>
                    <a:lnTo>
                      <a:pt x="60" y="268"/>
                    </a:lnTo>
                    <a:lnTo>
                      <a:pt x="71" y="267"/>
                    </a:lnTo>
                    <a:lnTo>
                      <a:pt x="85" y="267"/>
                    </a:lnTo>
                    <a:lnTo>
                      <a:pt x="90" y="268"/>
                    </a:lnTo>
                    <a:lnTo>
                      <a:pt x="99" y="268"/>
                    </a:lnTo>
                    <a:lnTo>
                      <a:pt x="111" y="258"/>
                    </a:lnTo>
                    <a:lnTo>
                      <a:pt x="121" y="253"/>
                    </a:lnTo>
                    <a:lnTo>
                      <a:pt x="128" y="251"/>
                    </a:lnTo>
                    <a:lnTo>
                      <a:pt x="131" y="250"/>
                    </a:lnTo>
                    <a:lnTo>
                      <a:pt x="131" y="214"/>
                    </a:lnTo>
                    <a:lnTo>
                      <a:pt x="131" y="176"/>
                    </a:lnTo>
                    <a:lnTo>
                      <a:pt x="131" y="138"/>
                    </a:lnTo>
                    <a:lnTo>
                      <a:pt x="131" y="104"/>
                    </a:lnTo>
                    <a:lnTo>
                      <a:pt x="135" y="104"/>
                    </a:lnTo>
                    <a:lnTo>
                      <a:pt x="140" y="108"/>
                    </a:lnTo>
                    <a:lnTo>
                      <a:pt x="141" y="111"/>
                    </a:lnTo>
                    <a:lnTo>
                      <a:pt x="150" y="117"/>
                    </a:lnTo>
                    <a:lnTo>
                      <a:pt x="153" y="123"/>
                    </a:lnTo>
                    <a:lnTo>
                      <a:pt x="162" y="130"/>
                    </a:lnTo>
                    <a:lnTo>
                      <a:pt x="167" y="138"/>
                    </a:lnTo>
                    <a:lnTo>
                      <a:pt x="169" y="149"/>
                    </a:lnTo>
                    <a:lnTo>
                      <a:pt x="169" y="153"/>
                    </a:lnTo>
                    <a:lnTo>
                      <a:pt x="167" y="160"/>
                    </a:lnTo>
                    <a:lnTo>
                      <a:pt x="161" y="175"/>
                    </a:lnTo>
                    <a:lnTo>
                      <a:pt x="165" y="180"/>
                    </a:lnTo>
                    <a:lnTo>
                      <a:pt x="172" y="181"/>
                    </a:lnTo>
                    <a:lnTo>
                      <a:pt x="182" y="183"/>
                    </a:lnTo>
                    <a:lnTo>
                      <a:pt x="195" y="183"/>
                    </a:lnTo>
                    <a:lnTo>
                      <a:pt x="220" y="178"/>
                    </a:lnTo>
                    <a:lnTo>
                      <a:pt x="226" y="168"/>
                    </a:lnTo>
                    <a:lnTo>
                      <a:pt x="230" y="164"/>
                    </a:lnTo>
                    <a:lnTo>
                      <a:pt x="238" y="159"/>
                    </a:lnTo>
                    <a:lnTo>
                      <a:pt x="245" y="153"/>
                    </a:lnTo>
                    <a:lnTo>
                      <a:pt x="248" y="149"/>
                    </a:lnTo>
                    <a:lnTo>
                      <a:pt x="252" y="142"/>
                    </a:lnTo>
                    <a:lnTo>
                      <a:pt x="264" y="130"/>
                    </a:lnTo>
                    <a:lnTo>
                      <a:pt x="274" y="128"/>
                    </a:lnTo>
                    <a:lnTo>
                      <a:pt x="283" y="128"/>
                    </a:lnTo>
                    <a:lnTo>
                      <a:pt x="292" y="131"/>
                    </a:lnTo>
                    <a:lnTo>
                      <a:pt x="308" y="140"/>
                    </a:lnTo>
                    <a:lnTo>
                      <a:pt x="318" y="142"/>
                    </a:lnTo>
                    <a:lnTo>
                      <a:pt x="337" y="137"/>
                    </a:lnTo>
                    <a:lnTo>
                      <a:pt x="344" y="137"/>
                    </a:lnTo>
                    <a:lnTo>
                      <a:pt x="350" y="134"/>
                    </a:lnTo>
                    <a:lnTo>
                      <a:pt x="353" y="130"/>
                    </a:lnTo>
                    <a:lnTo>
                      <a:pt x="364" y="108"/>
                    </a:lnTo>
                    <a:lnTo>
                      <a:pt x="374" y="97"/>
                    </a:lnTo>
                    <a:lnTo>
                      <a:pt x="393" y="84"/>
                    </a:lnTo>
                    <a:lnTo>
                      <a:pt x="405" y="67"/>
                    </a:lnTo>
                    <a:lnTo>
                      <a:pt x="414" y="58"/>
                    </a:lnTo>
                    <a:lnTo>
                      <a:pt x="427" y="45"/>
                    </a:lnTo>
                    <a:lnTo>
                      <a:pt x="441" y="37"/>
                    </a:lnTo>
                    <a:lnTo>
                      <a:pt x="452" y="26"/>
                    </a:lnTo>
                    <a:lnTo>
                      <a:pt x="479" y="14"/>
                    </a:lnTo>
                    <a:lnTo>
                      <a:pt x="488" y="8"/>
                    </a:lnTo>
                    <a:lnTo>
                      <a:pt x="496" y="5"/>
                    </a:lnTo>
                    <a:lnTo>
                      <a:pt x="498" y="3"/>
                    </a:lnTo>
                    <a:lnTo>
                      <a:pt x="505" y="0"/>
                    </a:lnTo>
                    <a:lnTo>
                      <a:pt x="511" y="1"/>
                    </a:lnTo>
                    <a:lnTo>
                      <a:pt x="529" y="7"/>
                    </a:lnTo>
                    <a:lnTo>
                      <a:pt x="537" y="8"/>
                    </a:lnTo>
                    <a:lnTo>
                      <a:pt x="546" y="7"/>
                    </a:lnTo>
                    <a:lnTo>
                      <a:pt x="555" y="7"/>
                    </a:lnTo>
                    <a:lnTo>
                      <a:pt x="569" y="11"/>
                    </a:lnTo>
                    <a:lnTo>
                      <a:pt x="580" y="22"/>
                    </a:lnTo>
                    <a:lnTo>
                      <a:pt x="584" y="22"/>
                    </a:lnTo>
                    <a:lnTo>
                      <a:pt x="585" y="22"/>
                    </a:lnTo>
                    <a:lnTo>
                      <a:pt x="586" y="36"/>
                    </a:lnTo>
                    <a:lnTo>
                      <a:pt x="591" y="56"/>
                    </a:lnTo>
                    <a:lnTo>
                      <a:pt x="598" y="86"/>
                    </a:lnTo>
                    <a:lnTo>
                      <a:pt x="602" y="145"/>
                    </a:lnTo>
                    <a:lnTo>
                      <a:pt x="596" y="150"/>
                    </a:lnTo>
                    <a:lnTo>
                      <a:pt x="580" y="142"/>
                    </a:lnTo>
                    <a:lnTo>
                      <a:pt x="570" y="147"/>
                    </a:lnTo>
                    <a:lnTo>
                      <a:pt x="565" y="154"/>
                    </a:lnTo>
                    <a:lnTo>
                      <a:pt x="559" y="165"/>
                    </a:lnTo>
                    <a:lnTo>
                      <a:pt x="556" y="175"/>
                    </a:lnTo>
                    <a:lnTo>
                      <a:pt x="559" y="183"/>
                    </a:lnTo>
                    <a:lnTo>
                      <a:pt x="564" y="195"/>
                    </a:lnTo>
                    <a:lnTo>
                      <a:pt x="581" y="197"/>
                    </a:lnTo>
                    <a:lnTo>
                      <a:pt x="591" y="198"/>
                    </a:lnTo>
                    <a:lnTo>
                      <a:pt x="595" y="193"/>
                    </a:lnTo>
                    <a:lnTo>
                      <a:pt x="600" y="183"/>
                    </a:lnTo>
                    <a:lnTo>
                      <a:pt x="604" y="181"/>
                    </a:lnTo>
                    <a:close/>
                  </a:path>
                </a:pathLst>
              </a:custGeom>
              <a:solidFill>
                <a:srgbClr val="7891B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3" name="Freeform 119"/>
              <p:cNvSpPr>
                <a:spLocks/>
              </p:cNvSpPr>
              <p:nvPr/>
            </p:nvSpPr>
            <p:spPr bwMode="auto">
              <a:xfrm>
                <a:off x="1958" y="3414"/>
                <a:ext cx="679" cy="514"/>
              </a:xfrm>
              <a:custGeom>
                <a:avLst/>
                <a:gdLst>
                  <a:gd name="T0" fmla="*/ 58499 w 634"/>
                  <a:gd name="T1" fmla="*/ 4456 h 490"/>
                  <a:gd name="T2" fmla="*/ 57645 w 634"/>
                  <a:gd name="T3" fmla="*/ 5147 h 490"/>
                  <a:gd name="T4" fmla="*/ 54996 w 634"/>
                  <a:gd name="T5" fmla="*/ 6227 h 490"/>
                  <a:gd name="T6" fmla="*/ 52664 w 634"/>
                  <a:gd name="T7" fmla="*/ 6808 h 490"/>
                  <a:gd name="T8" fmla="*/ 50622 w 634"/>
                  <a:gd name="T9" fmla="*/ 7771 h 490"/>
                  <a:gd name="T10" fmla="*/ 46454 w 634"/>
                  <a:gd name="T11" fmla="*/ 8702 h 490"/>
                  <a:gd name="T12" fmla="*/ 41726 w 634"/>
                  <a:gd name="T13" fmla="*/ 9795 h 490"/>
                  <a:gd name="T14" fmla="*/ 36792 w 634"/>
                  <a:gd name="T15" fmla="*/ 10576 h 490"/>
                  <a:gd name="T16" fmla="*/ 33227 w 634"/>
                  <a:gd name="T17" fmla="*/ 10639 h 490"/>
                  <a:gd name="T18" fmla="*/ 32042 w 634"/>
                  <a:gd name="T19" fmla="*/ 10888 h 490"/>
                  <a:gd name="T20" fmla="*/ 28969 w 634"/>
                  <a:gd name="T21" fmla="*/ 11052 h 490"/>
                  <a:gd name="T22" fmla="*/ 24108 w 634"/>
                  <a:gd name="T23" fmla="*/ 10983 h 490"/>
                  <a:gd name="T24" fmla="*/ 20440 w 634"/>
                  <a:gd name="T25" fmla="*/ 10888 h 490"/>
                  <a:gd name="T26" fmla="*/ 19085 w 634"/>
                  <a:gd name="T27" fmla="*/ 11203 h 490"/>
                  <a:gd name="T28" fmla="*/ 15912 w 634"/>
                  <a:gd name="T29" fmla="*/ 11203 h 490"/>
                  <a:gd name="T30" fmla="*/ 13309 w 634"/>
                  <a:gd name="T31" fmla="*/ 11442 h 490"/>
                  <a:gd name="T32" fmla="*/ 10998 w 634"/>
                  <a:gd name="T33" fmla="*/ 11442 h 490"/>
                  <a:gd name="T34" fmla="*/ 8584 w 634"/>
                  <a:gd name="T35" fmla="*/ 11215 h 490"/>
                  <a:gd name="T36" fmla="*/ 7689 w 634"/>
                  <a:gd name="T37" fmla="*/ 10959 h 490"/>
                  <a:gd name="T38" fmla="*/ 7289 w 634"/>
                  <a:gd name="T39" fmla="*/ 11203 h 490"/>
                  <a:gd name="T40" fmla="*/ 6806 w 634"/>
                  <a:gd name="T41" fmla="*/ 10822 h 490"/>
                  <a:gd name="T42" fmla="*/ 6093 w 634"/>
                  <a:gd name="T43" fmla="*/ 10352 h 490"/>
                  <a:gd name="T44" fmla="*/ 5544 w 634"/>
                  <a:gd name="T45" fmla="*/ 10006 h 490"/>
                  <a:gd name="T46" fmla="*/ 4980 w 634"/>
                  <a:gd name="T47" fmla="*/ 9696 h 490"/>
                  <a:gd name="T48" fmla="*/ 6086 w 634"/>
                  <a:gd name="T49" fmla="*/ 8734 h 490"/>
                  <a:gd name="T50" fmla="*/ 3431 w 634"/>
                  <a:gd name="T51" fmla="*/ 7841 h 490"/>
                  <a:gd name="T52" fmla="*/ 3 w 634"/>
                  <a:gd name="T53" fmla="*/ 6227 h 490"/>
                  <a:gd name="T54" fmla="*/ 3 w 634"/>
                  <a:gd name="T55" fmla="*/ 5940 h 490"/>
                  <a:gd name="T56" fmla="*/ 2124 w 634"/>
                  <a:gd name="T57" fmla="*/ 5661 h 490"/>
                  <a:gd name="T58" fmla="*/ 5544 w 634"/>
                  <a:gd name="T59" fmla="*/ 6249 h 490"/>
                  <a:gd name="T60" fmla="*/ 9184 w 634"/>
                  <a:gd name="T61" fmla="*/ 6249 h 490"/>
                  <a:gd name="T62" fmla="*/ 12083 w 634"/>
                  <a:gd name="T63" fmla="*/ 5886 h 490"/>
                  <a:gd name="T64" fmla="*/ 12083 w 634"/>
                  <a:gd name="T65" fmla="*/ 2422 h 490"/>
                  <a:gd name="T66" fmla="*/ 13860 w 634"/>
                  <a:gd name="T67" fmla="*/ 2751 h 490"/>
                  <a:gd name="T68" fmla="*/ 15628 w 634"/>
                  <a:gd name="T69" fmla="*/ 3494 h 490"/>
                  <a:gd name="T70" fmla="*/ 15266 w 634"/>
                  <a:gd name="T71" fmla="*/ 4231 h 490"/>
                  <a:gd name="T72" fmla="*/ 20387 w 634"/>
                  <a:gd name="T73" fmla="*/ 4212 h 490"/>
                  <a:gd name="T74" fmla="*/ 22510 w 634"/>
                  <a:gd name="T75" fmla="*/ 3615 h 490"/>
                  <a:gd name="T76" fmla="*/ 25256 w 634"/>
                  <a:gd name="T77" fmla="*/ 3026 h 490"/>
                  <a:gd name="T78" fmla="*/ 29467 w 634"/>
                  <a:gd name="T79" fmla="*/ 3331 h 490"/>
                  <a:gd name="T80" fmla="*/ 32595 w 634"/>
                  <a:gd name="T81" fmla="*/ 3040 h 490"/>
                  <a:gd name="T82" fmla="*/ 37387 w 634"/>
                  <a:gd name="T83" fmla="*/ 1559 h 490"/>
                  <a:gd name="T84" fmla="*/ 41704 w 634"/>
                  <a:gd name="T85" fmla="*/ 576 h 490"/>
                  <a:gd name="T86" fmla="*/ 45927 w 634"/>
                  <a:gd name="T87" fmla="*/ 3 h 490"/>
                  <a:gd name="T88" fmla="*/ 49705 w 634"/>
                  <a:gd name="T89" fmla="*/ 8 h 490"/>
                  <a:gd name="T90" fmla="*/ 53554 w 634"/>
                  <a:gd name="T91" fmla="*/ 476 h 490"/>
                  <a:gd name="T92" fmla="*/ 54622 w 634"/>
                  <a:gd name="T93" fmla="*/ 1300 h 490"/>
                  <a:gd name="T94" fmla="*/ 53554 w 634"/>
                  <a:gd name="T95" fmla="*/ 3331 h 490"/>
                  <a:gd name="T96" fmla="*/ 51257 w 634"/>
                  <a:gd name="T97" fmla="*/ 4099 h 490"/>
                  <a:gd name="T98" fmla="*/ 54622 w 634"/>
                  <a:gd name="T99" fmla="*/ 4655 h 4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4"/>
                  <a:gd name="T151" fmla="*/ 0 h 490"/>
                  <a:gd name="T152" fmla="*/ 634 w 634"/>
                  <a:gd name="T153" fmla="*/ 490 h 49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4" h="490">
                    <a:moveTo>
                      <a:pt x="604" y="181"/>
                    </a:moveTo>
                    <a:lnTo>
                      <a:pt x="629" y="180"/>
                    </a:lnTo>
                    <a:lnTo>
                      <a:pt x="634" y="181"/>
                    </a:lnTo>
                    <a:lnTo>
                      <a:pt x="633" y="190"/>
                    </a:lnTo>
                    <a:lnTo>
                      <a:pt x="630" y="196"/>
                    </a:lnTo>
                    <a:lnTo>
                      <a:pt x="627" y="204"/>
                    </a:lnTo>
                    <a:lnTo>
                      <a:pt x="626" y="212"/>
                    </a:lnTo>
                    <a:lnTo>
                      <a:pt x="625" y="221"/>
                    </a:lnTo>
                    <a:lnTo>
                      <a:pt x="622" y="227"/>
                    </a:lnTo>
                    <a:lnTo>
                      <a:pt x="617" y="248"/>
                    </a:lnTo>
                    <a:lnTo>
                      <a:pt x="612" y="255"/>
                    </a:lnTo>
                    <a:lnTo>
                      <a:pt x="596" y="265"/>
                    </a:lnTo>
                    <a:lnTo>
                      <a:pt x="591" y="268"/>
                    </a:lnTo>
                    <a:lnTo>
                      <a:pt x="585" y="272"/>
                    </a:lnTo>
                    <a:lnTo>
                      <a:pt x="578" y="279"/>
                    </a:lnTo>
                    <a:lnTo>
                      <a:pt x="570" y="289"/>
                    </a:lnTo>
                    <a:lnTo>
                      <a:pt x="567" y="295"/>
                    </a:lnTo>
                    <a:lnTo>
                      <a:pt x="564" y="300"/>
                    </a:lnTo>
                    <a:lnTo>
                      <a:pt x="562" y="305"/>
                    </a:lnTo>
                    <a:lnTo>
                      <a:pt x="547" y="330"/>
                    </a:lnTo>
                    <a:lnTo>
                      <a:pt x="540" y="336"/>
                    </a:lnTo>
                    <a:lnTo>
                      <a:pt x="527" y="354"/>
                    </a:lnTo>
                    <a:lnTo>
                      <a:pt x="510" y="366"/>
                    </a:lnTo>
                    <a:lnTo>
                      <a:pt x="503" y="371"/>
                    </a:lnTo>
                    <a:lnTo>
                      <a:pt x="498" y="378"/>
                    </a:lnTo>
                    <a:lnTo>
                      <a:pt x="486" y="392"/>
                    </a:lnTo>
                    <a:lnTo>
                      <a:pt x="468" y="409"/>
                    </a:lnTo>
                    <a:lnTo>
                      <a:pt x="453" y="418"/>
                    </a:lnTo>
                    <a:lnTo>
                      <a:pt x="446" y="425"/>
                    </a:lnTo>
                    <a:lnTo>
                      <a:pt x="440" y="430"/>
                    </a:lnTo>
                    <a:lnTo>
                      <a:pt x="414" y="445"/>
                    </a:lnTo>
                    <a:lnTo>
                      <a:pt x="398" y="452"/>
                    </a:lnTo>
                    <a:lnTo>
                      <a:pt x="390" y="453"/>
                    </a:lnTo>
                    <a:lnTo>
                      <a:pt x="375" y="452"/>
                    </a:lnTo>
                    <a:lnTo>
                      <a:pt x="367" y="452"/>
                    </a:lnTo>
                    <a:lnTo>
                      <a:pt x="360" y="453"/>
                    </a:lnTo>
                    <a:lnTo>
                      <a:pt x="355" y="456"/>
                    </a:lnTo>
                    <a:lnTo>
                      <a:pt x="357" y="461"/>
                    </a:lnTo>
                    <a:lnTo>
                      <a:pt x="357" y="466"/>
                    </a:lnTo>
                    <a:lnTo>
                      <a:pt x="346" y="464"/>
                    </a:lnTo>
                    <a:lnTo>
                      <a:pt x="338" y="462"/>
                    </a:lnTo>
                    <a:lnTo>
                      <a:pt x="329" y="463"/>
                    </a:lnTo>
                    <a:lnTo>
                      <a:pt x="324" y="471"/>
                    </a:lnTo>
                    <a:lnTo>
                      <a:pt x="314" y="471"/>
                    </a:lnTo>
                    <a:lnTo>
                      <a:pt x="288" y="464"/>
                    </a:lnTo>
                    <a:lnTo>
                      <a:pt x="278" y="462"/>
                    </a:lnTo>
                    <a:lnTo>
                      <a:pt x="268" y="463"/>
                    </a:lnTo>
                    <a:lnTo>
                      <a:pt x="262" y="467"/>
                    </a:lnTo>
                    <a:lnTo>
                      <a:pt x="257" y="467"/>
                    </a:lnTo>
                    <a:lnTo>
                      <a:pt x="240" y="463"/>
                    </a:lnTo>
                    <a:lnTo>
                      <a:pt x="235" y="463"/>
                    </a:lnTo>
                    <a:lnTo>
                      <a:pt x="222" y="464"/>
                    </a:lnTo>
                    <a:lnTo>
                      <a:pt x="219" y="467"/>
                    </a:lnTo>
                    <a:lnTo>
                      <a:pt x="216" y="471"/>
                    </a:lnTo>
                    <a:lnTo>
                      <a:pt x="209" y="472"/>
                    </a:lnTo>
                    <a:lnTo>
                      <a:pt x="207" y="477"/>
                    </a:lnTo>
                    <a:lnTo>
                      <a:pt x="202" y="478"/>
                    </a:lnTo>
                    <a:lnTo>
                      <a:pt x="188" y="477"/>
                    </a:lnTo>
                    <a:lnTo>
                      <a:pt x="185" y="479"/>
                    </a:lnTo>
                    <a:lnTo>
                      <a:pt x="173" y="477"/>
                    </a:lnTo>
                    <a:lnTo>
                      <a:pt x="166" y="478"/>
                    </a:lnTo>
                    <a:lnTo>
                      <a:pt x="164" y="481"/>
                    </a:lnTo>
                    <a:lnTo>
                      <a:pt x="151" y="482"/>
                    </a:lnTo>
                    <a:lnTo>
                      <a:pt x="144" y="488"/>
                    </a:lnTo>
                    <a:lnTo>
                      <a:pt x="137" y="490"/>
                    </a:lnTo>
                    <a:lnTo>
                      <a:pt x="130" y="490"/>
                    </a:lnTo>
                    <a:lnTo>
                      <a:pt x="124" y="488"/>
                    </a:lnTo>
                    <a:lnTo>
                      <a:pt x="118" y="488"/>
                    </a:lnTo>
                    <a:lnTo>
                      <a:pt x="109" y="485"/>
                    </a:lnTo>
                    <a:lnTo>
                      <a:pt x="109" y="481"/>
                    </a:lnTo>
                    <a:lnTo>
                      <a:pt x="106" y="477"/>
                    </a:lnTo>
                    <a:lnTo>
                      <a:pt x="93" y="478"/>
                    </a:lnTo>
                    <a:lnTo>
                      <a:pt x="90" y="477"/>
                    </a:lnTo>
                    <a:lnTo>
                      <a:pt x="90" y="474"/>
                    </a:lnTo>
                    <a:lnTo>
                      <a:pt x="90" y="466"/>
                    </a:lnTo>
                    <a:lnTo>
                      <a:pt x="83" y="466"/>
                    </a:lnTo>
                    <a:lnTo>
                      <a:pt x="78" y="467"/>
                    </a:lnTo>
                    <a:lnTo>
                      <a:pt x="78" y="469"/>
                    </a:lnTo>
                    <a:lnTo>
                      <a:pt x="78" y="472"/>
                    </a:lnTo>
                    <a:lnTo>
                      <a:pt x="78" y="477"/>
                    </a:lnTo>
                    <a:lnTo>
                      <a:pt x="76" y="477"/>
                    </a:lnTo>
                    <a:lnTo>
                      <a:pt x="73" y="472"/>
                    </a:lnTo>
                    <a:lnTo>
                      <a:pt x="73" y="466"/>
                    </a:lnTo>
                    <a:lnTo>
                      <a:pt x="73" y="461"/>
                    </a:lnTo>
                    <a:lnTo>
                      <a:pt x="75" y="456"/>
                    </a:lnTo>
                    <a:lnTo>
                      <a:pt x="75" y="452"/>
                    </a:lnTo>
                    <a:lnTo>
                      <a:pt x="70" y="446"/>
                    </a:lnTo>
                    <a:lnTo>
                      <a:pt x="66" y="440"/>
                    </a:lnTo>
                    <a:lnTo>
                      <a:pt x="63" y="437"/>
                    </a:lnTo>
                    <a:lnTo>
                      <a:pt x="58" y="431"/>
                    </a:lnTo>
                    <a:lnTo>
                      <a:pt x="61" y="430"/>
                    </a:lnTo>
                    <a:lnTo>
                      <a:pt x="60" y="426"/>
                    </a:lnTo>
                    <a:lnTo>
                      <a:pt x="55" y="423"/>
                    </a:lnTo>
                    <a:lnTo>
                      <a:pt x="52" y="423"/>
                    </a:lnTo>
                    <a:lnTo>
                      <a:pt x="54" y="416"/>
                    </a:lnTo>
                    <a:lnTo>
                      <a:pt x="55" y="413"/>
                    </a:lnTo>
                    <a:lnTo>
                      <a:pt x="64" y="415"/>
                    </a:lnTo>
                    <a:lnTo>
                      <a:pt x="71" y="406"/>
                    </a:lnTo>
                    <a:lnTo>
                      <a:pt x="68" y="382"/>
                    </a:lnTo>
                    <a:lnTo>
                      <a:pt x="65" y="374"/>
                    </a:lnTo>
                    <a:lnTo>
                      <a:pt x="49" y="355"/>
                    </a:lnTo>
                    <a:lnTo>
                      <a:pt x="45" y="347"/>
                    </a:lnTo>
                    <a:lnTo>
                      <a:pt x="41" y="339"/>
                    </a:lnTo>
                    <a:lnTo>
                      <a:pt x="37" y="333"/>
                    </a:lnTo>
                    <a:lnTo>
                      <a:pt x="26" y="311"/>
                    </a:lnTo>
                    <a:lnTo>
                      <a:pt x="20" y="294"/>
                    </a:lnTo>
                    <a:lnTo>
                      <a:pt x="10" y="272"/>
                    </a:lnTo>
                    <a:lnTo>
                      <a:pt x="3" y="265"/>
                    </a:lnTo>
                    <a:lnTo>
                      <a:pt x="1" y="262"/>
                    </a:lnTo>
                    <a:lnTo>
                      <a:pt x="2" y="258"/>
                    </a:lnTo>
                    <a:lnTo>
                      <a:pt x="0" y="255"/>
                    </a:lnTo>
                    <a:lnTo>
                      <a:pt x="3" y="255"/>
                    </a:lnTo>
                    <a:lnTo>
                      <a:pt x="7" y="254"/>
                    </a:lnTo>
                    <a:lnTo>
                      <a:pt x="10" y="250"/>
                    </a:lnTo>
                    <a:lnTo>
                      <a:pt x="14" y="242"/>
                    </a:lnTo>
                    <a:lnTo>
                      <a:pt x="23" y="242"/>
                    </a:lnTo>
                    <a:lnTo>
                      <a:pt x="41" y="253"/>
                    </a:lnTo>
                    <a:lnTo>
                      <a:pt x="41" y="260"/>
                    </a:lnTo>
                    <a:lnTo>
                      <a:pt x="49" y="268"/>
                    </a:lnTo>
                    <a:lnTo>
                      <a:pt x="60" y="268"/>
                    </a:lnTo>
                    <a:lnTo>
                      <a:pt x="71" y="267"/>
                    </a:lnTo>
                    <a:lnTo>
                      <a:pt x="85" y="267"/>
                    </a:lnTo>
                    <a:lnTo>
                      <a:pt x="90" y="268"/>
                    </a:lnTo>
                    <a:lnTo>
                      <a:pt x="99" y="268"/>
                    </a:lnTo>
                    <a:lnTo>
                      <a:pt x="111" y="258"/>
                    </a:lnTo>
                    <a:lnTo>
                      <a:pt x="121" y="253"/>
                    </a:lnTo>
                    <a:lnTo>
                      <a:pt x="128" y="251"/>
                    </a:lnTo>
                    <a:lnTo>
                      <a:pt x="131" y="250"/>
                    </a:lnTo>
                    <a:lnTo>
                      <a:pt x="131" y="214"/>
                    </a:lnTo>
                    <a:lnTo>
                      <a:pt x="131" y="176"/>
                    </a:lnTo>
                    <a:lnTo>
                      <a:pt x="131" y="138"/>
                    </a:lnTo>
                    <a:lnTo>
                      <a:pt x="131" y="104"/>
                    </a:lnTo>
                    <a:lnTo>
                      <a:pt x="135" y="104"/>
                    </a:lnTo>
                    <a:lnTo>
                      <a:pt x="140" y="108"/>
                    </a:lnTo>
                    <a:lnTo>
                      <a:pt x="141" y="111"/>
                    </a:lnTo>
                    <a:lnTo>
                      <a:pt x="150" y="117"/>
                    </a:lnTo>
                    <a:lnTo>
                      <a:pt x="153" y="123"/>
                    </a:lnTo>
                    <a:lnTo>
                      <a:pt x="162" y="130"/>
                    </a:lnTo>
                    <a:lnTo>
                      <a:pt x="167" y="138"/>
                    </a:lnTo>
                    <a:lnTo>
                      <a:pt x="169" y="149"/>
                    </a:lnTo>
                    <a:lnTo>
                      <a:pt x="169" y="153"/>
                    </a:lnTo>
                    <a:lnTo>
                      <a:pt x="167" y="160"/>
                    </a:lnTo>
                    <a:lnTo>
                      <a:pt x="161" y="175"/>
                    </a:lnTo>
                    <a:lnTo>
                      <a:pt x="165" y="180"/>
                    </a:lnTo>
                    <a:lnTo>
                      <a:pt x="172" y="181"/>
                    </a:lnTo>
                    <a:lnTo>
                      <a:pt x="182" y="183"/>
                    </a:lnTo>
                    <a:lnTo>
                      <a:pt x="195" y="183"/>
                    </a:lnTo>
                    <a:lnTo>
                      <a:pt x="220" y="178"/>
                    </a:lnTo>
                    <a:lnTo>
                      <a:pt x="226" y="168"/>
                    </a:lnTo>
                    <a:lnTo>
                      <a:pt x="230" y="164"/>
                    </a:lnTo>
                    <a:lnTo>
                      <a:pt x="238" y="159"/>
                    </a:lnTo>
                    <a:lnTo>
                      <a:pt x="245" y="153"/>
                    </a:lnTo>
                    <a:lnTo>
                      <a:pt x="248" y="149"/>
                    </a:lnTo>
                    <a:lnTo>
                      <a:pt x="252" y="142"/>
                    </a:lnTo>
                    <a:lnTo>
                      <a:pt x="264" y="130"/>
                    </a:lnTo>
                    <a:lnTo>
                      <a:pt x="274" y="128"/>
                    </a:lnTo>
                    <a:lnTo>
                      <a:pt x="283" y="128"/>
                    </a:lnTo>
                    <a:lnTo>
                      <a:pt x="292" y="131"/>
                    </a:lnTo>
                    <a:lnTo>
                      <a:pt x="308" y="140"/>
                    </a:lnTo>
                    <a:lnTo>
                      <a:pt x="318" y="142"/>
                    </a:lnTo>
                    <a:lnTo>
                      <a:pt x="337" y="137"/>
                    </a:lnTo>
                    <a:lnTo>
                      <a:pt x="344" y="137"/>
                    </a:lnTo>
                    <a:lnTo>
                      <a:pt x="350" y="134"/>
                    </a:lnTo>
                    <a:lnTo>
                      <a:pt x="353" y="130"/>
                    </a:lnTo>
                    <a:lnTo>
                      <a:pt x="364" y="108"/>
                    </a:lnTo>
                    <a:lnTo>
                      <a:pt x="374" y="97"/>
                    </a:lnTo>
                    <a:lnTo>
                      <a:pt x="393" y="84"/>
                    </a:lnTo>
                    <a:lnTo>
                      <a:pt x="405" y="67"/>
                    </a:lnTo>
                    <a:lnTo>
                      <a:pt x="414" y="58"/>
                    </a:lnTo>
                    <a:lnTo>
                      <a:pt x="427" y="45"/>
                    </a:lnTo>
                    <a:lnTo>
                      <a:pt x="441" y="37"/>
                    </a:lnTo>
                    <a:lnTo>
                      <a:pt x="452" y="26"/>
                    </a:lnTo>
                    <a:lnTo>
                      <a:pt x="479" y="14"/>
                    </a:lnTo>
                    <a:lnTo>
                      <a:pt x="488" y="8"/>
                    </a:lnTo>
                    <a:lnTo>
                      <a:pt x="496" y="5"/>
                    </a:lnTo>
                    <a:lnTo>
                      <a:pt x="498" y="3"/>
                    </a:lnTo>
                    <a:lnTo>
                      <a:pt x="505" y="0"/>
                    </a:lnTo>
                    <a:lnTo>
                      <a:pt x="511" y="1"/>
                    </a:lnTo>
                    <a:lnTo>
                      <a:pt x="529" y="7"/>
                    </a:lnTo>
                    <a:lnTo>
                      <a:pt x="537" y="8"/>
                    </a:lnTo>
                    <a:lnTo>
                      <a:pt x="546" y="7"/>
                    </a:lnTo>
                    <a:lnTo>
                      <a:pt x="555" y="7"/>
                    </a:lnTo>
                    <a:lnTo>
                      <a:pt x="569" y="11"/>
                    </a:lnTo>
                    <a:lnTo>
                      <a:pt x="580" y="22"/>
                    </a:lnTo>
                    <a:lnTo>
                      <a:pt x="584" y="22"/>
                    </a:lnTo>
                    <a:lnTo>
                      <a:pt x="585" y="22"/>
                    </a:lnTo>
                    <a:lnTo>
                      <a:pt x="586" y="36"/>
                    </a:lnTo>
                    <a:lnTo>
                      <a:pt x="591" y="56"/>
                    </a:lnTo>
                    <a:lnTo>
                      <a:pt x="598" y="86"/>
                    </a:lnTo>
                    <a:lnTo>
                      <a:pt x="602" y="145"/>
                    </a:lnTo>
                    <a:lnTo>
                      <a:pt x="596" y="150"/>
                    </a:lnTo>
                    <a:lnTo>
                      <a:pt x="580" y="142"/>
                    </a:lnTo>
                    <a:lnTo>
                      <a:pt x="570" y="147"/>
                    </a:lnTo>
                    <a:lnTo>
                      <a:pt x="565" y="154"/>
                    </a:lnTo>
                    <a:lnTo>
                      <a:pt x="559" y="165"/>
                    </a:lnTo>
                    <a:lnTo>
                      <a:pt x="556" y="175"/>
                    </a:lnTo>
                    <a:lnTo>
                      <a:pt x="559" y="183"/>
                    </a:lnTo>
                    <a:lnTo>
                      <a:pt x="564" y="195"/>
                    </a:lnTo>
                    <a:lnTo>
                      <a:pt x="581" y="197"/>
                    </a:lnTo>
                    <a:lnTo>
                      <a:pt x="591" y="198"/>
                    </a:lnTo>
                    <a:lnTo>
                      <a:pt x="595" y="193"/>
                    </a:lnTo>
                    <a:lnTo>
                      <a:pt x="600" y="183"/>
                    </a:lnTo>
                    <a:lnTo>
                      <a:pt x="604" y="181"/>
                    </a:lnTo>
                    <a:close/>
                  </a:path>
                </a:pathLst>
              </a:custGeom>
              <a:solidFill>
                <a:srgbClr val="17375E"/>
              </a:solidFill>
              <a:ln w="7938">
                <a:solidFill>
                  <a:srgbClr val="1C1329"/>
                </a:solidFill>
                <a:miter lim="800000"/>
                <a:headEnd/>
                <a:tailEnd/>
              </a:ln>
            </p:spPr>
            <p:txBody>
              <a:bodyPr/>
              <a:lstStyle/>
              <a:p>
                <a:endParaRPr lang="en-US"/>
              </a:p>
            </p:txBody>
          </p:sp>
          <p:pic>
            <p:nvPicPr>
              <p:cNvPr id="324" name="Picture 12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396" y="3673"/>
                <a:ext cx="114"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5" name="Picture 12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396" y="3673"/>
                <a:ext cx="114"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6" name="Freeform 122"/>
              <p:cNvSpPr>
                <a:spLocks/>
              </p:cNvSpPr>
              <p:nvPr/>
            </p:nvSpPr>
            <p:spPr bwMode="auto">
              <a:xfrm>
                <a:off x="2401" y="3678"/>
                <a:ext cx="95" cy="83"/>
              </a:xfrm>
              <a:custGeom>
                <a:avLst/>
                <a:gdLst>
                  <a:gd name="T0" fmla="*/ 6545 w 89"/>
                  <a:gd name="T1" fmla="*/ 898 h 79"/>
                  <a:gd name="T2" fmla="*/ 6545 w 89"/>
                  <a:gd name="T3" fmla="*/ 763 h 79"/>
                  <a:gd name="T4" fmla="*/ 6505 w 89"/>
                  <a:gd name="T5" fmla="*/ 802 h 79"/>
                  <a:gd name="T6" fmla="*/ 6267 w 89"/>
                  <a:gd name="T7" fmla="*/ 626 h 79"/>
                  <a:gd name="T8" fmla="*/ 5745 w 89"/>
                  <a:gd name="T9" fmla="*/ 422 h 79"/>
                  <a:gd name="T10" fmla="*/ 5500 w 89"/>
                  <a:gd name="T11" fmla="*/ 314 h 79"/>
                  <a:gd name="T12" fmla="*/ 5010 w 89"/>
                  <a:gd name="T13" fmla="*/ 3 h 79"/>
                  <a:gd name="T14" fmla="*/ 4237 w 89"/>
                  <a:gd name="T15" fmla="*/ 0 h 79"/>
                  <a:gd name="T16" fmla="*/ 3483 w 89"/>
                  <a:gd name="T17" fmla="*/ 1 h 79"/>
                  <a:gd name="T18" fmla="*/ 2046 w 89"/>
                  <a:gd name="T19" fmla="*/ 299 h 79"/>
                  <a:gd name="T20" fmla="*/ 1397 w 89"/>
                  <a:gd name="T21" fmla="*/ 402 h 79"/>
                  <a:gd name="T22" fmla="*/ 3 w 89"/>
                  <a:gd name="T23" fmla="*/ 943 h 79"/>
                  <a:gd name="T24" fmla="*/ 0 w 89"/>
                  <a:gd name="T25" fmla="*/ 1149 h 79"/>
                  <a:gd name="T26" fmla="*/ 3 w 89"/>
                  <a:gd name="T27" fmla="*/ 1382 h 79"/>
                  <a:gd name="T28" fmla="*/ 638 w 89"/>
                  <a:gd name="T29" fmla="*/ 1584 h 79"/>
                  <a:gd name="T30" fmla="*/ 1076 w 89"/>
                  <a:gd name="T31" fmla="*/ 1790 h 79"/>
                  <a:gd name="T32" fmla="*/ 2184 w 89"/>
                  <a:gd name="T33" fmla="*/ 2052 h 79"/>
                  <a:gd name="T34" fmla="*/ 2835 w 89"/>
                  <a:gd name="T35" fmla="*/ 2028 h 79"/>
                  <a:gd name="T36" fmla="*/ 3230 w 89"/>
                  <a:gd name="T37" fmla="*/ 1953 h 79"/>
                  <a:gd name="T38" fmla="*/ 3718 w 89"/>
                  <a:gd name="T39" fmla="*/ 1748 h 79"/>
                  <a:gd name="T40" fmla="*/ 5320 w 89"/>
                  <a:gd name="T41" fmla="*/ 1544 h 79"/>
                  <a:gd name="T42" fmla="*/ 6545 w 89"/>
                  <a:gd name="T43" fmla="*/ 898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9" y="35"/>
                    </a:moveTo>
                    <a:lnTo>
                      <a:pt x="89" y="29"/>
                    </a:lnTo>
                    <a:lnTo>
                      <a:pt x="88" y="30"/>
                    </a:lnTo>
                    <a:lnTo>
                      <a:pt x="85" y="25"/>
                    </a:lnTo>
                    <a:lnTo>
                      <a:pt x="78" y="17"/>
                    </a:lnTo>
                    <a:lnTo>
                      <a:pt x="75" y="11"/>
                    </a:lnTo>
                    <a:lnTo>
                      <a:pt x="67" y="3"/>
                    </a:lnTo>
                    <a:lnTo>
                      <a:pt x="58" y="0"/>
                    </a:lnTo>
                    <a:lnTo>
                      <a:pt x="48" y="1"/>
                    </a:lnTo>
                    <a:lnTo>
                      <a:pt x="28" y="10"/>
                    </a:lnTo>
                    <a:lnTo>
                      <a:pt x="20" y="16"/>
                    </a:lnTo>
                    <a:lnTo>
                      <a:pt x="3" y="37"/>
                    </a:lnTo>
                    <a:lnTo>
                      <a:pt x="0" y="45"/>
                    </a:lnTo>
                    <a:lnTo>
                      <a:pt x="3" y="53"/>
                    </a:lnTo>
                    <a:lnTo>
                      <a:pt x="8" y="61"/>
                    </a:lnTo>
                    <a:lnTo>
                      <a:pt x="16" y="69"/>
                    </a:lnTo>
                    <a:lnTo>
                      <a:pt x="30" y="79"/>
                    </a:lnTo>
                    <a:lnTo>
                      <a:pt x="38" y="78"/>
                    </a:lnTo>
                    <a:lnTo>
                      <a:pt x="44" y="75"/>
                    </a:lnTo>
                    <a:lnTo>
                      <a:pt x="51" y="67"/>
                    </a:lnTo>
                    <a:lnTo>
                      <a:pt x="71" y="60"/>
                    </a:lnTo>
                    <a:lnTo>
                      <a:pt x="89"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7" name="Freeform 123"/>
              <p:cNvSpPr>
                <a:spLocks/>
              </p:cNvSpPr>
              <p:nvPr/>
            </p:nvSpPr>
            <p:spPr bwMode="auto">
              <a:xfrm>
                <a:off x="2401" y="3678"/>
                <a:ext cx="95" cy="83"/>
              </a:xfrm>
              <a:custGeom>
                <a:avLst/>
                <a:gdLst>
                  <a:gd name="T0" fmla="*/ 6545 w 89"/>
                  <a:gd name="T1" fmla="*/ 898 h 79"/>
                  <a:gd name="T2" fmla="*/ 6545 w 89"/>
                  <a:gd name="T3" fmla="*/ 763 h 79"/>
                  <a:gd name="T4" fmla="*/ 6505 w 89"/>
                  <a:gd name="T5" fmla="*/ 802 h 79"/>
                  <a:gd name="T6" fmla="*/ 6267 w 89"/>
                  <a:gd name="T7" fmla="*/ 626 h 79"/>
                  <a:gd name="T8" fmla="*/ 5745 w 89"/>
                  <a:gd name="T9" fmla="*/ 422 h 79"/>
                  <a:gd name="T10" fmla="*/ 5500 w 89"/>
                  <a:gd name="T11" fmla="*/ 314 h 79"/>
                  <a:gd name="T12" fmla="*/ 5010 w 89"/>
                  <a:gd name="T13" fmla="*/ 3 h 79"/>
                  <a:gd name="T14" fmla="*/ 4237 w 89"/>
                  <a:gd name="T15" fmla="*/ 0 h 79"/>
                  <a:gd name="T16" fmla="*/ 3483 w 89"/>
                  <a:gd name="T17" fmla="*/ 1 h 79"/>
                  <a:gd name="T18" fmla="*/ 2046 w 89"/>
                  <a:gd name="T19" fmla="*/ 299 h 79"/>
                  <a:gd name="T20" fmla="*/ 1397 w 89"/>
                  <a:gd name="T21" fmla="*/ 402 h 79"/>
                  <a:gd name="T22" fmla="*/ 3 w 89"/>
                  <a:gd name="T23" fmla="*/ 943 h 79"/>
                  <a:gd name="T24" fmla="*/ 0 w 89"/>
                  <a:gd name="T25" fmla="*/ 1149 h 79"/>
                  <a:gd name="T26" fmla="*/ 3 w 89"/>
                  <a:gd name="T27" fmla="*/ 1382 h 79"/>
                  <a:gd name="T28" fmla="*/ 638 w 89"/>
                  <a:gd name="T29" fmla="*/ 1584 h 79"/>
                  <a:gd name="T30" fmla="*/ 1076 w 89"/>
                  <a:gd name="T31" fmla="*/ 1790 h 79"/>
                  <a:gd name="T32" fmla="*/ 2184 w 89"/>
                  <a:gd name="T33" fmla="*/ 2052 h 79"/>
                  <a:gd name="T34" fmla="*/ 2835 w 89"/>
                  <a:gd name="T35" fmla="*/ 2028 h 79"/>
                  <a:gd name="T36" fmla="*/ 3230 w 89"/>
                  <a:gd name="T37" fmla="*/ 1953 h 79"/>
                  <a:gd name="T38" fmla="*/ 3718 w 89"/>
                  <a:gd name="T39" fmla="*/ 1748 h 79"/>
                  <a:gd name="T40" fmla="*/ 5320 w 89"/>
                  <a:gd name="T41" fmla="*/ 1544 h 79"/>
                  <a:gd name="T42" fmla="*/ 6545 w 89"/>
                  <a:gd name="T43" fmla="*/ 898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9" y="35"/>
                    </a:moveTo>
                    <a:lnTo>
                      <a:pt x="89" y="29"/>
                    </a:lnTo>
                    <a:lnTo>
                      <a:pt x="88" y="30"/>
                    </a:lnTo>
                    <a:lnTo>
                      <a:pt x="85" y="25"/>
                    </a:lnTo>
                    <a:lnTo>
                      <a:pt x="78" y="17"/>
                    </a:lnTo>
                    <a:lnTo>
                      <a:pt x="75" y="11"/>
                    </a:lnTo>
                    <a:lnTo>
                      <a:pt x="67" y="3"/>
                    </a:lnTo>
                    <a:lnTo>
                      <a:pt x="58" y="0"/>
                    </a:lnTo>
                    <a:lnTo>
                      <a:pt x="48" y="1"/>
                    </a:lnTo>
                    <a:lnTo>
                      <a:pt x="28" y="10"/>
                    </a:lnTo>
                    <a:lnTo>
                      <a:pt x="20" y="16"/>
                    </a:lnTo>
                    <a:lnTo>
                      <a:pt x="3" y="37"/>
                    </a:lnTo>
                    <a:lnTo>
                      <a:pt x="0" y="45"/>
                    </a:lnTo>
                    <a:lnTo>
                      <a:pt x="3" y="53"/>
                    </a:lnTo>
                    <a:lnTo>
                      <a:pt x="8" y="61"/>
                    </a:lnTo>
                    <a:lnTo>
                      <a:pt x="16" y="69"/>
                    </a:lnTo>
                    <a:lnTo>
                      <a:pt x="30" y="79"/>
                    </a:lnTo>
                    <a:lnTo>
                      <a:pt x="38" y="78"/>
                    </a:lnTo>
                    <a:lnTo>
                      <a:pt x="44" y="75"/>
                    </a:lnTo>
                    <a:lnTo>
                      <a:pt x="51" y="67"/>
                    </a:lnTo>
                    <a:lnTo>
                      <a:pt x="71" y="60"/>
                    </a:lnTo>
                    <a:lnTo>
                      <a:pt x="89" y="35"/>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28" name="Freeform 124"/>
              <p:cNvSpPr>
                <a:spLocks/>
              </p:cNvSpPr>
              <p:nvPr/>
            </p:nvSpPr>
            <p:spPr bwMode="auto">
              <a:xfrm>
                <a:off x="2401" y="3678"/>
                <a:ext cx="95" cy="83"/>
              </a:xfrm>
              <a:custGeom>
                <a:avLst/>
                <a:gdLst>
                  <a:gd name="T0" fmla="*/ 6267 w 89"/>
                  <a:gd name="T1" fmla="*/ 626 h 79"/>
                  <a:gd name="T2" fmla="*/ 6505 w 89"/>
                  <a:gd name="T3" fmla="*/ 802 h 79"/>
                  <a:gd name="T4" fmla="*/ 6545 w 89"/>
                  <a:gd name="T5" fmla="*/ 763 h 79"/>
                  <a:gd name="T6" fmla="*/ 6545 w 89"/>
                  <a:gd name="T7" fmla="*/ 898 h 79"/>
                  <a:gd name="T8" fmla="*/ 5320 w 89"/>
                  <a:gd name="T9" fmla="*/ 1544 h 79"/>
                  <a:gd name="T10" fmla="*/ 3718 w 89"/>
                  <a:gd name="T11" fmla="*/ 1748 h 79"/>
                  <a:gd name="T12" fmla="*/ 3230 w 89"/>
                  <a:gd name="T13" fmla="*/ 1953 h 79"/>
                  <a:gd name="T14" fmla="*/ 2835 w 89"/>
                  <a:gd name="T15" fmla="*/ 2028 h 79"/>
                  <a:gd name="T16" fmla="*/ 2184 w 89"/>
                  <a:gd name="T17" fmla="*/ 2052 h 79"/>
                  <a:gd name="T18" fmla="*/ 1076 w 89"/>
                  <a:gd name="T19" fmla="*/ 1790 h 79"/>
                  <a:gd name="T20" fmla="*/ 638 w 89"/>
                  <a:gd name="T21" fmla="*/ 1584 h 79"/>
                  <a:gd name="T22" fmla="*/ 3 w 89"/>
                  <a:gd name="T23" fmla="*/ 1382 h 79"/>
                  <a:gd name="T24" fmla="*/ 0 w 89"/>
                  <a:gd name="T25" fmla="*/ 1149 h 79"/>
                  <a:gd name="T26" fmla="*/ 3 w 89"/>
                  <a:gd name="T27" fmla="*/ 943 h 79"/>
                  <a:gd name="T28" fmla="*/ 1397 w 89"/>
                  <a:gd name="T29" fmla="*/ 402 h 79"/>
                  <a:gd name="T30" fmla="*/ 2046 w 89"/>
                  <a:gd name="T31" fmla="*/ 299 h 79"/>
                  <a:gd name="T32" fmla="*/ 3483 w 89"/>
                  <a:gd name="T33" fmla="*/ 1 h 79"/>
                  <a:gd name="T34" fmla="*/ 4237 w 89"/>
                  <a:gd name="T35" fmla="*/ 0 h 79"/>
                  <a:gd name="T36" fmla="*/ 5010 w 89"/>
                  <a:gd name="T37" fmla="*/ 3 h 79"/>
                  <a:gd name="T38" fmla="*/ 5500 w 89"/>
                  <a:gd name="T39" fmla="*/ 314 h 79"/>
                  <a:gd name="T40" fmla="*/ 5745 w 89"/>
                  <a:gd name="T41" fmla="*/ 422 h 79"/>
                  <a:gd name="T42" fmla="*/ 6267 w 89"/>
                  <a:gd name="T43" fmla="*/ 626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5" y="25"/>
                    </a:moveTo>
                    <a:lnTo>
                      <a:pt x="88" y="30"/>
                    </a:lnTo>
                    <a:lnTo>
                      <a:pt x="89" y="29"/>
                    </a:lnTo>
                    <a:lnTo>
                      <a:pt x="89" y="35"/>
                    </a:lnTo>
                    <a:lnTo>
                      <a:pt x="71" y="60"/>
                    </a:lnTo>
                    <a:lnTo>
                      <a:pt x="51" y="67"/>
                    </a:lnTo>
                    <a:lnTo>
                      <a:pt x="44" y="75"/>
                    </a:lnTo>
                    <a:lnTo>
                      <a:pt x="38" y="78"/>
                    </a:lnTo>
                    <a:lnTo>
                      <a:pt x="30" y="79"/>
                    </a:lnTo>
                    <a:lnTo>
                      <a:pt x="16" y="69"/>
                    </a:lnTo>
                    <a:lnTo>
                      <a:pt x="8" y="61"/>
                    </a:lnTo>
                    <a:lnTo>
                      <a:pt x="3" y="53"/>
                    </a:lnTo>
                    <a:lnTo>
                      <a:pt x="0" y="45"/>
                    </a:lnTo>
                    <a:lnTo>
                      <a:pt x="3" y="37"/>
                    </a:lnTo>
                    <a:lnTo>
                      <a:pt x="20" y="16"/>
                    </a:lnTo>
                    <a:lnTo>
                      <a:pt x="28" y="10"/>
                    </a:lnTo>
                    <a:lnTo>
                      <a:pt x="48" y="1"/>
                    </a:lnTo>
                    <a:lnTo>
                      <a:pt x="58" y="0"/>
                    </a:lnTo>
                    <a:lnTo>
                      <a:pt x="67" y="3"/>
                    </a:lnTo>
                    <a:lnTo>
                      <a:pt x="75" y="11"/>
                    </a:lnTo>
                    <a:lnTo>
                      <a:pt x="78" y="17"/>
                    </a:lnTo>
                    <a:lnTo>
                      <a:pt x="85" y="25"/>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9" name="Freeform 125"/>
              <p:cNvSpPr>
                <a:spLocks/>
              </p:cNvSpPr>
              <p:nvPr/>
            </p:nvSpPr>
            <p:spPr bwMode="auto">
              <a:xfrm>
                <a:off x="2401" y="3678"/>
                <a:ext cx="95" cy="83"/>
              </a:xfrm>
              <a:custGeom>
                <a:avLst/>
                <a:gdLst>
                  <a:gd name="T0" fmla="*/ 6267 w 89"/>
                  <a:gd name="T1" fmla="*/ 626 h 79"/>
                  <a:gd name="T2" fmla="*/ 6505 w 89"/>
                  <a:gd name="T3" fmla="*/ 802 h 79"/>
                  <a:gd name="T4" fmla="*/ 6545 w 89"/>
                  <a:gd name="T5" fmla="*/ 763 h 79"/>
                  <a:gd name="T6" fmla="*/ 6545 w 89"/>
                  <a:gd name="T7" fmla="*/ 898 h 79"/>
                  <a:gd name="T8" fmla="*/ 5320 w 89"/>
                  <a:gd name="T9" fmla="*/ 1544 h 79"/>
                  <a:gd name="T10" fmla="*/ 3718 w 89"/>
                  <a:gd name="T11" fmla="*/ 1748 h 79"/>
                  <a:gd name="T12" fmla="*/ 3230 w 89"/>
                  <a:gd name="T13" fmla="*/ 1953 h 79"/>
                  <a:gd name="T14" fmla="*/ 2835 w 89"/>
                  <a:gd name="T15" fmla="*/ 2028 h 79"/>
                  <a:gd name="T16" fmla="*/ 2184 w 89"/>
                  <a:gd name="T17" fmla="*/ 2052 h 79"/>
                  <a:gd name="T18" fmla="*/ 1076 w 89"/>
                  <a:gd name="T19" fmla="*/ 1790 h 79"/>
                  <a:gd name="T20" fmla="*/ 638 w 89"/>
                  <a:gd name="T21" fmla="*/ 1584 h 79"/>
                  <a:gd name="T22" fmla="*/ 3 w 89"/>
                  <a:gd name="T23" fmla="*/ 1382 h 79"/>
                  <a:gd name="T24" fmla="*/ 0 w 89"/>
                  <a:gd name="T25" fmla="*/ 1149 h 79"/>
                  <a:gd name="T26" fmla="*/ 3 w 89"/>
                  <a:gd name="T27" fmla="*/ 943 h 79"/>
                  <a:gd name="T28" fmla="*/ 1397 w 89"/>
                  <a:gd name="T29" fmla="*/ 402 h 79"/>
                  <a:gd name="T30" fmla="*/ 2046 w 89"/>
                  <a:gd name="T31" fmla="*/ 299 h 79"/>
                  <a:gd name="T32" fmla="*/ 3483 w 89"/>
                  <a:gd name="T33" fmla="*/ 1 h 79"/>
                  <a:gd name="T34" fmla="*/ 4237 w 89"/>
                  <a:gd name="T35" fmla="*/ 0 h 79"/>
                  <a:gd name="T36" fmla="*/ 5010 w 89"/>
                  <a:gd name="T37" fmla="*/ 3 h 79"/>
                  <a:gd name="T38" fmla="*/ 5500 w 89"/>
                  <a:gd name="T39" fmla="*/ 314 h 79"/>
                  <a:gd name="T40" fmla="*/ 5745 w 89"/>
                  <a:gd name="T41" fmla="*/ 422 h 79"/>
                  <a:gd name="T42" fmla="*/ 6267 w 89"/>
                  <a:gd name="T43" fmla="*/ 626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5" y="25"/>
                    </a:moveTo>
                    <a:lnTo>
                      <a:pt x="88" y="30"/>
                    </a:lnTo>
                    <a:lnTo>
                      <a:pt x="89" y="29"/>
                    </a:lnTo>
                    <a:lnTo>
                      <a:pt x="89" y="35"/>
                    </a:lnTo>
                    <a:lnTo>
                      <a:pt x="71" y="60"/>
                    </a:lnTo>
                    <a:lnTo>
                      <a:pt x="51" y="67"/>
                    </a:lnTo>
                    <a:lnTo>
                      <a:pt x="44" y="75"/>
                    </a:lnTo>
                    <a:lnTo>
                      <a:pt x="38" y="78"/>
                    </a:lnTo>
                    <a:lnTo>
                      <a:pt x="30" y="79"/>
                    </a:lnTo>
                    <a:lnTo>
                      <a:pt x="16" y="69"/>
                    </a:lnTo>
                    <a:lnTo>
                      <a:pt x="8" y="61"/>
                    </a:lnTo>
                    <a:lnTo>
                      <a:pt x="3" y="53"/>
                    </a:lnTo>
                    <a:lnTo>
                      <a:pt x="0" y="45"/>
                    </a:lnTo>
                    <a:lnTo>
                      <a:pt x="3" y="37"/>
                    </a:lnTo>
                    <a:lnTo>
                      <a:pt x="20" y="16"/>
                    </a:lnTo>
                    <a:lnTo>
                      <a:pt x="28" y="10"/>
                    </a:lnTo>
                    <a:lnTo>
                      <a:pt x="48" y="1"/>
                    </a:lnTo>
                    <a:lnTo>
                      <a:pt x="58" y="0"/>
                    </a:lnTo>
                    <a:lnTo>
                      <a:pt x="67" y="3"/>
                    </a:lnTo>
                    <a:lnTo>
                      <a:pt x="75" y="11"/>
                    </a:lnTo>
                    <a:lnTo>
                      <a:pt x="78" y="17"/>
                    </a:lnTo>
                    <a:lnTo>
                      <a:pt x="85" y="25"/>
                    </a:lnTo>
                    <a:close/>
                  </a:path>
                </a:pathLst>
              </a:custGeom>
              <a:solidFill>
                <a:srgbClr val="17375E"/>
              </a:solidFill>
              <a:ln w="7938">
                <a:solidFill>
                  <a:srgbClr val="1C1329"/>
                </a:solidFill>
                <a:miter lim="800000"/>
                <a:headEnd/>
                <a:tailEnd/>
              </a:ln>
            </p:spPr>
            <p:txBody>
              <a:bodyPr/>
              <a:lstStyle/>
              <a:p>
                <a:endParaRPr lang="en-US"/>
              </a:p>
            </p:txBody>
          </p:sp>
          <p:sp>
            <p:nvSpPr>
              <p:cNvPr id="330" name="Freeform 126"/>
              <p:cNvSpPr>
                <a:spLocks/>
              </p:cNvSpPr>
              <p:nvPr/>
            </p:nvSpPr>
            <p:spPr bwMode="auto">
              <a:xfrm>
                <a:off x="1758" y="2758"/>
                <a:ext cx="522" cy="493"/>
              </a:xfrm>
              <a:custGeom>
                <a:avLst/>
                <a:gdLst>
                  <a:gd name="T0" fmla="*/ 1 w 488"/>
                  <a:gd name="T1" fmla="*/ 592 h 470"/>
                  <a:gd name="T2" fmla="*/ 3 w 488"/>
                  <a:gd name="T3" fmla="*/ 554 h 470"/>
                  <a:gd name="T4" fmla="*/ 20 w 488"/>
                  <a:gd name="T5" fmla="*/ 496 h 470"/>
                  <a:gd name="T6" fmla="*/ 34 w 488"/>
                  <a:gd name="T7" fmla="*/ 453 h 470"/>
                  <a:gd name="T8" fmla="*/ 45 w 488"/>
                  <a:gd name="T9" fmla="*/ 413 h 470"/>
                  <a:gd name="T10" fmla="*/ 65 w 488"/>
                  <a:gd name="T11" fmla="*/ 384 h 470"/>
                  <a:gd name="T12" fmla="*/ 109 w 488"/>
                  <a:gd name="T13" fmla="*/ 342 h 470"/>
                  <a:gd name="T14" fmla="*/ 121 w 488"/>
                  <a:gd name="T15" fmla="*/ 294 h 470"/>
                  <a:gd name="T16" fmla="*/ 121 w 488"/>
                  <a:gd name="T17" fmla="*/ 246 h 470"/>
                  <a:gd name="T18" fmla="*/ 94 w 488"/>
                  <a:gd name="T19" fmla="*/ 205 h 470"/>
                  <a:gd name="T20" fmla="*/ 99 w 488"/>
                  <a:gd name="T21" fmla="*/ 157 h 470"/>
                  <a:gd name="T22" fmla="*/ 77 w 488"/>
                  <a:gd name="T23" fmla="*/ 83 h 470"/>
                  <a:gd name="T24" fmla="*/ 49 w 488"/>
                  <a:gd name="T25" fmla="*/ 42 h 470"/>
                  <a:gd name="T26" fmla="*/ 42 w 488"/>
                  <a:gd name="T27" fmla="*/ 21 h 470"/>
                  <a:gd name="T28" fmla="*/ 98 w 488"/>
                  <a:gd name="T29" fmla="*/ 2 h 470"/>
                  <a:gd name="T30" fmla="*/ 163 w 488"/>
                  <a:gd name="T31" fmla="*/ 0 h 470"/>
                  <a:gd name="T32" fmla="*/ 217 w 488"/>
                  <a:gd name="T33" fmla="*/ 0 h 470"/>
                  <a:gd name="T34" fmla="*/ 278 w 488"/>
                  <a:gd name="T35" fmla="*/ 7 h 470"/>
                  <a:gd name="T36" fmla="*/ 296 w 488"/>
                  <a:gd name="T37" fmla="*/ 32 h 470"/>
                  <a:gd name="T38" fmla="*/ 309 w 488"/>
                  <a:gd name="T39" fmla="*/ 78 h 470"/>
                  <a:gd name="T40" fmla="*/ 371 w 488"/>
                  <a:gd name="T41" fmla="*/ 121 h 470"/>
                  <a:gd name="T42" fmla="*/ 446 w 488"/>
                  <a:gd name="T43" fmla="*/ 112 h 470"/>
                  <a:gd name="T44" fmla="*/ 456 w 488"/>
                  <a:gd name="T45" fmla="*/ 85 h 470"/>
                  <a:gd name="T46" fmla="*/ 507 w 488"/>
                  <a:gd name="T47" fmla="*/ 59 h 470"/>
                  <a:gd name="T48" fmla="*/ 582 w 488"/>
                  <a:gd name="T49" fmla="*/ 78 h 470"/>
                  <a:gd name="T50" fmla="*/ 595 w 488"/>
                  <a:gd name="T51" fmla="*/ 130 h 470"/>
                  <a:gd name="T52" fmla="*/ 595 w 488"/>
                  <a:gd name="T53" fmla="*/ 178 h 470"/>
                  <a:gd name="T54" fmla="*/ 609 w 488"/>
                  <a:gd name="T55" fmla="*/ 231 h 470"/>
                  <a:gd name="T56" fmla="*/ 600 w 488"/>
                  <a:gd name="T57" fmla="*/ 269 h 470"/>
                  <a:gd name="T58" fmla="*/ 605 w 488"/>
                  <a:gd name="T59" fmla="*/ 276 h 470"/>
                  <a:gd name="T60" fmla="*/ 625 w 488"/>
                  <a:gd name="T61" fmla="*/ 280 h 470"/>
                  <a:gd name="T62" fmla="*/ 696 w 488"/>
                  <a:gd name="T63" fmla="*/ 265 h 470"/>
                  <a:gd name="T64" fmla="*/ 719 w 488"/>
                  <a:gd name="T65" fmla="*/ 261 h 470"/>
                  <a:gd name="T66" fmla="*/ 722 w 488"/>
                  <a:gd name="T67" fmla="*/ 271 h 470"/>
                  <a:gd name="T68" fmla="*/ 719 w 488"/>
                  <a:gd name="T69" fmla="*/ 302 h 470"/>
                  <a:gd name="T70" fmla="*/ 716 w 488"/>
                  <a:gd name="T71" fmla="*/ 348 h 470"/>
                  <a:gd name="T72" fmla="*/ 732 w 488"/>
                  <a:gd name="T73" fmla="*/ 373 h 470"/>
                  <a:gd name="T74" fmla="*/ 603 w 488"/>
                  <a:gd name="T75" fmla="*/ 474 h 470"/>
                  <a:gd name="T76" fmla="*/ 610 w 488"/>
                  <a:gd name="T77" fmla="*/ 563 h 470"/>
                  <a:gd name="T78" fmla="*/ 645 w 488"/>
                  <a:gd name="T79" fmla="*/ 592 h 470"/>
                  <a:gd name="T80" fmla="*/ 671 w 488"/>
                  <a:gd name="T81" fmla="*/ 611 h 470"/>
                  <a:gd name="T82" fmla="*/ 570 w 488"/>
                  <a:gd name="T83" fmla="*/ 634 h 470"/>
                  <a:gd name="T84" fmla="*/ 523 w 488"/>
                  <a:gd name="T85" fmla="*/ 627 h 470"/>
                  <a:gd name="T86" fmla="*/ 428 w 488"/>
                  <a:gd name="T87" fmla="*/ 622 h 470"/>
                  <a:gd name="T88" fmla="*/ 367 w 488"/>
                  <a:gd name="T89" fmla="*/ 598 h 470"/>
                  <a:gd name="T90" fmla="*/ 158 w 488"/>
                  <a:gd name="T91" fmla="*/ 598 h 470"/>
                  <a:gd name="T92" fmla="*/ 105 w 488"/>
                  <a:gd name="T93" fmla="*/ 583 h 470"/>
                  <a:gd name="T94" fmla="*/ 55 w 488"/>
                  <a:gd name="T95" fmla="*/ 577 h 4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88"/>
                  <a:gd name="T145" fmla="*/ 0 h 470"/>
                  <a:gd name="T146" fmla="*/ 488 w 488"/>
                  <a:gd name="T147" fmla="*/ 470 h 4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88" h="470">
                    <a:moveTo>
                      <a:pt x="18" y="433"/>
                    </a:moveTo>
                    <a:lnTo>
                      <a:pt x="10" y="439"/>
                    </a:lnTo>
                    <a:lnTo>
                      <a:pt x="1" y="443"/>
                    </a:lnTo>
                    <a:lnTo>
                      <a:pt x="1" y="439"/>
                    </a:lnTo>
                    <a:lnTo>
                      <a:pt x="0" y="424"/>
                    </a:lnTo>
                    <a:lnTo>
                      <a:pt x="0" y="417"/>
                    </a:lnTo>
                    <a:lnTo>
                      <a:pt x="3" y="418"/>
                    </a:lnTo>
                    <a:lnTo>
                      <a:pt x="3" y="411"/>
                    </a:lnTo>
                    <a:lnTo>
                      <a:pt x="3" y="398"/>
                    </a:lnTo>
                    <a:lnTo>
                      <a:pt x="4" y="389"/>
                    </a:lnTo>
                    <a:lnTo>
                      <a:pt x="10" y="383"/>
                    </a:lnTo>
                    <a:lnTo>
                      <a:pt x="14" y="367"/>
                    </a:lnTo>
                    <a:lnTo>
                      <a:pt x="17" y="361"/>
                    </a:lnTo>
                    <a:lnTo>
                      <a:pt x="18" y="351"/>
                    </a:lnTo>
                    <a:lnTo>
                      <a:pt x="20" y="345"/>
                    </a:lnTo>
                    <a:lnTo>
                      <a:pt x="22" y="336"/>
                    </a:lnTo>
                    <a:lnTo>
                      <a:pt x="23" y="332"/>
                    </a:lnTo>
                    <a:lnTo>
                      <a:pt x="25" y="325"/>
                    </a:lnTo>
                    <a:lnTo>
                      <a:pt x="30" y="311"/>
                    </a:lnTo>
                    <a:lnTo>
                      <a:pt x="30" y="307"/>
                    </a:lnTo>
                    <a:lnTo>
                      <a:pt x="33" y="304"/>
                    </a:lnTo>
                    <a:lnTo>
                      <a:pt x="33" y="299"/>
                    </a:lnTo>
                    <a:lnTo>
                      <a:pt x="37" y="288"/>
                    </a:lnTo>
                    <a:lnTo>
                      <a:pt x="44" y="284"/>
                    </a:lnTo>
                    <a:lnTo>
                      <a:pt x="48" y="280"/>
                    </a:lnTo>
                    <a:lnTo>
                      <a:pt x="49" y="270"/>
                    </a:lnTo>
                    <a:lnTo>
                      <a:pt x="63" y="263"/>
                    </a:lnTo>
                    <a:lnTo>
                      <a:pt x="73" y="253"/>
                    </a:lnTo>
                    <a:lnTo>
                      <a:pt x="76" y="247"/>
                    </a:lnTo>
                    <a:lnTo>
                      <a:pt x="78" y="241"/>
                    </a:lnTo>
                    <a:lnTo>
                      <a:pt x="81" y="229"/>
                    </a:lnTo>
                    <a:lnTo>
                      <a:pt x="81" y="218"/>
                    </a:lnTo>
                    <a:lnTo>
                      <a:pt x="83" y="212"/>
                    </a:lnTo>
                    <a:lnTo>
                      <a:pt x="81" y="201"/>
                    </a:lnTo>
                    <a:lnTo>
                      <a:pt x="85" y="196"/>
                    </a:lnTo>
                    <a:lnTo>
                      <a:pt x="81" y="183"/>
                    </a:lnTo>
                    <a:lnTo>
                      <a:pt x="73" y="176"/>
                    </a:lnTo>
                    <a:lnTo>
                      <a:pt x="70" y="167"/>
                    </a:lnTo>
                    <a:lnTo>
                      <a:pt x="66" y="163"/>
                    </a:lnTo>
                    <a:lnTo>
                      <a:pt x="63" y="152"/>
                    </a:lnTo>
                    <a:lnTo>
                      <a:pt x="56" y="130"/>
                    </a:lnTo>
                    <a:lnTo>
                      <a:pt x="56" y="126"/>
                    </a:lnTo>
                    <a:lnTo>
                      <a:pt x="59" y="121"/>
                    </a:lnTo>
                    <a:lnTo>
                      <a:pt x="66" y="116"/>
                    </a:lnTo>
                    <a:lnTo>
                      <a:pt x="66" y="104"/>
                    </a:lnTo>
                    <a:lnTo>
                      <a:pt x="63" y="95"/>
                    </a:lnTo>
                    <a:lnTo>
                      <a:pt x="59" y="89"/>
                    </a:lnTo>
                    <a:lnTo>
                      <a:pt x="51" y="62"/>
                    </a:lnTo>
                    <a:lnTo>
                      <a:pt x="49" y="54"/>
                    </a:lnTo>
                    <a:lnTo>
                      <a:pt x="46" y="48"/>
                    </a:lnTo>
                    <a:lnTo>
                      <a:pt x="37" y="36"/>
                    </a:lnTo>
                    <a:lnTo>
                      <a:pt x="33" y="30"/>
                    </a:lnTo>
                    <a:lnTo>
                      <a:pt x="29" y="23"/>
                    </a:lnTo>
                    <a:lnTo>
                      <a:pt x="27" y="20"/>
                    </a:lnTo>
                    <a:lnTo>
                      <a:pt x="28" y="17"/>
                    </a:lnTo>
                    <a:lnTo>
                      <a:pt x="28" y="15"/>
                    </a:lnTo>
                    <a:lnTo>
                      <a:pt x="33" y="13"/>
                    </a:lnTo>
                    <a:lnTo>
                      <a:pt x="45" y="10"/>
                    </a:lnTo>
                    <a:lnTo>
                      <a:pt x="54" y="5"/>
                    </a:lnTo>
                    <a:lnTo>
                      <a:pt x="65" y="2"/>
                    </a:lnTo>
                    <a:lnTo>
                      <a:pt x="70" y="2"/>
                    </a:lnTo>
                    <a:lnTo>
                      <a:pt x="76" y="0"/>
                    </a:lnTo>
                    <a:lnTo>
                      <a:pt x="92" y="2"/>
                    </a:lnTo>
                    <a:lnTo>
                      <a:pt x="108" y="0"/>
                    </a:lnTo>
                    <a:lnTo>
                      <a:pt x="113" y="2"/>
                    </a:lnTo>
                    <a:lnTo>
                      <a:pt x="126" y="2"/>
                    </a:lnTo>
                    <a:lnTo>
                      <a:pt x="135" y="0"/>
                    </a:lnTo>
                    <a:lnTo>
                      <a:pt x="145" y="0"/>
                    </a:lnTo>
                    <a:lnTo>
                      <a:pt x="167" y="0"/>
                    </a:lnTo>
                    <a:lnTo>
                      <a:pt x="179" y="0"/>
                    </a:lnTo>
                    <a:lnTo>
                      <a:pt x="182" y="0"/>
                    </a:lnTo>
                    <a:lnTo>
                      <a:pt x="185" y="7"/>
                    </a:lnTo>
                    <a:lnTo>
                      <a:pt x="187" y="7"/>
                    </a:lnTo>
                    <a:lnTo>
                      <a:pt x="190" y="5"/>
                    </a:lnTo>
                    <a:lnTo>
                      <a:pt x="194" y="12"/>
                    </a:lnTo>
                    <a:lnTo>
                      <a:pt x="197" y="25"/>
                    </a:lnTo>
                    <a:lnTo>
                      <a:pt x="197" y="33"/>
                    </a:lnTo>
                    <a:lnTo>
                      <a:pt x="200" y="37"/>
                    </a:lnTo>
                    <a:lnTo>
                      <a:pt x="204" y="46"/>
                    </a:lnTo>
                    <a:lnTo>
                      <a:pt x="207" y="58"/>
                    </a:lnTo>
                    <a:lnTo>
                      <a:pt x="215" y="66"/>
                    </a:lnTo>
                    <a:lnTo>
                      <a:pt x="230" y="85"/>
                    </a:lnTo>
                    <a:lnTo>
                      <a:pt x="238" y="89"/>
                    </a:lnTo>
                    <a:lnTo>
                      <a:pt x="248" y="89"/>
                    </a:lnTo>
                    <a:lnTo>
                      <a:pt x="263" y="85"/>
                    </a:lnTo>
                    <a:lnTo>
                      <a:pt x="272" y="82"/>
                    </a:lnTo>
                    <a:lnTo>
                      <a:pt x="285" y="84"/>
                    </a:lnTo>
                    <a:lnTo>
                      <a:pt x="298" y="84"/>
                    </a:lnTo>
                    <a:lnTo>
                      <a:pt x="301" y="74"/>
                    </a:lnTo>
                    <a:lnTo>
                      <a:pt x="301" y="68"/>
                    </a:lnTo>
                    <a:lnTo>
                      <a:pt x="303" y="65"/>
                    </a:lnTo>
                    <a:lnTo>
                      <a:pt x="304" y="63"/>
                    </a:lnTo>
                    <a:lnTo>
                      <a:pt x="305" y="59"/>
                    </a:lnTo>
                    <a:lnTo>
                      <a:pt x="305" y="51"/>
                    </a:lnTo>
                    <a:lnTo>
                      <a:pt x="307" y="44"/>
                    </a:lnTo>
                    <a:lnTo>
                      <a:pt x="338" y="44"/>
                    </a:lnTo>
                    <a:lnTo>
                      <a:pt x="338" y="41"/>
                    </a:lnTo>
                    <a:lnTo>
                      <a:pt x="355" y="41"/>
                    </a:lnTo>
                    <a:lnTo>
                      <a:pt x="354" y="56"/>
                    </a:lnTo>
                    <a:lnTo>
                      <a:pt x="389" y="58"/>
                    </a:lnTo>
                    <a:lnTo>
                      <a:pt x="390" y="59"/>
                    </a:lnTo>
                    <a:lnTo>
                      <a:pt x="392" y="65"/>
                    </a:lnTo>
                    <a:lnTo>
                      <a:pt x="394" y="89"/>
                    </a:lnTo>
                    <a:lnTo>
                      <a:pt x="396" y="97"/>
                    </a:lnTo>
                    <a:lnTo>
                      <a:pt x="396" y="107"/>
                    </a:lnTo>
                    <a:lnTo>
                      <a:pt x="397" y="119"/>
                    </a:lnTo>
                    <a:lnTo>
                      <a:pt x="397" y="123"/>
                    </a:lnTo>
                    <a:lnTo>
                      <a:pt x="396" y="132"/>
                    </a:lnTo>
                    <a:lnTo>
                      <a:pt x="394" y="140"/>
                    </a:lnTo>
                    <a:lnTo>
                      <a:pt x="397" y="147"/>
                    </a:lnTo>
                    <a:lnTo>
                      <a:pt x="403" y="157"/>
                    </a:lnTo>
                    <a:lnTo>
                      <a:pt x="407" y="171"/>
                    </a:lnTo>
                    <a:lnTo>
                      <a:pt x="412" y="183"/>
                    </a:lnTo>
                    <a:lnTo>
                      <a:pt x="410" y="188"/>
                    </a:lnTo>
                    <a:lnTo>
                      <a:pt x="408" y="192"/>
                    </a:lnTo>
                    <a:lnTo>
                      <a:pt x="400" y="200"/>
                    </a:lnTo>
                    <a:lnTo>
                      <a:pt x="400" y="202"/>
                    </a:lnTo>
                    <a:lnTo>
                      <a:pt x="402" y="203"/>
                    </a:lnTo>
                    <a:lnTo>
                      <a:pt x="402" y="205"/>
                    </a:lnTo>
                    <a:lnTo>
                      <a:pt x="405" y="205"/>
                    </a:lnTo>
                    <a:lnTo>
                      <a:pt x="408" y="210"/>
                    </a:lnTo>
                    <a:lnTo>
                      <a:pt x="413" y="211"/>
                    </a:lnTo>
                    <a:lnTo>
                      <a:pt x="415" y="210"/>
                    </a:lnTo>
                    <a:lnTo>
                      <a:pt x="417" y="207"/>
                    </a:lnTo>
                    <a:lnTo>
                      <a:pt x="419" y="201"/>
                    </a:lnTo>
                    <a:lnTo>
                      <a:pt x="422" y="200"/>
                    </a:lnTo>
                    <a:lnTo>
                      <a:pt x="457" y="200"/>
                    </a:lnTo>
                    <a:lnTo>
                      <a:pt x="465" y="196"/>
                    </a:lnTo>
                    <a:lnTo>
                      <a:pt x="472" y="198"/>
                    </a:lnTo>
                    <a:lnTo>
                      <a:pt x="473" y="198"/>
                    </a:lnTo>
                    <a:lnTo>
                      <a:pt x="479" y="194"/>
                    </a:lnTo>
                    <a:lnTo>
                      <a:pt x="480" y="194"/>
                    </a:lnTo>
                    <a:lnTo>
                      <a:pt x="483" y="195"/>
                    </a:lnTo>
                    <a:lnTo>
                      <a:pt x="483" y="199"/>
                    </a:lnTo>
                    <a:lnTo>
                      <a:pt x="482" y="199"/>
                    </a:lnTo>
                    <a:lnTo>
                      <a:pt x="482" y="201"/>
                    </a:lnTo>
                    <a:lnTo>
                      <a:pt x="483" y="208"/>
                    </a:lnTo>
                    <a:lnTo>
                      <a:pt x="483" y="211"/>
                    </a:lnTo>
                    <a:lnTo>
                      <a:pt x="482" y="215"/>
                    </a:lnTo>
                    <a:lnTo>
                      <a:pt x="480" y="224"/>
                    </a:lnTo>
                    <a:lnTo>
                      <a:pt x="478" y="233"/>
                    </a:lnTo>
                    <a:lnTo>
                      <a:pt x="479" y="243"/>
                    </a:lnTo>
                    <a:lnTo>
                      <a:pt x="479" y="252"/>
                    </a:lnTo>
                    <a:lnTo>
                      <a:pt x="477" y="258"/>
                    </a:lnTo>
                    <a:lnTo>
                      <a:pt x="477" y="268"/>
                    </a:lnTo>
                    <a:lnTo>
                      <a:pt x="478" y="272"/>
                    </a:lnTo>
                    <a:lnTo>
                      <a:pt x="480" y="273"/>
                    </a:lnTo>
                    <a:lnTo>
                      <a:pt x="488" y="277"/>
                    </a:lnTo>
                    <a:lnTo>
                      <a:pt x="445" y="277"/>
                    </a:lnTo>
                    <a:lnTo>
                      <a:pt x="403" y="277"/>
                    </a:lnTo>
                    <a:lnTo>
                      <a:pt x="403" y="313"/>
                    </a:lnTo>
                    <a:lnTo>
                      <a:pt x="403" y="351"/>
                    </a:lnTo>
                    <a:lnTo>
                      <a:pt x="403" y="388"/>
                    </a:lnTo>
                    <a:lnTo>
                      <a:pt x="403" y="413"/>
                    </a:lnTo>
                    <a:lnTo>
                      <a:pt x="403" y="414"/>
                    </a:lnTo>
                    <a:lnTo>
                      <a:pt x="408" y="418"/>
                    </a:lnTo>
                    <a:lnTo>
                      <a:pt x="410" y="424"/>
                    </a:lnTo>
                    <a:lnTo>
                      <a:pt x="420" y="429"/>
                    </a:lnTo>
                    <a:lnTo>
                      <a:pt x="424" y="434"/>
                    </a:lnTo>
                    <a:lnTo>
                      <a:pt x="431" y="439"/>
                    </a:lnTo>
                    <a:lnTo>
                      <a:pt x="434" y="443"/>
                    </a:lnTo>
                    <a:lnTo>
                      <a:pt x="440" y="446"/>
                    </a:lnTo>
                    <a:lnTo>
                      <a:pt x="442" y="450"/>
                    </a:lnTo>
                    <a:lnTo>
                      <a:pt x="448" y="453"/>
                    </a:lnTo>
                    <a:lnTo>
                      <a:pt x="447" y="455"/>
                    </a:lnTo>
                    <a:lnTo>
                      <a:pt x="439" y="456"/>
                    </a:lnTo>
                    <a:lnTo>
                      <a:pt x="387" y="470"/>
                    </a:lnTo>
                    <a:lnTo>
                      <a:pt x="381" y="470"/>
                    </a:lnTo>
                    <a:lnTo>
                      <a:pt x="377" y="468"/>
                    </a:lnTo>
                    <a:lnTo>
                      <a:pt x="369" y="468"/>
                    </a:lnTo>
                    <a:lnTo>
                      <a:pt x="360" y="465"/>
                    </a:lnTo>
                    <a:lnTo>
                      <a:pt x="349" y="465"/>
                    </a:lnTo>
                    <a:lnTo>
                      <a:pt x="326" y="460"/>
                    </a:lnTo>
                    <a:lnTo>
                      <a:pt x="306" y="460"/>
                    </a:lnTo>
                    <a:lnTo>
                      <a:pt x="293" y="461"/>
                    </a:lnTo>
                    <a:lnTo>
                      <a:pt x="286" y="461"/>
                    </a:lnTo>
                    <a:lnTo>
                      <a:pt x="274" y="456"/>
                    </a:lnTo>
                    <a:lnTo>
                      <a:pt x="269" y="451"/>
                    </a:lnTo>
                    <a:lnTo>
                      <a:pt x="259" y="443"/>
                    </a:lnTo>
                    <a:lnTo>
                      <a:pt x="245" y="443"/>
                    </a:lnTo>
                    <a:lnTo>
                      <a:pt x="212" y="443"/>
                    </a:lnTo>
                    <a:lnTo>
                      <a:pt x="178" y="443"/>
                    </a:lnTo>
                    <a:lnTo>
                      <a:pt x="141" y="443"/>
                    </a:lnTo>
                    <a:lnTo>
                      <a:pt x="106" y="443"/>
                    </a:lnTo>
                    <a:lnTo>
                      <a:pt x="93" y="443"/>
                    </a:lnTo>
                    <a:lnTo>
                      <a:pt x="87" y="444"/>
                    </a:lnTo>
                    <a:lnTo>
                      <a:pt x="78" y="436"/>
                    </a:lnTo>
                    <a:lnTo>
                      <a:pt x="70" y="433"/>
                    </a:lnTo>
                    <a:lnTo>
                      <a:pt x="66" y="427"/>
                    </a:lnTo>
                    <a:lnTo>
                      <a:pt x="59" y="425"/>
                    </a:lnTo>
                    <a:lnTo>
                      <a:pt x="43" y="425"/>
                    </a:lnTo>
                    <a:lnTo>
                      <a:pt x="36" y="428"/>
                    </a:lnTo>
                    <a:lnTo>
                      <a:pt x="28" y="434"/>
                    </a:lnTo>
                    <a:lnTo>
                      <a:pt x="25" y="437"/>
                    </a:lnTo>
                    <a:lnTo>
                      <a:pt x="18" y="433"/>
                    </a:lnTo>
                    <a:close/>
                  </a:path>
                </a:pathLst>
              </a:custGeom>
              <a:solidFill>
                <a:srgbClr val="DA9797"/>
              </a:solidFill>
              <a:ln>
                <a:noFill/>
              </a:ln>
              <a:extLst/>
            </p:spPr>
            <p:txBody>
              <a:bodyPr/>
              <a:lstStyle/>
              <a:p>
                <a:pPr>
                  <a:defRPr/>
                </a:pPr>
                <a:endParaRPr lang="en-US">
                  <a:latin typeface="Arial" panose="020B0604020202020204" pitchFamily="34" charset="0"/>
                  <a:ea typeface="ＭＳ Ｐゴシック" panose="020B0600070205080204" pitchFamily="34" charset="-128"/>
                  <a:cs typeface="+mn-cs"/>
                </a:endParaRPr>
              </a:p>
            </p:txBody>
          </p:sp>
          <p:sp>
            <p:nvSpPr>
              <p:cNvPr id="331" name="Freeform 127"/>
              <p:cNvSpPr>
                <a:spLocks/>
              </p:cNvSpPr>
              <p:nvPr/>
            </p:nvSpPr>
            <p:spPr bwMode="auto">
              <a:xfrm>
                <a:off x="1758" y="2758"/>
                <a:ext cx="522" cy="494"/>
              </a:xfrm>
              <a:custGeom>
                <a:avLst/>
                <a:gdLst>
                  <a:gd name="T0" fmla="*/ 1 w 488"/>
                  <a:gd name="T1" fmla="*/ 11755 h 470"/>
                  <a:gd name="T2" fmla="*/ 3 w 488"/>
                  <a:gd name="T3" fmla="*/ 11003 h 470"/>
                  <a:gd name="T4" fmla="*/ 1147 w 488"/>
                  <a:gd name="T5" fmla="*/ 9848 h 470"/>
                  <a:gd name="T6" fmla="*/ 1966 w 488"/>
                  <a:gd name="T7" fmla="*/ 8983 h 470"/>
                  <a:gd name="T8" fmla="*/ 2575 w 488"/>
                  <a:gd name="T9" fmla="*/ 8179 h 470"/>
                  <a:gd name="T10" fmla="*/ 3710 w 488"/>
                  <a:gd name="T11" fmla="*/ 7656 h 470"/>
                  <a:gd name="T12" fmla="*/ 6204 w 488"/>
                  <a:gd name="T13" fmla="*/ 6787 h 470"/>
                  <a:gd name="T14" fmla="*/ 6897 w 488"/>
                  <a:gd name="T15" fmla="*/ 5845 h 470"/>
                  <a:gd name="T16" fmla="*/ 6897 w 488"/>
                  <a:gd name="T17" fmla="*/ 4904 h 470"/>
                  <a:gd name="T18" fmla="*/ 5401 w 488"/>
                  <a:gd name="T19" fmla="*/ 4064 h 470"/>
                  <a:gd name="T20" fmla="*/ 5635 w 488"/>
                  <a:gd name="T21" fmla="*/ 3128 h 470"/>
                  <a:gd name="T22" fmla="*/ 4413 w 488"/>
                  <a:gd name="T23" fmla="*/ 1639 h 470"/>
                  <a:gd name="T24" fmla="*/ 2764 w 488"/>
                  <a:gd name="T25" fmla="*/ 816 h 470"/>
                  <a:gd name="T26" fmla="*/ 2407 w 488"/>
                  <a:gd name="T27" fmla="*/ 386 h 470"/>
                  <a:gd name="T28" fmla="*/ 5556 w 488"/>
                  <a:gd name="T29" fmla="*/ 2 h 470"/>
                  <a:gd name="T30" fmla="*/ 9258 w 488"/>
                  <a:gd name="T31" fmla="*/ 0 h 470"/>
                  <a:gd name="T32" fmla="*/ 12347 w 488"/>
                  <a:gd name="T33" fmla="*/ 0 h 470"/>
                  <a:gd name="T34" fmla="*/ 15780 w 488"/>
                  <a:gd name="T35" fmla="*/ 7 h 470"/>
                  <a:gd name="T36" fmla="*/ 16836 w 488"/>
                  <a:gd name="T37" fmla="*/ 636 h 470"/>
                  <a:gd name="T38" fmla="*/ 17546 w 488"/>
                  <a:gd name="T39" fmla="*/ 1557 h 470"/>
                  <a:gd name="T40" fmla="*/ 21162 w 488"/>
                  <a:gd name="T41" fmla="*/ 2391 h 470"/>
                  <a:gd name="T42" fmla="*/ 25422 w 488"/>
                  <a:gd name="T43" fmla="*/ 2220 h 470"/>
                  <a:gd name="T44" fmla="*/ 25965 w 488"/>
                  <a:gd name="T45" fmla="*/ 1687 h 470"/>
                  <a:gd name="T46" fmla="*/ 28831 w 488"/>
                  <a:gd name="T47" fmla="*/ 1156 h 470"/>
                  <a:gd name="T48" fmla="*/ 33103 w 488"/>
                  <a:gd name="T49" fmla="*/ 1557 h 470"/>
                  <a:gd name="T50" fmla="*/ 33786 w 488"/>
                  <a:gd name="T51" fmla="*/ 2577 h 470"/>
                  <a:gd name="T52" fmla="*/ 33786 w 488"/>
                  <a:gd name="T53" fmla="*/ 3552 h 470"/>
                  <a:gd name="T54" fmla="*/ 34556 w 488"/>
                  <a:gd name="T55" fmla="*/ 4569 h 470"/>
                  <a:gd name="T56" fmla="*/ 34210 w 488"/>
                  <a:gd name="T57" fmla="*/ 5372 h 470"/>
                  <a:gd name="T58" fmla="*/ 34409 w 488"/>
                  <a:gd name="T59" fmla="*/ 5479 h 470"/>
                  <a:gd name="T60" fmla="*/ 35602 w 488"/>
                  <a:gd name="T61" fmla="*/ 5561 h 470"/>
                  <a:gd name="T62" fmla="*/ 39539 w 488"/>
                  <a:gd name="T63" fmla="*/ 5283 h 470"/>
                  <a:gd name="T64" fmla="*/ 40895 w 488"/>
                  <a:gd name="T65" fmla="*/ 5175 h 470"/>
                  <a:gd name="T66" fmla="*/ 41122 w 488"/>
                  <a:gd name="T67" fmla="*/ 5409 h 470"/>
                  <a:gd name="T68" fmla="*/ 40895 w 488"/>
                  <a:gd name="T69" fmla="*/ 5996 h 470"/>
                  <a:gd name="T70" fmla="*/ 40735 w 488"/>
                  <a:gd name="T71" fmla="*/ 6938 h 470"/>
                  <a:gd name="T72" fmla="*/ 41604 w 488"/>
                  <a:gd name="T73" fmla="*/ 7391 h 470"/>
                  <a:gd name="T74" fmla="*/ 34288 w 488"/>
                  <a:gd name="T75" fmla="*/ 9409 h 470"/>
                  <a:gd name="T76" fmla="*/ 34729 w 488"/>
                  <a:gd name="T77" fmla="*/ 11184 h 470"/>
                  <a:gd name="T78" fmla="*/ 36677 w 488"/>
                  <a:gd name="T79" fmla="*/ 11755 h 470"/>
                  <a:gd name="T80" fmla="*/ 38165 w 488"/>
                  <a:gd name="T81" fmla="*/ 12112 h 470"/>
                  <a:gd name="T82" fmla="*/ 32467 w 488"/>
                  <a:gd name="T83" fmla="*/ 12597 h 470"/>
                  <a:gd name="T84" fmla="*/ 29730 w 488"/>
                  <a:gd name="T85" fmla="*/ 12444 h 470"/>
                  <a:gd name="T86" fmla="*/ 24429 w 488"/>
                  <a:gd name="T87" fmla="*/ 12355 h 470"/>
                  <a:gd name="T88" fmla="*/ 20853 w 488"/>
                  <a:gd name="T89" fmla="*/ 11859 h 470"/>
                  <a:gd name="T90" fmla="*/ 9030 w 488"/>
                  <a:gd name="T91" fmla="*/ 11859 h 470"/>
                  <a:gd name="T92" fmla="*/ 5943 w 488"/>
                  <a:gd name="T93" fmla="*/ 11571 h 470"/>
                  <a:gd name="T94" fmla="*/ 3151 w 488"/>
                  <a:gd name="T95" fmla="*/ 11458 h 4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88"/>
                  <a:gd name="T145" fmla="*/ 0 h 470"/>
                  <a:gd name="T146" fmla="*/ 488 w 488"/>
                  <a:gd name="T147" fmla="*/ 470 h 4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88" h="470">
                    <a:moveTo>
                      <a:pt x="18" y="433"/>
                    </a:moveTo>
                    <a:lnTo>
                      <a:pt x="10" y="439"/>
                    </a:lnTo>
                    <a:lnTo>
                      <a:pt x="1" y="443"/>
                    </a:lnTo>
                    <a:lnTo>
                      <a:pt x="1" y="439"/>
                    </a:lnTo>
                    <a:lnTo>
                      <a:pt x="0" y="424"/>
                    </a:lnTo>
                    <a:lnTo>
                      <a:pt x="0" y="417"/>
                    </a:lnTo>
                    <a:lnTo>
                      <a:pt x="3" y="418"/>
                    </a:lnTo>
                    <a:lnTo>
                      <a:pt x="3" y="411"/>
                    </a:lnTo>
                    <a:lnTo>
                      <a:pt x="3" y="398"/>
                    </a:lnTo>
                    <a:lnTo>
                      <a:pt x="4" y="389"/>
                    </a:lnTo>
                    <a:lnTo>
                      <a:pt x="10" y="383"/>
                    </a:lnTo>
                    <a:lnTo>
                      <a:pt x="14" y="367"/>
                    </a:lnTo>
                    <a:lnTo>
                      <a:pt x="17" y="361"/>
                    </a:lnTo>
                    <a:lnTo>
                      <a:pt x="18" y="351"/>
                    </a:lnTo>
                    <a:lnTo>
                      <a:pt x="20" y="345"/>
                    </a:lnTo>
                    <a:lnTo>
                      <a:pt x="22" y="336"/>
                    </a:lnTo>
                    <a:lnTo>
                      <a:pt x="23" y="332"/>
                    </a:lnTo>
                    <a:lnTo>
                      <a:pt x="25" y="325"/>
                    </a:lnTo>
                    <a:lnTo>
                      <a:pt x="30" y="311"/>
                    </a:lnTo>
                    <a:lnTo>
                      <a:pt x="30" y="307"/>
                    </a:lnTo>
                    <a:lnTo>
                      <a:pt x="33" y="304"/>
                    </a:lnTo>
                    <a:lnTo>
                      <a:pt x="33" y="299"/>
                    </a:lnTo>
                    <a:lnTo>
                      <a:pt x="37" y="288"/>
                    </a:lnTo>
                    <a:lnTo>
                      <a:pt x="44" y="284"/>
                    </a:lnTo>
                    <a:lnTo>
                      <a:pt x="48" y="280"/>
                    </a:lnTo>
                    <a:lnTo>
                      <a:pt x="49" y="270"/>
                    </a:lnTo>
                    <a:lnTo>
                      <a:pt x="63" y="263"/>
                    </a:lnTo>
                    <a:lnTo>
                      <a:pt x="73" y="253"/>
                    </a:lnTo>
                    <a:lnTo>
                      <a:pt x="76" y="247"/>
                    </a:lnTo>
                    <a:lnTo>
                      <a:pt x="78" y="241"/>
                    </a:lnTo>
                    <a:lnTo>
                      <a:pt x="81" y="229"/>
                    </a:lnTo>
                    <a:lnTo>
                      <a:pt x="81" y="218"/>
                    </a:lnTo>
                    <a:lnTo>
                      <a:pt x="83" y="212"/>
                    </a:lnTo>
                    <a:lnTo>
                      <a:pt x="81" y="201"/>
                    </a:lnTo>
                    <a:lnTo>
                      <a:pt x="85" y="196"/>
                    </a:lnTo>
                    <a:lnTo>
                      <a:pt x="81" y="183"/>
                    </a:lnTo>
                    <a:lnTo>
                      <a:pt x="73" y="176"/>
                    </a:lnTo>
                    <a:lnTo>
                      <a:pt x="70" y="167"/>
                    </a:lnTo>
                    <a:lnTo>
                      <a:pt x="66" y="163"/>
                    </a:lnTo>
                    <a:lnTo>
                      <a:pt x="63" y="152"/>
                    </a:lnTo>
                    <a:lnTo>
                      <a:pt x="56" y="130"/>
                    </a:lnTo>
                    <a:lnTo>
                      <a:pt x="56" y="126"/>
                    </a:lnTo>
                    <a:lnTo>
                      <a:pt x="59" y="121"/>
                    </a:lnTo>
                    <a:lnTo>
                      <a:pt x="66" y="116"/>
                    </a:lnTo>
                    <a:lnTo>
                      <a:pt x="66" y="104"/>
                    </a:lnTo>
                    <a:lnTo>
                      <a:pt x="63" y="95"/>
                    </a:lnTo>
                    <a:lnTo>
                      <a:pt x="59" y="89"/>
                    </a:lnTo>
                    <a:lnTo>
                      <a:pt x="51" y="62"/>
                    </a:lnTo>
                    <a:lnTo>
                      <a:pt x="49" y="54"/>
                    </a:lnTo>
                    <a:lnTo>
                      <a:pt x="46" y="48"/>
                    </a:lnTo>
                    <a:lnTo>
                      <a:pt x="37" y="36"/>
                    </a:lnTo>
                    <a:lnTo>
                      <a:pt x="33" y="30"/>
                    </a:lnTo>
                    <a:lnTo>
                      <a:pt x="29" y="23"/>
                    </a:lnTo>
                    <a:lnTo>
                      <a:pt x="27" y="20"/>
                    </a:lnTo>
                    <a:lnTo>
                      <a:pt x="28" y="17"/>
                    </a:lnTo>
                    <a:lnTo>
                      <a:pt x="28" y="15"/>
                    </a:lnTo>
                    <a:lnTo>
                      <a:pt x="33" y="13"/>
                    </a:lnTo>
                    <a:lnTo>
                      <a:pt x="45" y="10"/>
                    </a:lnTo>
                    <a:lnTo>
                      <a:pt x="54" y="5"/>
                    </a:lnTo>
                    <a:lnTo>
                      <a:pt x="65" y="2"/>
                    </a:lnTo>
                    <a:lnTo>
                      <a:pt x="70" y="2"/>
                    </a:lnTo>
                    <a:lnTo>
                      <a:pt x="76" y="0"/>
                    </a:lnTo>
                    <a:lnTo>
                      <a:pt x="92" y="2"/>
                    </a:lnTo>
                    <a:lnTo>
                      <a:pt x="108" y="0"/>
                    </a:lnTo>
                    <a:lnTo>
                      <a:pt x="113" y="2"/>
                    </a:lnTo>
                    <a:lnTo>
                      <a:pt x="126" y="2"/>
                    </a:lnTo>
                    <a:lnTo>
                      <a:pt x="135" y="0"/>
                    </a:lnTo>
                    <a:lnTo>
                      <a:pt x="145" y="0"/>
                    </a:lnTo>
                    <a:lnTo>
                      <a:pt x="167" y="0"/>
                    </a:lnTo>
                    <a:lnTo>
                      <a:pt x="179" y="0"/>
                    </a:lnTo>
                    <a:lnTo>
                      <a:pt x="182" y="0"/>
                    </a:lnTo>
                    <a:lnTo>
                      <a:pt x="185" y="7"/>
                    </a:lnTo>
                    <a:lnTo>
                      <a:pt x="187" y="7"/>
                    </a:lnTo>
                    <a:lnTo>
                      <a:pt x="190" y="5"/>
                    </a:lnTo>
                    <a:lnTo>
                      <a:pt x="194" y="12"/>
                    </a:lnTo>
                    <a:lnTo>
                      <a:pt x="197" y="25"/>
                    </a:lnTo>
                    <a:lnTo>
                      <a:pt x="197" y="33"/>
                    </a:lnTo>
                    <a:lnTo>
                      <a:pt x="200" y="37"/>
                    </a:lnTo>
                    <a:lnTo>
                      <a:pt x="204" y="46"/>
                    </a:lnTo>
                    <a:lnTo>
                      <a:pt x="207" y="58"/>
                    </a:lnTo>
                    <a:lnTo>
                      <a:pt x="215" y="66"/>
                    </a:lnTo>
                    <a:lnTo>
                      <a:pt x="230" y="85"/>
                    </a:lnTo>
                    <a:lnTo>
                      <a:pt x="238" y="89"/>
                    </a:lnTo>
                    <a:lnTo>
                      <a:pt x="248" y="89"/>
                    </a:lnTo>
                    <a:lnTo>
                      <a:pt x="263" y="85"/>
                    </a:lnTo>
                    <a:lnTo>
                      <a:pt x="272" y="82"/>
                    </a:lnTo>
                    <a:lnTo>
                      <a:pt x="285" y="84"/>
                    </a:lnTo>
                    <a:lnTo>
                      <a:pt x="298" y="84"/>
                    </a:lnTo>
                    <a:lnTo>
                      <a:pt x="301" y="74"/>
                    </a:lnTo>
                    <a:lnTo>
                      <a:pt x="301" y="68"/>
                    </a:lnTo>
                    <a:lnTo>
                      <a:pt x="303" y="65"/>
                    </a:lnTo>
                    <a:lnTo>
                      <a:pt x="304" y="63"/>
                    </a:lnTo>
                    <a:lnTo>
                      <a:pt x="305" y="59"/>
                    </a:lnTo>
                    <a:lnTo>
                      <a:pt x="305" y="51"/>
                    </a:lnTo>
                    <a:lnTo>
                      <a:pt x="307" y="44"/>
                    </a:lnTo>
                    <a:lnTo>
                      <a:pt x="338" y="44"/>
                    </a:lnTo>
                    <a:lnTo>
                      <a:pt x="338" y="41"/>
                    </a:lnTo>
                    <a:lnTo>
                      <a:pt x="355" y="41"/>
                    </a:lnTo>
                    <a:lnTo>
                      <a:pt x="354" y="56"/>
                    </a:lnTo>
                    <a:lnTo>
                      <a:pt x="389" y="58"/>
                    </a:lnTo>
                    <a:lnTo>
                      <a:pt x="390" y="59"/>
                    </a:lnTo>
                    <a:lnTo>
                      <a:pt x="392" y="65"/>
                    </a:lnTo>
                    <a:lnTo>
                      <a:pt x="394" y="89"/>
                    </a:lnTo>
                    <a:lnTo>
                      <a:pt x="396" y="97"/>
                    </a:lnTo>
                    <a:lnTo>
                      <a:pt x="396" y="107"/>
                    </a:lnTo>
                    <a:lnTo>
                      <a:pt x="397" y="119"/>
                    </a:lnTo>
                    <a:lnTo>
                      <a:pt x="397" y="123"/>
                    </a:lnTo>
                    <a:lnTo>
                      <a:pt x="396" y="132"/>
                    </a:lnTo>
                    <a:lnTo>
                      <a:pt x="394" y="140"/>
                    </a:lnTo>
                    <a:lnTo>
                      <a:pt x="397" y="147"/>
                    </a:lnTo>
                    <a:lnTo>
                      <a:pt x="403" y="157"/>
                    </a:lnTo>
                    <a:lnTo>
                      <a:pt x="407" y="171"/>
                    </a:lnTo>
                    <a:lnTo>
                      <a:pt x="412" y="183"/>
                    </a:lnTo>
                    <a:lnTo>
                      <a:pt x="410" y="188"/>
                    </a:lnTo>
                    <a:lnTo>
                      <a:pt x="408" y="192"/>
                    </a:lnTo>
                    <a:lnTo>
                      <a:pt x="400" y="200"/>
                    </a:lnTo>
                    <a:lnTo>
                      <a:pt x="400" y="202"/>
                    </a:lnTo>
                    <a:lnTo>
                      <a:pt x="402" y="203"/>
                    </a:lnTo>
                    <a:lnTo>
                      <a:pt x="402" y="205"/>
                    </a:lnTo>
                    <a:lnTo>
                      <a:pt x="405" y="205"/>
                    </a:lnTo>
                    <a:lnTo>
                      <a:pt x="408" y="210"/>
                    </a:lnTo>
                    <a:lnTo>
                      <a:pt x="413" y="211"/>
                    </a:lnTo>
                    <a:lnTo>
                      <a:pt x="415" y="210"/>
                    </a:lnTo>
                    <a:lnTo>
                      <a:pt x="417" y="207"/>
                    </a:lnTo>
                    <a:lnTo>
                      <a:pt x="419" y="201"/>
                    </a:lnTo>
                    <a:lnTo>
                      <a:pt x="422" y="200"/>
                    </a:lnTo>
                    <a:lnTo>
                      <a:pt x="457" y="200"/>
                    </a:lnTo>
                    <a:lnTo>
                      <a:pt x="465" y="196"/>
                    </a:lnTo>
                    <a:lnTo>
                      <a:pt x="472" y="198"/>
                    </a:lnTo>
                    <a:lnTo>
                      <a:pt x="473" y="198"/>
                    </a:lnTo>
                    <a:lnTo>
                      <a:pt x="479" y="194"/>
                    </a:lnTo>
                    <a:lnTo>
                      <a:pt x="480" y="194"/>
                    </a:lnTo>
                    <a:lnTo>
                      <a:pt x="483" y="195"/>
                    </a:lnTo>
                    <a:lnTo>
                      <a:pt x="483" y="199"/>
                    </a:lnTo>
                    <a:lnTo>
                      <a:pt x="482" y="199"/>
                    </a:lnTo>
                    <a:lnTo>
                      <a:pt x="482" y="201"/>
                    </a:lnTo>
                    <a:lnTo>
                      <a:pt x="483" y="208"/>
                    </a:lnTo>
                    <a:lnTo>
                      <a:pt x="483" y="211"/>
                    </a:lnTo>
                    <a:lnTo>
                      <a:pt x="482" y="215"/>
                    </a:lnTo>
                    <a:lnTo>
                      <a:pt x="480" y="224"/>
                    </a:lnTo>
                    <a:lnTo>
                      <a:pt x="478" y="233"/>
                    </a:lnTo>
                    <a:lnTo>
                      <a:pt x="479" y="243"/>
                    </a:lnTo>
                    <a:lnTo>
                      <a:pt x="479" y="252"/>
                    </a:lnTo>
                    <a:lnTo>
                      <a:pt x="477" y="258"/>
                    </a:lnTo>
                    <a:lnTo>
                      <a:pt x="477" y="268"/>
                    </a:lnTo>
                    <a:lnTo>
                      <a:pt x="478" y="272"/>
                    </a:lnTo>
                    <a:lnTo>
                      <a:pt x="480" y="273"/>
                    </a:lnTo>
                    <a:lnTo>
                      <a:pt x="488" y="277"/>
                    </a:lnTo>
                    <a:lnTo>
                      <a:pt x="445" y="277"/>
                    </a:lnTo>
                    <a:lnTo>
                      <a:pt x="403" y="277"/>
                    </a:lnTo>
                    <a:lnTo>
                      <a:pt x="403" y="313"/>
                    </a:lnTo>
                    <a:lnTo>
                      <a:pt x="403" y="351"/>
                    </a:lnTo>
                    <a:lnTo>
                      <a:pt x="403" y="388"/>
                    </a:lnTo>
                    <a:lnTo>
                      <a:pt x="403" y="413"/>
                    </a:lnTo>
                    <a:lnTo>
                      <a:pt x="403" y="414"/>
                    </a:lnTo>
                    <a:lnTo>
                      <a:pt x="408" y="418"/>
                    </a:lnTo>
                    <a:lnTo>
                      <a:pt x="410" y="424"/>
                    </a:lnTo>
                    <a:lnTo>
                      <a:pt x="420" y="429"/>
                    </a:lnTo>
                    <a:lnTo>
                      <a:pt x="424" y="434"/>
                    </a:lnTo>
                    <a:lnTo>
                      <a:pt x="431" y="439"/>
                    </a:lnTo>
                    <a:lnTo>
                      <a:pt x="434" y="443"/>
                    </a:lnTo>
                    <a:lnTo>
                      <a:pt x="440" y="446"/>
                    </a:lnTo>
                    <a:lnTo>
                      <a:pt x="442" y="450"/>
                    </a:lnTo>
                    <a:lnTo>
                      <a:pt x="448" y="453"/>
                    </a:lnTo>
                    <a:lnTo>
                      <a:pt x="447" y="455"/>
                    </a:lnTo>
                    <a:lnTo>
                      <a:pt x="439" y="456"/>
                    </a:lnTo>
                    <a:lnTo>
                      <a:pt x="387" y="470"/>
                    </a:lnTo>
                    <a:lnTo>
                      <a:pt x="381" y="470"/>
                    </a:lnTo>
                    <a:lnTo>
                      <a:pt x="377" y="468"/>
                    </a:lnTo>
                    <a:lnTo>
                      <a:pt x="369" y="468"/>
                    </a:lnTo>
                    <a:lnTo>
                      <a:pt x="360" y="465"/>
                    </a:lnTo>
                    <a:lnTo>
                      <a:pt x="349" y="465"/>
                    </a:lnTo>
                    <a:lnTo>
                      <a:pt x="326" y="460"/>
                    </a:lnTo>
                    <a:lnTo>
                      <a:pt x="306" y="460"/>
                    </a:lnTo>
                    <a:lnTo>
                      <a:pt x="293" y="461"/>
                    </a:lnTo>
                    <a:lnTo>
                      <a:pt x="286" y="461"/>
                    </a:lnTo>
                    <a:lnTo>
                      <a:pt x="274" y="456"/>
                    </a:lnTo>
                    <a:lnTo>
                      <a:pt x="269" y="451"/>
                    </a:lnTo>
                    <a:lnTo>
                      <a:pt x="259" y="443"/>
                    </a:lnTo>
                    <a:lnTo>
                      <a:pt x="245" y="443"/>
                    </a:lnTo>
                    <a:lnTo>
                      <a:pt x="212" y="443"/>
                    </a:lnTo>
                    <a:lnTo>
                      <a:pt x="178" y="443"/>
                    </a:lnTo>
                    <a:lnTo>
                      <a:pt x="141" y="443"/>
                    </a:lnTo>
                    <a:lnTo>
                      <a:pt x="106" y="443"/>
                    </a:lnTo>
                    <a:lnTo>
                      <a:pt x="93" y="443"/>
                    </a:lnTo>
                    <a:lnTo>
                      <a:pt x="87" y="444"/>
                    </a:lnTo>
                    <a:lnTo>
                      <a:pt x="78" y="436"/>
                    </a:lnTo>
                    <a:lnTo>
                      <a:pt x="70" y="433"/>
                    </a:lnTo>
                    <a:lnTo>
                      <a:pt x="66" y="427"/>
                    </a:lnTo>
                    <a:lnTo>
                      <a:pt x="59" y="425"/>
                    </a:lnTo>
                    <a:lnTo>
                      <a:pt x="43" y="425"/>
                    </a:lnTo>
                    <a:lnTo>
                      <a:pt x="36" y="428"/>
                    </a:lnTo>
                    <a:lnTo>
                      <a:pt x="28" y="434"/>
                    </a:lnTo>
                    <a:lnTo>
                      <a:pt x="25" y="437"/>
                    </a:lnTo>
                    <a:lnTo>
                      <a:pt x="18" y="433"/>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32" name="Freeform 128"/>
              <p:cNvSpPr>
                <a:spLocks/>
              </p:cNvSpPr>
              <p:nvPr/>
            </p:nvSpPr>
            <p:spPr bwMode="auto">
              <a:xfrm>
                <a:off x="2100" y="3243"/>
                <a:ext cx="391" cy="365"/>
              </a:xfrm>
              <a:custGeom>
                <a:avLst/>
                <a:gdLst>
                  <a:gd name="T0" fmla="*/ 33283 w 365"/>
                  <a:gd name="T1" fmla="*/ 3796 h 348"/>
                  <a:gd name="T2" fmla="*/ 34135 w 365"/>
                  <a:gd name="T3" fmla="*/ 3981 h 348"/>
                  <a:gd name="T4" fmla="*/ 32390 w 365"/>
                  <a:gd name="T5" fmla="*/ 4214 h 348"/>
                  <a:gd name="T6" fmla="*/ 28991 w 365"/>
                  <a:gd name="T7" fmla="*/ 4680 h 348"/>
                  <a:gd name="T8" fmla="*/ 26333 w 365"/>
                  <a:gd name="T9" fmla="*/ 5187 h 348"/>
                  <a:gd name="T10" fmla="*/ 24354 w 365"/>
                  <a:gd name="T11" fmla="*/ 5811 h 348"/>
                  <a:gd name="T12" fmla="*/ 21706 w 365"/>
                  <a:gd name="T13" fmla="*/ 6386 h 348"/>
                  <a:gd name="T14" fmla="*/ 20377 w 365"/>
                  <a:gd name="T15" fmla="*/ 6947 h 348"/>
                  <a:gd name="T16" fmla="*/ 19193 w 365"/>
                  <a:gd name="T17" fmla="*/ 7033 h 348"/>
                  <a:gd name="T18" fmla="*/ 16484 w 365"/>
                  <a:gd name="T19" fmla="*/ 7120 h 348"/>
                  <a:gd name="T20" fmla="*/ 14166 w 365"/>
                  <a:gd name="T21" fmla="*/ 6819 h 348"/>
                  <a:gd name="T22" fmla="*/ 12345 w 365"/>
                  <a:gd name="T23" fmla="*/ 6848 h 348"/>
                  <a:gd name="T24" fmla="*/ 10758 w 365"/>
                  <a:gd name="T25" fmla="*/ 7284 h 348"/>
                  <a:gd name="T26" fmla="*/ 9928 w 365"/>
                  <a:gd name="T27" fmla="*/ 7534 h 348"/>
                  <a:gd name="T28" fmla="*/ 8756 w 365"/>
                  <a:gd name="T29" fmla="*/ 7763 h 348"/>
                  <a:gd name="T30" fmla="*/ 5794 w 365"/>
                  <a:gd name="T31" fmla="*/ 8142 h 348"/>
                  <a:gd name="T32" fmla="*/ 3712 w 365"/>
                  <a:gd name="T33" fmla="*/ 8106 h 348"/>
                  <a:gd name="T34" fmla="*/ 2632 w 365"/>
                  <a:gd name="T35" fmla="*/ 7868 h 348"/>
                  <a:gd name="T36" fmla="*/ 3465 w 365"/>
                  <a:gd name="T37" fmla="*/ 7401 h 348"/>
                  <a:gd name="T38" fmla="*/ 3235 w 365"/>
                  <a:gd name="T39" fmla="*/ 7070 h 348"/>
                  <a:gd name="T40" fmla="*/ 2064 w 365"/>
                  <a:gd name="T41" fmla="*/ 6727 h 348"/>
                  <a:gd name="T42" fmla="*/ 788 w 365"/>
                  <a:gd name="T43" fmla="*/ 6414 h 348"/>
                  <a:gd name="T44" fmla="*/ 3 w 365"/>
                  <a:gd name="T45" fmla="*/ 6232 h 348"/>
                  <a:gd name="T46" fmla="*/ 0 w 365"/>
                  <a:gd name="T47" fmla="*/ 5473 h 348"/>
                  <a:gd name="T48" fmla="*/ 0 w 365"/>
                  <a:gd name="T49" fmla="*/ 3796 h 348"/>
                  <a:gd name="T50" fmla="*/ 3712 w 365"/>
                  <a:gd name="T51" fmla="*/ 3180 h 348"/>
                  <a:gd name="T52" fmla="*/ 3712 w 365"/>
                  <a:gd name="T53" fmla="*/ 1465 h 348"/>
                  <a:gd name="T54" fmla="*/ 3976 w 365"/>
                  <a:gd name="T55" fmla="*/ 522 h 348"/>
                  <a:gd name="T56" fmla="*/ 10347 w 365"/>
                  <a:gd name="T57" fmla="*/ 282 h 348"/>
                  <a:gd name="T58" fmla="*/ 11969 w 365"/>
                  <a:gd name="T59" fmla="*/ 296 h 348"/>
                  <a:gd name="T60" fmla="*/ 13042 w 365"/>
                  <a:gd name="T61" fmla="*/ 475 h 348"/>
                  <a:gd name="T62" fmla="*/ 13735 w 365"/>
                  <a:gd name="T63" fmla="*/ 603 h 348"/>
                  <a:gd name="T64" fmla="*/ 15388 w 365"/>
                  <a:gd name="T65" fmla="*/ 296 h 348"/>
                  <a:gd name="T66" fmla="*/ 17414 w 365"/>
                  <a:gd name="T67" fmla="*/ 4 h 348"/>
                  <a:gd name="T68" fmla="*/ 18667 w 365"/>
                  <a:gd name="T69" fmla="*/ 0 h 348"/>
                  <a:gd name="T70" fmla="*/ 19193 w 365"/>
                  <a:gd name="T71" fmla="*/ 7 h 348"/>
                  <a:gd name="T72" fmla="*/ 20263 w 365"/>
                  <a:gd name="T73" fmla="*/ 575 h 348"/>
                  <a:gd name="T74" fmla="*/ 21087 w 365"/>
                  <a:gd name="T75" fmla="*/ 921 h 348"/>
                  <a:gd name="T76" fmla="*/ 22233 w 365"/>
                  <a:gd name="T77" fmla="*/ 1420 h 348"/>
                  <a:gd name="T78" fmla="*/ 25275 w 365"/>
                  <a:gd name="T79" fmla="*/ 1982 h 348"/>
                  <a:gd name="T80" fmla="*/ 26834 w 365"/>
                  <a:gd name="T81" fmla="*/ 2362 h 348"/>
                  <a:gd name="T82" fmla="*/ 28518 w 365"/>
                  <a:gd name="T83" fmla="*/ 2517 h 348"/>
                  <a:gd name="T84" fmla="*/ 28745 w 365"/>
                  <a:gd name="T85" fmla="*/ 3180 h 348"/>
                  <a:gd name="T86" fmla="*/ 29593 w 365"/>
                  <a:gd name="T87" fmla="*/ 3488 h 348"/>
                  <a:gd name="T88" fmla="*/ 31057 w 365"/>
                  <a:gd name="T89" fmla="*/ 3628 h 348"/>
                  <a:gd name="T90" fmla="*/ 32819 w 365"/>
                  <a:gd name="T91" fmla="*/ 3715 h 34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5"/>
                  <a:gd name="T139" fmla="*/ 0 h 348"/>
                  <a:gd name="T140" fmla="*/ 365 w 365"/>
                  <a:gd name="T141" fmla="*/ 348 h 34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5" h="348">
                    <a:moveTo>
                      <a:pt x="350" y="160"/>
                    </a:moveTo>
                    <a:lnTo>
                      <a:pt x="356" y="162"/>
                    </a:lnTo>
                    <a:lnTo>
                      <a:pt x="365" y="168"/>
                    </a:lnTo>
                    <a:lnTo>
                      <a:pt x="363" y="170"/>
                    </a:lnTo>
                    <a:lnTo>
                      <a:pt x="355" y="173"/>
                    </a:lnTo>
                    <a:lnTo>
                      <a:pt x="346" y="180"/>
                    </a:lnTo>
                    <a:lnTo>
                      <a:pt x="319" y="191"/>
                    </a:lnTo>
                    <a:lnTo>
                      <a:pt x="308" y="202"/>
                    </a:lnTo>
                    <a:lnTo>
                      <a:pt x="294" y="210"/>
                    </a:lnTo>
                    <a:lnTo>
                      <a:pt x="281" y="223"/>
                    </a:lnTo>
                    <a:lnTo>
                      <a:pt x="272" y="232"/>
                    </a:lnTo>
                    <a:lnTo>
                      <a:pt x="260" y="249"/>
                    </a:lnTo>
                    <a:lnTo>
                      <a:pt x="241" y="262"/>
                    </a:lnTo>
                    <a:lnTo>
                      <a:pt x="231" y="273"/>
                    </a:lnTo>
                    <a:lnTo>
                      <a:pt x="221" y="295"/>
                    </a:lnTo>
                    <a:lnTo>
                      <a:pt x="217" y="299"/>
                    </a:lnTo>
                    <a:lnTo>
                      <a:pt x="211" y="301"/>
                    </a:lnTo>
                    <a:lnTo>
                      <a:pt x="204" y="301"/>
                    </a:lnTo>
                    <a:lnTo>
                      <a:pt x="186" y="306"/>
                    </a:lnTo>
                    <a:lnTo>
                      <a:pt x="176" y="305"/>
                    </a:lnTo>
                    <a:lnTo>
                      <a:pt x="159" y="296"/>
                    </a:lnTo>
                    <a:lnTo>
                      <a:pt x="151" y="293"/>
                    </a:lnTo>
                    <a:lnTo>
                      <a:pt x="142" y="292"/>
                    </a:lnTo>
                    <a:lnTo>
                      <a:pt x="132" y="295"/>
                    </a:lnTo>
                    <a:lnTo>
                      <a:pt x="120" y="306"/>
                    </a:lnTo>
                    <a:lnTo>
                      <a:pt x="115" y="313"/>
                    </a:lnTo>
                    <a:lnTo>
                      <a:pt x="113" y="317"/>
                    </a:lnTo>
                    <a:lnTo>
                      <a:pt x="106" y="324"/>
                    </a:lnTo>
                    <a:lnTo>
                      <a:pt x="98" y="329"/>
                    </a:lnTo>
                    <a:lnTo>
                      <a:pt x="94" y="332"/>
                    </a:lnTo>
                    <a:lnTo>
                      <a:pt x="88" y="343"/>
                    </a:lnTo>
                    <a:lnTo>
                      <a:pt x="63" y="348"/>
                    </a:lnTo>
                    <a:lnTo>
                      <a:pt x="50" y="348"/>
                    </a:lnTo>
                    <a:lnTo>
                      <a:pt x="40" y="346"/>
                    </a:lnTo>
                    <a:lnTo>
                      <a:pt x="33" y="344"/>
                    </a:lnTo>
                    <a:lnTo>
                      <a:pt x="29" y="339"/>
                    </a:lnTo>
                    <a:lnTo>
                      <a:pt x="35" y="326"/>
                    </a:lnTo>
                    <a:lnTo>
                      <a:pt x="37" y="317"/>
                    </a:lnTo>
                    <a:lnTo>
                      <a:pt x="37" y="314"/>
                    </a:lnTo>
                    <a:lnTo>
                      <a:pt x="35" y="303"/>
                    </a:lnTo>
                    <a:lnTo>
                      <a:pt x="30" y="295"/>
                    </a:lnTo>
                    <a:lnTo>
                      <a:pt x="22" y="288"/>
                    </a:lnTo>
                    <a:lnTo>
                      <a:pt x="18" y="282"/>
                    </a:lnTo>
                    <a:lnTo>
                      <a:pt x="8" y="275"/>
                    </a:lnTo>
                    <a:lnTo>
                      <a:pt x="8" y="273"/>
                    </a:lnTo>
                    <a:lnTo>
                      <a:pt x="3" y="269"/>
                    </a:lnTo>
                    <a:lnTo>
                      <a:pt x="0" y="269"/>
                    </a:lnTo>
                    <a:lnTo>
                      <a:pt x="0" y="235"/>
                    </a:lnTo>
                    <a:lnTo>
                      <a:pt x="0" y="197"/>
                    </a:lnTo>
                    <a:lnTo>
                      <a:pt x="0" y="162"/>
                    </a:lnTo>
                    <a:lnTo>
                      <a:pt x="40" y="162"/>
                    </a:lnTo>
                    <a:lnTo>
                      <a:pt x="40" y="137"/>
                    </a:lnTo>
                    <a:lnTo>
                      <a:pt x="40" y="99"/>
                    </a:lnTo>
                    <a:lnTo>
                      <a:pt x="40" y="63"/>
                    </a:lnTo>
                    <a:lnTo>
                      <a:pt x="40" y="27"/>
                    </a:lnTo>
                    <a:lnTo>
                      <a:pt x="43" y="24"/>
                    </a:lnTo>
                    <a:lnTo>
                      <a:pt x="99" y="14"/>
                    </a:lnTo>
                    <a:lnTo>
                      <a:pt x="110" y="11"/>
                    </a:lnTo>
                    <a:lnTo>
                      <a:pt x="115" y="11"/>
                    </a:lnTo>
                    <a:lnTo>
                      <a:pt x="128" y="12"/>
                    </a:lnTo>
                    <a:lnTo>
                      <a:pt x="135" y="15"/>
                    </a:lnTo>
                    <a:lnTo>
                      <a:pt x="139" y="22"/>
                    </a:lnTo>
                    <a:lnTo>
                      <a:pt x="142" y="33"/>
                    </a:lnTo>
                    <a:lnTo>
                      <a:pt x="147" y="27"/>
                    </a:lnTo>
                    <a:lnTo>
                      <a:pt x="152" y="20"/>
                    </a:lnTo>
                    <a:lnTo>
                      <a:pt x="164" y="12"/>
                    </a:lnTo>
                    <a:lnTo>
                      <a:pt x="183" y="8"/>
                    </a:lnTo>
                    <a:lnTo>
                      <a:pt x="186" y="4"/>
                    </a:lnTo>
                    <a:lnTo>
                      <a:pt x="191" y="0"/>
                    </a:lnTo>
                    <a:lnTo>
                      <a:pt x="200" y="0"/>
                    </a:lnTo>
                    <a:lnTo>
                      <a:pt x="204" y="1"/>
                    </a:lnTo>
                    <a:lnTo>
                      <a:pt x="204" y="7"/>
                    </a:lnTo>
                    <a:lnTo>
                      <a:pt x="206" y="11"/>
                    </a:lnTo>
                    <a:lnTo>
                      <a:pt x="216" y="26"/>
                    </a:lnTo>
                    <a:lnTo>
                      <a:pt x="222" y="32"/>
                    </a:lnTo>
                    <a:lnTo>
                      <a:pt x="224" y="40"/>
                    </a:lnTo>
                    <a:lnTo>
                      <a:pt x="228" y="50"/>
                    </a:lnTo>
                    <a:lnTo>
                      <a:pt x="238" y="62"/>
                    </a:lnTo>
                    <a:lnTo>
                      <a:pt x="259" y="82"/>
                    </a:lnTo>
                    <a:lnTo>
                      <a:pt x="270" y="86"/>
                    </a:lnTo>
                    <a:lnTo>
                      <a:pt x="280" y="91"/>
                    </a:lnTo>
                    <a:lnTo>
                      <a:pt x="286" y="101"/>
                    </a:lnTo>
                    <a:lnTo>
                      <a:pt x="296" y="104"/>
                    </a:lnTo>
                    <a:lnTo>
                      <a:pt x="303" y="109"/>
                    </a:lnTo>
                    <a:lnTo>
                      <a:pt x="303" y="124"/>
                    </a:lnTo>
                    <a:lnTo>
                      <a:pt x="306" y="137"/>
                    </a:lnTo>
                    <a:lnTo>
                      <a:pt x="310" y="145"/>
                    </a:lnTo>
                    <a:lnTo>
                      <a:pt x="315" y="150"/>
                    </a:lnTo>
                    <a:lnTo>
                      <a:pt x="322" y="154"/>
                    </a:lnTo>
                    <a:lnTo>
                      <a:pt x="331" y="155"/>
                    </a:lnTo>
                    <a:lnTo>
                      <a:pt x="340" y="155"/>
                    </a:lnTo>
                    <a:lnTo>
                      <a:pt x="350" y="160"/>
                    </a:lnTo>
                    <a:close/>
                  </a:path>
                </a:pathLst>
              </a:custGeom>
              <a:solidFill>
                <a:srgbClr val="1737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3" name="Freeform 129"/>
              <p:cNvSpPr>
                <a:spLocks/>
              </p:cNvSpPr>
              <p:nvPr/>
            </p:nvSpPr>
            <p:spPr bwMode="auto">
              <a:xfrm>
                <a:off x="2100" y="3243"/>
                <a:ext cx="391" cy="365"/>
              </a:xfrm>
              <a:custGeom>
                <a:avLst/>
                <a:gdLst>
                  <a:gd name="T0" fmla="*/ 33283 w 365"/>
                  <a:gd name="T1" fmla="*/ 3796 h 348"/>
                  <a:gd name="T2" fmla="*/ 34135 w 365"/>
                  <a:gd name="T3" fmla="*/ 3981 h 348"/>
                  <a:gd name="T4" fmla="*/ 32390 w 365"/>
                  <a:gd name="T5" fmla="*/ 4214 h 348"/>
                  <a:gd name="T6" fmla="*/ 28991 w 365"/>
                  <a:gd name="T7" fmla="*/ 4680 h 348"/>
                  <a:gd name="T8" fmla="*/ 26333 w 365"/>
                  <a:gd name="T9" fmla="*/ 5187 h 348"/>
                  <a:gd name="T10" fmla="*/ 24354 w 365"/>
                  <a:gd name="T11" fmla="*/ 5811 h 348"/>
                  <a:gd name="T12" fmla="*/ 21706 w 365"/>
                  <a:gd name="T13" fmla="*/ 6386 h 348"/>
                  <a:gd name="T14" fmla="*/ 20377 w 365"/>
                  <a:gd name="T15" fmla="*/ 6947 h 348"/>
                  <a:gd name="T16" fmla="*/ 19193 w 365"/>
                  <a:gd name="T17" fmla="*/ 7033 h 348"/>
                  <a:gd name="T18" fmla="*/ 16484 w 365"/>
                  <a:gd name="T19" fmla="*/ 7120 h 348"/>
                  <a:gd name="T20" fmla="*/ 14166 w 365"/>
                  <a:gd name="T21" fmla="*/ 6819 h 348"/>
                  <a:gd name="T22" fmla="*/ 12345 w 365"/>
                  <a:gd name="T23" fmla="*/ 6848 h 348"/>
                  <a:gd name="T24" fmla="*/ 10758 w 365"/>
                  <a:gd name="T25" fmla="*/ 7284 h 348"/>
                  <a:gd name="T26" fmla="*/ 9928 w 365"/>
                  <a:gd name="T27" fmla="*/ 7534 h 348"/>
                  <a:gd name="T28" fmla="*/ 8756 w 365"/>
                  <a:gd name="T29" fmla="*/ 7763 h 348"/>
                  <a:gd name="T30" fmla="*/ 5794 w 365"/>
                  <a:gd name="T31" fmla="*/ 8142 h 348"/>
                  <a:gd name="T32" fmla="*/ 3712 w 365"/>
                  <a:gd name="T33" fmla="*/ 8106 h 348"/>
                  <a:gd name="T34" fmla="*/ 2632 w 365"/>
                  <a:gd name="T35" fmla="*/ 7868 h 348"/>
                  <a:gd name="T36" fmla="*/ 3465 w 365"/>
                  <a:gd name="T37" fmla="*/ 7401 h 348"/>
                  <a:gd name="T38" fmla="*/ 3235 w 365"/>
                  <a:gd name="T39" fmla="*/ 7070 h 348"/>
                  <a:gd name="T40" fmla="*/ 2064 w 365"/>
                  <a:gd name="T41" fmla="*/ 6727 h 348"/>
                  <a:gd name="T42" fmla="*/ 788 w 365"/>
                  <a:gd name="T43" fmla="*/ 6414 h 348"/>
                  <a:gd name="T44" fmla="*/ 3 w 365"/>
                  <a:gd name="T45" fmla="*/ 6232 h 348"/>
                  <a:gd name="T46" fmla="*/ 0 w 365"/>
                  <a:gd name="T47" fmla="*/ 5473 h 348"/>
                  <a:gd name="T48" fmla="*/ 0 w 365"/>
                  <a:gd name="T49" fmla="*/ 3796 h 348"/>
                  <a:gd name="T50" fmla="*/ 3712 w 365"/>
                  <a:gd name="T51" fmla="*/ 3180 h 348"/>
                  <a:gd name="T52" fmla="*/ 3712 w 365"/>
                  <a:gd name="T53" fmla="*/ 1465 h 348"/>
                  <a:gd name="T54" fmla="*/ 3976 w 365"/>
                  <a:gd name="T55" fmla="*/ 522 h 348"/>
                  <a:gd name="T56" fmla="*/ 10347 w 365"/>
                  <a:gd name="T57" fmla="*/ 282 h 348"/>
                  <a:gd name="T58" fmla="*/ 11969 w 365"/>
                  <a:gd name="T59" fmla="*/ 296 h 348"/>
                  <a:gd name="T60" fmla="*/ 13042 w 365"/>
                  <a:gd name="T61" fmla="*/ 475 h 348"/>
                  <a:gd name="T62" fmla="*/ 13735 w 365"/>
                  <a:gd name="T63" fmla="*/ 603 h 348"/>
                  <a:gd name="T64" fmla="*/ 15388 w 365"/>
                  <a:gd name="T65" fmla="*/ 296 h 348"/>
                  <a:gd name="T66" fmla="*/ 17414 w 365"/>
                  <a:gd name="T67" fmla="*/ 4 h 348"/>
                  <a:gd name="T68" fmla="*/ 18667 w 365"/>
                  <a:gd name="T69" fmla="*/ 0 h 348"/>
                  <a:gd name="T70" fmla="*/ 19193 w 365"/>
                  <a:gd name="T71" fmla="*/ 7 h 348"/>
                  <a:gd name="T72" fmla="*/ 20263 w 365"/>
                  <a:gd name="T73" fmla="*/ 575 h 348"/>
                  <a:gd name="T74" fmla="*/ 21087 w 365"/>
                  <a:gd name="T75" fmla="*/ 921 h 348"/>
                  <a:gd name="T76" fmla="*/ 22233 w 365"/>
                  <a:gd name="T77" fmla="*/ 1420 h 348"/>
                  <a:gd name="T78" fmla="*/ 25275 w 365"/>
                  <a:gd name="T79" fmla="*/ 1982 h 348"/>
                  <a:gd name="T80" fmla="*/ 26834 w 365"/>
                  <a:gd name="T81" fmla="*/ 2362 h 348"/>
                  <a:gd name="T82" fmla="*/ 28518 w 365"/>
                  <a:gd name="T83" fmla="*/ 2517 h 348"/>
                  <a:gd name="T84" fmla="*/ 28745 w 365"/>
                  <a:gd name="T85" fmla="*/ 3180 h 348"/>
                  <a:gd name="T86" fmla="*/ 29593 w 365"/>
                  <a:gd name="T87" fmla="*/ 3488 h 348"/>
                  <a:gd name="T88" fmla="*/ 31057 w 365"/>
                  <a:gd name="T89" fmla="*/ 3628 h 348"/>
                  <a:gd name="T90" fmla="*/ 32819 w 365"/>
                  <a:gd name="T91" fmla="*/ 3715 h 34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5"/>
                  <a:gd name="T139" fmla="*/ 0 h 348"/>
                  <a:gd name="T140" fmla="*/ 365 w 365"/>
                  <a:gd name="T141" fmla="*/ 348 h 34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5" h="348">
                    <a:moveTo>
                      <a:pt x="350" y="160"/>
                    </a:moveTo>
                    <a:lnTo>
                      <a:pt x="356" y="162"/>
                    </a:lnTo>
                    <a:lnTo>
                      <a:pt x="365" y="168"/>
                    </a:lnTo>
                    <a:lnTo>
                      <a:pt x="363" y="170"/>
                    </a:lnTo>
                    <a:lnTo>
                      <a:pt x="355" y="173"/>
                    </a:lnTo>
                    <a:lnTo>
                      <a:pt x="346" y="180"/>
                    </a:lnTo>
                    <a:lnTo>
                      <a:pt x="319" y="191"/>
                    </a:lnTo>
                    <a:lnTo>
                      <a:pt x="308" y="202"/>
                    </a:lnTo>
                    <a:lnTo>
                      <a:pt x="294" y="210"/>
                    </a:lnTo>
                    <a:lnTo>
                      <a:pt x="281" y="223"/>
                    </a:lnTo>
                    <a:lnTo>
                      <a:pt x="272" y="232"/>
                    </a:lnTo>
                    <a:lnTo>
                      <a:pt x="260" y="249"/>
                    </a:lnTo>
                    <a:lnTo>
                      <a:pt x="241" y="262"/>
                    </a:lnTo>
                    <a:lnTo>
                      <a:pt x="231" y="273"/>
                    </a:lnTo>
                    <a:lnTo>
                      <a:pt x="221" y="295"/>
                    </a:lnTo>
                    <a:lnTo>
                      <a:pt x="217" y="299"/>
                    </a:lnTo>
                    <a:lnTo>
                      <a:pt x="211" y="301"/>
                    </a:lnTo>
                    <a:lnTo>
                      <a:pt x="204" y="301"/>
                    </a:lnTo>
                    <a:lnTo>
                      <a:pt x="186" y="306"/>
                    </a:lnTo>
                    <a:lnTo>
                      <a:pt x="176" y="305"/>
                    </a:lnTo>
                    <a:lnTo>
                      <a:pt x="159" y="296"/>
                    </a:lnTo>
                    <a:lnTo>
                      <a:pt x="151" y="293"/>
                    </a:lnTo>
                    <a:lnTo>
                      <a:pt x="142" y="292"/>
                    </a:lnTo>
                    <a:lnTo>
                      <a:pt x="132" y="295"/>
                    </a:lnTo>
                    <a:lnTo>
                      <a:pt x="120" y="306"/>
                    </a:lnTo>
                    <a:lnTo>
                      <a:pt x="115" y="313"/>
                    </a:lnTo>
                    <a:lnTo>
                      <a:pt x="113" y="317"/>
                    </a:lnTo>
                    <a:lnTo>
                      <a:pt x="106" y="324"/>
                    </a:lnTo>
                    <a:lnTo>
                      <a:pt x="98" y="329"/>
                    </a:lnTo>
                    <a:lnTo>
                      <a:pt x="94" y="332"/>
                    </a:lnTo>
                    <a:lnTo>
                      <a:pt x="88" y="343"/>
                    </a:lnTo>
                    <a:lnTo>
                      <a:pt x="63" y="348"/>
                    </a:lnTo>
                    <a:lnTo>
                      <a:pt x="50" y="348"/>
                    </a:lnTo>
                    <a:lnTo>
                      <a:pt x="40" y="346"/>
                    </a:lnTo>
                    <a:lnTo>
                      <a:pt x="33" y="344"/>
                    </a:lnTo>
                    <a:lnTo>
                      <a:pt x="29" y="339"/>
                    </a:lnTo>
                    <a:lnTo>
                      <a:pt x="35" y="326"/>
                    </a:lnTo>
                    <a:lnTo>
                      <a:pt x="37" y="317"/>
                    </a:lnTo>
                    <a:lnTo>
                      <a:pt x="37" y="314"/>
                    </a:lnTo>
                    <a:lnTo>
                      <a:pt x="35" y="303"/>
                    </a:lnTo>
                    <a:lnTo>
                      <a:pt x="30" y="295"/>
                    </a:lnTo>
                    <a:lnTo>
                      <a:pt x="22" y="288"/>
                    </a:lnTo>
                    <a:lnTo>
                      <a:pt x="18" y="282"/>
                    </a:lnTo>
                    <a:lnTo>
                      <a:pt x="8" y="275"/>
                    </a:lnTo>
                    <a:lnTo>
                      <a:pt x="8" y="273"/>
                    </a:lnTo>
                    <a:lnTo>
                      <a:pt x="3" y="269"/>
                    </a:lnTo>
                    <a:lnTo>
                      <a:pt x="0" y="269"/>
                    </a:lnTo>
                    <a:lnTo>
                      <a:pt x="0" y="235"/>
                    </a:lnTo>
                    <a:lnTo>
                      <a:pt x="0" y="197"/>
                    </a:lnTo>
                    <a:lnTo>
                      <a:pt x="0" y="162"/>
                    </a:lnTo>
                    <a:lnTo>
                      <a:pt x="40" y="162"/>
                    </a:lnTo>
                    <a:lnTo>
                      <a:pt x="40" y="137"/>
                    </a:lnTo>
                    <a:lnTo>
                      <a:pt x="40" y="99"/>
                    </a:lnTo>
                    <a:lnTo>
                      <a:pt x="40" y="63"/>
                    </a:lnTo>
                    <a:lnTo>
                      <a:pt x="40" y="27"/>
                    </a:lnTo>
                    <a:lnTo>
                      <a:pt x="43" y="24"/>
                    </a:lnTo>
                    <a:lnTo>
                      <a:pt x="99" y="14"/>
                    </a:lnTo>
                    <a:lnTo>
                      <a:pt x="110" y="11"/>
                    </a:lnTo>
                    <a:lnTo>
                      <a:pt x="115" y="11"/>
                    </a:lnTo>
                    <a:lnTo>
                      <a:pt x="128" y="12"/>
                    </a:lnTo>
                    <a:lnTo>
                      <a:pt x="135" y="15"/>
                    </a:lnTo>
                    <a:lnTo>
                      <a:pt x="139" y="22"/>
                    </a:lnTo>
                    <a:lnTo>
                      <a:pt x="142" y="33"/>
                    </a:lnTo>
                    <a:lnTo>
                      <a:pt x="147" y="27"/>
                    </a:lnTo>
                    <a:lnTo>
                      <a:pt x="152" y="20"/>
                    </a:lnTo>
                    <a:lnTo>
                      <a:pt x="164" y="12"/>
                    </a:lnTo>
                    <a:lnTo>
                      <a:pt x="183" y="8"/>
                    </a:lnTo>
                    <a:lnTo>
                      <a:pt x="186" y="4"/>
                    </a:lnTo>
                    <a:lnTo>
                      <a:pt x="191" y="0"/>
                    </a:lnTo>
                    <a:lnTo>
                      <a:pt x="200" y="0"/>
                    </a:lnTo>
                    <a:lnTo>
                      <a:pt x="204" y="1"/>
                    </a:lnTo>
                    <a:lnTo>
                      <a:pt x="204" y="7"/>
                    </a:lnTo>
                    <a:lnTo>
                      <a:pt x="206" y="11"/>
                    </a:lnTo>
                    <a:lnTo>
                      <a:pt x="216" y="26"/>
                    </a:lnTo>
                    <a:lnTo>
                      <a:pt x="222" y="32"/>
                    </a:lnTo>
                    <a:lnTo>
                      <a:pt x="224" y="40"/>
                    </a:lnTo>
                    <a:lnTo>
                      <a:pt x="228" y="50"/>
                    </a:lnTo>
                    <a:lnTo>
                      <a:pt x="238" y="62"/>
                    </a:lnTo>
                    <a:lnTo>
                      <a:pt x="259" y="82"/>
                    </a:lnTo>
                    <a:lnTo>
                      <a:pt x="270" y="86"/>
                    </a:lnTo>
                    <a:lnTo>
                      <a:pt x="280" y="91"/>
                    </a:lnTo>
                    <a:lnTo>
                      <a:pt x="286" y="101"/>
                    </a:lnTo>
                    <a:lnTo>
                      <a:pt x="296" y="104"/>
                    </a:lnTo>
                    <a:lnTo>
                      <a:pt x="303" y="109"/>
                    </a:lnTo>
                    <a:lnTo>
                      <a:pt x="303" y="124"/>
                    </a:lnTo>
                    <a:lnTo>
                      <a:pt x="306" y="137"/>
                    </a:lnTo>
                    <a:lnTo>
                      <a:pt x="310" y="145"/>
                    </a:lnTo>
                    <a:lnTo>
                      <a:pt x="315" y="150"/>
                    </a:lnTo>
                    <a:lnTo>
                      <a:pt x="322" y="154"/>
                    </a:lnTo>
                    <a:lnTo>
                      <a:pt x="331" y="155"/>
                    </a:lnTo>
                    <a:lnTo>
                      <a:pt x="340" y="155"/>
                    </a:lnTo>
                    <a:lnTo>
                      <a:pt x="350" y="16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34" name="Freeform 130"/>
              <p:cNvSpPr>
                <a:spLocks/>
              </p:cNvSpPr>
              <p:nvPr/>
            </p:nvSpPr>
            <p:spPr bwMode="auto">
              <a:xfrm>
                <a:off x="1758" y="3208"/>
                <a:ext cx="557" cy="490"/>
              </a:xfrm>
              <a:custGeom>
                <a:avLst/>
                <a:gdLst>
                  <a:gd name="T0" fmla="*/ 15414 w 521"/>
                  <a:gd name="T1" fmla="*/ 10818 h 467"/>
                  <a:gd name="T2" fmla="*/ 14292 w 521"/>
                  <a:gd name="T3" fmla="*/ 10579 h 467"/>
                  <a:gd name="T4" fmla="*/ 12504 w 521"/>
                  <a:gd name="T5" fmla="*/ 10060 h 467"/>
                  <a:gd name="T6" fmla="*/ 11015 w 521"/>
                  <a:gd name="T7" fmla="*/ 9163 h 467"/>
                  <a:gd name="T8" fmla="*/ 10455 w 521"/>
                  <a:gd name="T9" fmla="*/ 8709 h 467"/>
                  <a:gd name="T10" fmla="*/ 10135 w 521"/>
                  <a:gd name="T11" fmla="*/ 8124 h 467"/>
                  <a:gd name="T12" fmla="*/ 9946 w 521"/>
                  <a:gd name="T13" fmla="*/ 7492 h 467"/>
                  <a:gd name="T14" fmla="*/ 9032 w 521"/>
                  <a:gd name="T15" fmla="*/ 6863 h 467"/>
                  <a:gd name="T16" fmla="*/ 8712 w 521"/>
                  <a:gd name="T17" fmla="*/ 5853 h 467"/>
                  <a:gd name="T18" fmla="*/ 8712 w 521"/>
                  <a:gd name="T19" fmla="*/ 5186 h 467"/>
                  <a:gd name="T20" fmla="*/ 6913 w 521"/>
                  <a:gd name="T21" fmla="*/ 4448 h 467"/>
                  <a:gd name="T22" fmla="*/ 5657 w 521"/>
                  <a:gd name="T23" fmla="*/ 3823 h 467"/>
                  <a:gd name="T24" fmla="*/ 4774 w 521"/>
                  <a:gd name="T25" fmla="*/ 3349 h 467"/>
                  <a:gd name="T26" fmla="*/ 3654 w 521"/>
                  <a:gd name="T27" fmla="*/ 2680 h 467"/>
                  <a:gd name="T28" fmla="*/ 2713 w 521"/>
                  <a:gd name="T29" fmla="*/ 2219 h 467"/>
                  <a:gd name="T30" fmla="*/ 1945 w 521"/>
                  <a:gd name="T31" fmla="*/ 1875 h 467"/>
                  <a:gd name="T32" fmla="*/ 932 w 521"/>
                  <a:gd name="T33" fmla="*/ 1578 h 467"/>
                  <a:gd name="T34" fmla="*/ 4 w 521"/>
                  <a:gd name="T35" fmla="*/ 980 h 467"/>
                  <a:gd name="T36" fmla="*/ 0 w 521"/>
                  <a:gd name="T37" fmla="*/ 374 h 467"/>
                  <a:gd name="T38" fmla="*/ 1945 w 521"/>
                  <a:gd name="T39" fmla="*/ 294 h 467"/>
                  <a:gd name="T40" fmla="*/ 3418 w 521"/>
                  <a:gd name="T41" fmla="*/ 0 h 467"/>
                  <a:gd name="T42" fmla="*/ 5666 w 521"/>
                  <a:gd name="T43" fmla="*/ 6 h 467"/>
                  <a:gd name="T44" fmla="*/ 7614 w 521"/>
                  <a:gd name="T45" fmla="*/ 374 h 467"/>
                  <a:gd name="T46" fmla="*/ 14448 w 521"/>
                  <a:gd name="T47" fmla="*/ 374 h 467"/>
                  <a:gd name="T48" fmla="*/ 21341 w 521"/>
                  <a:gd name="T49" fmla="*/ 374 h 467"/>
                  <a:gd name="T50" fmla="*/ 23659 w 521"/>
                  <a:gd name="T51" fmla="*/ 844 h 467"/>
                  <a:gd name="T52" fmla="*/ 26897 w 521"/>
                  <a:gd name="T53" fmla="*/ 804 h 467"/>
                  <a:gd name="T54" fmla="*/ 30429 w 521"/>
                  <a:gd name="T55" fmla="*/ 980 h 467"/>
                  <a:gd name="T56" fmla="*/ 31897 w 521"/>
                  <a:gd name="T57" fmla="*/ 1028 h 467"/>
                  <a:gd name="T58" fmla="*/ 36817 w 521"/>
                  <a:gd name="T59" fmla="*/ 632 h 467"/>
                  <a:gd name="T60" fmla="*/ 40023 w 521"/>
                  <a:gd name="T61" fmla="*/ 497 h 467"/>
                  <a:gd name="T62" fmla="*/ 42350 w 521"/>
                  <a:gd name="T63" fmla="*/ 574 h 467"/>
                  <a:gd name="T64" fmla="*/ 41632 w 521"/>
                  <a:gd name="T65" fmla="*/ 886 h 467"/>
                  <a:gd name="T66" fmla="*/ 38906 w 521"/>
                  <a:gd name="T67" fmla="*/ 1302 h 467"/>
                  <a:gd name="T68" fmla="*/ 37786 w 521"/>
                  <a:gd name="T69" fmla="*/ 1339 h 467"/>
                  <a:gd name="T70" fmla="*/ 35812 w 521"/>
                  <a:gd name="T71" fmla="*/ 1074 h 467"/>
                  <a:gd name="T72" fmla="*/ 29835 w 521"/>
                  <a:gd name="T73" fmla="*/ 1372 h 467"/>
                  <a:gd name="T74" fmla="*/ 29517 w 521"/>
                  <a:gd name="T75" fmla="*/ 3192 h 467"/>
                  <a:gd name="T76" fmla="*/ 26255 w 521"/>
                  <a:gd name="T77" fmla="*/ 4690 h 467"/>
                  <a:gd name="T78" fmla="*/ 26255 w 521"/>
                  <a:gd name="T79" fmla="*/ 7205 h 467"/>
                  <a:gd name="T80" fmla="*/ 26255 w 521"/>
                  <a:gd name="T81" fmla="*/ 9826 h 467"/>
                  <a:gd name="T82" fmla="*/ 25374 w 521"/>
                  <a:gd name="T83" fmla="*/ 10786 h 467"/>
                  <a:gd name="T84" fmla="*/ 22887 w 521"/>
                  <a:gd name="T85" fmla="*/ 11105 h 467"/>
                  <a:gd name="T86" fmla="*/ 20379 w 521"/>
                  <a:gd name="T87" fmla="*/ 11141 h 467"/>
                  <a:gd name="T88" fmla="*/ 18798 w 521"/>
                  <a:gd name="T89" fmla="*/ 10786 h 467"/>
                  <a:gd name="T90" fmla="*/ 16336 w 521"/>
                  <a:gd name="T91" fmla="*/ 10667 h 46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21"/>
                  <a:gd name="T139" fmla="*/ 0 h 467"/>
                  <a:gd name="T140" fmla="*/ 521 w 521"/>
                  <a:gd name="T141" fmla="*/ 467 h 46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21" h="467">
                    <a:moveTo>
                      <a:pt x="194" y="452"/>
                    </a:moveTo>
                    <a:lnTo>
                      <a:pt x="190" y="453"/>
                    </a:lnTo>
                    <a:lnTo>
                      <a:pt x="187" y="453"/>
                    </a:lnTo>
                    <a:lnTo>
                      <a:pt x="185" y="452"/>
                    </a:lnTo>
                    <a:lnTo>
                      <a:pt x="183" y="452"/>
                    </a:lnTo>
                    <a:lnTo>
                      <a:pt x="172" y="443"/>
                    </a:lnTo>
                    <a:lnTo>
                      <a:pt x="166" y="439"/>
                    </a:lnTo>
                    <a:lnTo>
                      <a:pt x="158" y="432"/>
                    </a:lnTo>
                    <a:lnTo>
                      <a:pt x="151" y="420"/>
                    </a:lnTo>
                    <a:lnTo>
                      <a:pt x="139" y="405"/>
                    </a:lnTo>
                    <a:lnTo>
                      <a:pt x="136" y="391"/>
                    </a:lnTo>
                    <a:lnTo>
                      <a:pt x="133" y="384"/>
                    </a:lnTo>
                    <a:lnTo>
                      <a:pt x="132" y="371"/>
                    </a:lnTo>
                    <a:lnTo>
                      <a:pt x="129" y="365"/>
                    </a:lnTo>
                    <a:lnTo>
                      <a:pt x="128" y="363"/>
                    </a:lnTo>
                    <a:lnTo>
                      <a:pt x="129" y="356"/>
                    </a:lnTo>
                    <a:lnTo>
                      <a:pt x="124" y="347"/>
                    </a:lnTo>
                    <a:lnTo>
                      <a:pt x="123" y="341"/>
                    </a:lnTo>
                    <a:lnTo>
                      <a:pt x="121" y="326"/>
                    </a:lnTo>
                    <a:lnTo>
                      <a:pt x="123" y="318"/>
                    </a:lnTo>
                    <a:lnTo>
                      <a:pt x="121" y="313"/>
                    </a:lnTo>
                    <a:lnTo>
                      <a:pt x="116" y="302"/>
                    </a:lnTo>
                    <a:lnTo>
                      <a:pt x="113" y="293"/>
                    </a:lnTo>
                    <a:lnTo>
                      <a:pt x="109" y="287"/>
                    </a:lnTo>
                    <a:lnTo>
                      <a:pt x="108" y="280"/>
                    </a:lnTo>
                    <a:lnTo>
                      <a:pt x="108" y="267"/>
                    </a:lnTo>
                    <a:lnTo>
                      <a:pt x="107" y="244"/>
                    </a:lnTo>
                    <a:lnTo>
                      <a:pt x="108" y="232"/>
                    </a:lnTo>
                    <a:lnTo>
                      <a:pt x="107" y="222"/>
                    </a:lnTo>
                    <a:lnTo>
                      <a:pt x="107" y="218"/>
                    </a:lnTo>
                    <a:lnTo>
                      <a:pt x="101" y="207"/>
                    </a:lnTo>
                    <a:lnTo>
                      <a:pt x="86" y="191"/>
                    </a:lnTo>
                    <a:lnTo>
                      <a:pt x="83" y="185"/>
                    </a:lnTo>
                    <a:lnTo>
                      <a:pt x="83" y="181"/>
                    </a:lnTo>
                    <a:lnTo>
                      <a:pt x="78" y="175"/>
                    </a:lnTo>
                    <a:lnTo>
                      <a:pt x="68" y="159"/>
                    </a:lnTo>
                    <a:lnTo>
                      <a:pt x="63" y="148"/>
                    </a:lnTo>
                    <a:lnTo>
                      <a:pt x="62" y="143"/>
                    </a:lnTo>
                    <a:lnTo>
                      <a:pt x="59" y="140"/>
                    </a:lnTo>
                    <a:lnTo>
                      <a:pt x="59" y="134"/>
                    </a:lnTo>
                    <a:lnTo>
                      <a:pt x="47" y="117"/>
                    </a:lnTo>
                    <a:lnTo>
                      <a:pt x="45" y="112"/>
                    </a:lnTo>
                    <a:lnTo>
                      <a:pt x="42" y="105"/>
                    </a:lnTo>
                    <a:lnTo>
                      <a:pt x="40" y="100"/>
                    </a:lnTo>
                    <a:lnTo>
                      <a:pt x="33" y="93"/>
                    </a:lnTo>
                    <a:lnTo>
                      <a:pt x="32" y="89"/>
                    </a:lnTo>
                    <a:lnTo>
                      <a:pt x="27" y="84"/>
                    </a:lnTo>
                    <a:lnTo>
                      <a:pt x="24" y="78"/>
                    </a:lnTo>
                    <a:lnTo>
                      <a:pt x="21" y="73"/>
                    </a:lnTo>
                    <a:lnTo>
                      <a:pt x="15" y="68"/>
                    </a:lnTo>
                    <a:lnTo>
                      <a:pt x="12" y="66"/>
                    </a:lnTo>
                    <a:lnTo>
                      <a:pt x="9" y="61"/>
                    </a:lnTo>
                    <a:lnTo>
                      <a:pt x="4" y="48"/>
                    </a:lnTo>
                    <a:lnTo>
                      <a:pt x="4" y="42"/>
                    </a:lnTo>
                    <a:lnTo>
                      <a:pt x="0" y="36"/>
                    </a:lnTo>
                    <a:lnTo>
                      <a:pt x="0" y="32"/>
                    </a:lnTo>
                    <a:lnTo>
                      <a:pt x="0" y="16"/>
                    </a:lnTo>
                    <a:lnTo>
                      <a:pt x="9" y="13"/>
                    </a:lnTo>
                    <a:lnTo>
                      <a:pt x="17" y="6"/>
                    </a:lnTo>
                    <a:lnTo>
                      <a:pt x="24" y="11"/>
                    </a:lnTo>
                    <a:lnTo>
                      <a:pt x="27" y="8"/>
                    </a:lnTo>
                    <a:lnTo>
                      <a:pt x="35" y="1"/>
                    </a:lnTo>
                    <a:lnTo>
                      <a:pt x="42" y="0"/>
                    </a:lnTo>
                    <a:lnTo>
                      <a:pt x="59" y="0"/>
                    </a:lnTo>
                    <a:lnTo>
                      <a:pt x="65" y="1"/>
                    </a:lnTo>
                    <a:lnTo>
                      <a:pt x="69" y="6"/>
                    </a:lnTo>
                    <a:lnTo>
                      <a:pt x="78" y="10"/>
                    </a:lnTo>
                    <a:lnTo>
                      <a:pt x="86" y="18"/>
                    </a:lnTo>
                    <a:lnTo>
                      <a:pt x="93" y="16"/>
                    </a:lnTo>
                    <a:lnTo>
                      <a:pt x="106" y="16"/>
                    </a:lnTo>
                    <a:lnTo>
                      <a:pt x="141" y="16"/>
                    </a:lnTo>
                    <a:lnTo>
                      <a:pt x="177" y="16"/>
                    </a:lnTo>
                    <a:lnTo>
                      <a:pt x="212" y="16"/>
                    </a:lnTo>
                    <a:lnTo>
                      <a:pt x="245" y="16"/>
                    </a:lnTo>
                    <a:lnTo>
                      <a:pt x="259" y="16"/>
                    </a:lnTo>
                    <a:lnTo>
                      <a:pt x="269" y="25"/>
                    </a:lnTo>
                    <a:lnTo>
                      <a:pt x="274" y="30"/>
                    </a:lnTo>
                    <a:lnTo>
                      <a:pt x="286" y="35"/>
                    </a:lnTo>
                    <a:lnTo>
                      <a:pt x="293" y="35"/>
                    </a:lnTo>
                    <a:lnTo>
                      <a:pt x="306" y="33"/>
                    </a:lnTo>
                    <a:lnTo>
                      <a:pt x="326" y="33"/>
                    </a:lnTo>
                    <a:lnTo>
                      <a:pt x="349" y="38"/>
                    </a:lnTo>
                    <a:lnTo>
                      <a:pt x="360" y="39"/>
                    </a:lnTo>
                    <a:lnTo>
                      <a:pt x="370" y="42"/>
                    </a:lnTo>
                    <a:lnTo>
                      <a:pt x="377" y="42"/>
                    </a:lnTo>
                    <a:lnTo>
                      <a:pt x="381" y="44"/>
                    </a:lnTo>
                    <a:lnTo>
                      <a:pt x="387" y="44"/>
                    </a:lnTo>
                    <a:lnTo>
                      <a:pt x="440" y="30"/>
                    </a:lnTo>
                    <a:lnTo>
                      <a:pt x="448" y="28"/>
                    </a:lnTo>
                    <a:lnTo>
                      <a:pt x="449" y="27"/>
                    </a:lnTo>
                    <a:lnTo>
                      <a:pt x="455" y="25"/>
                    </a:lnTo>
                    <a:lnTo>
                      <a:pt x="484" y="18"/>
                    </a:lnTo>
                    <a:lnTo>
                      <a:pt x="486" y="22"/>
                    </a:lnTo>
                    <a:lnTo>
                      <a:pt x="501" y="22"/>
                    </a:lnTo>
                    <a:lnTo>
                      <a:pt x="512" y="23"/>
                    </a:lnTo>
                    <a:lnTo>
                      <a:pt x="514" y="25"/>
                    </a:lnTo>
                    <a:lnTo>
                      <a:pt x="521" y="33"/>
                    </a:lnTo>
                    <a:lnTo>
                      <a:pt x="512" y="33"/>
                    </a:lnTo>
                    <a:lnTo>
                      <a:pt x="506" y="37"/>
                    </a:lnTo>
                    <a:lnTo>
                      <a:pt x="503" y="42"/>
                    </a:lnTo>
                    <a:lnTo>
                      <a:pt x="484" y="46"/>
                    </a:lnTo>
                    <a:lnTo>
                      <a:pt x="472" y="54"/>
                    </a:lnTo>
                    <a:lnTo>
                      <a:pt x="467" y="61"/>
                    </a:lnTo>
                    <a:lnTo>
                      <a:pt x="462" y="66"/>
                    </a:lnTo>
                    <a:lnTo>
                      <a:pt x="459" y="56"/>
                    </a:lnTo>
                    <a:lnTo>
                      <a:pt x="455" y="48"/>
                    </a:lnTo>
                    <a:lnTo>
                      <a:pt x="448" y="46"/>
                    </a:lnTo>
                    <a:lnTo>
                      <a:pt x="435" y="45"/>
                    </a:lnTo>
                    <a:lnTo>
                      <a:pt x="430" y="45"/>
                    </a:lnTo>
                    <a:lnTo>
                      <a:pt x="419" y="48"/>
                    </a:lnTo>
                    <a:lnTo>
                      <a:pt x="362" y="58"/>
                    </a:lnTo>
                    <a:lnTo>
                      <a:pt x="359" y="61"/>
                    </a:lnTo>
                    <a:lnTo>
                      <a:pt x="359" y="96"/>
                    </a:lnTo>
                    <a:lnTo>
                      <a:pt x="359" y="133"/>
                    </a:lnTo>
                    <a:lnTo>
                      <a:pt x="359" y="170"/>
                    </a:lnTo>
                    <a:lnTo>
                      <a:pt x="359" y="196"/>
                    </a:lnTo>
                    <a:lnTo>
                      <a:pt x="319" y="196"/>
                    </a:lnTo>
                    <a:lnTo>
                      <a:pt x="319" y="230"/>
                    </a:lnTo>
                    <a:lnTo>
                      <a:pt x="319" y="268"/>
                    </a:lnTo>
                    <a:lnTo>
                      <a:pt x="319" y="302"/>
                    </a:lnTo>
                    <a:lnTo>
                      <a:pt x="319" y="337"/>
                    </a:lnTo>
                    <a:lnTo>
                      <a:pt x="319" y="374"/>
                    </a:lnTo>
                    <a:lnTo>
                      <a:pt x="319" y="412"/>
                    </a:lnTo>
                    <a:lnTo>
                      <a:pt x="319" y="448"/>
                    </a:lnTo>
                    <a:lnTo>
                      <a:pt x="316" y="449"/>
                    </a:lnTo>
                    <a:lnTo>
                      <a:pt x="309" y="451"/>
                    </a:lnTo>
                    <a:lnTo>
                      <a:pt x="298" y="456"/>
                    </a:lnTo>
                    <a:lnTo>
                      <a:pt x="286" y="466"/>
                    </a:lnTo>
                    <a:lnTo>
                      <a:pt x="278" y="466"/>
                    </a:lnTo>
                    <a:lnTo>
                      <a:pt x="272" y="464"/>
                    </a:lnTo>
                    <a:lnTo>
                      <a:pt x="258" y="464"/>
                    </a:lnTo>
                    <a:lnTo>
                      <a:pt x="248" y="467"/>
                    </a:lnTo>
                    <a:lnTo>
                      <a:pt x="236" y="466"/>
                    </a:lnTo>
                    <a:lnTo>
                      <a:pt x="228" y="458"/>
                    </a:lnTo>
                    <a:lnTo>
                      <a:pt x="228" y="451"/>
                    </a:lnTo>
                    <a:lnTo>
                      <a:pt x="210" y="439"/>
                    </a:lnTo>
                    <a:lnTo>
                      <a:pt x="202" y="439"/>
                    </a:lnTo>
                    <a:lnTo>
                      <a:pt x="197" y="448"/>
                    </a:lnTo>
                    <a:lnTo>
                      <a:pt x="194" y="452"/>
                    </a:lnTo>
                    <a:close/>
                  </a:path>
                </a:pathLst>
              </a:custGeom>
              <a:solidFill>
                <a:srgbClr val="1737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5" name="Freeform 131"/>
              <p:cNvSpPr>
                <a:spLocks/>
              </p:cNvSpPr>
              <p:nvPr/>
            </p:nvSpPr>
            <p:spPr bwMode="auto">
              <a:xfrm>
                <a:off x="1758" y="3208"/>
                <a:ext cx="557" cy="490"/>
              </a:xfrm>
              <a:custGeom>
                <a:avLst/>
                <a:gdLst>
                  <a:gd name="T0" fmla="*/ 15414 w 521"/>
                  <a:gd name="T1" fmla="*/ 10818 h 467"/>
                  <a:gd name="T2" fmla="*/ 14292 w 521"/>
                  <a:gd name="T3" fmla="*/ 10579 h 467"/>
                  <a:gd name="T4" fmla="*/ 12504 w 521"/>
                  <a:gd name="T5" fmla="*/ 10060 h 467"/>
                  <a:gd name="T6" fmla="*/ 11015 w 521"/>
                  <a:gd name="T7" fmla="*/ 9163 h 467"/>
                  <a:gd name="T8" fmla="*/ 10455 w 521"/>
                  <a:gd name="T9" fmla="*/ 8709 h 467"/>
                  <a:gd name="T10" fmla="*/ 10135 w 521"/>
                  <a:gd name="T11" fmla="*/ 8124 h 467"/>
                  <a:gd name="T12" fmla="*/ 9946 w 521"/>
                  <a:gd name="T13" fmla="*/ 7492 h 467"/>
                  <a:gd name="T14" fmla="*/ 9032 w 521"/>
                  <a:gd name="T15" fmla="*/ 6863 h 467"/>
                  <a:gd name="T16" fmla="*/ 8712 w 521"/>
                  <a:gd name="T17" fmla="*/ 5853 h 467"/>
                  <a:gd name="T18" fmla="*/ 8712 w 521"/>
                  <a:gd name="T19" fmla="*/ 5186 h 467"/>
                  <a:gd name="T20" fmla="*/ 6913 w 521"/>
                  <a:gd name="T21" fmla="*/ 4448 h 467"/>
                  <a:gd name="T22" fmla="*/ 5657 w 521"/>
                  <a:gd name="T23" fmla="*/ 3823 h 467"/>
                  <a:gd name="T24" fmla="*/ 4774 w 521"/>
                  <a:gd name="T25" fmla="*/ 3349 h 467"/>
                  <a:gd name="T26" fmla="*/ 3654 w 521"/>
                  <a:gd name="T27" fmla="*/ 2680 h 467"/>
                  <a:gd name="T28" fmla="*/ 2713 w 521"/>
                  <a:gd name="T29" fmla="*/ 2219 h 467"/>
                  <a:gd name="T30" fmla="*/ 1945 w 521"/>
                  <a:gd name="T31" fmla="*/ 1875 h 467"/>
                  <a:gd name="T32" fmla="*/ 932 w 521"/>
                  <a:gd name="T33" fmla="*/ 1578 h 467"/>
                  <a:gd name="T34" fmla="*/ 4 w 521"/>
                  <a:gd name="T35" fmla="*/ 980 h 467"/>
                  <a:gd name="T36" fmla="*/ 0 w 521"/>
                  <a:gd name="T37" fmla="*/ 374 h 467"/>
                  <a:gd name="T38" fmla="*/ 1945 w 521"/>
                  <a:gd name="T39" fmla="*/ 294 h 467"/>
                  <a:gd name="T40" fmla="*/ 3418 w 521"/>
                  <a:gd name="T41" fmla="*/ 0 h 467"/>
                  <a:gd name="T42" fmla="*/ 5666 w 521"/>
                  <a:gd name="T43" fmla="*/ 6 h 467"/>
                  <a:gd name="T44" fmla="*/ 7614 w 521"/>
                  <a:gd name="T45" fmla="*/ 374 h 467"/>
                  <a:gd name="T46" fmla="*/ 14448 w 521"/>
                  <a:gd name="T47" fmla="*/ 374 h 467"/>
                  <a:gd name="T48" fmla="*/ 21341 w 521"/>
                  <a:gd name="T49" fmla="*/ 374 h 467"/>
                  <a:gd name="T50" fmla="*/ 23659 w 521"/>
                  <a:gd name="T51" fmla="*/ 844 h 467"/>
                  <a:gd name="T52" fmla="*/ 26897 w 521"/>
                  <a:gd name="T53" fmla="*/ 804 h 467"/>
                  <a:gd name="T54" fmla="*/ 30429 w 521"/>
                  <a:gd name="T55" fmla="*/ 980 h 467"/>
                  <a:gd name="T56" fmla="*/ 31897 w 521"/>
                  <a:gd name="T57" fmla="*/ 1028 h 467"/>
                  <a:gd name="T58" fmla="*/ 36817 w 521"/>
                  <a:gd name="T59" fmla="*/ 632 h 467"/>
                  <a:gd name="T60" fmla="*/ 40023 w 521"/>
                  <a:gd name="T61" fmla="*/ 497 h 467"/>
                  <a:gd name="T62" fmla="*/ 42350 w 521"/>
                  <a:gd name="T63" fmla="*/ 574 h 467"/>
                  <a:gd name="T64" fmla="*/ 41632 w 521"/>
                  <a:gd name="T65" fmla="*/ 886 h 467"/>
                  <a:gd name="T66" fmla="*/ 38906 w 521"/>
                  <a:gd name="T67" fmla="*/ 1302 h 467"/>
                  <a:gd name="T68" fmla="*/ 37786 w 521"/>
                  <a:gd name="T69" fmla="*/ 1339 h 467"/>
                  <a:gd name="T70" fmla="*/ 35812 w 521"/>
                  <a:gd name="T71" fmla="*/ 1074 h 467"/>
                  <a:gd name="T72" fmla="*/ 29835 w 521"/>
                  <a:gd name="T73" fmla="*/ 1372 h 467"/>
                  <a:gd name="T74" fmla="*/ 29517 w 521"/>
                  <a:gd name="T75" fmla="*/ 3192 h 467"/>
                  <a:gd name="T76" fmla="*/ 26255 w 521"/>
                  <a:gd name="T77" fmla="*/ 4690 h 467"/>
                  <a:gd name="T78" fmla="*/ 26255 w 521"/>
                  <a:gd name="T79" fmla="*/ 7205 h 467"/>
                  <a:gd name="T80" fmla="*/ 26255 w 521"/>
                  <a:gd name="T81" fmla="*/ 9826 h 467"/>
                  <a:gd name="T82" fmla="*/ 25374 w 521"/>
                  <a:gd name="T83" fmla="*/ 10786 h 467"/>
                  <a:gd name="T84" fmla="*/ 22887 w 521"/>
                  <a:gd name="T85" fmla="*/ 11105 h 467"/>
                  <a:gd name="T86" fmla="*/ 20379 w 521"/>
                  <a:gd name="T87" fmla="*/ 11141 h 467"/>
                  <a:gd name="T88" fmla="*/ 18798 w 521"/>
                  <a:gd name="T89" fmla="*/ 10786 h 467"/>
                  <a:gd name="T90" fmla="*/ 16336 w 521"/>
                  <a:gd name="T91" fmla="*/ 10667 h 46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21"/>
                  <a:gd name="T139" fmla="*/ 0 h 467"/>
                  <a:gd name="T140" fmla="*/ 521 w 521"/>
                  <a:gd name="T141" fmla="*/ 467 h 46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21" h="467">
                    <a:moveTo>
                      <a:pt x="194" y="452"/>
                    </a:moveTo>
                    <a:lnTo>
                      <a:pt x="190" y="453"/>
                    </a:lnTo>
                    <a:lnTo>
                      <a:pt x="187" y="453"/>
                    </a:lnTo>
                    <a:lnTo>
                      <a:pt x="185" y="452"/>
                    </a:lnTo>
                    <a:lnTo>
                      <a:pt x="183" y="452"/>
                    </a:lnTo>
                    <a:lnTo>
                      <a:pt x="172" y="443"/>
                    </a:lnTo>
                    <a:lnTo>
                      <a:pt x="166" y="439"/>
                    </a:lnTo>
                    <a:lnTo>
                      <a:pt x="158" y="432"/>
                    </a:lnTo>
                    <a:lnTo>
                      <a:pt x="151" y="420"/>
                    </a:lnTo>
                    <a:lnTo>
                      <a:pt x="139" y="405"/>
                    </a:lnTo>
                    <a:lnTo>
                      <a:pt x="136" y="391"/>
                    </a:lnTo>
                    <a:lnTo>
                      <a:pt x="133" y="384"/>
                    </a:lnTo>
                    <a:lnTo>
                      <a:pt x="132" y="371"/>
                    </a:lnTo>
                    <a:lnTo>
                      <a:pt x="129" y="365"/>
                    </a:lnTo>
                    <a:lnTo>
                      <a:pt x="128" y="363"/>
                    </a:lnTo>
                    <a:lnTo>
                      <a:pt x="129" y="356"/>
                    </a:lnTo>
                    <a:lnTo>
                      <a:pt x="124" y="347"/>
                    </a:lnTo>
                    <a:lnTo>
                      <a:pt x="123" y="341"/>
                    </a:lnTo>
                    <a:lnTo>
                      <a:pt x="121" y="326"/>
                    </a:lnTo>
                    <a:lnTo>
                      <a:pt x="123" y="318"/>
                    </a:lnTo>
                    <a:lnTo>
                      <a:pt x="121" y="313"/>
                    </a:lnTo>
                    <a:lnTo>
                      <a:pt x="116" y="302"/>
                    </a:lnTo>
                    <a:lnTo>
                      <a:pt x="113" y="293"/>
                    </a:lnTo>
                    <a:lnTo>
                      <a:pt x="109" y="287"/>
                    </a:lnTo>
                    <a:lnTo>
                      <a:pt x="108" y="280"/>
                    </a:lnTo>
                    <a:lnTo>
                      <a:pt x="108" y="267"/>
                    </a:lnTo>
                    <a:lnTo>
                      <a:pt x="107" y="244"/>
                    </a:lnTo>
                    <a:lnTo>
                      <a:pt x="108" y="232"/>
                    </a:lnTo>
                    <a:lnTo>
                      <a:pt x="107" y="222"/>
                    </a:lnTo>
                    <a:lnTo>
                      <a:pt x="107" y="218"/>
                    </a:lnTo>
                    <a:lnTo>
                      <a:pt x="101" y="207"/>
                    </a:lnTo>
                    <a:lnTo>
                      <a:pt x="86" y="191"/>
                    </a:lnTo>
                    <a:lnTo>
                      <a:pt x="83" y="185"/>
                    </a:lnTo>
                    <a:lnTo>
                      <a:pt x="83" y="181"/>
                    </a:lnTo>
                    <a:lnTo>
                      <a:pt x="78" y="175"/>
                    </a:lnTo>
                    <a:lnTo>
                      <a:pt x="68" y="159"/>
                    </a:lnTo>
                    <a:lnTo>
                      <a:pt x="63" y="148"/>
                    </a:lnTo>
                    <a:lnTo>
                      <a:pt x="62" y="143"/>
                    </a:lnTo>
                    <a:lnTo>
                      <a:pt x="59" y="140"/>
                    </a:lnTo>
                    <a:lnTo>
                      <a:pt x="59" y="134"/>
                    </a:lnTo>
                    <a:lnTo>
                      <a:pt x="47" y="117"/>
                    </a:lnTo>
                    <a:lnTo>
                      <a:pt x="45" y="112"/>
                    </a:lnTo>
                    <a:lnTo>
                      <a:pt x="42" y="105"/>
                    </a:lnTo>
                    <a:lnTo>
                      <a:pt x="40" y="100"/>
                    </a:lnTo>
                    <a:lnTo>
                      <a:pt x="33" y="93"/>
                    </a:lnTo>
                    <a:lnTo>
                      <a:pt x="32" y="89"/>
                    </a:lnTo>
                    <a:lnTo>
                      <a:pt x="27" y="84"/>
                    </a:lnTo>
                    <a:lnTo>
                      <a:pt x="24" y="78"/>
                    </a:lnTo>
                    <a:lnTo>
                      <a:pt x="21" y="73"/>
                    </a:lnTo>
                    <a:lnTo>
                      <a:pt x="15" y="68"/>
                    </a:lnTo>
                    <a:lnTo>
                      <a:pt x="12" y="66"/>
                    </a:lnTo>
                    <a:lnTo>
                      <a:pt x="9" y="61"/>
                    </a:lnTo>
                    <a:lnTo>
                      <a:pt x="4" y="48"/>
                    </a:lnTo>
                    <a:lnTo>
                      <a:pt x="4" y="42"/>
                    </a:lnTo>
                    <a:lnTo>
                      <a:pt x="0" y="36"/>
                    </a:lnTo>
                    <a:lnTo>
                      <a:pt x="0" y="32"/>
                    </a:lnTo>
                    <a:lnTo>
                      <a:pt x="0" y="16"/>
                    </a:lnTo>
                    <a:lnTo>
                      <a:pt x="9" y="13"/>
                    </a:lnTo>
                    <a:lnTo>
                      <a:pt x="17" y="6"/>
                    </a:lnTo>
                    <a:lnTo>
                      <a:pt x="24" y="11"/>
                    </a:lnTo>
                    <a:lnTo>
                      <a:pt x="27" y="8"/>
                    </a:lnTo>
                    <a:lnTo>
                      <a:pt x="35" y="1"/>
                    </a:lnTo>
                    <a:lnTo>
                      <a:pt x="42" y="0"/>
                    </a:lnTo>
                    <a:lnTo>
                      <a:pt x="59" y="0"/>
                    </a:lnTo>
                    <a:lnTo>
                      <a:pt x="65" y="1"/>
                    </a:lnTo>
                    <a:lnTo>
                      <a:pt x="69" y="6"/>
                    </a:lnTo>
                    <a:lnTo>
                      <a:pt x="78" y="10"/>
                    </a:lnTo>
                    <a:lnTo>
                      <a:pt x="86" y="18"/>
                    </a:lnTo>
                    <a:lnTo>
                      <a:pt x="93" y="16"/>
                    </a:lnTo>
                    <a:lnTo>
                      <a:pt x="106" y="16"/>
                    </a:lnTo>
                    <a:lnTo>
                      <a:pt x="141" y="16"/>
                    </a:lnTo>
                    <a:lnTo>
                      <a:pt x="177" y="16"/>
                    </a:lnTo>
                    <a:lnTo>
                      <a:pt x="212" y="16"/>
                    </a:lnTo>
                    <a:lnTo>
                      <a:pt x="245" y="16"/>
                    </a:lnTo>
                    <a:lnTo>
                      <a:pt x="259" y="16"/>
                    </a:lnTo>
                    <a:lnTo>
                      <a:pt x="269" y="25"/>
                    </a:lnTo>
                    <a:lnTo>
                      <a:pt x="274" y="30"/>
                    </a:lnTo>
                    <a:lnTo>
                      <a:pt x="286" y="35"/>
                    </a:lnTo>
                    <a:lnTo>
                      <a:pt x="293" y="35"/>
                    </a:lnTo>
                    <a:lnTo>
                      <a:pt x="306" y="33"/>
                    </a:lnTo>
                    <a:lnTo>
                      <a:pt x="326" y="33"/>
                    </a:lnTo>
                    <a:lnTo>
                      <a:pt x="349" y="38"/>
                    </a:lnTo>
                    <a:lnTo>
                      <a:pt x="360" y="39"/>
                    </a:lnTo>
                    <a:lnTo>
                      <a:pt x="370" y="42"/>
                    </a:lnTo>
                    <a:lnTo>
                      <a:pt x="377" y="42"/>
                    </a:lnTo>
                    <a:lnTo>
                      <a:pt x="381" y="44"/>
                    </a:lnTo>
                    <a:lnTo>
                      <a:pt x="387" y="44"/>
                    </a:lnTo>
                    <a:lnTo>
                      <a:pt x="440" y="30"/>
                    </a:lnTo>
                    <a:lnTo>
                      <a:pt x="448" y="28"/>
                    </a:lnTo>
                    <a:lnTo>
                      <a:pt x="449" y="27"/>
                    </a:lnTo>
                    <a:lnTo>
                      <a:pt x="455" y="25"/>
                    </a:lnTo>
                    <a:lnTo>
                      <a:pt x="484" y="18"/>
                    </a:lnTo>
                    <a:lnTo>
                      <a:pt x="486" y="22"/>
                    </a:lnTo>
                    <a:lnTo>
                      <a:pt x="501" y="22"/>
                    </a:lnTo>
                    <a:lnTo>
                      <a:pt x="512" y="23"/>
                    </a:lnTo>
                    <a:lnTo>
                      <a:pt x="514" y="25"/>
                    </a:lnTo>
                    <a:lnTo>
                      <a:pt x="521" y="33"/>
                    </a:lnTo>
                    <a:lnTo>
                      <a:pt x="512" y="33"/>
                    </a:lnTo>
                    <a:lnTo>
                      <a:pt x="506" y="37"/>
                    </a:lnTo>
                    <a:lnTo>
                      <a:pt x="503" y="42"/>
                    </a:lnTo>
                    <a:lnTo>
                      <a:pt x="484" y="46"/>
                    </a:lnTo>
                    <a:lnTo>
                      <a:pt x="472" y="54"/>
                    </a:lnTo>
                    <a:lnTo>
                      <a:pt x="467" y="61"/>
                    </a:lnTo>
                    <a:lnTo>
                      <a:pt x="462" y="66"/>
                    </a:lnTo>
                    <a:lnTo>
                      <a:pt x="459" y="56"/>
                    </a:lnTo>
                    <a:lnTo>
                      <a:pt x="455" y="48"/>
                    </a:lnTo>
                    <a:lnTo>
                      <a:pt x="448" y="46"/>
                    </a:lnTo>
                    <a:lnTo>
                      <a:pt x="435" y="45"/>
                    </a:lnTo>
                    <a:lnTo>
                      <a:pt x="430" y="45"/>
                    </a:lnTo>
                    <a:lnTo>
                      <a:pt x="419" y="48"/>
                    </a:lnTo>
                    <a:lnTo>
                      <a:pt x="362" y="58"/>
                    </a:lnTo>
                    <a:lnTo>
                      <a:pt x="359" y="61"/>
                    </a:lnTo>
                    <a:lnTo>
                      <a:pt x="359" y="96"/>
                    </a:lnTo>
                    <a:lnTo>
                      <a:pt x="359" y="133"/>
                    </a:lnTo>
                    <a:lnTo>
                      <a:pt x="359" y="170"/>
                    </a:lnTo>
                    <a:lnTo>
                      <a:pt x="359" y="196"/>
                    </a:lnTo>
                    <a:lnTo>
                      <a:pt x="319" y="196"/>
                    </a:lnTo>
                    <a:lnTo>
                      <a:pt x="319" y="230"/>
                    </a:lnTo>
                    <a:lnTo>
                      <a:pt x="319" y="268"/>
                    </a:lnTo>
                    <a:lnTo>
                      <a:pt x="319" y="302"/>
                    </a:lnTo>
                    <a:lnTo>
                      <a:pt x="319" y="337"/>
                    </a:lnTo>
                    <a:lnTo>
                      <a:pt x="319" y="374"/>
                    </a:lnTo>
                    <a:lnTo>
                      <a:pt x="319" y="412"/>
                    </a:lnTo>
                    <a:lnTo>
                      <a:pt x="319" y="448"/>
                    </a:lnTo>
                    <a:lnTo>
                      <a:pt x="316" y="449"/>
                    </a:lnTo>
                    <a:lnTo>
                      <a:pt x="309" y="451"/>
                    </a:lnTo>
                    <a:lnTo>
                      <a:pt x="298" y="456"/>
                    </a:lnTo>
                    <a:lnTo>
                      <a:pt x="286" y="466"/>
                    </a:lnTo>
                    <a:lnTo>
                      <a:pt x="278" y="466"/>
                    </a:lnTo>
                    <a:lnTo>
                      <a:pt x="272" y="464"/>
                    </a:lnTo>
                    <a:lnTo>
                      <a:pt x="258" y="464"/>
                    </a:lnTo>
                    <a:lnTo>
                      <a:pt x="248" y="467"/>
                    </a:lnTo>
                    <a:lnTo>
                      <a:pt x="236" y="466"/>
                    </a:lnTo>
                    <a:lnTo>
                      <a:pt x="228" y="458"/>
                    </a:lnTo>
                    <a:lnTo>
                      <a:pt x="228" y="451"/>
                    </a:lnTo>
                    <a:lnTo>
                      <a:pt x="210" y="439"/>
                    </a:lnTo>
                    <a:lnTo>
                      <a:pt x="202" y="439"/>
                    </a:lnTo>
                    <a:lnTo>
                      <a:pt x="197" y="448"/>
                    </a:lnTo>
                    <a:lnTo>
                      <a:pt x="194" y="452"/>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36" name="Freeform 132"/>
              <p:cNvSpPr>
                <a:spLocks/>
              </p:cNvSpPr>
              <p:nvPr/>
            </p:nvSpPr>
            <p:spPr bwMode="auto">
              <a:xfrm>
                <a:off x="575" y="1420"/>
                <a:ext cx="499" cy="501"/>
              </a:xfrm>
              <a:custGeom>
                <a:avLst/>
                <a:gdLst>
                  <a:gd name="T0" fmla="*/ 1350 w 466"/>
                  <a:gd name="T1" fmla="*/ 10867 h 477"/>
                  <a:gd name="T2" fmla="*/ 2036 w 466"/>
                  <a:gd name="T3" fmla="*/ 10183 h 477"/>
                  <a:gd name="T4" fmla="*/ 3196 w 466"/>
                  <a:gd name="T5" fmla="*/ 8754 h 477"/>
                  <a:gd name="T6" fmla="*/ 2866 w 466"/>
                  <a:gd name="T7" fmla="*/ 8055 h 477"/>
                  <a:gd name="T8" fmla="*/ 2036 w 466"/>
                  <a:gd name="T9" fmla="*/ 7556 h 477"/>
                  <a:gd name="T10" fmla="*/ 2604 w 466"/>
                  <a:gd name="T11" fmla="*/ 7090 h 477"/>
                  <a:gd name="T12" fmla="*/ 2036 w 466"/>
                  <a:gd name="T13" fmla="*/ 6438 h 477"/>
                  <a:gd name="T14" fmla="*/ 837 w 466"/>
                  <a:gd name="T15" fmla="*/ 6098 h 477"/>
                  <a:gd name="T16" fmla="*/ 0 w 466"/>
                  <a:gd name="T17" fmla="*/ 6119 h 477"/>
                  <a:gd name="T18" fmla="*/ 1 w 466"/>
                  <a:gd name="T19" fmla="*/ 5954 h 477"/>
                  <a:gd name="T20" fmla="*/ 959 w 466"/>
                  <a:gd name="T21" fmla="*/ 5638 h 477"/>
                  <a:gd name="T22" fmla="*/ 9547 w 466"/>
                  <a:gd name="T23" fmla="*/ 5638 h 477"/>
                  <a:gd name="T24" fmla="*/ 14084 w 466"/>
                  <a:gd name="T25" fmla="*/ 5379 h 477"/>
                  <a:gd name="T26" fmla="*/ 13740 w 466"/>
                  <a:gd name="T27" fmla="*/ 4240 h 477"/>
                  <a:gd name="T28" fmla="*/ 14421 w 466"/>
                  <a:gd name="T29" fmla="*/ 3844 h 477"/>
                  <a:gd name="T30" fmla="*/ 16871 w 466"/>
                  <a:gd name="T31" fmla="*/ 3672 h 477"/>
                  <a:gd name="T32" fmla="*/ 18136 w 466"/>
                  <a:gd name="T33" fmla="*/ 2037 h 477"/>
                  <a:gd name="T34" fmla="*/ 22737 w 466"/>
                  <a:gd name="T35" fmla="*/ 1072 h 477"/>
                  <a:gd name="T36" fmla="*/ 29356 w 466"/>
                  <a:gd name="T37" fmla="*/ 0 h 477"/>
                  <a:gd name="T38" fmla="*/ 42591 w 466"/>
                  <a:gd name="T39" fmla="*/ 2113 h 477"/>
                  <a:gd name="T40" fmla="*/ 37051 w 466"/>
                  <a:gd name="T41" fmla="*/ 4006 h 477"/>
                  <a:gd name="T42" fmla="*/ 38295 w 466"/>
                  <a:gd name="T43" fmla="*/ 6762 h 477"/>
                  <a:gd name="T44" fmla="*/ 39304 w 466"/>
                  <a:gd name="T45" fmla="*/ 9560 h 477"/>
                  <a:gd name="T46" fmla="*/ 40257 w 466"/>
                  <a:gd name="T47" fmla="*/ 11507 h 477"/>
                  <a:gd name="T48" fmla="*/ 29788 w 466"/>
                  <a:gd name="T49" fmla="*/ 11455 h 477"/>
                  <a:gd name="T50" fmla="*/ 22328 w 466"/>
                  <a:gd name="T51" fmla="*/ 11774 h 477"/>
                  <a:gd name="T52" fmla="*/ 20686 w 466"/>
                  <a:gd name="T53" fmla="*/ 11189 h 477"/>
                  <a:gd name="T54" fmla="*/ 19674 w 466"/>
                  <a:gd name="T55" fmla="*/ 11077 h 477"/>
                  <a:gd name="T56" fmla="*/ 19318 w 466"/>
                  <a:gd name="T57" fmla="*/ 11273 h 477"/>
                  <a:gd name="T58" fmla="*/ 16908 w 466"/>
                  <a:gd name="T59" fmla="*/ 12167 h 477"/>
                  <a:gd name="T60" fmla="*/ 15858 w 466"/>
                  <a:gd name="T61" fmla="*/ 12031 h 477"/>
                  <a:gd name="T62" fmla="*/ 15442 w 466"/>
                  <a:gd name="T63" fmla="*/ 11798 h 477"/>
                  <a:gd name="T64" fmla="*/ 14713 w 466"/>
                  <a:gd name="T65" fmla="*/ 11730 h 477"/>
                  <a:gd name="T66" fmla="*/ 14421 w 466"/>
                  <a:gd name="T67" fmla="*/ 11584 h 477"/>
                  <a:gd name="T68" fmla="*/ 13908 w 466"/>
                  <a:gd name="T69" fmla="*/ 11455 h 477"/>
                  <a:gd name="T70" fmla="*/ 13721 w 466"/>
                  <a:gd name="T71" fmla="*/ 11414 h 477"/>
                  <a:gd name="T72" fmla="*/ 13153 w 466"/>
                  <a:gd name="T73" fmla="*/ 11195 h 477"/>
                  <a:gd name="T74" fmla="*/ 11982 w 466"/>
                  <a:gd name="T75" fmla="*/ 10777 h 477"/>
                  <a:gd name="T76" fmla="*/ 11718 w 466"/>
                  <a:gd name="T77" fmla="*/ 10733 h 477"/>
                  <a:gd name="T78" fmla="*/ 10450 w 466"/>
                  <a:gd name="T79" fmla="*/ 10695 h 477"/>
                  <a:gd name="T80" fmla="*/ 9172 w 466"/>
                  <a:gd name="T81" fmla="*/ 10438 h 477"/>
                  <a:gd name="T82" fmla="*/ 8615 w 466"/>
                  <a:gd name="T83" fmla="*/ 10346 h 477"/>
                  <a:gd name="T84" fmla="*/ 6931 w 466"/>
                  <a:gd name="T85" fmla="*/ 10296 h 477"/>
                  <a:gd name="T86" fmla="*/ 6331 w 466"/>
                  <a:gd name="T87" fmla="*/ 10384 h 477"/>
                  <a:gd name="T88" fmla="*/ 4935 w 466"/>
                  <a:gd name="T89" fmla="*/ 10475 h 477"/>
                  <a:gd name="T90" fmla="*/ 3196 w 466"/>
                  <a:gd name="T91" fmla="*/ 10438 h 477"/>
                  <a:gd name="T92" fmla="*/ 2271 w 466"/>
                  <a:gd name="T93" fmla="*/ 10475 h 4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66"/>
                  <a:gd name="T142" fmla="*/ 0 h 477"/>
                  <a:gd name="T143" fmla="*/ 466 w 466"/>
                  <a:gd name="T144" fmla="*/ 477 h 4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66" h="477">
                    <a:moveTo>
                      <a:pt x="19" y="423"/>
                    </a:moveTo>
                    <a:lnTo>
                      <a:pt x="17" y="425"/>
                    </a:lnTo>
                    <a:lnTo>
                      <a:pt x="16" y="425"/>
                    </a:lnTo>
                    <a:lnTo>
                      <a:pt x="17" y="417"/>
                    </a:lnTo>
                    <a:lnTo>
                      <a:pt x="20" y="406"/>
                    </a:lnTo>
                    <a:lnTo>
                      <a:pt x="22" y="400"/>
                    </a:lnTo>
                    <a:lnTo>
                      <a:pt x="33" y="375"/>
                    </a:lnTo>
                    <a:lnTo>
                      <a:pt x="35" y="366"/>
                    </a:lnTo>
                    <a:lnTo>
                      <a:pt x="35" y="343"/>
                    </a:lnTo>
                    <a:lnTo>
                      <a:pt x="35" y="333"/>
                    </a:lnTo>
                    <a:lnTo>
                      <a:pt x="33" y="325"/>
                    </a:lnTo>
                    <a:lnTo>
                      <a:pt x="32" y="316"/>
                    </a:lnTo>
                    <a:lnTo>
                      <a:pt x="18" y="300"/>
                    </a:lnTo>
                    <a:lnTo>
                      <a:pt x="19" y="296"/>
                    </a:lnTo>
                    <a:lnTo>
                      <a:pt x="22" y="296"/>
                    </a:lnTo>
                    <a:lnTo>
                      <a:pt x="25" y="294"/>
                    </a:lnTo>
                    <a:lnTo>
                      <a:pt x="28" y="281"/>
                    </a:lnTo>
                    <a:lnTo>
                      <a:pt x="29" y="277"/>
                    </a:lnTo>
                    <a:lnTo>
                      <a:pt x="29" y="267"/>
                    </a:lnTo>
                    <a:lnTo>
                      <a:pt x="28" y="264"/>
                    </a:lnTo>
                    <a:lnTo>
                      <a:pt x="22" y="252"/>
                    </a:lnTo>
                    <a:lnTo>
                      <a:pt x="16" y="252"/>
                    </a:lnTo>
                    <a:lnTo>
                      <a:pt x="14" y="252"/>
                    </a:lnTo>
                    <a:lnTo>
                      <a:pt x="9" y="237"/>
                    </a:lnTo>
                    <a:lnTo>
                      <a:pt x="6" y="234"/>
                    </a:lnTo>
                    <a:lnTo>
                      <a:pt x="0" y="236"/>
                    </a:lnTo>
                    <a:lnTo>
                      <a:pt x="0" y="239"/>
                    </a:lnTo>
                    <a:lnTo>
                      <a:pt x="0" y="236"/>
                    </a:lnTo>
                    <a:lnTo>
                      <a:pt x="3" y="234"/>
                    </a:lnTo>
                    <a:lnTo>
                      <a:pt x="1" y="234"/>
                    </a:lnTo>
                    <a:lnTo>
                      <a:pt x="3" y="230"/>
                    </a:lnTo>
                    <a:lnTo>
                      <a:pt x="10" y="226"/>
                    </a:lnTo>
                    <a:lnTo>
                      <a:pt x="11" y="221"/>
                    </a:lnTo>
                    <a:lnTo>
                      <a:pt x="32" y="221"/>
                    </a:lnTo>
                    <a:lnTo>
                      <a:pt x="66" y="221"/>
                    </a:lnTo>
                    <a:lnTo>
                      <a:pt x="104" y="221"/>
                    </a:lnTo>
                    <a:lnTo>
                      <a:pt x="139" y="221"/>
                    </a:lnTo>
                    <a:lnTo>
                      <a:pt x="156" y="221"/>
                    </a:lnTo>
                    <a:lnTo>
                      <a:pt x="154" y="211"/>
                    </a:lnTo>
                    <a:lnTo>
                      <a:pt x="153" y="198"/>
                    </a:lnTo>
                    <a:lnTo>
                      <a:pt x="151" y="185"/>
                    </a:lnTo>
                    <a:lnTo>
                      <a:pt x="150" y="167"/>
                    </a:lnTo>
                    <a:lnTo>
                      <a:pt x="151" y="163"/>
                    </a:lnTo>
                    <a:lnTo>
                      <a:pt x="154" y="155"/>
                    </a:lnTo>
                    <a:lnTo>
                      <a:pt x="157" y="151"/>
                    </a:lnTo>
                    <a:lnTo>
                      <a:pt x="161" y="149"/>
                    </a:lnTo>
                    <a:lnTo>
                      <a:pt x="172" y="145"/>
                    </a:lnTo>
                    <a:lnTo>
                      <a:pt x="184" y="145"/>
                    </a:lnTo>
                    <a:lnTo>
                      <a:pt x="199" y="141"/>
                    </a:lnTo>
                    <a:lnTo>
                      <a:pt x="199" y="117"/>
                    </a:lnTo>
                    <a:lnTo>
                      <a:pt x="199" y="81"/>
                    </a:lnTo>
                    <a:lnTo>
                      <a:pt x="199" y="43"/>
                    </a:lnTo>
                    <a:lnTo>
                      <a:pt x="210" y="43"/>
                    </a:lnTo>
                    <a:lnTo>
                      <a:pt x="248" y="43"/>
                    </a:lnTo>
                    <a:lnTo>
                      <a:pt x="286" y="43"/>
                    </a:lnTo>
                    <a:lnTo>
                      <a:pt x="322" y="43"/>
                    </a:lnTo>
                    <a:lnTo>
                      <a:pt x="322" y="0"/>
                    </a:lnTo>
                    <a:lnTo>
                      <a:pt x="371" y="27"/>
                    </a:lnTo>
                    <a:lnTo>
                      <a:pt x="412" y="51"/>
                    </a:lnTo>
                    <a:lnTo>
                      <a:pt x="466" y="83"/>
                    </a:lnTo>
                    <a:lnTo>
                      <a:pt x="398" y="83"/>
                    </a:lnTo>
                    <a:lnTo>
                      <a:pt x="402" y="120"/>
                    </a:lnTo>
                    <a:lnTo>
                      <a:pt x="405" y="157"/>
                    </a:lnTo>
                    <a:lnTo>
                      <a:pt x="410" y="193"/>
                    </a:lnTo>
                    <a:lnTo>
                      <a:pt x="414" y="229"/>
                    </a:lnTo>
                    <a:lnTo>
                      <a:pt x="417" y="265"/>
                    </a:lnTo>
                    <a:lnTo>
                      <a:pt x="422" y="301"/>
                    </a:lnTo>
                    <a:lnTo>
                      <a:pt x="425" y="338"/>
                    </a:lnTo>
                    <a:lnTo>
                      <a:pt x="430" y="375"/>
                    </a:lnTo>
                    <a:lnTo>
                      <a:pt x="435" y="414"/>
                    </a:lnTo>
                    <a:lnTo>
                      <a:pt x="450" y="418"/>
                    </a:lnTo>
                    <a:lnTo>
                      <a:pt x="441" y="450"/>
                    </a:lnTo>
                    <a:lnTo>
                      <a:pt x="428" y="450"/>
                    </a:lnTo>
                    <a:lnTo>
                      <a:pt x="377" y="449"/>
                    </a:lnTo>
                    <a:lnTo>
                      <a:pt x="326" y="448"/>
                    </a:lnTo>
                    <a:lnTo>
                      <a:pt x="264" y="447"/>
                    </a:lnTo>
                    <a:lnTo>
                      <a:pt x="247" y="462"/>
                    </a:lnTo>
                    <a:lnTo>
                      <a:pt x="245" y="462"/>
                    </a:lnTo>
                    <a:lnTo>
                      <a:pt x="233" y="459"/>
                    </a:lnTo>
                    <a:lnTo>
                      <a:pt x="226" y="447"/>
                    </a:lnTo>
                    <a:lnTo>
                      <a:pt x="225" y="438"/>
                    </a:lnTo>
                    <a:lnTo>
                      <a:pt x="221" y="436"/>
                    </a:lnTo>
                    <a:lnTo>
                      <a:pt x="217" y="436"/>
                    </a:lnTo>
                    <a:lnTo>
                      <a:pt x="216" y="435"/>
                    </a:lnTo>
                    <a:lnTo>
                      <a:pt x="214" y="435"/>
                    </a:lnTo>
                    <a:lnTo>
                      <a:pt x="213" y="435"/>
                    </a:lnTo>
                    <a:lnTo>
                      <a:pt x="210" y="442"/>
                    </a:lnTo>
                    <a:lnTo>
                      <a:pt x="206" y="450"/>
                    </a:lnTo>
                    <a:lnTo>
                      <a:pt x="202" y="462"/>
                    </a:lnTo>
                    <a:lnTo>
                      <a:pt x="185" y="477"/>
                    </a:lnTo>
                    <a:lnTo>
                      <a:pt x="181" y="473"/>
                    </a:lnTo>
                    <a:lnTo>
                      <a:pt x="176" y="473"/>
                    </a:lnTo>
                    <a:lnTo>
                      <a:pt x="175" y="471"/>
                    </a:lnTo>
                    <a:lnTo>
                      <a:pt x="174" y="466"/>
                    </a:lnTo>
                    <a:lnTo>
                      <a:pt x="172" y="465"/>
                    </a:lnTo>
                    <a:lnTo>
                      <a:pt x="168" y="463"/>
                    </a:lnTo>
                    <a:lnTo>
                      <a:pt x="165" y="463"/>
                    </a:lnTo>
                    <a:lnTo>
                      <a:pt x="162" y="462"/>
                    </a:lnTo>
                    <a:lnTo>
                      <a:pt x="161" y="459"/>
                    </a:lnTo>
                    <a:lnTo>
                      <a:pt x="157" y="458"/>
                    </a:lnTo>
                    <a:lnTo>
                      <a:pt x="161" y="456"/>
                    </a:lnTo>
                    <a:lnTo>
                      <a:pt x="157" y="454"/>
                    </a:lnTo>
                    <a:lnTo>
                      <a:pt x="156" y="452"/>
                    </a:lnTo>
                    <a:lnTo>
                      <a:pt x="154" y="448"/>
                    </a:lnTo>
                    <a:lnTo>
                      <a:pt x="153" y="448"/>
                    </a:lnTo>
                    <a:lnTo>
                      <a:pt x="151" y="449"/>
                    </a:lnTo>
                    <a:lnTo>
                      <a:pt x="150" y="448"/>
                    </a:lnTo>
                    <a:lnTo>
                      <a:pt x="149" y="446"/>
                    </a:lnTo>
                    <a:lnTo>
                      <a:pt x="147" y="443"/>
                    </a:lnTo>
                    <a:lnTo>
                      <a:pt x="144" y="442"/>
                    </a:lnTo>
                    <a:lnTo>
                      <a:pt x="144" y="439"/>
                    </a:lnTo>
                    <a:lnTo>
                      <a:pt x="140" y="432"/>
                    </a:lnTo>
                    <a:lnTo>
                      <a:pt x="134" y="423"/>
                    </a:lnTo>
                    <a:lnTo>
                      <a:pt x="131" y="423"/>
                    </a:lnTo>
                    <a:lnTo>
                      <a:pt x="128" y="425"/>
                    </a:lnTo>
                    <a:lnTo>
                      <a:pt x="126" y="424"/>
                    </a:lnTo>
                    <a:lnTo>
                      <a:pt x="126" y="421"/>
                    </a:lnTo>
                    <a:lnTo>
                      <a:pt x="123" y="423"/>
                    </a:lnTo>
                    <a:lnTo>
                      <a:pt x="119" y="423"/>
                    </a:lnTo>
                    <a:lnTo>
                      <a:pt x="114" y="420"/>
                    </a:lnTo>
                    <a:lnTo>
                      <a:pt x="113" y="415"/>
                    </a:lnTo>
                    <a:lnTo>
                      <a:pt x="105" y="408"/>
                    </a:lnTo>
                    <a:lnTo>
                      <a:pt x="101" y="408"/>
                    </a:lnTo>
                    <a:lnTo>
                      <a:pt x="99" y="405"/>
                    </a:lnTo>
                    <a:lnTo>
                      <a:pt x="96" y="406"/>
                    </a:lnTo>
                    <a:lnTo>
                      <a:pt x="95" y="405"/>
                    </a:lnTo>
                    <a:lnTo>
                      <a:pt x="83" y="405"/>
                    </a:lnTo>
                    <a:lnTo>
                      <a:pt x="78" y="404"/>
                    </a:lnTo>
                    <a:lnTo>
                      <a:pt x="75" y="404"/>
                    </a:lnTo>
                    <a:lnTo>
                      <a:pt x="70" y="404"/>
                    </a:lnTo>
                    <a:lnTo>
                      <a:pt x="70" y="406"/>
                    </a:lnTo>
                    <a:lnTo>
                      <a:pt x="68" y="407"/>
                    </a:lnTo>
                    <a:lnTo>
                      <a:pt x="63" y="406"/>
                    </a:lnTo>
                    <a:lnTo>
                      <a:pt x="54" y="408"/>
                    </a:lnTo>
                    <a:lnTo>
                      <a:pt x="54" y="410"/>
                    </a:lnTo>
                    <a:lnTo>
                      <a:pt x="48" y="411"/>
                    </a:lnTo>
                    <a:lnTo>
                      <a:pt x="41" y="408"/>
                    </a:lnTo>
                    <a:lnTo>
                      <a:pt x="35" y="408"/>
                    </a:lnTo>
                    <a:lnTo>
                      <a:pt x="29" y="408"/>
                    </a:lnTo>
                    <a:lnTo>
                      <a:pt x="28" y="410"/>
                    </a:lnTo>
                    <a:lnTo>
                      <a:pt x="25" y="410"/>
                    </a:lnTo>
                    <a:lnTo>
                      <a:pt x="22" y="417"/>
                    </a:lnTo>
                    <a:lnTo>
                      <a:pt x="19" y="423"/>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7" name="Freeform 133"/>
              <p:cNvSpPr>
                <a:spLocks/>
              </p:cNvSpPr>
              <p:nvPr/>
            </p:nvSpPr>
            <p:spPr bwMode="auto">
              <a:xfrm>
                <a:off x="575" y="1420"/>
                <a:ext cx="499" cy="501"/>
              </a:xfrm>
              <a:custGeom>
                <a:avLst/>
                <a:gdLst>
                  <a:gd name="T0" fmla="*/ 1350 w 466"/>
                  <a:gd name="T1" fmla="*/ 10867 h 477"/>
                  <a:gd name="T2" fmla="*/ 2036 w 466"/>
                  <a:gd name="T3" fmla="*/ 10183 h 477"/>
                  <a:gd name="T4" fmla="*/ 3196 w 466"/>
                  <a:gd name="T5" fmla="*/ 8754 h 477"/>
                  <a:gd name="T6" fmla="*/ 2866 w 466"/>
                  <a:gd name="T7" fmla="*/ 8055 h 477"/>
                  <a:gd name="T8" fmla="*/ 2036 w 466"/>
                  <a:gd name="T9" fmla="*/ 7556 h 477"/>
                  <a:gd name="T10" fmla="*/ 2604 w 466"/>
                  <a:gd name="T11" fmla="*/ 7090 h 477"/>
                  <a:gd name="T12" fmla="*/ 2036 w 466"/>
                  <a:gd name="T13" fmla="*/ 6438 h 477"/>
                  <a:gd name="T14" fmla="*/ 837 w 466"/>
                  <a:gd name="T15" fmla="*/ 6098 h 477"/>
                  <a:gd name="T16" fmla="*/ 0 w 466"/>
                  <a:gd name="T17" fmla="*/ 6119 h 477"/>
                  <a:gd name="T18" fmla="*/ 1 w 466"/>
                  <a:gd name="T19" fmla="*/ 5954 h 477"/>
                  <a:gd name="T20" fmla="*/ 959 w 466"/>
                  <a:gd name="T21" fmla="*/ 5638 h 477"/>
                  <a:gd name="T22" fmla="*/ 9547 w 466"/>
                  <a:gd name="T23" fmla="*/ 5638 h 477"/>
                  <a:gd name="T24" fmla="*/ 14084 w 466"/>
                  <a:gd name="T25" fmla="*/ 5379 h 477"/>
                  <a:gd name="T26" fmla="*/ 13740 w 466"/>
                  <a:gd name="T27" fmla="*/ 4240 h 477"/>
                  <a:gd name="T28" fmla="*/ 14421 w 466"/>
                  <a:gd name="T29" fmla="*/ 3844 h 477"/>
                  <a:gd name="T30" fmla="*/ 16871 w 466"/>
                  <a:gd name="T31" fmla="*/ 3672 h 477"/>
                  <a:gd name="T32" fmla="*/ 18136 w 466"/>
                  <a:gd name="T33" fmla="*/ 2037 h 477"/>
                  <a:gd name="T34" fmla="*/ 22737 w 466"/>
                  <a:gd name="T35" fmla="*/ 1072 h 477"/>
                  <a:gd name="T36" fmla="*/ 29356 w 466"/>
                  <a:gd name="T37" fmla="*/ 0 h 477"/>
                  <a:gd name="T38" fmla="*/ 42591 w 466"/>
                  <a:gd name="T39" fmla="*/ 2113 h 477"/>
                  <a:gd name="T40" fmla="*/ 37051 w 466"/>
                  <a:gd name="T41" fmla="*/ 4006 h 477"/>
                  <a:gd name="T42" fmla="*/ 38295 w 466"/>
                  <a:gd name="T43" fmla="*/ 6762 h 477"/>
                  <a:gd name="T44" fmla="*/ 39304 w 466"/>
                  <a:gd name="T45" fmla="*/ 9560 h 477"/>
                  <a:gd name="T46" fmla="*/ 40257 w 466"/>
                  <a:gd name="T47" fmla="*/ 11507 h 477"/>
                  <a:gd name="T48" fmla="*/ 29788 w 466"/>
                  <a:gd name="T49" fmla="*/ 11455 h 477"/>
                  <a:gd name="T50" fmla="*/ 22328 w 466"/>
                  <a:gd name="T51" fmla="*/ 11774 h 477"/>
                  <a:gd name="T52" fmla="*/ 20686 w 466"/>
                  <a:gd name="T53" fmla="*/ 11189 h 477"/>
                  <a:gd name="T54" fmla="*/ 19674 w 466"/>
                  <a:gd name="T55" fmla="*/ 11077 h 477"/>
                  <a:gd name="T56" fmla="*/ 19318 w 466"/>
                  <a:gd name="T57" fmla="*/ 11273 h 477"/>
                  <a:gd name="T58" fmla="*/ 16908 w 466"/>
                  <a:gd name="T59" fmla="*/ 12167 h 477"/>
                  <a:gd name="T60" fmla="*/ 15858 w 466"/>
                  <a:gd name="T61" fmla="*/ 12031 h 477"/>
                  <a:gd name="T62" fmla="*/ 15442 w 466"/>
                  <a:gd name="T63" fmla="*/ 11798 h 477"/>
                  <a:gd name="T64" fmla="*/ 14713 w 466"/>
                  <a:gd name="T65" fmla="*/ 11730 h 477"/>
                  <a:gd name="T66" fmla="*/ 14421 w 466"/>
                  <a:gd name="T67" fmla="*/ 11584 h 477"/>
                  <a:gd name="T68" fmla="*/ 13908 w 466"/>
                  <a:gd name="T69" fmla="*/ 11455 h 477"/>
                  <a:gd name="T70" fmla="*/ 13721 w 466"/>
                  <a:gd name="T71" fmla="*/ 11414 h 477"/>
                  <a:gd name="T72" fmla="*/ 13153 w 466"/>
                  <a:gd name="T73" fmla="*/ 11195 h 477"/>
                  <a:gd name="T74" fmla="*/ 11982 w 466"/>
                  <a:gd name="T75" fmla="*/ 10777 h 477"/>
                  <a:gd name="T76" fmla="*/ 11718 w 466"/>
                  <a:gd name="T77" fmla="*/ 10733 h 477"/>
                  <a:gd name="T78" fmla="*/ 10450 w 466"/>
                  <a:gd name="T79" fmla="*/ 10695 h 477"/>
                  <a:gd name="T80" fmla="*/ 9172 w 466"/>
                  <a:gd name="T81" fmla="*/ 10438 h 477"/>
                  <a:gd name="T82" fmla="*/ 8615 w 466"/>
                  <a:gd name="T83" fmla="*/ 10346 h 477"/>
                  <a:gd name="T84" fmla="*/ 6931 w 466"/>
                  <a:gd name="T85" fmla="*/ 10296 h 477"/>
                  <a:gd name="T86" fmla="*/ 6331 w 466"/>
                  <a:gd name="T87" fmla="*/ 10384 h 477"/>
                  <a:gd name="T88" fmla="*/ 4935 w 466"/>
                  <a:gd name="T89" fmla="*/ 10475 h 477"/>
                  <a:gd name="T90" fmla="*/ 3196 w 466"/>
                  <a:gd name="T91" fmla="*/ 10438 h 477"/>
                  <a:gd name="T92" fmla="*/ 2271 w 466"/>
                  <a:gd name="T93" fmla="*/ 10475 h 4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66"/>
                  <a:gd name="T142" fmla="*/ 0 h 477"/>
                  <a:gd name="T143" fmla="*/ 466 w 466"/>
                  <a:gd name="T144" fmla="*/ 477 h 4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66" h="477">
                    <a:moveTo>
                      <a:pt x="19" y="423"/>
                    </a:moveTo>
                    <a:lnTo>
                      <a:pt x="17" y="425"/>
                    </a:lnTo>
                    <a:lnTo>
                      <a:pt x="16" y="425"/>
                    </a:lnTo>
                    <a:lnTo>
                      <a:pt x="17" y="417"/>
                    </a:lnTo>
                    <a:lnTo>
                      <a:pt x="20" y="406"/>
                    </a:lnTo>
                    <a:lnTo>
                      <a:pt x="22" y="400"/>
                    </a:lnTo>
                    <a:lnTo>
                      <a:pt x="33" y="375"/>
                    </a:lnTo>
                    <a:lnTo>
                      <a:pt x="35" y="366"/>
                    </a:lnTo>
                    <a:lnTo>
                      <a:pt x="35" y="343"/>
                    </a:lnTo>
                    <a:lnTo>
                      <a:pt x="35" y="333"/>
                    </a:lnTo>
                    <a:lnTo>
                      <a:pt x="33" y="325"/>
                    </a:lnTo>
                    <a:lnTo>
                      <a:pt x="32" y="316"/>
                    </a:lnTo>
                    <a:lnTo>
                      <a:pt x="18" y="300"/>
                    </a:lnTo>
                    <a:lnTo>
                      <a:pt x="19" y="296"/>
                    </a:lnTo>
                    <a:lnTo>
                      <a:pt x="22" y="296"/>
                    </a:lnTo>
                    <a:lnTo>
                      <a:pt x="25" y="294"/>
                    </a:lnTo>
                    <a:lnTo>
                      <a:pt x="28" y="281"/>
                    </a:lnTo>
                    <a:lnTo>
                      <a:pt x="29" y="277"/>
                    </a:lnTo>
                    <a:lnTo>
                      <a:pt x="29" y="267"/>
                    </a:lnTo>
                    <a:lnTo>
                      <a:pt x="28" y="264"/>
                    </a:lnTo>
                    <a:lnTo>
                      <a:pt x="22" y="252"/>
                    </a:lnTo>
                    <a:lnTo>
                      <a:pt x="16" y="252"/>
                    </a:lnTo>
                    <a:lnTo>
                      <a:pt x="14" y="252"/>
                    </a:lnTo>
                    <a:lnTo>
                      <a:pt x="9" y="237"/>
                    </a:lnTo>
                    <a:lnTo>
                      <a:pt x="6" y="234"/>
                    </a:lnTo>
                    <a:lnTo>
                      <a:pt x="0" y="236"/>
                    </a:lnTo>
                    <a:lnTo>
                      <a:pt x="0" y="239"/>
                    </a:lnTo>
                    <a:lnTo>
                      <a:pt x="0" y="236"/>
                    </a:lnTo>
                    <a:lnTo>
                      <a:pt x="3" y="234"/>
                    </a:lnTo>
                    <a:lnTo>
                      <a:pt x="1" y="234"/>
                    </a:lnTo>
                    <a:lnTo>
                      <a:pt x="3" y="230"/>
                    </a:lnTo>
                    <a:lnTo>
                      <a:pt x="10" y="226"/>
                    </a:lnTo>
                    <a:lnTo>
                      <a:pt x="11" y="221"/>
                    </a:lnTo>
                    <a:lnTo>
                      <a:pt x="32" y="221"/>
                    </a:lnTo>
                    <a:lnTo>
                      <a:pt x="66" y="221"/>
                    </a:lnTo>
                    <a:lnTo>
                      <a:pt x="104" y="221"/>
                    </a:lnTo>
                    <a:lnTo>
                      <a:pt x="139" y="221"/>
                    </a:lnTo>
                    <a:lnTo>
                      <a:pt x="156" y="221"/>
                    </a:lnTo>
                    <a:lnTo>
                      <a:pt x="154" y="211"/>
                    </a:lnTo>
                    <a:lnTo>
                      <a:pt x="153" y="198"/>
                    </a:lnTo>
                    <a:lnTo>
                      <a:pt x="151" y="185"/>
                    </a:lnTo>
                    <a:lnTo>
                      <a:pt x="150" y="167"/>
                    </a:lnTo>
                    <a:lnTo>
                      <a:pt x="151" y="163"/>
                    </a:lnTo>
                    <a:lnTo>
                      <a:pt x="154" y="155"/>
                    </a:lnTo>
                    <a:lnTo>
                      <a:pt x="157" y="151"/>
                    </a:lnTo>
                    <a:lnTo>
                      <a:pt x="161" y="149"/>
                    </a:lnTo>
                    <a:lnTo>
                      <a:pt x="172" y="145"/>
                    </a:lnTo>
                    <a:lnTo>
                      <a:pt x="184" y="145"/>
                    </a:lnTo>
                    <a:lnTo>
                      <a:pt x="199" y="141"/>
                    </a:lnTo>
                    <a:lnTo>
                      <a:pt x="199" y="117"/>
                    </a:lnTo>
                    <a:lnTo>
                      <a:pt x="199" y="81"/>
                    </a:lnTo>
                    <a:lnTo>
                      <a:pt x="199" y="43"/>
                    </a:lnTo>
                    <a:lnTo>
                      <a:pt x="210" y="43"/>
                    </a:lnTo>
                    <a:lnTo>
                      <a:pt x="248" y="43"/>
                    </a:lnTo>
                    <a:lnTo>
                      <a:pt x="286" y="43"/>
                    </a:lnTo>
                    <a:lnTo>
                      <a:pt x="322" y="43"/>
                    </a:lnTo>
                    <a:lnTo>
                      <a:pt x="322" y="0"/>
                    </a:lnTo>
                    <a:lnTo>
                      <a:pt x="371" y="27"/>
                    </a:lnTo>
                    <a:lnTo>
                      <a:pt x="412" y="51"/>
                    </a:lnTo>
                    <a:lnTo>
                      <a:pt x="466" y="83"/>
                    </a:lnTo>
                    <a:lnTo>
                      <a:pt x="398" y="83"/>
                    </a:lnTo>
                    <a:lnTo>
                      <a:pt x="402" y="120"/>
                    </a:lnTo>
                    <a:lnTo>
                      <a:pt x="405" y="157"/>
                    </a:lnTo>
                    <a:lnTo>
                      <a:pt x="410" y="193"/>
                    </a:lnTo>
                    <a:lnTo>
                      <a:pt x="414" y="229"/>
                    </a:lnTo>
                    <a:lnTo>
                      <a:pt x="417" y="265"/>
                    </a:lnTo>
                    <a:lnTo>
                      <a:pt x="422" y="301"/>
                    </a:lnTo>
                    <a:lnTo>
                      <a:pt x="425" y="338"/>
                    </a:lnTo>
                    <a:lnTo>
                      <a:pt x="430" y="375"/>
                    </a:lnTo>
                    <a:lnTo>
                      <a:pt x="435" y="414"/>
                    </a:lnTo>
                    <a:lnTo>
                      <a:pt x="450" y="418"/>
                    </a:lnTo>
                    <a:lnTo>
                      <a:pt x="441" y="450"/>
                    </a:lnTo>
                    <a:lnTo>
                      <a:pt x="428" y="450"/>
                    </a:lnTo>
                    <a:lnTo>
                      <a:pt x="377" y="449"/>
                    </a:lnTo>
                    <a:lnTo>
                      <a:pt x="326" y="448"/>
                    </a:lnTo>
                    <a:lnTo>
                      <a:pt x="264" y="447"/>
                    </a:lnTo>
                    <a:lnTo>
                      <a:pt x="247" y="462"/>
                    </a:lnTo>
                    <a:lnTo>
                      <a:pt x="245" y="462"/>
                    </a:lnTo>
                    <a:lnTo>
                      <a:pt x="233" y="459"/>
                    </a:lnTo>
                    <a:lnTo>
                      <a:pt x="226" y="447"/>
                    </a:lnTo>
                    <a:lnTo>
                      <a:pt x="225" y="438"/>
                    </a:lnTo>
                    <a:lnTo>
                      <a:pt x="221" y="436"/>
                    </a:lnTo>
                    <a:lnTo>
                      <a:pt x="217" y="436"/>
                    </a:lnTo>
                    <a:lnTo>
                      <a:pt x="216" y="435"/>
                    </a:lnTo>
                    <a:lnTo>
                      <a:pt x="214" y="435"/>
                    </a:lnTo>
                    <a:lnTo>
                      <a:pt x="213" y="435"/>
                    </a:lnTo>
                    <a:lnTo>
                      <a:pt x="210" y="442"/>
                    </a:lnTo>
                    <a:lnTo>
                      <a:pt x="206" y="450"/>
                    </a:lnTo>
                    <a:lnTo>
                      <a:pt x="202" y="462"/>
                    </a:lnTo>
                    <a:lnTo>
                      <a:pt x="185" y="477"/>
                    </a:lnTo>
                    <a:lnTo>
                      <a:pt x="181" y="473"/>
                    </a:lnTo>
                    <a:lnTo>
                      <a:pt x="176" y="473"/>
                    </a:lnTo>
                    <a:lnTo>
                      <a:pt x="175" y="471"/>
                    </a:lnTo>
                    <a:lnTo>
                      <a:pt x="174" y="466"/>
                    </a:lnTo>
                    <a:lnTo>
                      <a:pt x="172" y="465"/>
                    </a:lnTo>
                    <a:lnTo>
                      <a:pt x="168" y="463"/>
                    </a:lnTo>
                    <a:lnTo>
                      <a:pt x="165" y="463"/>
                    </a:lnTo>
                    <a:lnTo>
                      <a:pt x="162" y="462"/>
                    </a:lnTo>
                    <a:lnTo>
                      <a:pt x="161" y="459"/>
                    </a:lnTo>
                    <a:lnTo>
                      <a:pt x="157" y="458"/>
                    </a:lnTo>
                    <a:lnTo>
                      <a:pt x="161" y="456"/>
                    </a:lnTo>
                    <a:lnTo>
                      <a:pt x="157" y="454"/>
                    </a:lnTo>
                    <a:lnTo>
                      <a:pt x="156" y="452"/>
                    </a:lnTo>
                    <a:lnTo>
                      <a:pt x="154" y="448"/>
                    </a:lnTo>
                    <a:lnTo>
                      <a:pt x="153" y="448"/>
                    </a:lnTo>
                    <a:lnTo>
                      <a:pt x="151" y="449"/>
                    </a:lnTo>
                    <a:lnTo>
                      <a:pt x="150" y="448"/>
                    </a:lnTo>
                    <a:lnTo>
                      <a:pt x="149" y="446"/>
                    </a:lnTo>
                    <a:lnTo>
                      <a:pt x="147" y="443"/>
                    </a:lnTo>
                    <a:lnTo>
                      <a:pt x="144" y="442"/>
                    </a:lnTo>
                    <a:lnTo>
                      <a:pt x="144" y="439"/>
                    </a:lnTo>
                    <a:lnTo>
                      <a:pt x="140" y="432"/>
                    </a:lnTo>
                    <a:lnTo>
                      <a:pt x="134" y="423"/>
                    </a:lnTo>
                    <a:lnTo>
                      <a:pt x="131" y="423"/>
                    </a:lnTo>
                    <a:lnTo>
                      <a:pt x="128" y="425"/>
                    </a:lnTo>
                    <a:lnTo>
                      <a:pt x="126" y="424"/>
                    </a:lnTo>
                    <a:lnTo>
                      <a:pt x="126" y="421"/>
                    </a:lnTo>
                    <a:lnTo>
                      <a:pt x="123" y="423"/>
                    </a:lnTo>
                    <a:lnTo>
                      <a:pt x="119" y="423"/>
                    </a:lnTo>
                    <a:lnTo>
                      <a:pt x="114" y="420"/>
                    </a:lnTo>
                    <a:lnTo>
                      <a:pt x="113" y="415"/>
                    </a:lnTo>
                    <a:lnTo>
                      <a:pt x="105" y="408"/>
                    </a:lnTo>
                    <a:lnTo>
                      <a:pt x="101" y="408"/>
                    </a:lnTo>
                    <a:lnTo>
                      <a:pt x="99" y="405"/>
                    </a:lnTo>
                    <a:lnTo>
                      <a:pt x="96" y="406"/>
                    </a:lnTo>
                    <a:lnTo>
                      <a:pt x="95" y="405"/>
                    </a:lnTo>
                    <a:lnTo>
                      <a:pt x="83" y="405"/>
                    </a:lnTo>
                    <a:lnTo>
                      <a:pt x="78" y="404"/>
                    </a:lnTo>
                    <a:lnTo>
                      <a:pt x="75" y="404"/>
                    </a:lnTo>
                    <a:lnTo>
                      <a:pt x="70" y="404"/>
                    </a:lnTo>
                    <a:lnTo>
                      <a:pt x="70" y="406"/>
                    </a:lnTo>
                    <a:lnTo>
                      <a:pt x="68" y="407"/>
                    </a:lnTo>
                    <a:lnTo>
                      <a:pt x="63" y="406"/>
                    </a:lnTo>
                    <a:lnTo>
                      <a:pt x="54" y="408"/>
                    </a:lnTo>
                    <a:lnTo>
                      <a:pt x="54" y="410"/>
                    </a:lnTo>
                    <a:lnTo>
                      <a:pt x="48" y="411"/>
                    </a:lnTo>
                    <a:lnTo>
                      <a:pt x="41" y="408"/>
                    </a:lnTo>
                    <a:lnTo>
                      <a:pt x="35" y="408"/>
                    </a:lnTo>
                    <a:lnTo>
                      <a:pt x="29" y="408"/>
                    </a:lnTo>
                    <a:lnTo>
                      <a:pt x="28" y="410"/>
                    </a:lnTo>
                    <a:lnTo>
                      <a:pt x="25" y="410"/>
                    </a:lnTo>
                    <a:lnTo>
                      <a:pt x="22" y="417"/>
                    </a:lnTo>
                    <a:lnTo>
                      <a:pt x="19" y="423"/>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38" name="Freeform 134"/>
              <p:cNvSpPr>
                <a:spLocks/>
              </p:cNvSpPr>
              <p:nvPr/>
            </p:nvSpPr>
            <p:spPr bwMode="auto">
              <a:xfrm>
                <a:off x="2541" y="2432"/>
                <a:ext cx="38" cy="48"/>
              </a:xfrm>
              <a:custGeom>
                <a:avLst/>
                <a:gdLst>
                  <a:gd name="T0" fmla="*/ 6893 w 35"/>
                  <a:gd name="T1" fmla="*/ 2 h 46"/>
                  <a:gd name="T2" fmla="*/ 7330 w 35"/>
                  <a:gd name="T3" fmla="*/ 0 h 46"/>
                  <a:gd name="T4" fmla="*/ 7734 w 35"/>
                  <a:gd name="T5" fmla="*/ 0 h 46"/>
                  <a:gd name="T6" fmla="*/ 7958 w 35"/>
                  <a:gd name="T7" fmla="*/ 2 h 46"/>
                  <a:gd name="T8" fmla="*/ 7958 w 35"/>
                  <a:gd name="T9" fmla="*/ 241 h 46"/>
                  <a:gd name="T10" fmla="*/ 7734 w 35"/>
                  <a:gd name="T11" fmla="*/ 297 h 46"/>
                  <a:gd name="T12" fmla="*/ 6893 w 35"/>
                  <a:gd name="T13" fmla="*/ 337 h 46"/>
                  <a:gd name="T14" fmla="*/ 5386 w 35"/>
                  <a:gd name="T15" fmla="*/ 400 h 46"/>
                  <a:gd name="T16" fmla="*/ 4569 w 35"/>
                  <a:gd name="T17" fmla="*/ 454 h 46"/>
                  <a:gd name="T18" fmla="*/ 2569 w 35"/>
                  <a:gd name="T19" fmla="*/ 638 h 46"/>
                  <a:gd name="T20" fmla="*/ 1849 w 35"/>
                  <a:gd name="T21" fmla="*/ 744 h 46"/>
                  <a:gd name="T22" fmla="*/ 4 w 35"/>
                  <a:gd name="T23" fmla="*/ 744 h 46"/>
                  <a:gd name="T24" fmla="*/ 3 w 35"/>
                  <a:gd name="T25" fmla="*/ 713 h 46"/>
                  <a:gd name="T26" fmla="*/ 3 w 35"/>
                  <a:gd name="T27" fmla="*/ 638 h 46"/>
                  <a:gd name="T28" fmla="*/ 1 w 35"/>
                  <a:gd name="T29" fmla="*/ 638 h 46"/>
                  <a:gd name="T30" fmla="*/ 0 w 35"/>
                  <a:gd name="T31" fmla="*/ 638 h 46"/>
                  <a:gd name="T32" fmla="*/ 0 w 35"/>
                  <a:gd name="T33" fmla="*/ 517 h 46"/>
                  <a:gd name="T34" fmla="*/ 3 w 35"/>
                  <a:gd name="T35" fmla="*/ 417 h 46"/>
                  <a:gd name="T36" fmla="*/ 2366 w 35"/>
                  <a:gd name="T37" fmla="*/ 297 h 46"/>
                  <a:gd name="T38" fmla="*/ 4961 w 35"/>
                  <a:gd name="T39" fmla="*/ 9 h 46"/>
                  <a:gd name="T40" fmla="*/ 6043 w 35"/>
                  <a:gd name="T41" fmla="*/ 4 h 46"/>
                  <a:gd name="T42" fmla="*/ 6893 w 35"/>
                  <a:gd name="T43" fmla="*/ 2 h 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
                  <a:gd name="T67" fmla="*/ 0 h 46"/>
                  <a:gd name="T68" fmla="*/ 35 w 35"/>
                  <a:gd name="T69" fmla="*/ 46 h 4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 h="46">
                    <a:moveTo>
                      <a:pt x="30" y="2"/>
                    </a:moveTo>
                    <a:lnTo>
                      <a:pt x="32" y="0"/>
                    </a:lnTo>
                    <a:lnTo>
                      <a:pt x="34" y="0"/>
                    </a:lnTo>
                    <a:lnTo>
                      <a:pt x="35" y="2"/>
                    </a:lnTo>
                    <a:lnTo>
                      <a:pt x="35" y="14"/>
                    </a:lnTo>
                    <a:lnTo>
                      <a:pt x="34" y="19"/>
                    </a:lnTo>
                    <a:lnTo>
                      <a:pt x="30" y="22"/>
                    </a:lnTo>
                    <a:lnTo>
                      <a:pt x="24" y="26"/>
                    </a:lnTo>
                    <a:lnTo>
                      <a:pt x="20" y="29"/>
                    </a:lnTo>
                    <a:lnTo>
                      <a:pt x="12" y="39"/>
                    </a:lnTo>
                    <a:lnTo>
                      <a:pt x="8" y="46"/>
                    </a:lnTo>
                    <a:lnTo>
                      <a:pt x="4" y="46"/>
                    </a:lnTo>
                    <a:lnTo>
                      <a:pt x="3" y="44"/>
                    </a:lnTo>
                    <a:lnTo>
                      <a:pt x="3" y="39"/>
                    </a:lnTo>
                    <a:lnTo>
                      <a:pt x="1" y="39"/>
                    </a:lnTo>
                    <a:lnTo>
                      <a:pt x="0" y="39"/>
                    </a:lnTo>
                    <a:lnTo>
                      <a:pt x="0" y="32"/>
                    </a:lnTo>
                    <a:lnTo>
                      <a:pt x="3" y="27"/>
                    </a:lnTo>
                    <a:lnTo>
                      <a:pt x="11" y="19"/>
                    </a:lnTo>
                    <a:lnTo>
                      <a:pt x="22" y="9"/>
                    </a:lnTo>
                    <a:lnTo>
                      <a:pt x="27" y="4"/>
                    </a:lnTo>
                    <a:lnTo>
                      <a:pt x="3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9" name="Freeform 135"/>
              <p:cNvSpPr>
                <a:spLocks/>
              </p:cNvSpPr>
              <p:nvPr/>
            </p:nvSpPr>
            <p:spPr bwMode="auto">
              <a:xfrm>
                <a:off x="1818" y="1940"/>
                <a:ext cx="85" cy="75"/>
              </a:xfrm>
              <a:custGeom>
                <a:avLst/>
                <a:gdLst>
                  <a:gd name="T0" fmla="*/ 3230 w 80"/>
                  <a:gd name="T1" fmla="*/ 2272 h 71"/>
                  <a:gd name="T2" fmla="*/ 3865 w 80"/>
                  <a:gd name="T3" fmla="*/ 2136 h 71"/>
                  <a:gd name="T4" fmla="*/ 4153 w 80"/>
                  <a:gd name="T5" fmla="*/ 1914 h 71"/>
                  <a:gd name="T6" fmla="*/ 4364 w 80"/>
                  <a:gd name="T7" fmla="*/ 1727 h 71"/>
                  <a:gd name="T8" fmla="*/ 4374 w 80"/>
                  <a:gd name="T9" fmla="*/ 1635 h 71"/>
                  <a:gd name="T10" fmla="*/ 4111 w 80"/>
                  <a:gd name="T11" fmla="*/ 1243 h 71"/>
                  <a:gd name="T12" fmla="*/ 3865 w 80"/>
                  <a:gd name="T13" fmla="*/ 1243 h 71"/>
                  <a:gd name="T14" fmla="*/ 3511 w 80"/>
                  <a:gd name="T15" fmla="*/ 1243 h 71"/>
                  <a:gd name="T16" fmla="*/ 3230 w 80"/>
                  <a:gd name="T17" fmla="*/ 1114 h 71"/>
                  <a:gd name="T18" fmla="*/ 2856 w 80"/>
                  <a:gd name="T19" fmla="*/ 1177 h 71"/>
                  <a:gd name="T20" fmla="*/ 2161 w 80"/>
                  <a:gd name="T21" fmla="*/ 1114 h 71"/>
                  <a:gd name="T22" fmla="*/ 2034 w 80"/>
                  <a:gd name="T23" fmla="*/ 543 h 71"/>
                  <a:gd name="T24" fmla="*/ 1758 w 80"/>
                  <a:gd name="T25" fmla="*/ 413 h 71"/>
                  <a:gd name="T26" fmla="*/ 1558 w 80"/>
                  <a:gd name="T27" fmla="*/ 7 h 71"/>
                  <a:gd name="T28" fmla="*/ 1380 w 80"/>
                  <a:gd name="T29" fmla="*/ 4 h 71"/>
                  <a:gd name="T30" fmla="*/ 753 w 80"/>
                  <a:gd name="T31" fmla="*/ 0 h 71"/>
                  <a:gd name="T32" fmla="*/ 591 w 80"/>
                  <a:gd name="T33" fmla="*/ 2 h 71"/>
                  <a:gd name="T34" fmla="*/ 7 w 80"/>
                  <a:gd name="T35" fmla="*/ 4 h 71"/>
                  <a:gd name="T36" fmla="*/ 3 w 80"/>
                  <a:gd name="T37" fmla="*/ 5 h 71"/>
                  <a:gd name="T38" fmla="*/ 0 w 80"/>
                  <a:gd name="T39" fmla="*/ 413 h 71"/>
                  <a:gd name="T40" fmla="*/ 0 w 80"/>
                  <a:gd name="T41" fmla="*/ 514 h 71"/>
                  <a:gd name="T42" fmla="*/ 2 w 80"/>
                  <a:gd name="T43" fmla="*/ 606 h 71"/>
                  <a:gd name="T44" fmla="*/ 5 w 80"/>
                  <a:gd name="T45" fmla="*/ 714 h 71"/>
                  <a:gd name="T46" fmla="*/ 7 w 80"/>
                  <a:gd name="T47" fmla="*/ 1106 h 71"/>
                  <a:gd name="T48" fmla="*/ 591 w 80"/>
                  <a:gd name="T49" fmla="*/ 1243 h 71"/>
                  <a:gd name="T50" fmla="*/ 800 w 80"/>
                  <a:gd name="T51" fmla="*/ 1537 h 71"/>
                  <a:gd name="T52" fmla="*/ 1380 w 80"/>
                  <a:gd name="T53" fmla="*/ 1635 h 71"/>
                  <a:gd name="T54" fmla="*/ 1501 w 80"/>
                  <a:gd name="T55" fmla="*/ 1914 h 71"/>
                  <a:gd name="T56" fmla="*/ 1758 w 80"/>
                  <a:gd name="T57" fmla="*/ 2432 h 71"/>
                  <a:gd name="T58" fmla="*/ 2161 w 80"/>
                  <a:gd name="T59" fmla="*/ 2659 h 71"/>
                  <a:gd name="T60" fmla="*/ 2380 w 80"/>
                  <a:gd name="T61" fmla="*/ 2659 h 71"/>
                  <a:gd name="T62" fmla="*/ 2687 w 80"/>
                  <a:gd name="T63" fmla="*/ 2272 h 71"/>
                  <a:gd name="T64" fmla="*/ 3033 w 80"/>
                  <a:gd name="T65" fmla="*/ 2272 h 71"/>
                  <a:gd name="T66" fmla="*/ 3230 w 80"/>
                  <a:gd name="T67" fmla="*/ 2272 h 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0"/>
                  <a:gd name="T103" fmla="*/ 0 h 71"/>
                  <a:gd name="T104" fmla="*/ 80 w 80"/>
                  <a:gd name="T105" fmla="*/ 71 h 7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0" h="71">
                    <a:moveTo>
                      <a:pt x="59" y="61"/>
                    </a:moveTo>
                    <a:lnTo>
                      <a:pt x="69" y="57"/>
                    </a:lnTo>
                    <a:lnTo>
                      <a:pt x="76" y="51"/>
                    </a:lnTo>
                    <a:lnTo>
                      <a:pt x="78" y="46"/>
                    </a:lnTo>
                    <a:lnTo>
                      <a:pt x="80" y="44"/>
                    </a:lnTo>
                    <a:lnTo>
                      <a:pt x="74" y="34"/>
                    </a:lnTo>
                    <a:lnTo>
                      <a:pt x="69" y="34"/>
                    </a:lnTo>
                    <a:lnTo>
                      <a:pt x="64" y="34"/>
                    </a:lnTo>
                    <a:lnTo>
                      <a:pt x="59" y="30"/>
                    </a:lnTo>
                    <a:lnTo>
                      <a:pt x="52" y="32"/>
                    </a:lnTo>
                    <a:lnTo>
                      <a:pt x="39" y="30"/>
                    </a:lnTo>
                    <a:lnTo>
                      <a:pt x="37" y="15"/>
                    </a:lnTo>
                    <a:lnTo>
                      <a:pt x="32" y="10"/>
                    </a:lnTo>
                    <a:lnTo>
                      <a:pt x="28" y="7"/>
                    </a:lnTo>
                    <a:lnTo>
                      <a:pt x="24" y="4"/>
                    </a:lnTo>
                    <a:lnTo>
                      <a:pt x="14" y="0"/>
                    </a:lnTo>
                    <a:lnTo>
                      <a:pt x="10" y="2"/>
                    </a:lnTo>
                    <a:lnTo>
                      <a:pt x="7" y="4"/>
                    </a:lnTo>
                    <a:lnTo>
                      <a:pt x="3" y="5"/>
                    </a:lnTo>
                    <a:lnTo>
                      <a:pt x="0" y="10"/>
                    </a:lnTo>
                    <a:lnTo>
                      <a:pt x="0" y="14"/>
                    </a:lnTo>
                    <a:lnTo>
                      <a:pt x="2" y="17"/>
                    </a:lnTo>
                    <a:lnTo>
                      <a:pt x="5" y="20"/>
                    </a:lnTo>
                    <a:lnTo>
                      <a:pt x="7" y="29"/>
                    </a:lnTo>
                    <a:lnTo>
                      <a:pt x="10" y="34"/>
                    </a:lnTo>
                    <a:lnTo>
                      <a:pt x="15" y="41"/>
                    </a:lnTo>
                    <a:lnTo>
                      <a:pt x="24" y="44"/>
                    </a:lnTo>
                    <a:lnTo>
                      <a:pt x="27" y="51"/>
                    </a:lnTo>
                    <a:lnTo>
                      <a:pt x="32" y="66"/>
                    </a:lnTo>
                    <a:lnTo>
                      <a:pt x="39" y="71"/>
                    </a:lnTo>
                    <a:lnTo>
                      <a:pt x="42" y="71"/>
                    </a:lnTo>
                    <a:lnTo>
                      <a:pt x="48" y="61"/>
                    </a:lnTo>
                    <a:lnTo>
                      <a:pt x="54" y="61"/>
                    </a:lnTo>
                    <a:lnTo>
                      <a:pt x="59"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0" name="Freeform 136"/>
              <p:cNvSpPr>
                <a:spLocks/>
              </p:cNvSpPr>
              <p:nvPr/>
            </p:nvSpPr>
            <p:spPr bwMode="auto">
              <a:xfrm>
                <a:off x="2767" y="2341"/>
                <a:ext cx="35" cy="86"/>
              </a:xfrm>
              <a:custGeom>
                <a:avLst/>
                <a:gdLst>
                  <a:gd name="T0" fmla="*/ 7 w 33"/>
                  <a:gd name="T1" fmla="*/ 0 h 82"/>
                  <a:gd name="T2" fmla="*/ 2 w 33"/>
                  <a:gd name="T3" fmla="*/ 4 h 82"/>
                  <a:gd name="T4" fmla="*/ 0 w 33"/>
                  <a:gd name="T5" fmla="*/ 309 h 82"/>
                  <a:gd name="T6" fmla="*/ 0 w 33"/>
                  <a:gd name="T7" fmla="*/ 497 h 82"/>
                  <a:gd name="T8" fmla="*/ 2 w 33"/>
                  <a:gd name="T9" fmla="*/ 795 h 82"/>
                  <a:gd name="T10" fmla="*/ 6 w 33"/>
                  <a:gd name="T11" fmla="*/ 918 h 82"/>
                  <a:gd name="T12" fmla="*/ 6 w 33"/>
                  <a:gd name="T13" fmla="*/ 1165 h 82"/>
                  <a:gd name="T14" fmla="*/ 7 w 33"/>
                  <a:gd name="T15" fmla="*/ 1268 h 82"/>
                  <a:gd name="T16" fmla="*/ 549 w 33"/>
                  <a:gd name="T17" fmla="*/ 1330 h 82"/>
                  <a:gd name="T18" fmla="*/ 878 w 33"/>
                  <a:gd name="T19" fmla="*/ 1463 h 82"/>
                  <a:gd name="T20" fmla="*/ 1177 w 33"/>
                  <a:gd name="T21" fmla="*/ 1552 h 82"/>
                  <a:gd name="T22" fmla="*/ 1404 w 33"/>
                  <a:gd name="T23" fmla="*/ 1877 h 82"/>
                  <a:gd name="T24" fmla="*/ 1579 w 33"/>
                  <a:gd name="T25" fmla="*/ 1884 h 82"/>
                  <a:gd name="T26" fmla="*/ 1404 w 33"/>
                  <a:gd name="T27" fmla="*/ 1628 h 82"/>
                  <a:gd name="T28" fmla="*/ 1110 w 33"/>
                  <a:gd name="T29" fmla="*/ 1411 h 82"/>
                  <a:gd name="T30" fmla="*/ 781 w 33"/>
                  <a:gd name="T31" fmla="*/ 1268 h 82"/>
                  <a:gd name="T32" fmla="*/ 736 w 33"/>
                  <a:gd name="T33" fmla="*/ 1010 h 82"/>
                  <a:gd name="T34" fmla="*/ 654 w 33"/>
                  <a:gd name="T35" fmla="*/ 762 h 82"/>
                  <a:gd name="T36" fmla="*/ 781 w 33"/>
                  <a:gd name="T37" fmla="*/ 661 h 82"/>
                  <a:gd name="T38" fmla="*/ 654 w 33"/>
                  <a:gd name="T39" fmla="*/ 452 h 82"/>
                  <a:gd name="T40" fmla="*/ 654 w 33"/>
                  <a:gd name="T41" fmla="*/ 309 h 82"/>
                  <a:gd name="T42" fmla="*/ 549 w 33"/>
                  <a:gd name="T43" fmla="*/ 6 h 82"/>
                  <a:gd name="T44" fmla="*/ 7 w 33"/>
                  <a:gd name="T45" fmla="*/ 0 h 8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
                  <a:gd name="T70" fmla="*/ 0 h 82"/>
                  <a:gd name="T71" fmla="*/ 33 w 33"/>
                  <a:gd name="T72" fmla="*/ 82 h 8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 h="82">
                    <a:moveTo>
                      <a:pt x="7" y="0"/>
                    </a:moveTo>
                    <a:lnTo>
                      <a:pt x="2" y="4"/>
                    </a:lnTo>
                    <a:lnTo>
                      <a:pt x="0" y="13"/>
                    </a:lnTo>
                    <a:lnTo>
                      <a:pt x="0" y="23"/>
                    </a:lnTo>
                    <a:lnTo>
                      <a:pt x="2" y="34"/>
                    </a:lnTo>
                    <a:lnTo>
                      <a:pt x="6" y="40"/>
                    </a:lnTo>
                    <a:lnTo>
                      <a:pt x="6" y="50"/>
                    </a:lnTo>
                    <a:lnTo>
                      <a:pt x="7" y="54"/>
                    </a:lnTo>
                    <a:lnTo>
                      <a:pt x="11" y="57"/>
                    </a:lnTo>
                    <a:lnTo>
                      <a:pt x="19" y="63"/>
                    </a:lnTo>
                    <a:lnTo>
                      <a:pt x="24" y="67"/>
                    </a:lnTo>
                    <a:lnTo>
                      <a:pt x="29" y="81"/>
                    </a:lnTo>
                    <a:lnTo>
                      <a:pt x="33" y="82"/>
                    </a:lnTo>
                    <a:lnTo>
                      <a:pt x="29" y="70"/>
                    </a:lnTo>
                    <a:lnTo>
                      <a:pt x="23" y="61"/>
                    </a:lnTo>
                    <a:lnTo>
                      <a:pt x="17" y="54"/>
                    </a:lnTo>
                    <a:lnTo>
                      <a:pt x="16" y="44"/>
                    </a:lnTo>
                    <a:lnTo>
                      <a:pt x="14" y="33"/>
                    </a:lnTo>
                    <a:lnTo>
                      <a:pt x="17" y="29"/>
                    </a:lnTo>
                    <a:lnTo>
                      <a:pt x="14" y="21"/>
                    </a:lnTo>
                    <a:lnTo>
                      <a:pt x="14" y="13"/>
                    </a:lnTo>
                    <a:lnTo>
                      <a:pt x="11" y="6"/>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1" name="Freeform 137"/>
              <p:cNvSpPr>
                <a:spLocks/>
              </p:cNvSpPr>
              <p:nvPr/>
            </p:nvSpPr>
            <p:spPr bwMode="auto">
              <a:xfrm>
                <a:off x="2767" y="2341"/>
                <a:ext cx="35" cy="86"/>
              </a:xfrm>
              <a:custGeom>
                <a:avLst/>
                <a:gdLst>
                  <a:gd name="T0" fmla="*/ 7 w 33"/>
                  <a:gd name="T1" fmla="*/ 0 h 82"/>
                  <a:gd name="T2" fmla="*/ 2 w 33"/>
                  <a:gd name="T3" fmla="*/ 4 h 82"/>
                  <a:gd name="T4" fmla="*/ 0 w 33"/>
                  <a:gd name="T5" fmla="*/ 309 h 82"/>
                  <a:gd name="T6" fmla="*/ 0 w 33"/>
                  <a:gd name="T7" fmla="*/ 497 h 82"/>
                  <a:gd name="T8" fmla="*/ 2 w 33"/>
                  <a:gd name="T9" fmla="*/ 795 h 82"/>
                  <a:gd name="T10" fmla="*/ 6 w 33"/>
                  <a:gd name="T11" fmla="*/ 918 h 82"/>
                  <a:gd name="T12" fmla="*/ 6 w 33"/>
                  <a:gd name="T13" fmla="*/ 1165 h 82"/>
                  <a:gd name="T14" fmla="*/ 7 w 33"/>
                  <a:gd name="T15" fmla="*/ 1268 h 82"/>
                  <a:gd name="T16" fmla="*/ 549 w 33"/>
                  <a:gd name="T17" fmla="*/ 1330 h 82"/>
                  <a:gd name="T18" fmla="*/ 878 w 33"/>
                  <a:gd name="T19" fmla="*/ 1463 h 82"/>
                  <a:gd name="T20" fmla="*/ 1177 w 33"/>
                  <a:gd name="T21" fmla="*/ 1552 h 82"/>
                  <a:gd name="T22" fmla="*/ 1404 w 33"/>
                  <a:gd name="T23" fmla="*/ 1877 h 82"/>
                  <a:gd name="T24" fmla="*/ 1579 w 33"/>
                  <a:gd name="T25" fmla="*/ 1884 h 82"/>
                  <a:gd name="T26" fmla="*/ 1404 w 33"/>
                  <a:gd name="T27" fmla="*/ 1628 h 82"/>
                  <a:gd name="T28" fmla="*/ 1110 w 33"/>
                  <a:gd name="T29" fmla="*/ 1411 h 82"/>
                  <a:gd name="T30" fmla="*/ 781 w 33"/>
                  <a:gd name="T31" fmla="*/ 1268 h 82"/>
                  <a:gd name="T32" fmla="*/ 736 w 33"/>
                  <a:gd name="T33" fmla="*/ 1010 h 82"/>
                  <a:gd name="T34" fmla="*/ 654 w 33"/>
                  <a:gd name="T35" fmla="*/ 762 h 82"/>
                  <a:gd name="T36" fmla="*/ 781 w 33"/>
                  <a:gd name="T37" fmla="*/ 661 h 82"/>
                  <a:gd name="T38" fmla="*/ 654 w 33"/>
                  <a:gd name="T39" fmla="*/ 452 h 82"/>
                  <a:gd name="T40" fmla="*/ 654 w 33"/>
                  <a:gd name="T41" fmla="*/ 309 h 82"/>
                  <a:gd name="T42" fmla="*/ 549 w 33"/>
                  <a:gd name="T43" fmla="*/ 6 h 82"/>
                  <a:gd name="T44" fmla="*/ 7 w 33"/>
                  <a:gd name="T45" fmla="*/ 0 h 8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
                  <a:gd name="T70" fmla="*/ 0 h 82"/>
                  <a:gd name="T71" fmla="*/ 33 w 33"/>
                  <a:gd name="T72" fmla="*/ 82 h 8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 h="82">
                    <a:moveTo>
                      <a:pt x="7" y="0"/>
                    </a:moveTo>
                    <a:lnTo>
                      <a:pt x="2" y="4"/>
                    </a:lnTo>
                    <a:lnTo>
                      <a:pt x="0" y="13"/>
                    </a:lnTo>
                    <a:lnTo>
                      <a:pt x="0" y="23"/>
                    </a:lnTo>
                    <a:lnTo>
                      <a:pt x="2" y="34"/>
                    </a:lnTo>
                    <a:lnTo>
                      <a:pt x="6" y="40"/>
                    </a:lnTo>
                    <a:lnTo>
                      <a:pt x="6" y="50"/>
                    </a:lnTo>
                    <a:lnTo>
                      <a:pt x="7" y="54"/>
                    </a:lnTo>
                    <a:lnTo>
                      <a:pt x="11" y="57"/>
                    </a:lnTo>
                    <a:lnTo>
                      <a:pt x="19" y="63"/>
                    </a:lnTo>
                    <a:lnTo>
                      <a:pt x="24" y="67"/>
                    </a:lnTo>
                    <a:lnTo>
                      <a:pt x="29" y="81"/>
                    </a:lnTo>
                    <a:lnTo>
                      <a:pt x="33" y="82"/>
                    </a:lnTo>
                    <a:lnTo>
                      <a:pt x="29" y="70"/>
                    </a:lnTo>
                    <a:lnTo>
                      <a:pt x="23" y="61"/>
                    </a:lnTo>
                    <a:lnTo>
                      <a:pt x="17" y="54"/>
                    </a:lnTo>
                    <a:lnTo>
                      <a:pt x="16" y="44"/>
                    </a:lnTo>
                    <a:lnTo>
                      <a:pt x="14" y="33"/>
                    </a:lnTo>
                    <a:lnTo>
                      <a:pt x="17" y="29"/>
                    </a:lnTo>
                    <a:lnTo>
                      <a:pt x="14" y="21"/>
                    </a:lnTo>
                    <a:lnTo>
                      <a:pt x="14" y="13"/>
                    </a:lnTo>
                    <a:lnTo>
                      <a:pt x="11" y="6"/>
                    </a:lnTo>
                    <a:lnTo>
                      <a:pt x="7" y="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42" name="Freeform 138"/>
              <p:cNvSpPr>
                <a:spLocks/>
              </p:cNvSpPr>
              <p:nvPr/>
            </p:nvSpPr>
            <p:spPr bwMode="auto">
              <a:xfrm>
                <a:off x="2595" y="2509"/>
                <a:ext cx="126" cy="132"/>
              </a:xfrm>
              <a:custGeom>
                <a:avLst/>
                <a:gdLst>
                  <a:gd name="T0" fmla="*/ 6631 w 118"/>
                  <a:gd name="T1" fmla="*/ 525 h 125"/>
                  <a:gd name="T2" fmla="*/ 7081 w 118"/>
                  <a:gd name="T3" fmla="*/ 1012 h 125"/>
                  <a:gd name="T4" fmla="*/ 7787 w 118"/>
                  <a:gd name="T5" fmla="*/ 859 h 125"/>
                  <a:gd name="T6" fmla="*/ 9071 w 118"/>
                  <a:gd name="T7" fmla="*/ 770 h 125"/>
                  <a:gd name="T8" fmla="*/ 8203 w 118"/>
                  <a:gd name="T9" fmla="*/ 1102 h 125"/>
                  <a:gd name="T10" fmla="*/ 7134 w 118"/>
                  <a:gd name="T11" fmla="*/ 1229 h 125"/>
                  <a:gd name="T12" fmla="*/ 7483 w 118"/>
                  <a:gd name="T13" fmla="*/ 1811 h 125"/>
                  <a:gd name="T14" fmla="*/ 6631 w 118"/>
                  <a:gd name="T15" fmla="*/ 2119 h 125"/>
                  <a:gd name="T16" fmla="*/ 6631 w 118"/>
                  <a:gd name="T17" fmla="*/ 2377 h 125"/>
                  <a:gd name="T18" fmla="*/ 6257 w 118"/>
                  <a:gd name="T19" fmla="*/ 2534 h 125"/>
                  <a:gd name="T20" fmla="*/ 5860 w 118"/>
                  <a:gd name="T21" fmla="*/ 2651 h 125"/>
                  <a:gd name="T22" fmla="*/ 5488 w 118"/>
                  <a:gd name="T23" fmla="*/ 2984 h 125"/>
                  <a:gd name="T24" fmla="*/ 5049 w 118"/>
                  <a:gd name="T25" fmla="*/ 3104 h 125"/>
                  <a:gd name="T26" fmla="*/ 4728 w 118"/>
                  <a:gd name="T27" fmla="*/ 3297 h 125"/>
                  <a:gd name="T28" fmla="*/ 5049 w 118"/>
                  <a:gd name="T29" fmla="*/ 3477 h 125"/>
                  <a:gd name="T30" fmla="*/ 5860 w 118"/>
                  <a:gd name="T31" fmla="*/ 3547 h 125"/>
                  <a:gd name="T32" fmla="*/ 5391 w 118"/>
                  <a:gd name="T33" fmla="*/ 3878 h 125"/>
                  <a:gd name="T34" fmla="*/ 4608 w 118"/>
                  <a:gd name="T35" fmla="*/ 3918 h 125"/>
                  <a:gd name="T36" fmla="*/ 3784 w 118"/>
                  <a:gd name="T37" fmla="*/ 3956 h 125"/>
                  <a:gd name="T38" fmla="*/ 3703 w 118"/>
                  <a:gd name="T39" fmla="*/ 4369 h 125"/>
                  <a:gd name="T40" fmla="*/ 3190 w 118"/>
                  <a:gd name="T41" fmla="*/ 4077 h 125"/>
                  <a:gd name="T42" fmla="*/ 2668 w 118"/>
                  <a:gd name="T43" fmla="*/ 4100 h 125"/>
                  <a:gd name="T44" fmla="*/ 1800 w 118"/>
                  <a:gd name="T45" fmla="*/ 3746 h 125"/>
                  <a:gd name="T46" fmla="*/ 1215 w 118"/>
                  <a:gd name="T47" fmla="*/ 3801 h 125"/>
                  <a:gd name="T48" fmla="*/ 935 w 118"/>
                  <a:gd name="T49" fmla="*/ 4077 h 125"/>
                  <a:gd name="T50" fmla="*/ 5 w 118"/>
                  <a:gd name="T51" fmla="*/ 4330 h 125"/>
                  <a:gd name="T52" fmla="*/ 3 w 118"/>
                  <a:gd name="T53" fmla="*/ 3918 h 125"/>
                  <a:gd name="T54" fmla="*/ 1 w 118"/>
                  <a:gd name="T55" fmla="*/ 2799 h 125"/>
                  <a:gd name="T56" fmla="*/ 4 w 118"/>
                  <a:gd name="T57" fmla="*/ 2007 h 125"/>
                  <a:gd name="T58" fmla="*/ 0 w 118"/>
                  <a:gd name="T59" fmla="*/ 1705 h 125"/>
                  <a:gd name="T60" fmla="*/ 7 w 118"/>
                  <a:gd name="T61" fmla="*/ 770 h 125"/>
                  <a:gd name="T62" fmla="*/ 1066 w 118"/>
                  <a:gd name="T63" fmla="*/ 585 h 125"/>
                  <a:gd name="T64" fmla="*/ 1922 w 118"/>
                  <a:gd name="T65" fmla="*/ 400 h 125"/>
                  <a:gd name="T66" fmla="*/ 2499 w 118"/>
                  <a:gd name="T67" fmla="*/ 400 h 125"/>
                  <a:gd name="T68" fmla="*/ 2849 w 118"/>
                  <a:gd name="T69" fmla="*/ 7 h 125"/>
                  <a:gd name="T70" fmla="*/ 3884 w 118"/>
                  <a:gd name="T71" fmla="*/ 422 h 125"/>
                  <a:gd name="T72" fmla="*/ 4805 w 118"/>
                  <a:gd name="T73" fmla="*/ 4 h 125"/>
                  <a:gd name="T74" fmla="*/ 5860 w 118"/>
                  <a:gd name="T75" fmla="*/ 4 h 125"/>
                  <a:gd name="T76" fmla="*/ 6631 w 118"/>
                  <a:gd name="T77" fmla="*/ 4 h 12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8"/>
                  <a:gd name="T118" fmla="*/ 0 h 125"/>
                  <a:gd name="T119" fmla="*/ 118 w 118"/>
                  <a:gd name="T120" fmla="*/ 125 h 12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8" h="125">
                    <a:moveTo>
                      <a:pt x="87" y="4"/>
                    </a:moveTo>
                    <a:lnTo>
                      <a:pt x="87" y="15"/>
                    </a:lnTo>
                    <a:lnTo>
                      <a:pt x="91" y="21"/>
                    </a:lnTo>
                    <a:lnTo>
                      <a:pt x="93" y="27"/>
                    </a:lnTo>
                    <a:lnTo>
                      <a:pt x="98" y="25"/>
                    </a:lnTo>
                    <a:lnTo>
                      <a:pt x="103" y="24"/>
                    </a:lnTo>
                    <a:lnTo>
                      <a:pt x="110" y="22"/>
                    </a:lnTo>
                    <a:lnTo>
                      <a:pt x="118" y="22"/>
                    </a:lnTo>
                    <a:lnTo>
                      <a:pt x="118" y="25"/>
                    </a:lnTo>
                    <a:lnTo>
                      <a:pt x="109" y="30"/>
                    </a:lnTo>
                    <a:lnTo>
                      <a:pt x="103" y="34"/>
                    </a:lnTo>
                    <a:lnTo>
                      <a:pt x="95" y="34"/>
                    </a:lnTo>
                    <a:lnTo>
                      <a:pt x="90" y="44"/>
                    </a:lnTo>
                    <a:lnTo>
                      <a:pt x="97" y="50"/>
                    </a:lnTo>
                    <a:lnTo>
                      <a:pt x="88" y="53"/>
                    </a:lnTo>
                    <a:lnTo>
                      <a:pt x="87" y="58"/>
                    </a:lnTo>
                    <a:lnTo>
                      <a:pt x="88" y="62"/>
                    </a:lnTo>
                    <a:lnTo>
                      <a:pt x="87" y="65"/>
                    </a:lnTo>
                    <a:lnTo>
                      <a:pt x="84" y="63"/>
                    </a:lnTo>
                    <a:lnTo>
                      <a:pt x="83" y="70"/>
                    </a:lnTo>
                    <a:lnTo>
                      <a:pt x="78" y="70"/>
                    </a:lnTo>
                    <a:lnTo>
                      <a:pt x="78" y="73"/>
                    </a:lnTo>
                    <a:lnTo>
                      <a:pt x="75" y="78"/>
                    </a:lnTo>
                    <a:lnTo>
                      <a:pt x="73" y="82"/>
                    </a:lnTo>
                    <a:lnTo>
                      <a:pt x="70" y="82"/>
                    </a:lnTo>
                    <a:lnTo>
                      <a:pt x="66" y="84"/>
                    </a:lnTo>
                    <a:lnTo>
                      <a:pt x="70" y="86"/>
                    </a:lnTo>
                    <a:lnTo>
                      <a:pt x="62" y="91"/>
                    </a:lnTo>
                    <a:lnTo>
                      <a:pt x="61" y="93"/>
                    </a:lnTo>
                    <a:lnTo>
                      <a:pt x="66" y="95"/>
                    </a:lnTo>
                    <a:lnTo>
                      <a:pt x="76" y="95"/>
                    </a:lnTo>
                    <a:lnTo>
                      <a:pt x="78" y="98"/>
                    </a:lnTo>
                    <a:lnTo>
                      <a:pt x="78" y="99"/>
                    </a:lnTo>
                    <a:lnTo>
                      <a:pt x="70" y="106"/>
                    </a:lnTo>
                    <a:lnTo>
                      <a:pt x="65" y="108"/>
                    </a:lnTo>
                    <a:lnTo>
                      <a:pt x="61" y="108"/>
                    </a:lnTo>
                    <a:lnTo>
                      <a:pt x="53" y="108"/>
                    </a:lnTo>
                    <a:lnTo>
                      <a:pt x="50" y="109"/>
                    </a:lnTo>
                    <a:lnTo>
                      <a:pt x="49" y="116"/>
                    </a:lnTo>
                    <a:lnTo>
                      <a:pt x="49" y="120"/>
                    </a:lnTo>
                    <a:lnTo>
                      <a:pt x="44" y="125"/>
                    </a:lnTo>
                    <a:lnTo>
                      <a:pt x="42" y="111"/>
                    </a:lnTo>
                    <a:lnTo>
                      <a:pt x="39" y="110"/>
                    </a:lnTo>
                    <a:lnTo>
                      <a:pt x="35" y="113"/>
                    </a:lnTo>
                    <a:lnTo>
                      <a:pt x="30" y="110"/>
                    </a:lnTo>
                    <a:lnTo>
                      <a:pt x="23" y="103"/>
                    </a:lnTo>
                    <a:lnTo>
                      <a:pt x="20" y="99"/>
                    </a:lnTo>
                    <a:lnTo>
                      <a:pt x="17" y="104"/>
                    </a:lnTo>
                    <a:lnTo>
                      <a:pt x="18" y="111"/>
                    </a:lnTo>
                    <a:lnTo>
                      <a:pt x="13" y="111"/>
                    </a:lnTo>
                    <a:lnTo>
                      <a:pt x="11" y="116"/>
                    </a:lnTo>
                    <a:lnTo>
                      <a:pt x="5" y="119"/>
                    </a:lnTo>
                    <a:lnTo>
                      <a:pt x="1" y="113"/>
                    </a:lnTo>
                    <a:lnTo>
                      <a:pt x="3" y="108"/>
                    </a:lnTo>
                    <a:lnTo>
                      <a:pt x="0" y="92"/>
                    </a:lnTo>
                    <a:lnTo>
                      <a:pt x="1" y="77"/>
                    </a:lnTo>
                    <a:lnTo>
                      <a:pt x="3" y="68"/>
                    </a:lnTo>
                    <a:lnTo>
                      <a:pt x="4" y="55"/>
                    </a:lnTo>
                    <a:lnTo>
                      <a:pt x="3" y="50"/>
                    </a:lnTo>
                    <a:lnTo>
                      <a:pt x="0" y="46"/>
                    </a:lnTo>
                    <a:lnTo>
                      <a:pt x="8" y="27"/>
                    </a:lnTo>
                    <a:lnTo>
                      <a:pt x="7" y="22"/>
                    </a:lnTo>
                    <a:lnTo>
                      <a:pt x="7" y="19"/>
                    </a:lnTo>
                    <a:lnTo>
                      <a:pt x="15" y="17"/>
                    </a:lnTo>
                    <a:lnTo>
                      <a:pt x="22" y="15"/>
                    </a:lnTo>
                    <a:lnTo>
                      <a:pt x="25" y="10"/>
                    </a:lnTo>
                    <a:lnTo>
                      <a:pt x="29" y="11"/>
                    </a:lnTo>
                    <a:lnTo>
                      <a:pt x="33" y="10"/>
                    </a:lnTo>
                    <a:lnTo>
                      <a:pt x="34" y="5"/>
                    </a:lnTo>
                    <a:lnTo>
                      <a:pt x="37" y="7"/>
                    </a:lnTo>
                    <a:lnTo>
                      <a:pt x="45" y="9"/>
                    </a:lnTo>
                    <a:lnTo>
                      <a:pt x="51" y="11"/>
                    </a:lnTo>
                    <a:lnTo>
                      <a:pt x="59" y="0"/>
                    </a:lnTo>
                    <a:lnTo>
                      <a:pt x="63" y="4"/>
                    </a:lnTo>
                    <a:lnTo>
                      <a:pt x="73" y="7"/>
                    </a:lnTo>
                    <a:lnTo>
                      <a:pt x="78" y="4"/>
                    </a:lnTo>
                    <a:lnTo>
                      <a:pt x="85" y="5"/>
                    </a:lnTo>
                    <a:lnTo>
                      <a:pt x="8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3" name="Freeform 140"/>
              <p:cNvSpPr>
                <a:spLocks/>
              </p:cNvSpPr>
              <p:nvPr/>
            </p:nvSpPr>
            <p:spPr bwMode="auto">
              <a:xfrm>
                <a:off x="2486" y="2658"/>
                <a:ext cx="82" cy="220"/>
              </a:xfrm>
              <a:custGeom>
                <a:avLst/>
                <a:gdLst>
                  <a:gd name="T0" fmla="*/ 7 w 77"/>
                  <a:gd name="T1" fmla="*/ 0 h 209"/>
                  <a:gd name="T2" fmla="*/ 647 w 77"/>
                  <a:gd name="T3" fmla="*/ 3 h 209"/>
                  <a:gd name="T4" fmla="*/ 689 w 77"/>
                  <a:gd name="T5" fmla="*/ 9 h 209"/>
                  <a:gd name="T6" fmla="*/ 734 w 77"/>
                  <a:gd name="T7" fmla="*/ 452 h 209"/>
                  <a:gd name="T8" fmla="*/ 734 w 77"/>
                  <a:gd name="T9" fmla="*/ 681 h 209"/>
                  <a:gd name="T10" fmla="*/ 782 w 77"/>
                  <a:gd name="T11" fmla="*/ 894 h 209"/>
                  <a:gd name="T12" fmla="*/ 1006 w 77"/>
                  <a:gd name="T13" fmla="*/ 1043 h 209"/>
                  <a:gd name="T14" fmla="*/ 1294 w 77"/>
                  <a:gd name="T15" fmla="*/ 1156 h 209"/>
                  <a:gd name="T16" fmla="*/ 1215 w 77"/>
                  <a:gd name="T17" fmla="*/ 1573 h 209"/>
                  <a:gd name="T18" fmla="*/ 1294 w 77"/>
                  <a:gd name="T19" fmla="*/ 1929 h 209"/>
                  <a:gd name="T20" fmla="*/ 1467 w 77"/>
                  <a:gd name="T21" fmla="*/ 2000 h 209"/>
                  <a:gd name="T22" fmla="*/ 1743 w 77"/>
                  <a:gd name="T23" fmla="*/ 2105 h 209"/>
                  <a:gd name="T24" fmla="*/ 1663 w 77"/>
                  <a:gd name="T25" fmla="*/ 2373 h 209"/>
                  <a:gd name="T26" fmla="*/ 1771 w 77"/>
                  <a:gd name="T27" fmla="*/ 2677 h 209"/>
                  <a:gd name="T28" fmla="*/ 1886 w 77"/>
                  <a:gd name="T29" fmla="*/ 2949 h 209"/>
                  <a:gd name="T30" fmla="*/ 1856 w 77"/>
                  <a:gd name="T31" fmla="*/ 3066 h 209"/>
                  <a:gd name="T32" fmla="*/ 1562 w 77"/>
                  <a:gd name="T33" fmla="*/ 3174 h 209"/>
                  <a:gd name="T34" fmla="*/ 1743 w 77"/>
                  <a:gd name="T35" fmla="*/ 3459 h 209"/>
                  <a:gd name="T36" fmla="*/ 2750 w 77"/>
                  <a:gd name="T37" fmla="*/ 3759 h 209"/>
                  <a:gd name="T38" fmla="*/ 3538 w 77"/>
                  <a:gd name="T39" fmla="*/ 4102 h 209"/>
                  <a:gd name="T40" fmla="*/ 3538 w 77"/>
                  <a:gd name="T41" fmla="*/ 4247 h 209"/>
                  <a:gd name="T42" fmla="*/ 3538 w 77"/>
                  <a:gd name="T43" fmla="*/ 4615 h 209"/>
                  <a:gd name="T44" fmla="*/ 3836 w 77"/>
                  <a:gd name="T45" fmla="*/ 5036 h 209"/>
                  <a:gd name="T46" fmla="*/ 4205 w 77"/>
                  <a:gd name="T47" fmla="*/ 5301 h 209"/>
                  <a:gd name="T48" fmla="*/ 4350 w 77"/>
                  <a:gd name="T49" fmla="*/ 5558 h 209"/>
                  <a:gd name="T50" fmla="*/ 4907 w 77"/>
                  <a:gd name="T51" fmla="*/ 5964 h 209"/>
                  <a:gd name="T52" fmla="*/ 4552 w 77"/>
                  <a:gd name="T53" fmla="*/ 6183 h 209"/>
                  <a:gd name="T54" fmla="*/ 4013 w 77"/>
                  <a:gd name="T55" fmla="*/ 5964 h 209"/>
                  <a:gd name="T56" fmla="*/ 3768 w 77"/>
                  <a:gd name="T57" fmla="*/ 5964 h 209"/>
                  <a:gd name="T58" fmla="*/ 3538 w 77"/>
                  <a:gd name="T59" fmla="*/ 5964 h 209"/>
                  <a:gd name="T60" fmla="*/ 3538 w 77"/>
                  <a:gd name="T61" fmla="*/ 5739 h 209"/>
                  <a:gd name="T62" fmla="*/ 3538 w 77"/>
                  <a:gd name="T63" fmla="*/ 5655 h 209"/>
                  <a:gd name="T64" fmla="*/ 3364 w 77"/>
                  <a:gd name="T65" fmla="*/ 5474 h 209"/>
                  <a:gd name="T66" fmla="*/ 3119 w 77"/>
                  <a:gd name="T67" fmla="*/ 4706 h 209"/>
                  <a:gd name="T68" fmla="*/ 2708 w 77"/>
                  <a:gd name="T69" fmla="*/ 4471 h 209"/>
                  <a:gd name="T70" fmla="*/ 1977 w 77"/>
                  <a:gd name="T71" fmla="*/ 4412 h 209"/>
                  <a:gd name="T72" fmla="*/ 1467 w 77"/>
                  <a:gd name="T73" fmla="*/ 4165 h 209"/>
                  <a:gd name="T74" fmla="*/ 1071 w 77"/>
                  <a:gd name="T75" fmla="*/ 3981 h 209"/>
                  <a:gd name="T76" fmla="*/ 782 w 77"/>
                  <a:gd name="T77" fmla="*/ 3620 h 209"/>
                  <a:gd name="T78" fmla="*/ 647 w 77"/>
                  <a:gd name="T79" fmla="*/ 3459 h 209"/>
                  <a:gd name="T80" fmla="*/ 7 w 77"/>
                  <a:gd name="T81" fmla="*/ 3174 h 209"/>
                  <a:gd name="T82" fmla="*/ 608 w 77"/>
                  <a:gd name="T83" fmla="*/ 2864 h 209"/>
                  <a:gd name="T84" fmla="*/ 608 w 77"/>
                  <a:gd name="T85" fmla="*/ 2662 h 209"/>
                  <a:gd name="T86" fmla="*/ 4 w 77"/>
                  <a:gd name="T87" fmla="*/ 2373 h 209"/>
                  <a:gd name="T88" fmla="*/ 0 w 77"/>
                  <a:gd name="T89" fmla="*/ 2031 h 209"/>
                  <a:gd name="T90" fmla="*/ 1 w 77"/>
                  <a:gd name="T91" fmla="*/ 1656 h 209"/>
                  <a:gd name="T92" fmla="*/ 4 w 77"/>
                  <a:gd name="T93" fmla="*/ 1156 h 209"/>
                  <a:gd name="T94" fmla="*/ 3 w 77"/>
                  <a:gd name="T95" fmla="*/ 991 h 209"/>
                  <a:gd name="T96" fmla="*/ 1 w 77"/>
                  <a:gd name="T97" fmla="*/ 1027 h 209"/>
                  <a:gd name="T98" fmla="*/ 0 w 77"/>
                  <a:gd name="T99" fmla="*/ 941 h 209"/>
                  <a:gd name="T100" fmla="*/ 1 w 77"/>
                  <a:gd name="T101" fmla="*/ 681 h 209"/>
                  <a:gd name="T102" fmla="*/ 4 w 77"/>
                  <a:gd name="T103" fmla="*/ 388 h 209"/>
                  <a:gd name="T104" fmla="*/ 6 w 77"/>
                  <a:gd name="T105" fmla="*/ 6 h 209"/>
                  <a:gd name="T106" fmla="*/ 7 w 77"/>
                  <a:gd name="T107" fmla="*/ 0 h 20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7"/>
                  <a:gd name="T163" fmla="*/ 0 h 209"/>
                  <a:gd name="T164" fmla="*/ 77 w 77"/>
                  <a:gd name="T165" fmla="*/ 209 h 20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7" h="209">
                    <a:moveTo>
                      <a:pt x="7" y="0"/>
                    </a:moveTo>
                    <a:lnTo>
                      <a:pt x="10" y="3"/>
                    </a:lnTo>
                    <a:lnTo>
                      <a:pt x="11" y="9"/>
                    </a:lnTo>
                    <a:lnTo>
                      <a:pt x="12" y="16"/>
                    </a:lnTo>
                    <a:lnTo>
                      <a:pt x="12" y="24"/>
                    </a:lnTo>
                    <a:lnTo>
                      <a:pt x="13" y="30"/>
                    </a:lnTo>
                    <a:lnTo>
                      <a:pt x="17" y="36"/>
                    </a:lnTo>
                    <a:lnTo>
                      <a:pt x="21" y="40"/>
                    </a:lnTo>
                    <a:lnTo>
                      <a:pt x="20" y="54"/>
                    </a:lnTo>
                    <a:lnTo>
                      <a:pt x="21" y="65"/>
                    </a:lnTo>
                    <a:lnTo>
                      <a:pt x="23" y="67"/>
                    </a:lnTo>
                    <a:lnTo>
                      <a:pt x="27" y="71"/>
                    </a:lnTo>
                    <a:lnTo>
                      <a:pt x="26" y="81"/>
                    </a:lnTo>
                    <a:lnTo>
                      <a:pt x="28" y="91"/>
                    </a:lnTo>
                    <a:lnTo>
                      <a:pt x="30" y="100"/>
                    </a:lnTo>
                    <a:lnTo>
                      <a:pt x="29" y="104"/>
                    </a:lnTo>
                    <a:lnTo>
                      <a:pt x="24" y="107"/>
                    </a:lnTo>
                    <a:lnTo>
                      <a:pt x="27" y="118"/>
                    </a:lnTo>
                    <a:lnTo>
                      <a:pt x="43" y="126"/>
                    </a:lnTo>
                    <a:lnTo>
                      <a:pt x="55" y="139"/>
                    </a:lnTo>
                    <a:lnTo>
                      <a:pt x="55" y="145"/>
                    </a:lnTo>
                    <a:lnTo>
                      <a:pt x="55" y="155"/>
                    </a:lnTo>
                    <a:lnTo>
                      <a:pt x="61" y="171"/>
                    </a:lnTo>
                    <a:lnTo>
                      <a:pt x="66" y="180"/>
                    </a:lnTo>
                    <a:lnTo>
                      <a:pt x="69" y="188"/>
                    </a:lnTo>
                    <a:lnTo>
                      <a:pt x="77" y="201"/>
                    </a:lnTo>
                    <a:lnTo>
                      <a:pt x="71" y="209"/>
                    </a:lnTo>
                    <a:lnTo>
                      <a:pt x="63" y="201"/>
                    </a:lnTo>
                    <a:lnTo>
                      <a:pt x="59" y="201"/>
                    </a:lnTo>
                    <a:lnTo>
                      <a:pt x="55" y="201"/>
                    </a:lnTo>
                    <a:lnTo>
                      <a:pt x="55" y="194"/>
                    </a:lnTo>
                    <a:lnTo>
                      <a:pt x="55" y="190"/>
                    </a:lnTo>
                    <a:lnTo>
                      <a:pt x="53" y="186"/>
                    </a:lnTo>
                    <a:lnTo>
                      <a:pt x="49" y="161"/>
                    </a:lnTo>
                    <a:lnTo>
                      <a:pt x="42" y="153"/>
                    </a:lnTo>
                    <a:lnTo>
                      <a:pt x="31" y="149"/>
                    </a:lnTo>
                    <a:lnTo>
                      <a:pt x="23" y="140"/>
                    </a:lnTo>
                    <a:lnTo>
                      <a:pt x="18" y="135"/>
                    </a:lnTo>
                    <a:lnTo>
                      <a:pt x="13" y="123"/>
                    </a:lnTo>
                    <a:lnTo>
                      <a:pt x="10" y="118"/>
                    </a:lnTo>
                    <a:lnTo>
                      <a:pt x="7" y="107"/>
                    </a:lnTo>
                    <a:lnTo>
                      <a:pt x="9" y="97"/>
                    </a:lnTo>
                    <a:lnTo>
                      <a:pt x="9" y="90"/>
                    </a:lnTo>
                    <a:lnTo>
                      <a:pt x="4" y="81"/>
                    </a:lnTo>
                    <a:lnTo>
                      <a:pt x="0" y="68"/>
                    </a:lnTo>
                    <a:lnTo>
                      <a:pt x="1" y="57"/>
                    </a:lnTo>
                    <a:lnTo>
                      <a:pt x="4" y="40"/>
                    </a:lnTo>
                    <a:lnTo>
                      <a:pt x="3" y="34"/>
                    </a:lnTo>
                    <a:lnTo>
                      <a:pt x="1" y="35"/>
                    </a:lnTo>
                    <a:lnTo>
                      <a:pt x="0" y="32"/>
                    </a:lnTo>
                    <a:lnTo>
                      <a:pt x="1" y="24"/>
                    </a:lnTo>
                    <a:lnTo>
                      <a:pt x="4" y="13"/>
                    </a:lnTo>
                    <a:lnTo>
                      <a:pt x="6" y="6"/>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4" name="Freeform 141"/>
              <p:cNvSpPr>
                <a:spLocks/>
              </p:cNvSpPr>
              <p:nvPr/>
            </p:nvSpPr>
            <p:spPr bwMode="auto">
              <a:xfrm>
                <a:off x="2396" y="3193"/>
                <a:ext cx="77" cy="54"/>
              </a:xfrm>
              <a:custGeom>
                <a:avLst/>
                <a:gdLst>
                  <a:gd name="T0" fmla="*/ 5178 w 72"/>
                  <a:gd name="T1" fmla="*/ 1 h 51"/>
                  <a:gd name="T2" fmla="*/ 4814 w 72"/>
                  <a:gd name="T3" fmla="*/ 1 h 51"/>
                  <a:gd name="T4" fmla="*/ 4081 w 72"/>
                  <a:gd name="T5" fmla="*/ 0 h 51"/>
                  <a:gd name="T6" fmla="*/ 3680 w 72"/>
                  <a:gd name="T7" fmla="*/ 2 h 51"/>
                  <a:gd name="T8" fmla="*/ 3578 w 72"/>
                  <a:gd name="T9" fmla="*/ 4 h 51"/>
                  <a:gd name="T10" fmla="*/ 3441 w 72"/>
                  <a:gd name="T11" fmla="*/ 4 h 51"/>
                  <a:gd name="T12" fmla="*/ 3129 w 72"/>
                  <a:gd name="T13" fmla="*/ 484 h 51"/>
                  <a:gd name="T14" fmla="*/ 2558 w 72"/>
                  <a:gd name="T15" fmla="*/ 457 h 51"/>
                  <a:gd name="T16" fmla="*/ 2237 w 72"/>
                  <a:gd name="T17" fmla="*/ 484 h 51"/>
                  <a:gd name="T18" fmla="*/ 2237 w 72"/>
                  <a:gd name="T19" fmla="*/ 512 h 51"/>
                  <a:gd name="T20" fmla="*/ 2084 w 72"/>
                  <a:gd name="T21" fmla="*/ 608 h 51"/>
                  <a:gd name="T22" fmla="*/ 1822 w 72"/>
                  <a:gd name="T23" fmla="*/ 682 h 51"/>
                  <a:gd name="T24" fmla="*/ 1393 w 72"/>
                  <a:gd name="T25" fmla="*/ 1076 h 51"/>
                  <a:gd name="T26" fmla="*/ 871 w 72"/>
                  <a:gd name="T27" fmla="*/ 1351 h 51"/>
                  <a:gd name="T28" fmla="*/ 761 w 72"/>
                  <a:gd name="T29" fmla="*/ 1514 h 51"/>
                  <a:gd name="T30" fmla="*/ 761 w 72"/>
                  <a:gd name="T31" fmla="*/ 1605 h 51"/>
                  <a:gd name="T32" fmla="*/ 6 w 72"/>
                  <a:gd name="T33" fmla="*/ 1797 h 51"/>
                  <a:gd name="T34" fmla="*/ 3 w 72"/>
                  <a:gd name="T35" fmla="*/ 1905 h 51"/>
                  <a:gd name="T36" fmla="*/ 0 w 72"/>
                  <a:gd name="T37" fmla="*/ 2204 h 51"/>
                  <a:gd name="T38" fmla="*/ 3 w 72"/>
                  <a:gd name="T39" fmla="*/ 2204 h 51"/>
                  <a:gd name="T40" fmla="*/ 7 w 72"/>
                  <a:gd name="T41" fmla="*/ 2017 h 51"/>
                  <a:gd name="T42" fmla="*/ 871 w 72"/>
                  <a:gd name="T43" fmla="*/ 1797 h 51"/>
                  <a:gd name="T44" fmla="*/ 1139 w 72"/>
                  <a:gd name="T45" fmla="*/ 1797 h 51"/>
                  <a:gd name="T46" fmla="*/ 1218 w 72"/>
                  <a:gd name="T47" fmla="*/ 1605 h 51"/>
                  <a:gd name="T48" fmla="*/ 1490 w 72"/>
                  <a:gd name="T49" fmla="*/ 1516 h 51"/>
                  <a:gd name="T50" fmla="*/ 1822 w 72"/>
                  <a:gd name="T51" fmla="*/ 1352 h 51"/>
                  <a:gd name="T52" fmla="*/ 2084 w 72"/>
                  <a:gd name="T53" fmla="*/ 1276 h 51"/>
                  <a:gd name="T54" fmla="*/ 2237 w 72"/>
                  <a:gd name="T55" fmla="*/ 1206 h 51"/>
                  <a:gd name="T56" fmla="*/ 2384 w 72"/>
                  <a:gd name="T57" fmla="*/ 1076 h 51"/>
                  <a:gd name="T58" fmla="*/ 2550 w 72"/>
                  <a:gd name="T59" fmla="*/ 1016 h 51"/>
                  <a:gd name="T60" fmla="*/ 2926 w 72"/>
                  <a:gd name="T61" fmla="*/ 857 h 51"/>
                  <a:gd name="T62" fmla="*/ 3129 w 72"/>
                  <a:gd name="T63" fmla="*/ 907 h 51"/>
                  <a:gd name="T64" fmla="*/ 3218 w 72"/>
                  <a:gd name="T65" fmla="*/ 857 h 51"/>
                  <a:gd name="T66" fmla="*/ 3218 w 72"/>
                  <a:gd name="T67" fmla="*/ 764 h 51"/>
                  <a:gd name="T68" fmla="*/ 3218 w 72"/>
                  <a:gd name="T69" fmla="*/ 682 h 51"/>
                  <a:gd name="T70" fmla="*/ 3441 w 72"/>
                  <a:gd name="T71" fmla="*/ 608 h 51"/>
                  <a:gd name="T72" fmla="*/ 3680 w 72"/>
                  <a:gd name="T73" fmla="*/ 574 h 51"/>
                  <a:gd name="T74" fmla="*/ 3936 w 72"/>
                  <a:gd name="T75" fmla="*/ 512 h 51"/>
                  <a:gd name="T76" fmla="*/ 4081 w 72"/>
                  <a:gd name="T77" fmla="*/ 512 h 51"/>
                  <a:gd name="T78" fmla="*/ 4209 w 72"/>
                  <a:gd name="T79" fmla="*/ 574 h 51"/>
                  <a:gd name="T80" fmla="*/ 4376 w 72"/>
                  <a:gd name="T81" fmla="*/ 512 h 51"/>
                  <a:gd name="T82" fmla="*/ 4501 w 72"/>
                  <a:gd name="T83" fmla="*/ 457 h 51"/>
                  <a:gd name="T84" fmla="*/ 4528 w 72"/>
                  <a:gd name="T85" fmla="*/ 432 h 51"/>
                  <a:gd name="T86" fmla="*/ 4842 w 72"/>
                  <a:gd name="T87" fmla="*/ 457 h 51"/>
                  <a:gd name="T88" fmla="*/ 5353 w 72"/>
                  <a:gd name="T89" fmla="*/ 512 h 51"/>
                  <a:gd name="T90" fmla="*/ 5506 w 72"/>
                  <a:gd name="T91" fmla="*/ 512 h 51"/>
                  <a:gd name="T92" fmla="*/ 5725 w 72"/>
                  <a:gd name="T93" fmla="*/ 457 h 51"/>
                  <a:gd name="T94" fmla="*/ 6105 w 72"/>
                  <a:gd name="T95" fmla="*/ 8 h 51"/>
                  <a:gd name="T96" fmla="*/ 5888 w 72"/>
                  <a:gd name="T97" fmla="*/ 5 h 51"/>
                  <a:gd name="T98" fmla="*/ 5178 w 72"/>
                  <a:gd name="T99" fmla="*/ 1 h 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2"/>
                  <a:gd name="T151" fmla="*/ 0 h 51"/>
                  <a:gd name="T152" fmla="*/ 72 w 72"/>
                  <a:gd name="T153" fmla="*/ 51 h 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2" h="51">
                    <a:moveTo>
                      <a:pt x="62" y="1"/>
                    </a:moveTo>
                    <a:lnTo>
                      <a:pt x="57" y="1"/>
                    </a:lnTo>
                    <a:lnTo>
                      <a:pt x="48" y="0"/>
                    </a:lnTo>
                    <a:lnTo>
                      <a:pt x="44" y="2"/>
                    </a:lnTo>
                    <a:lnTo>
                      <a:pt x="43" y="4"/>
                    </a:lnTo>
                    <a:lnTo>
                      <a:pt x="41" y="4"/>
                    </a:lnTo>
                    <a:lnTo>
                      <a:pt x="37" y="11"/>
                    </a:lnTo>
                    <a:lnTo>
                      <a:pt x="31" y="10"/>
                    </a:lnTo>
                    <a:lnTo>
                      <a:pt x="27" y="11"/>
                    </a:lnTo>
                    <a:lnTo>
                      <a:pt x="27" y="12"/>
                    </a:lnTo>
                    <a:lnTo>
                      <a:pt x="24" y="15"/>
                    </a:lnTo>
                    <a:lnTo>
                      <a:pt x="21" y="17"/>
                    </a:lnTo>
                    <a:lnTo>
                      <a:pt x="17" y="25"/>
                    </a:lnTo>
                    <a:lnTo>
                      <a:pt x="10" y="31"/>
                    </a:lnTo>
                    <a:lnTo>
                      <a:pt x="8" y="35"/>
                    </a:lnTo>
                    <a:lnTo>
                      <a:pt x="8" y="38"/>
                    </a:lnTo>
                    <a:lnTo>
                      <a:pt x="6" y="41"/>
                    </a:lnTo>
                    <a:lnTo>
                      <a:pt x="3" y="44"/>
                    </a:lnTo>
                    <a:lnTo>
                      <a:pt x="0" y="51"/>
                    </a:lnTo>
                    <a:lnTo>
                      <a:pt x="3" y="51"/>
                    </a:lnTo>
                    <a:lnTo>
                      <a:pt x="7" y="47"/>
                    </a:lnTo>
                    <a:lnTo>
                      <a:pt x="10" y="41"/>
                    </a:lnTo>
                    <a:lnTo>
                      <a:pt x="14" y="41"/>
                    </a:lnTo>
                    <a:lnTo>
                      <a:pt x="15" y="38"/>
                    </a:lnTo>
                    <a:lnTo>
                      <a:pt x="18" y="36"/>
                    </a:lnTo>
                    <a:lnTo>
                      <a:pt x="21" y="32"/>
                    </a:lnTo>
                    <a:lnTo>
                      <a:pt x="24" y="29"/>
                    </a:lnTo>
                    <a:lnTo>
                      <a:pt x="27" y="28"/>
                    </a:lnTo>
                    <a:lnTo>
                      <a:pt x="28" y="25"/>
                    </a:lnTo>
                    <a:lnTo>
                      <a:pt x="30" y="24"/>
                    </a:lnTo>
                    <a:lnTo>
                      <a:pt x="35" y="21"/>
                    </a:lnTo>
                    <a:lnTo>
                      <a:pt x="37" y="22"/>
                    </a:lnTo>
                    <a:lnTo>
                      <a:pt x="38" y="21"/>
                    </a:lnTo>
                    <a:lnTo>
                      <a:pt x="38" y="19"/>
                    </a:lnTo>
                    <a:lnTo>
                      <a:pt x="38" y="17"/>
                    </a:lnTo>
                    <a:lnTo>
                      <a:pt x="41" y="15"/>
                    </a:lnTo>
                    <a:lnTo>
                      <a:pt x="44" y="14"/>
                    </a:lnTo>
                    <a:lnTo>
                      <a:pt x="47" y="12"/>
                    </a:lnTo>
                    <a:lnTo>
                      <a:pt x="48" y="12"/>
                    </a:lnTo>
                    <a:lnTo>
                      <a:pt x="50" y="14"/>
                    </a:lnTo>
                    <a:lnTo>
                      <a:pt x="52" y="12"/>
                    </a:lnTo>
                    <a:lnTo>
                      <a:pt x="53" y="10"/>
                    </a:lnTo>
                    <a:lnTo>
                      <a:pt x="54" y="9"/>
                    </a:lnTo>
                    <a:lnTo>
                      <a:pt x="58" y="10"/>
                    </a:lnTo>
                    <a:lnTo>
                      <a:pt x="64" y="12"/>
                    </a:lnTo>
                    <a:lnTo>
                      <a:pt x="65" y="12"/>
                    </a:lnTo>
                    <a:lnTo>
                      <a:pt x="68" y="10"/>
                    </a:lnTo>
                    <a:lnTo>
                      <a:pt x="72" y="8"/>
                    </a:lnTo>
                    <a:lnTo>
                      <a:pt x="70" y="5"/>
                    </a:lnTo>
                    <a:lnTo>
                      <a:pt x="62"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5" name="Freeform 142"/>
              <p:cNvSpPr>
                <a:spLocks/>
              </p:cNvSpPr>
              <p:nvPr/>
            </p:nvSpPr>
            <p:spPr bwMode="auto">
              <a:xfrm>
                <a:off x="2555" y="3154"/>
                <a:ext cx="59" cy="31"/>
              </a:xfrm>
              <a:custGeom>
                <a:avLst/>
                <a:gdLst>
                  <a:gd name="T0" fmla="*/ 1367 w 55"/>
                  <a:gd name="T1" fmla="*/ 2368 h 29"/>
                  <a:gd name="T2" fmla="*/ 5 w 55"/>
                  <a:gd name="T3" fmla="*/ 1588 h 29"/>
                  <a:gd name="T4" fmla="*/ 2 w 55"/>
                  <a:gd name="T5" fmla="*/ 1486 h 29"/>
                  <a:gd name="T6" fmla="*/ 0 w 55"/>
                  <a:gd name="T7" fmla="*/ 1138 h 29"/>
                  <a:gd name="T8" fmla="*/ 0 w 55"/>
                  <a:gd name="T9" fmla="*/ 5 h 29"/>
                  <a:gd name="T10" fmla="*/ 2 w 55"/>
                  <a:gd name="T11" fmla="*/ 0 h 29"/>
                  <a:gd name="T12" fmla="*/ 2234 w 55"/>
                  <a:gd name="T13" fmla="*/ 872 h 29"/>
                  <a:gd name="T14" fmla="*/ 4203 w 55"/>
                  <a:gd name="T15" fmla="*/ 0 h 29"/>
                  <a:gd name="T16" fmla="*/ 5693 w 55"/>
                  <a:gd name="T17" fmla="*/ 816 h 29"/>
                  <a:gd name="T18" fmla="*/ 5106 w 55"/>
                  <a:gd name="T19" fmla="*/ 1588 h 29"/>
                  <a:gd name="T20" fmla="*/ 4299 w 55"/>
                  <a:gd name="T21" fmla="*/ 2072 h 29"/>
                  <a:gd name="T22" fmla="*/ 3173 w 55"/>
                  <a:gd name="T23" fmla="*/ 2368 h 29"/>
                  <a:gd name="T24" fmla="*/ 1367 w 55"/>
                  <a:gd name="T25" fmla="*/ 2368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29"/>
                  <a:gd name="T41" fmla="*/ 55 w 55"/>
                  <a:gd name="T42" fmla="*/ 29 h 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29">
                    <a:moveTo>
                      <a:pt x="14" y="29"/>
                    </a:moveTo>
                    <a:lnTo>
                      <a:pt x="5" y="20"/>
                    </a:lnTo>
                    <a:lnTo>
                      <a:pt x="2" y="19"/>
                    </a:lnTo>
                    <a:lnTo>
                      <a:pt x="0" y="15"/>
                    </a:lnTo>
                    <a:lnTo>
                      <a:pt x="0" y="5"/>
                    </a:lnTo>
                    <a:lnTo>
                      <a:pt x="2" y="0"/>
                    </a:lnTo>
                    <a:lnTo>
                      <a:pt x="21" y="11"/>
                    </a:lnTo>
                    <a:lnTo>
                      <a:pt x="41" y="0"/>
                    </a:lnTo>
                    <a:lnTo>
                      <a:pt x="55" y="10"/>
                    </a:lnTo>
                    <a:lnTo>
                      <a:pt x="49" y="20"/>
                    </a:lnTo>
                    <a:lnTo>
                      <a:pt x="42" y="25"/>
                    </a:lnTo>
                    <a:lnTo>
                      <a:pt x="31" y="29"/>
                    </a:lnTo>
                    <a:lnTo>
                      <a:pt x="14"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6" name="Freeform 143"/>
              <p:cNvSpPr>
                <a:spLocks/>
              </p:cNvSpPr>
              <p:nvPr/>
            </p:nvSpPr>
            <p:spPr bwMode="auto">
              <a:xfrm>
                <a:off x="2471" y="2871"/>
                <a:ext cx="31" cy="30"/>
              </a:xfrm>
              <a:custGeom>
                <a:avLst/>
                <a:gdLst>
                  <a:gd name="T0" fmla="*/ 5 w 29"/>
                  <a:gd name="T1" fmla="*/ 174 h 29"/>
                  <a:gd name="T2" fmla="*/ 816 w 29"/>
                  <a:gd name="T3" fmla="*/ 12 h 29"/>
                  <a:gd name="T4" fmla="*/ 816 w 29"/>
                  <a:gd name="T5" fmla="*/ 4 h 29"/>
                  <a:gd name="T6" fmla="*/ 816 w 29"/>
                  <a:gd name="T7" fmla="*/ 1 h 29"/>
                  <a:gd name="T8" fmla="*/ 1138 w 29"/>
                  <a:gd name="T9" fmla="*/ 0 h 29"/>
                  <a:gd name="T10" fmla="*/ 1216 w 29"/>
                  <a:gd name="T11" fmla="*/ 0 h 29"/>
                  <a:gd name="T12" fmla="*/ 1588 w 29"/>
                  <a:gd name="T13" fmla="*/ 1 h 29"/>
                  <a:gd name="T14" fmla="*/ 1938 w 29"/>
                  <a:gd name="T15" fmla="*/ 3 h 29"/>
                  <a:gd name="T16" fmla="*/ 2074 w 29"/>
                  <a:gd name="T17" fmla="*/ 5 h 29"/>
                  <a:gd name="T18" fmla="*/ 2368 w 29"/>
                  <a:gd name="T19" fmla="*/ 9 h 29"/>
                  <a:gd name="T20" fmla="*/ 2074 w 29"/>
                  <a:gd name="T21" fmla="*/ 12 h 29"/>
                  <a:gd name="T22" fmla="*/ 1938 w 29"/>
                  <a:gd name="T23" fmla="*/ 162 h 29"/>
                  <a:gd name="T24" fmla="*/ 1588 w 29"/>
                  <a:gd name="T25" fmla="*/ 186 h 29"/>
                  <a:gd name="T26" fmla="*/ 1588 w 29"/>
                  <a:gd name="T27" fmla="*/ 199 h 29"/>
                  <a:gd name="T28" fmla="*/ 1390 w 29"/>
                  <a:gd name="T29" fmla="*/ 228 h 29"/>
                  <a:gd name="T30" fmla="*/ 1390 w 29"/>
                  <a:gd name="T31" fmla="*/ 252 h 29"/>
                  <a:gd name="T32" fmla="*/ 1138 w 29"/>
                  <a:gd name="T33" fmla="*/ 252 h 29"/>
                  <a:gd name="T34" fmla="*/ 816 w 29"/>
                  <a:gd name="T35" fmla="*/ 252 h 29"/>
                  <a:gd name="T36" fmla="*/ 5 w 29"/>
                  <a:gd name="T37" fmla="*/ 252 h 29"/>
                  <a:gd name="T38" fmla="*/ 5 w 29"/>
                  <a:gd name="T39" fmla="*/ 252 h 29"/>
                  <a:gd name="T40" fmla="*/ 2 w 29"/>
                  <a:gd name="T41" fmla="*/ 244 h 29"/>
                  <a:gd name="T42" fmla="*/ 0 w 29"/>
                  <a:gd name="T43" fmla="*/ 228 h 29"/>
                  <a:gd name="T44" fmla="*/ 5 w 29"/>
                  <a:gd name="T45" fmla="*/ 174 h 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
                  <a:gd name="T70" fmla="*/ 0 h 29"/>
                  <a:gd name="T71" fmla="*/ 29 w 29"/>
                  <a:gd name="T72" fmla="*/ 29 h 2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 h="29">
                    <a:moveTo>
                      <a:pt x="5" y="18"/>
                    </a:moveTo>
                    <a:lnTo>
                      <a:pt x="10" y="12"/>
                    </a:lnTo>
                    <a:lnTo>
                      <a:pt x="10" y="4"/>
                    </a:lnTo>
                    <a:lnTo>
                      <a:pt x="10" y="1"/>
                    </a:lnTo>
                    <a:lnTo>
                      <a:pt x="15" y="0"/>
                    </a:lnTo>
                    <a:lnTo>
                      <a:pt x="16" y="0"/>
                    </a:lnTo>
                    <a:lnTo>
                      <a:pt x="20" y="1"/>
                    </a:lnTo>
                    <a:lnTo>
                      <a:pt x="23" y="3"/>
                    </a:lnTo>
                    <a:lnTo>
                      <a:pt x="26" y="5"/>
                    </a:lnTo>
                    <a:lnTo>
                      <a:pt x="29" y="9"/>
                    </a:lnTo>
                    <a:lnTo>
                      <a:pt x="26" y="12"/>
                    </a:lnTo>
                    <a:lnTo>
                      <a:pt x="23" y="16"/>
                    </a:lnTo>
                    <a:lnTo>
                      <a:pt x="20" y="20"/>
                    </a:lnTo>
                    <a:lnTo>
                      <a:pt x="20" y="22"/>
                    </a:lnTo>
                    <a:lnTo>
                      <a:pt x="18" y="26"/>
                    </a:lnTo>
                    <a:lnTo>
                      <a:pt x="18" y="29"/>
                    </a:lnTo>
                    <a:lnTo>
                      <a:pt x="15" y="29"/>
                    </a:lnTo>
                    <a:lnTo>
                      <a:pt x="10" y="29"/>
                    </a:lnTo>
                    <a:lnTo>
                      <a:pt x="5" y="29"/>
                    </a:lnTo>
                    <a:lnTo>
                      <a:pt x="2" y="28"/>
                    </a:lnTo>
                    <a:lnTo>
                      <a:pt x="0" y="26"/>
                    </a:lnTo>
                    <a:lnTo>
                      <a:pt x="5"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pic>
            <p:nvPicPr>
              <p:cNvPr id="347" name="Picture 14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557" y="1543"/>
                <a:ext cx="104"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 name="Picture 145"/>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557" y="1543"/>
                <a:ext cx="104"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9" name="Freeform 146"/>
              <p:cNvSpPr>
                <a:spLocks/>
              </p:cNvSpPr>
              <p:nvPr/>
            </p:nvSpPr>
            <p:spPr bwMode="auto">
              <a:xfrm>
                <a:off x="2563" y="1548"/>
                <a:ext cx="84" cy="100"/>
              </a:xfrm>
              <a:custGeom>
                <a:avLst/>
                <a:gdLst>
                  <a:gd name="T0" fmla="*/ 3722 w 79"/>
                  <a:gd name="T1" fmla="*/ 3 h 95"/>
                  <a:gd name="T2" fmla="*/ 3958 w 79"/>
                  <a:gd name="T3" fmla="*/ 4 h 95"/>
                  <a:gd name="T4" fmla="*/ 4037 w 79"/>
                  <a:gd name="T5" fmla="*/ 7 h 95"/>
                  <a:gd name="T6" fmla="*/ 3965 w 79"/>
                  <a:gd name="T7" fmla="*/ 388 h 95"/>
                  <a:gd name="T8" fmla="*/ 3571 w 79"/>
                  <a:gd name="T9" fmla="*/ 452 h 95"/>
                  <a:gd name="T10" fmla="*/ 3328 w 79"/>
                  <a:gd name="T11" fmla="*/ 527 h 95"/>
                  <a:gd name="T12" fmla="*/ 3722 w 79"/>
                  <a:gd name="T13" fmla="*/ 584 h 95"/>
                  <a:gd name="T14" fmla="*/ 3965 w 79"/>
                  <a:gd name="T15" fmla="*/ 584 h 95"/>
                  <a:gd name="T16" fmla="*/ 3763 w 79"/>
                  <a:gd name="T17" fmla="*/ 837 h 95"/>
                  <a:gd name="T18" fmla="*/ 3358 w 79"/>
                  <a:gd name="T19" fmla="*/ 1156 h 95"/>
                  <a:gd name="T20" fmla="*/ 3102 w 79"/>
                  <a:gd name="T21" fmla="*/ 1217 h 95"/>
                  <a:gd name="T22" fmla="*/ 2604 w 79"/>
                  <a:gd name="T23" fmla="*/ 1156 h 95"/>
                  <a:gd name="T24" fmla="*/ 2279 w 79"/>
                  <a:gd name="T25" fmla="*/ 1281 h 95"/>
                  <a:gd name="T26" fmla="*/ 1782 w 79"/>
                  <a:gd name="T27" fmla="*/ 1261 h 95"/>
                  <a:gd name="T28" fmla="*/ 1782 w 79"/>
                  <a:gd name="T29" fmla="*/ 1471 h 95"/>
                  <a:gd name="T30" fmla="*/ 1499 w 79"/>
                  <a:gd name="T31" fmla="*/ 1654 h 95"/>
                  <a:gd name="T32" fmla="*/ 1037 w 79"/>
                  <a:gd name="T33" fmla="*/ 1656 h 95"/>
                  <a:gd name="T34" fmla="*/ 917 w 79"/>
                  <a:gd name="T35" fmla="*/ 2000 h 95"/>
                  <a:gd name="T36" fmla="*/ 561 w 79"/>
                  <a:gd name="T37" fmla="*/ 2333 h 95"/>
                  <a:gd name="T38" fmla="*/ 5 w 79"/>
                  <a:gd name="T39" fmla="*/ 2494 h 95"/>
                  <a:gd name="T40" fmla="*/ 0 w 79"/>
                  <a:gd name="T41" fmla="*/ 2585 h 95"/>
                  <a:gd name="T42" fmla="*/ 0 w 79"/>
                  <a:gd name="T43" fmla="*/ 2767 h 95"/>
                  <a:gd name="T44" fmla="*/ 4 w 79"/>
                  <a:gd name="T45" fmla="*/ 2767 h 95"/>
                  <a:gd name="T46" fmla="*/ 7 w 79"/>
                  <a:gd name="T47" fmla="*/ 2629 h 95"/>
                  <a:gd name="T48" fmla="*/ 763 w 79"/>
                  <a:gd name="T49" fmla="*/ 2494 h 95"/>
                  <a:gd name="T50" fmla="*/ 1173 w 79"/>
                  <a:gd name="T51" fmla="*/ 2071 h 95"/>
                  <a:gd name="T52" fmla="*/ 1410 w 79"/>
                  <a:gd name="T53" fmla="*/ 1929 h 95"/>
                  <a:gd name="T54" fmla="*/ 1802 w 79"/>
                  <a:gd name="T55" fmla="*/ 1743 h 95"/>
                  <a:gd name="T56" fmla="*/ 1916 w 79"/>
                  <a:gd name="T57" fmla="*/ 1629 h 95"/>
                  <a:gd name="T58" fmla="*/ 2426 w 79"/>
                  <a:gd name="T59" fmla="*/ 1471 h 95"/>
                  <a:gd name="T60" fmla="*/ 2743 w 79"/>
                  <a:gd name="T61" fmla="*/ 1348 h 95"/>
                  <a:gd name="T62" fmla="*/ 3102 w 79"/>
                  <a:gd name="T63" fmla="*/ 1492 h 95"/>
                  <a:gd name="T64" fmla="*/ 3722 w 79"/>
                  <a:gd name="T65" fmla="*/ 1138 h 95"/>
                  <a:gd name="T66" fmla="*/ 4037 w 79"/>
                  <a:gd name="T67" fmla="*/ 1081 h 95"/>
                  <a:gd name="T68" fmla="*/ 4523 w 79"/>
                  <a:gd name="T69" fmla="*/ 1261 h 95"/>
                  <a:gd name="T70" fmla="*/ 4254 w 79"/>
                  <a:gd name="T71" fmla="*/ 1081 h 95"/>
                  <a:gd name="T72" fmla="*/ 4329 w 79"/>
                  <a:gd name="T73" fmla="*/ 837 h 95"/>
                  <a:gd name="T74" fmla="*/ 4329 w 79"/>
                  <a:gd name="T75" fmla="*/ 584 h 95"/>
                  <a:gd name="T76" fmla="*/ 4483 w 79"/>
                  <a:gd name="T77" fmla="*/ 388 h 95"/>
                  <a:gd name="T78" fmla="*/ 4483 w 79"/>
                  <a:gd name="T79" fmla="*/ 2 h 95"/>
                  <a:gd name="T80" fmla="*/ 3965 w 79"/>
                  <a:gd name="T81" fmla="*/ 0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9"/>
                  <a:gd name="T124" fmla="*/ 0 h 95"/>
                  <a:gd name="T125" fmla="*/ 79 w 79"/>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9" h="95">
                    <a:moveTo>
                      <a:pt x="66" y="1"/>
                    </a:moveTo>
                    <a:lnTo>
                      <a:pt x="64" y="3"/>
                    </a:lnTo>
                    <a:lnTo>
                      <a:pt x="66" y="4"/>
                    </a:lnTo>
                    <a:lnTo>
                      <a:pt x="68" y="4"/>
                    </a:lnTo>
                    <a:lnTo>
                      <a:pt x="69" y="6"/>
                    </a:lnTo>
                    <a:lnTo>
                      <a:pt x="71" y="7"/>
                    </a:lnTo>
                    <a:lnTo>
                      <a:pt x="71" y="11"/>
                    </a:lnTo>
                    <a:lnTo>
                      <a:pt x="69" y="13"/>
                    </a:lnTo>
                    <a:lnTo>
                      <a:pt x="66" y="13"/>
                    </a:lnTo>
                    <a:lnTo>
                      <a:pt x="63" y="16"/>
                    </a:lnTo>
                    <a:lnTo>
                      <a:pt x="59" y="17"/>
                    </a:lnTo>
                    <a:lnTo>
                      <a:pt x="58" y="19"/>
                    </a:lnTo>
                    <a:lnTo>
                      <a:pt x="61" y="21"/>
                    </a:lnTo>
                    <a:lnTo>
                      <a:pt x="64" y="21"/>
                    </a:lnTo>
                    <a:lnTo>
                      <a:pt x="68" y="19"/>
                    </a:lnTo>
                    <a:lnTo>
                      <a:pt x="69" y="21"/>
                    </a:lnTo>
                    <a:lnTo>
                      <a:pt x="69" y="24"/>
                    </a:lnTo>
                    <a:lnTo>
                      <a:pt x="66" y="28"/>
                    </a:lnTo>
                    <a:lnTo>
                      <a:pt x="61" y="36"/>
                    </a:lnTo>
                    <a:lnTo>
                      <a:pt x="59" y="40"/>
                    </a:lnTo>
                    <a:lnTo>
                      <a:pt x="56" y="42"/>
                    </a:lnTo>
                    <a:lnTo>
                      <a:pt x="54" y="42"/>
                    </a:lnTo>
                    <a:lnTo>
                      <a:pt x="51" y="40"/>
                    </a:lnTo>
                    <a:lnTo>
                      <a:pt x="46" y="40"/>
                    </a:lnTo>
                    <a:lnTo>
                      <a:pt x="44" y="40"/>
                    </a:lnTo>
                    <a:lnTo>
                      <a:pt x="39" y="44"/>
                    </a:lnTo>
                    <a:lnTo>
                      <a:pt x="36" y="45"/>
                    </a:lnTo>
                    <a:lnTo>
                      <a:pt x="31" y="43"/>
                    </a:lnTo>
                    <a:lnTo>
                      <a:pt x="32" y="47"/>
                    </a:lnTo>
                    <a:lnTo>
                      <a:pt x="31" y="49"/>
                    </a:lnTo>
                    <a:lnTo>
                      <a:pt x="29" y="53"/>
                    </a:lnTo>
                    <a:lnTo>
                      <a:pt x="26" y="56"/>
                    </a:lnTo>
                    <a:lnTo>
                      <a:pt x="22" y="59"/>
                    </a:lnTo>
                    <a:lnTo>
                      <a:pt x="19" y="57"/>
                    </a:lnTo>
                    <a:lnTo>
                      <a:pt x="19" y="63"/>
                    </a:lnTo>
                    <a:lnTo>
                      <a:pt x="17" y="67"/>
                    </a:lnTo>
                    <a:lnTo>
                      <a:pt x="14" y="70"/>
                    </a:lnTo>
                    <a:lnTo>
                      <a:pt x="9" y="79"/>
                    </a:lnTo>
                    <a:lnTo>
                      <a:pt x="7" y="79"/>
                    </a:lnTo>
                    <a:lnTo>
                      <a:pt x="5" y="84"/>
                    </a:lnTo>
                    <a:lnTo>
                      <a:pt x="2" y="86"/>
                    </a:lnTo>
                    <a:lnTo>
                      <a:pt x="0" y="87"/>
                    </a:lnTo>
                    <a:lnTo>
                      <a:pt x="0" y="91"/>
                    </a:lnTo>
                    <a:lnTo>
                      <a:pt x="0" y="94"/>
                    </a:lnTo>
                    <a:lnTo>
                      <a:pt x="2" y="95"/>
                    </a:lnTo>
                    <a:lnTo>
                      <a:pt x="4" y="94"/>
                    </a:lnTo>
                    <a:lnTo>
                      <a:pt x="5" y="91"/>
                    </a:lnTo>
                    <a:lnTo>
                      <a:pt x="7" y="89"/>
                    </a:lnTo>
                    <a:lnTo>
                      <a:pt x="10" y="86"/>
                    </a:lnTo>
                    <a:lnTo>
                      <a:pt x="14" y="84"/>
                    </a:lnTo>
                    <a:lnTo>
                      <a:pt x="17" y="79"/>
                    </a:lnTo>
                    <a:lnTo>
                      <a:pt x="21" y="70"/>
                    </a:lnTo>
                    <a:lnTo>
                      <a:pt x="21" y="67"/>
                    </a:lnTo>
                    <a:lnTo>
                      <a:pt x="24" y="65"/>
                    </a:lnTo>
                    <a:lnTo>
                      <a:pt x="29" y="60"/>
                    </a:lnTo>
                    <a:lnTo>
                      <a:pt x="32" y="60"/>
                    </a:lnTo>
                    <a:lnTo>
                      <a:pt x="34" y="59"/>
                    </a:lnTo>
                    <a:lnTo>
                      <a:pt x="34" y="55"/>
                    </a:lnTo>
                    <a:lnTo>
                      <a:pt x="37" y="52"/>
                    </a:lnTo>
                    <a:lnTo>
                      <a:pt x="42" y="49"/>
                    </a:lnTo>
                    <a:lnTo>
                      <a:pt x="44" y="46"/>
                    </a:lnTo>
                    <a:lnTo>
                      <a:pt x="48" y="46"/>
                    </a:lnTo>
                    <a:lnTo>
                      <a:pt x="49" y="50"/>
                    </a:lnTo>
                    <a:lnTo>
                      <a:pt x="54" y="50"/>
                    </a:lnTo>
                    <a:lnTo>
                      <a:pt x="61" y="46"/>
                    </a:lnTo>
                    <a:lnTo>
                      <a:pt x="64" y="39"/>
                    </a:lnTo>
                    <a:lnTo>
                      <a:pt x="68" y="37"/>
                    </a:lnTo>
                    <a:lnTo>
                      <a:pt x="71" y="37"/>
                    </a:lnTo>
                    <a:lnTo>
                      <a:pt x="73" y="40"/>
                    </a:lnTo>
                    <a:lnTo>
                      <a:pt x="79" y="43"/>
                    </a:lnTo>
                    <a:lnTo>
                      <a:pt x="79" y="39"/>
                    </a:lnTo>
                    <a:lnTo>
                      <a:pt x="74" y="37"/>
                    </a:lnTo>
                    <a:lnTo>
                      <a:pt x="74" y="33"/>
                    </a:lnTo>
                    <a:lnTo>
                      <a:pt x="76" y="28"/>
                    </a:lnTo>
                    <a:lnTo>
                      <a:pt x="79" y="24"/>
                    </a:lnTo>
                    <a:lnTo>
                      <a:pt x="76" y="21"/>
                    </a:lnTo>
                    <a:lnTo>
                      <a:pt x="78" y="16"/>
                    </a:lnTo>
                    <a:lnTo>
                      <a:pt x="78" y="13"/>
                    </a:lnTo>
                    <a:lnTo>
                      <a:pt x="79" y="7"/>
                    </a:lnTo>
                    <a:lnTo>
                      <a:pt x="78" y="2"/>
                    </a:lnTo>
                    <a:lnTo>
                      <a:pt x="74" y="2"/>
                    </a:lnTo>
                    <a:lnTo>
                      <a:pt x="69" y="0"/>
                    </a:lnTo>
                    <a:lnTo>
                      <a:pt x="66"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0" name="Freeform 147"/>
              <p:cNvSpPr>
                <a:spLocks/>
              </p:cNvSpPr>
              <p:nvPr/>
            </p:nvSpPr>
            <p:spPr bwMode="auto">
              <a:xfrm>
                <a:off x="2563" y="1548"/>
                <a:ext cx="84" cy="100"/>
              </a:xfrm>
              <a:custGeom>
                <a:avLst/>
                <a:gdLst>
                  <a:gd name="T0" fmla="*/ 3722 w 79"/>
                  <a:gd name="T1" fmla="*/ 3 h 95"/>
                  <a:gd name="T2" fmla="*/ 3958 w 79"/>
                  <a:gd name="T3" fmla="*/ 4 h 95"/>
                  <a:gd name="T4" fmla="*/ 4037 w 79"/>
                  <a:gd name="T5" fmla="*/ 7 h 95"/>
                  <a:gd name="T6" fmla="*/ 3965 w 79"/>
                  <a:gd name="T7" fmla="*/ 388 h 95"/>
                  <a:gd name="T8" fmla="*/ 3571 w 79"/>
                  <a:gd name="T9" fmla="*/ 452 h 95"/>
                  <a:gd name="T10" fmla="*/ 3328 w 79"/>
                  <a:gd name="T11" fmla="*/ 527 h 95"/>
                  <a:gd name="T12" fmla="*/ 3722 w 79"/>
                  <a:gd name="T13" fmla="*/ 584 h 95"/>
                  <a:gd name="T14" fmla="*/ 3965 w 79"/>
                  <a:gd name="T15" fmla="*/ 584 h 95"/>
                  <a:gd name="T16" fmla="*/ 3763 w 79"/>
                  <a:gd name="T17" fmla="*/ 837 h 95"/>
                  <a:gd name="T18" fmla="*/ 3358 w 79"/>
                  <a:gd name="T19" fmla="*/ 1156 h 95"/>
                  <a:gd name="T20" fmla="*/ 3102 w 79"/>
                  <a:gd name="T21" fmla="*/ 1217 h 95"/>
                  <a:gd name="T22" fmla="*/ 2604 w 79"/>
                  <a:gd name="T23" fmla="*/ 1156 h 95"/>
                  <a:gd name="T24" fmla="*/ 2279 w 79"/>
                  <a:gd name="T25" fmla="*/ 1281 h 95"/>
                  <a:gd name="T26" fmla="*/ 1782 w 79"/>
                  <a:gd name="T27" fmla="*/ 1261 h 95"/>
                  <a:gd name="T28" fmla="*/ 1782 w 79"/>
                  <a:gd name="T29" fmla="*/ 1471 h 95"/>
                  <a:gd name="T30" fmla="*/ 1499 w 79"/>
                  <a:gd name="T31" fmla="*/ 1654 h 95"/>
                  <a:gd name="T32" fmla="*/ 1037 w 79"/>
                  <a:gd name="T33" fmla="*/ 1656 h 95"/>
                  <a:gd name="T34" fmla="*/ 917 w 79"/>
                  <a:gd name="T35" fmla="*/ 2000 h 95"/>
                  <a:gd name="T36" fmla="*/ 561 w 79"/>
                  <a:gd name="T37" fmla="*/ 2333 h 95"/>
                  <a:gd name="T38" fmla="*/ 5 w 79"/>
                  <a:gd name="T39" fmla="*/ 2494 h 95"/>
                  <a:gd name="T40" fmla="*/ 0 w 79"/>
                  <a:gd name="T41" fmla="*/ 2585 h 95"/>
                  <a:gd name="T42" fmla="*/ 0 w 79"/>
                  <a:gd name="T43" fmla="*/ 2767 h 95"/>
                  <a:gd name="T44" fmla="*/ 4 w 79"/>
                  <a:gd name="T45" fmla="*/ 2767 h 95"/>
                  <a:gd name="T46" fmla="*/ 7 w 79"/>
                  <a:gd name="T47" fmla="*/ 2629 h 95"/>
                  <a:gd name="T48" fmla="*/ 763 w 79"/>
                  <a:gd name="T49" fmla="*/ 2494 h 95"/>
                  <a:gd name="T50" fmla="*/ 1173 w 79"/>
                  <a:gd name="T51" fmla="*/ 2071 h 95"/>
                  <a:gd name="T52" fmla="*/ 1410 w 79"/>
                  <a:gd name="T53" fmla="*/ 1929 h 95"/>
                  <a:gd name="T54" fmla="*/ 1802 w 79"/>
                  <a:gd name="T55" fmla="*/ 1743 h 95"/>
                  <a:gd name="T56" fmla="*/ 1916 w 79"/>
                  <a:gd name="T57" fmla="*/ 1629 h 95"/>
                  <a:gd name="T58" fmla="*/ 2426 w 79"/>
                  <a:gd name="T59" fmla="*/ 1471 h 95"/>
                  <a:gd name="T60" fmla="*/ 2743 w 79"/>
                  <a:gd name="T61" fmla="*/ 1348 h 95"/>
                  <a:gd name="T62" fmla="*/ 3102 w 79"/>
                  <a:gd name="T63" fmla="*/ 1492 h 95"/>
                  <a:gd name="T64" fmla="*/ 3722 w 79"/>
                  <a:gd name="T65" fmla="*/ 1138 h 95"/>
                  <a:gd name="T66" fmla="*/ 4037 w 79"/>
                  <a:gd name="T67" fmla="*/ 1081 h 95"/>
                  <a:gd name="T68" fmla="*/ 4523 w 79"/>
                  <a:gd name="T69" fmla="*/ 1261 h 95"/>
                  <a:gd name="T70" fmla="*/ 4254 w 79"/>
                  <a:gd name="T71" fmla="*/ 1081 h 95"/>
                  <a:gd name="T72" fmla="*/ 4329 w 79"/>
                  <a:gd name="T73" fmla="*/ 837 h 95"/>
                  <a:gd name="T74" fmla="*/ 4329 w 79"/>
                  <a:gd name="T75" fmla="*/ 584 h 95"/>
                  <a:gd name="T76" fmla="*/ 4483 w 79"/>
                  <a:gd name="T77" fmla="*/ 388 h 95"/>
                  <a:gd name="T78" fmla="*/ 4483 w 79"/>
                  <a:gd name="T79" fmla="*/ 2 h 95"/>
                  <a:gd name="T80" fmla="*/ 3965 w 79"/>
                  <a:gd name="T81" fmla="*/ 0 h 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9"/>
                  <a:gd name="T124" fmla="*/ 0 h 95"/>
                  <a:gd name="T125" fmla="*/ 79 w 79"/>
                  <a:gd name="T126" fmla="*/ 95 h 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9" h="95">
                    <a:moveTo>
                      <a:pt x="66" y="1"/>
                    </a:moveTo>
                    <a:lnTo>
                      <a:pt x="64" y="3"/>
                    </a:lnTo>
                    <a:lnTo>
                      <a:pt x="66" y="4"/>
                    </a:lnTo>
                    <a:lnTo>
                      <a:pt x="68" y="4"/>
                    </a:lnTo>
                    <a:lnTo>
                      <a:pt x="69" y="6"/>
                    </a:lnTo>
                    <a:lnTo>
                      <a:pt x="71" y="7"/>
                    </a:lnTo>
                    <a:lnTo>
                      <a:pt x="71" y="11"/>
                    </a:lnTo>
                    <a:lnTo>
                      <a:pt x="69" y="13"/>
                    </a:lnTo>
                    <a:lnTo>
                      <a:pt x="66" y="13"/>
                    </a:lnTo>
                    <a:lnTo>
                      <a:pt x="63" y="16"/>
                    </a:lnTo>
                    <a:lnTo>
                      <a:pt x="59" y="17"/>
                    </a:lnTo>
                    <a:lnTo>
                      <a:pt x="58" y="19"/>
                    </a:lnTo>
                    <a:lnTo>
                      <a:pt x="61" y="21"/>
                    </a:lnTo>
                    <a:lnTo>
                      <a:pt x="64" y="21"/>
                    </a:lnTo>
                    <a:lnTo>
                      <a:pt x="68" y="19"/>
                    </a:lnTo>
                    <a:lnTo>
                      <a:pt x="69" y="21"/>
                    </a:lnTo>
                    <a:lnTo>
                      <a:pt x="69" y="24"/>
                    </a:lnTo>
                    <a:lnTo>
                      <a:pt x="66" y="28"/>
                    </a:lnTo>
                    <a:lnTo>
                      <a:pt x="61" y="36"/>
                    </a:lnTo>
                    <a:lnTo>
                      <a:pt x="59" y="40"/>
                    </a:lnTo>
                    <a:lnTo>
                      <a:pt x="56" y="42"/>
                    </a:lnTo>
                    <a:lnTo>
                      <a:pt x="54" y="42"/>
                    </a:lnTo>
                    <a:lnTo>
                      <a:pt x="51" y="40"/>
                    </a:lnTo>
                    <a:lnTo>
                      <a:pt x="46" y="40"/>
                    </a:lnTo>
                    <a:lnTo>
                      <a:pt x="44" y="40"/>
                    </a:lnTo>
                    <a:lnTo>
                      <a:pt x="39" y="44"/>
                    </a:lnTo>
                    <a:lnTo>
                      <a:pt x="36" y="45"/>
                    </a:lnTo>
                    <a:lnTo>
                      <a:pt x="31" y="43"/>
                    </a:lnTo>
                    <a:lnTo>
                      <a:pt x="32" y="47"/>
                    </a:lnTo>
                    <a:lnTo>
                      <a:pt x="31" y="49"/>
                    </a:lnTo>
                    <a:lnTo>
                      <a:pt x="29" y="53"/>
                    </a:lnTo>
                    <a:lnTo>
                      <a:pt x="26" y="56"/>
                    </a:lnTo>
                    <a:lnTo>
                      <a:pt x="22" y="59"/>
                    </a:lnTo>
                    <a:lnTo>
                      <a:pt x="19" y="57"/>
                    </a:lnTo>
                    <a:lnTo>
                      <a:pt x="19" y="63"/>
                    </a:lnTo>
                    <a:lnTo>
                      <a:pt x="17" y="67"/>
                    </a:lnTo>
                    <a:lnTo>
                      <a:pt x="14" y="70"/>
                    </a:lnTo>
                    <a:lnTo>
                      <a:pt x="9" y="79"/>
                    </a:lnTo>
                    <a:lnTo>
                      <a:pt x="7" y="79"/>
                    </a:lnTo>
                    <a:lnTo>
                      <a:pt x="5" y="84"/>
                    </a:lnTo>
                    <a:lnTo>
                      <a:pt x="2" y="86"/>
                    </a:lnTo>
                    <a:lnTo>
                      <a:pt x="0" y="87"/>
                    </a:lnTo>
                    <a:lnTo>
                      <a:pt x="0" y="91"/>
                    </a:lnTo>
                    <a:lnTo>
                      <a:pt x="0" y="94"/>
                    </a:lnTo>
                    <a:lnTo>
                      <a:pt x="2" y="95"/>
                    </a:lnTo>
                    <a:lnTo>
                      <a:pt x="4" y="94"/>
                    </a:lnTo>
                    <a:lnTo>
                      <a:pt x="5" y="91"/>
                    </a:lnTo>
                    <a:lnTo>
                      <a:pt x="7" y="89"/>
                    </a:lnTo>
                    <a:lnTo>
                      <a:pt x="10" y="86"/>
                    </a:lnTo>
                    <a:lnTo>
                      <a:pt x="14" y="84"/>
                    </a:lnTo>
                    <a:lnTo>
                      <a:pt x="17" y="79"/>
                    </a:lnTo>
                    <a:lnTo>
                      <a:pt x="21" y="70"/>
                    </a:lnTo>
                    <a:lnTo>
                      <a:pt x="21" y="67"/>
                    </a:lnTo>
                    <a:lnTo>
                      <a:pt x="24" y="65"/>
                    </a:lnTo>
                    <a:lnTo>
                      <a:pt x="29" y="60"/>
                    </a:lnTo>
                    <a:lnTo>
                      <a:pt x="32" y="60"/>
                    </a:lnTo>
                    <a:lnTo>
                      <a:pt x="34" y="59"/>
                    </a:lnTo>
                    <a:lnTo>
                      <a:pt x="34" y="55"/>
                    </a:lnTo>
                    <a:lnTo>
                      <a:pt x="37" y="52"/>
                    </a:lnTo>
                    <a:lnTo>
                      <a:pt x="42" y="49"/>
                    </a:lnTo>
                    <a:lnTo>
                      <a:pt x="44" y="46"/>
                    </a:lnTo>
                    <a:lnTo>
                      <a:pt x="48" y="46"/>
                    </a:lnTo>
                    <a:lnTo>
                      <a:pt x="49" y="50"/>
                    </a:lnTo>
                    <a:lnTo>
                      <a:pt x="54" y="50"/>
                    </a:lnTo>
                    <a:lnTo>
                      <a:pt x="61" y="46"/>
                    </a:lnTo>
                    <a:lnTo>
                      <a:pt x="64" y="39"/>
                    </a:lnTo>
                    <a:lnTo>
                      <a:pt x="68" y="37"/>
                    </a:lnTo>
                    <a:lnTo>
                      <a:pt x="71" y="37"/>
                    </a:lnTo>
                    <a:lnTo>
                      <a:pt x="73" y="40"/>
                    </a:lnTo>
                    <a:lnTo>
                      <a:pt x="79" y="43"/>
                    </a:lnTo>
                    <a:lnTo>
                      <a:pt x="79" y="39"/>
                    </a:lnTo>
                    <a:lnTo>
                      <a:pt x="74" y="37"/>
                    </a:lnTo>
                    <a:lnTo>
                      <a:pt x="74" y="33"/>
                    </a:lnTo>
                    <a:lnTo>
                      <a:pt x="76" y="28"/>
                    </a:lnTo>
                    <a:lnTo>
                      <a:pt x="79" y="24"/>
                    </a:lnTo>
                    <a:lnTo>
                      <a:pt x="76" y="21"/>
                    </a:lnTo>
                    <a:lnTo>
                      <a:pt x="78" y="16"/>
                    </a:lnTo>
                    <a:lnTo>
                      <a:pt x="78" y="13"/>
                    </a:lnTo>
                    <a:lnTo>
                      <a:pt x="79" y="7"/>
                    </a:lnTo>
                    <a:lnTo>
                      <a:pt x="78" y="2"/>
                    </a:lnTo>
                    <a:lnTo>
                      <a:pt x="74" y="2"/>
                    </a:lnTo>
                    <a:lnTo>
                      <a:pt x="69" y="0"/>
                    </a:lnTo>
                    <a:lnTo>
                      <a:pt x="66" y="1"/>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51" name="Freeform 149"/>
              <p:cNvSpPr>
                <a:spLocks/>
              </p:cNvSpPr>
              <p:nvPr/>
            </p:nvSpPr>
            <p:spPr bwMode="auto">
              <a:xfrm>
                <a:off x="3071" y="2982"/>
                <a:ext cx="30" cy="29"/>
              </a:xfrm>
              <a:custGeom>
                <a:avLst/>
                <a:gdLst>
                  <a:gd name="T0" fmla="*/ 1112 w 28"/>
                  <a:gd name="T1" fmla="*/ 0 h 28"/>
                  <a:gd name="T2" fmla="*/ 3 w 28"/>
                  <a:gd name="T3" fmla="*/ 3 h 28"/>
                  <a:gd name="T4" fmla="*/ 0 w 28"/>
                  <a:gd name="T5" fmla="*/ 3 h 28"/>
                  <a:gd name="T6" fmla="*/ 3 w 28"/>
                  <a:gd name="T7" fmla="*/ 164 h 28"/>
                  <a:gd name="T8" fmla="*/ 0 w 28"/>
                  <a:gd name="T9" fmla="*/ 182 h 28"/>
                  <a:gd name="T10" fmla="*/ 5 w 28"/>
                  <a:gd name="T11" fmla="*/ 210 h 28"/>
                  <a:gd name="T12" fmla="*/ 904 w 28"/>
                  <a:gd name="T13" fmla="*/ 226 h 28"/>
                  <a:gd name="T14" fmla="*/ 1367 w 28"/>
                  <a:gd name="T15" fmla="*/ 260 h 28"/>
                  <a:gd name="T16" fmla="*/ 2217 w 28"/>
                  <a:gd name="T17" fmla="*/ 269 h 28"/>
                  <a:gd name="T18" fmla="*/ 2634 w 28"/>
                  <a:gd name="T19" fmla="*/ 242 h 28"/>
                  <a:gd name="T20" fmla="*/ 2634 w 28"/>
                  <a:gd name="T21" fmla="*/ 226 h 28"/>
                  <a:gd name="T22" fmla="*/ 1682 w 28"/>
                  <a:gd name="T23" fmla="*/ 13 h 28"/>
                  <a:gd name="T24" fmla="*/ 1682 w 28"/>
                  <a:gd name="T25" fmla="*/ 3 h 28"/>
                  <a:gd name="T26" fmla="*/ 1112 w 28"/>
                  <a:gd name="T27" fmla="*/ 0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28"/>
                  <a:gd name="T44" fmla="*/ 28 w 28"/>
                  <a:gd name="T45" fmla="*/ 28 h 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28">
                    <a:moveTo>
                      <a:pt x="12" y="0"/>
                    </a:moveTo>
                    <a:lnTo>
                      <a:pt x="3" y="3"/>
                    </a:lnTo>
                    <a:lnTo>
                      <a:pt x="0" y="3"/>
                    </a:lnTo>
                    <a:lnTo>
                      <a:pt x="3" y="14"/>
                    </a:lnTo>
                    <a:lnTo>
                      <a:pt x="0" y="17"/>
                    </a:lnTo>
                    <a:lnTo>
                      <a:pt x="5" y="21"/>
                    </a:lnTo>
                    <a:lnTo>
                      <a:pt x="9" y="23"/>
                    </a:lnTo>
                    <a:lnTo>
                      <a:pt x="15" y="27"/>
                    </a:lnTo>
                    <a:lnTo>
                      <a:pt x="23" y="28"/>
                    </a:lnTo>
                    <a:lnTo>
                      <a:pt x="28" y="25"/>
                    </a:lnTo>
                    <a:lnTo>
                      <a:pt x="28" y="23"/>
                    </a:lnTo>
                    <a:lnTo>
                      <a:pt x="18" y="13"/>
                    </a:lnTo>
                    <a:lnTo>
                      <a:pt x="18" y="3"/>
                    </a:lnTo>
                    <a:lnTo>
                      <a:pt x="12" y="0"/>
                    </a:lnTo>
                    <a:close/>
                  </a:path>
                </a:pathLst>
              </a:custGeom>
              <a:solidFill>
                <a:srgbClr val="C050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2" name="Freeform 150"/>
              <p:cNvSpPr>
                <a:spLocks/>
              </p:cNvSpPr>
              <p:nvPr/>
            </p:nvSpPr>
            <p:spPr bwMode="auto">
              <a:xfrm>
                <a:off x="3071" y="2982"/>
                <a:ext cx="30" cy="29"/>
              </a:xfrm>
              <a:custGeom>
                <a:avLst/>
                <a:gdLst>
                  <a:gd name="T0" fmla="*/ 1112 w 28"/>
                  <a:gd name="T1" fmla="*/ 0 h 28"/>
                  <a:gd name="T2" fmla="*/ 3 w 28"/>
                  <a:gd name="T3" fmla="*/ 3 h 28"/>
                  <a:gd name="T4" fmla="*/ 0 w 28"/>
                  <a:gd name="T5" fmla="*/ 3 h 28"/>
                  <a:gd name="T6" fmla="*/ 3 w 28"/>
                  <a:gd name="T7" fmla="*/ 164 h 28"/>
                  <a:gd name="T8" fmla="*/ 0 w 28"/>
                  <a:gd name="T9" fmla="*/ 182 h 28"/>
                  <a:gd name="T10" fmla="*/ 5 w 28"/>
                  <a:gd name="T11" fmla="*/ 210 h 28"/>
                  <a:gd name="T12" fmla="*/ 904 w 28"/>
                  <a:gd name="T13" fmla="*/ 226 h 28"/>
                  <a:gd name="T14" fmla="*/ 1367 w 28"/>
                  <a:gd name="T15" fmla="*/ 260 h 28"/>
                  <a:gd name="T16" fmla="*/ 2217 w 28"/>
                  <a:gd name="T17" fmla="*/ 269 h 28"/>
                  <a:gd name="T18" fmla="*/ 2634 w 28"/>
                  <a:gd name="T19" fmla="*/ 242 h 28"/>
                  <a:gd name="T20" fmla="*/ 2634 w 28"/>
                  <a:gd name="T21" fmla="*/ 226 h 28"/>
                  <a:gd name="T22" fmla="*/ 1682 w 28"/>
                  <a:gd name="T23" fmla="*/ 13 h 28"/>
                  <a:gd name="T24" fmla="*/ 1682 w 28"/>
                  <a:gd name="T25" fmla="*/ 3 h 28"/>
                  <a:gd name="T26" fmla="*/ 1112 w 28"/>
                  <a:gd name="T27" fmla="*/ 0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28"/>
                  <a:gd name="T44" fmla="*/ 28 w 28"/>
                  <a:gd name="T45" fmla="*/ 28 h 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28">
                    <a:moveTo>
                      <a:pt x="12" y="0"/>
                    </a:moveTo>
                    <a:lnTo>
                      <a:pt x="3" y="3"/>
                    </a:lnTo>
                    <a:lnTo>
                      <a:pt x="0" y="3"/>
                    </a:lnTo>
                    <a:lnTo>
                      <a:pt x="3" y="14"/>
                    </a:lnTo>
                    <a:lnTo>
                      <a:pt x="0" y="17"/>
                    </a:lnTo>
                    <a:lnTo>
                      <a:pt x="5" y="21"/>
                    </a:lnTo>
                    <a:lnTo>
                      <a:pt x="9" y="23"/>
                    </a:lnTo>
                    <a:lnTo>
                      <a:pt x="15" y="27"/>
                    </a:lnTo>
                    <a:lnTo>
                      <a:pt x="23" y="28"/>
                    </a:lnTo>
                    <a:lnTo>
                      <a:pt x="28" y="25"/>
                    </a:lnTo>
                    <a:lnTo>
                      <a:pt x="28" y="23"/>
                    </a:lnTo>
                    <a:lnTo>
                      <a:pt x="18" y="13"/>
                    </a:lnTo>
                    <a:lnTo>
                      <a:pt x="18" y="3"/>
                    </a:lnTo>
                    <a:lnTo>
                      <a:pt x="12" y="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53" name="Freeform 151"/>
              <p:cNvSpPr>
                <a:spLocks/>
              </p:cNvSpPr>
              <p:nvPr/>
            </p:nvSpPr>
            <p:spPr bwMode="auto">
              <a:xfrm>
                <a:off x="3067" y="3018"/>
                <a:ext cx="293" cy="543"/>
              </a:xfrm>
              <a:custGeom>
                <a:avLst/>
                <a:gdLst>
                  <a:gd name="T0" fmla="*/ 2994 w 274"/>
                  <a:gd name="T1" fmla="*/ 4858 h 517"/>
                  <a:gd name="T2" fmla="*/ 2800 w 274"/>
                  <a:gd name="T3" fmla="*/ 5990 h 517"/>
                  <a:gd name="T4" fmla="*/ 4058 w 274"/>
                  <a:gd name="T5" fmla="*/ 7089 h 517"/>
                  <a:gd name="T6" fmla="*/ 4075 w 274"/>
                  <a:gd name="T7" fmla="*/ 7482 h 517"/>
                  <a:gd name="T8" fmla="*/ 2141 w 274"/>
                  <a:gd name="T9" fmla="*/ 8416 h 517"/>
                  <a:gd name="T10" fmla="*/ 896 w 274"/>
                  <a:gd name="T11" fmla="*/ 9079 h 517"/>
                  <a:gd name="T12" fmla="*/ 0 w 274"/>
                  <a:gd name="T13" fmla="*/ 9783 h 517"/>
                  <a:gd name="T14" fmla="*/ 6 w 274"/>
                  <a:gd name="T15" fmla="*/ 10546 h 517"/>
                  <a:gd name="T16" fmla="*/ 1531 w 274"/>
                  <a:gd name="T17" fmla="*/ 11174 h 517"/>
                  <a:gd name="T18" fmla="*/ 1432 w 274"/>
                  <a:gd name="T19" fmla="*/ 11832 h 517"/>
                  <a:gd name="T20" fmla="*/ 3424 w 274"/>
                  <a:gd name="T21" fmla="*/ 12683 h 517"/>
                  <a:gd name="T22" fmla="*/ 6121 w 274"/>
                  <a:gd name="T23" fmla="*/ 13179 h 517"/>
                  <a:gd name="T24" fmla="*/ 10736 w 274"/>
                  <a:gd name="T25" fmla="*/ 12689 h 517"/>
                  <a:gd name="T26" fmla="*/ 12238 w 274"/>
                  <a:gd name="T27" fmla="*/ 12504 h 517"/>
                  <a:gd name="T28" fmla="*/ 13797 w 274"/>
                  <a:gd name="T29" fmla="*/ 11635 h 517"/>
                  <a:gd name="T30" fmla="*/ 14754 w 274"/>
                  <a:gd name="T31" fmla="*/ 10367 h 517"/>
                  <a:gd name="T32" fmla="*/ 16595 w 274"/>
                  <a:gd name="T33" fmla="*/ 8753 h 517"/>
                  <a:gd name="T34" fmla="*/ 18354 w 274"/>
                  <a:gd name="T35" fmla="*/ 7062 h 517"/>
                  <a:gd name="T36" fmla="*/ 19237 w 274"/>
                  <a:gd name="T37" fmla="*/ 6402 h 517"/>
                  <a:gd name="T38" fmla="*/ 20142 w 274"/>
                  <a:gd name="T39" fmla="*/ 4880 h 517"/>
                  <a:gd name="T40" fmla="*/ 20988 w 274"/>
                  <a:gd name="T41" fmla="*/ 4393 h 517"/>
                  <a:gd name="T42" fmla="*/ 20630 w 274"/>
                  <a:gd name="T43" fmla="*/ 3610 h 517"/>
                  <a:gd name="T44" fmla="*/ 21694 w 274"/>
                  <a:gd name="T45" fmla="*/ 3437 h 517"/>
                  <a:gd name="T46" fmla="*/ 22751 w 274"/>
                  <a:gd name="T47" fmla="*/ 3437 h 517"/>
                  <a:gd name="T48" fmla="*/ 22441 w 274"/>
                  <a:gd name="T49" fmla="*/ 2646 h 517"/>
                  <a:gd name="T50" fmla="*/ 21880 w 274"/>
                  <a:gd name="T51" fmla="*/ 1839 h 517"/>
                  <a:gd name="T52" fmla="*/ 21321 w 274"/>
                  <a:gd name="T53" fmla="*/ 1021 h 517"/>
                  <a:gd name="T54" fmla="*/ 20161 w 274"/>
                  <a:gd name="T55" fmla="*/ 379 h 517"/>
                  <a:gd name="T56" fmla="*/ 18354 w 274"/>
                  <a:gd name="T57" fmla="*/ 4 h 517"/>
                  <a:gd name="T58" fmla="*/ 17893 w 274"/>
                  <a:gd name="T59" fmla="*/ 379 h 517"/>
                  <a:gd name="T60" fmla="*/ 17112 w 274"/>
                  <a:gd name="T61" fmla="*/ 1171 h 517"/>
                  <a:gd name="T62" fmla="*/ 15777 w 274"/>
                  <a:gd name="T63" fmla="*/ 1572 h 517"/>
                  <a:gd name="T64" fmla="*/ 14712 w 274"/>
                  <a:gd name="T65" fmla="*/ 1425 h 517"/>
                  <a:gd name="T66" fmla="*/ 15216 w 274"/>
                  <a:gd name="T67" fmla="*/ 2002 h 517"/>
                  <a:gd name="T68" fmla="*/ 14229 w 274"/>
                  <a:gd name="T69" fmla="*/ 2137 h 517"/>
                  <a:gd name="T70" fmla="*/ 15216 w 274"/>
                  <a:gd name="T71" fmla="*/ 2444 h 517"/>
                  <a:gd name="T72" fmla="*/ 13484 w 274"/>
                  <a:gd name="T73" fmla="*/ 2779 h 517"/>
                  <a:gd name="T74" fmla="*/ 13037 w 274"/>
                  <a:gd name="T75" fmla="*/ 2567 h 517"/>
                  <a:gd name="T76" fmla="*/ 12192 w 274"/>
                  <a:gd name="T77" fmla="*/ 2919 h 517"/>
                  <a:gd name="T78" fmla="*/ 11917 w 274"/>
                  <a:gd name="T79" fmla="*/ 3281 h 517"/>
                  <a:gd name="T80" fmla="*/ 10736 w 274"/>
                  <a:gd name="T81" fmla="*/ 3124 h 517"/>
                  <a:gd name="T82" fmla="*/ 10702 w 274"/>
                  <a:gd name="T83" fmla="*/ 3654 h 517"/>
                  <a:gd name="T84" fmla="*/ 9786 w 274"/>
                  <a:gd name="T85" fmla="*/ 3801 h 517"/>
                  <a:gd name="T86" fmla="*/ 8898 w 274"/>
                  <a:gd name="T87" fmla="*/ 3446 h 517"/>
                  <a:gd name="T88" fmla="*/ 7546 w 274"/>
                  <a:gd name="T89" fmla="*/ 3552 h 517"/>
                  <a:gd name="T90" fmla="*/ 6999 w 274"/>
                  <a:gd name="T91" fmla="*/ 3746 h 517"/>
                  <a:gd name="T92" fmla="*/ 6259 w 274"/>
                  <a:gd name="T93" fmla="*/ 3746 h 517"/>
                  <a:gd name="T94" fmla="*/ 4476 w 274"/>
                  <a:gd name="T95" fmla="*/ 3983 h 51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4"/>
                  <a:gd name="T145" fmla="*/ 0 h 517"/>
                  <a:gd name="T146" fmla="*/ 274 w 274"/>
                  <a:gd name="T147" fmla="*/ 517 h 51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4" h="517">
                    <a:moveTo>
                      <a:pt x="44" y="157"/>
                    </a:moveTo>
                    <a:lnTo>
                      <a:pt x="46" y="168"/>
                    </a:lnTo>
                    <a:lnTo>
                      <a:pt x="36" y="190"/>
                    </a:lnTo>
                    <a:lnTo>
                      <a:pt x="26" y="205"/>
                    </a:lnTo>
                    <a:lnTo>
                      <a:pt x="33" y="216"/>
                    </a:lnTo>
                    <a:lnTo>
                      <a:pt x="34" y="236"/>
                    </a:lnTo>
                    <a:lnTo>
                      <a:pt x="38" y="255"/>
                    </a:lnTo>
                    <a:lnTo>
                      <a:pt x="43" y="268"/>
                    </a:lnTo>
                    <a:lnTo>
                      <a:pt x="48" y="277"/>
                    </a:lnTo>
                    <a:lnTo>
                      <a:pt x="50" y="284"/>
                    </a:lnTo>
                    <a:lnTo>
                      <a:pt x="47" y="287"/>
                    </a:lnTo>
                    <a:lnTo>
                      <a:pt x="49" y="294"/>
                    </a:lnTo>
                    <a:lnTo>
                      <a:pt x="46" y="302"/>
                    </a:lnTo>
                    <a:lnTo>
                      <a:pt x="39" y="308"/>
                    </a:lnTo>
                    <a:lnTo>
                      <a:pt x="26" y="331"/>
                    </a:lnTo>
                    <a:lnTo>
                      <a:pt x="21" y="348"/>
                    </a:lnTo>
                    <a:lnTo>
                      <a:pt x="15" y="349"/>
                    </a:lnTo>
                    <a:lnTo>
                      <a:pt x="11" y="356"/>
                    </a:lnTo>
                    <a:lnTo>
                      <a:pt x="5" y="366"/>
                    </a:lnTo>
                    <a:lnTo>
                      <a:pt x="0" y="374"/>
                    </a:lnTo>
                    <a:lnTo>
                      <a:pt x="0" y="385"/>
                    </a:lnTo>
                    <a:lnTo>
                      <a:pt x="1" y="394"/>
                    </a:lnTo>
                    <a:lnTo>
                      <a:pt x="1" y="404"/>
                    </a:lnTo>
                    <a:lnTo>
                      <a:pt x="6" y="414"/>
                    </a:lnTo>
                    <a:lnTo>
                      <a:pt x="12" y="418"/>
                    </a:lnTo>
                    <a:lnTo>
                      <a:pt x="16" y="427"/>
                    </a:lnTo>
                    <a:lnTo>
                      <a:pt x="19" y="438"/>
                    </a:lnTo>
                    <a:lnTo>
                      <a:pt x="16" y="445"/>
                    </a:lnTo>
                    <a:lnTo>
                      <a:pt x="16" y="453"/>
                    </a:lnTo>
                    <a:lnTo>
                      <a:pt x="18" y="465"/>
                    </a:lnTo>
                    <a:lnTo>
                      <a:pt x="22" y="476"/>
                    </a:lnTo>
                    <a:lnTo>
                      <a:pt x="33" y="490"/>
                    </a:lnTo>
                    <a:lnTo>
                      <a:pt x="41" y="497"/>
                    </a:lnTo>
                    <a:lnTo>
                      <a:pt x="50" y="502"/>
                    </a:lnTo>
                    <a:lnTo>
                      <a:pt x="60" y="507"/>
                    </a:lnTo>
                    <a:lnTo>
                      <a:pt x="74" y="517"/>
                    </a:lnTo>
                    <a:lnTo>
                      <a:pt x="84" y="515"/>
                    </a:lnTo>
                    <a:lnTo>
                      <a:pt x="106" y="503"/>
                    </a:lnTo>
                    <a:lnTo>
                      <a:pt x="129" y="498"/>
                    </a:lnTo>
                    <a:lnTo>
                      <a:pt x="135" y="500"/>
                    </a:lnTo>
                    <a:lnTo>
                      <a:pt x="142" y="496"/>
                    </a:lnTo>
                    <a:lnTo>
                      <a:pt x="147" y="490"/>
                    </a:lnTo>
                    <a:lnTo>
                      <a:pt x="156" y="476"/>
                    </a:lnTo>
                    <a:lnTo>
                      <a:pt x="160" y="468"/>
                    </a:lnTo>
                    <a:lnTo>
                      <a:pt x="166" y="458"/>
                    </a:lnTo>
                    <a:lnTo>
                      <a:pt x="170" y="437"/>
                    </a:lnTo>
                    <a:lnTo>
                      <a:pt x="173" y="425"/>
                    </a:lnTo>
                    <a:lnTo>
                      <a:pt x="178" y="407"/>
                    </a:lnTo>
                    <a:lnTo>
                      <a:pt x="187" y="380"/>
                    </a:lnTo>
                    <a:lnTo>
                      <a:pt x="190" y="369"/>
                    </a:lnTo>
                    <a:lnTo>
                      <a:pt x="199" y="344"/>
                    </a:lnTo>
                    <a:lnTo>
                      <a:pt x="202" y="329"/>
                    </a:lnTo>
                    <a:lnTo>
                      <a:pt x="210" y="310"/>
                    </a:lnTo>
                    <a:lnTo>
                      <a:pt x="221" y="275"/>
                    </a:lnTo>
                    <a:lnTo>
                      <a:pt x="223" y="269"/>
                    </a:lnTo>
                    <a:lnTo>
                      <a:pt x="224" y="269"/>
                    </a:lnTo>
                    <a:lnTo>
                      <a:pt x="231" y="249"/>
                    </a:lnTo>
                    <a:lnTo>
                      <a:pt x="238" y="214"/>
                    </a:lnTo>
                    <a:lnTo>
                      <a:pt x="238" y="204"/>
                    </a:lnTo>
                    <a:lnTo>
                      <a:pt x="240" y="192"/>
                    </a:lnTo>
                    <a:lnTo>
                      <a:pt x="245" y="182"/>
                    </a:lnTo>
                    <a:lnTo>
                      <a:pt x="250" y="178"/>
                    </a:lnTo>
                    <a:lnTo>
                      <a:pt x="252" y="171"/>
                    </a:lnTo>
                    <a:lnTo>
                      <a:pt x="252" y="160"/>
                    </a:lnTo>
                    <a:lnTo>
                      <a:pt x="248" y="151"/>
                    </a:lnTo>
                    <a:lnTo>
                      <a:pt x="248" y="141"/>
                    </a:lnTo>
                    <a:lnTo>
                      <a:pt x="250" y="125"/>
                    </a:lnTo>
                    <a:lnTo>
                      <a:pt x="257" y="125"/>
                    </a:lnTo>
                    <a:lnTo>
                      <a:pt x="260" y="134"/>
                    </a:lnTo>
                    <a:lnTo>
                      <a:pt x="263" y="144"/>
                    </a:lnTo>
                    <a:lnTo>
                      <a:pt x="269" y="144"/>
                    </a:lnTo>
                    <a:lnTo>
                      <a:pt x="273" y="134"/>
                    </a:lnTo>
                    <a:lnTo>
                      <a:pt x="274" y="124"/>
                    </a:lnTo>
                    <a:lnTo>
                      <a:pt x="273" y="114"/>
                    </a:lnTo>
                    <a:lnTo>
                      <a:pt x="268" y="104"/>
                    </a:lnTo>
                    <a:lnTo>
                      <a:pt x="266" y="93"/>
                    </a:lnTo>
                    <a:lnTo>
                      <a:pt x="265" y="82"/>
                    </a:lnTo>
                    <a:lnTo>
                      <a:pt x="263" y="72"/>
                    </a:lnTo>
                    <a:lnTo>
                      <a:pt x="260" y="60"/>
                    </a:lnTo>
                    <a:lnTo>
                      <a:pt x="257" y="48"/>
                    </a:lnTo>
                    <a:lnTo>
                      <a:pt x="256" y="41"/>
                    </a:lnTo>
                    <a:lnTo>
                      <a:pt x="253" y="31"/>
                    </a:lnTo>
                    <a:lnTo>
                      <a:pt x="248" y="22"/>
                    </a:lnTo>
                    <a:lnTo>
                      <a:pt x="241" y="15"/>
                    </a:lnTo>
                    <a:lnTo>
                      <a:pt x="235" y="7"/>
                    </a:lnTo>
                    <a:lnTo>
                      <a:pt x="227" y="0"/>
                    </a:lnTo>
                    <a:lnTo>
                      <a:pt x="221" y="4"/>
                    </a:lnTo>
                    <a:lnTo>
                      <a:pt x="215" y="11"/>
                    </a:lnTo>
                    <a:lnTo>
                      <a:pt x="211" y="10"/>
                    </a:lnTo>
                    <a:lnTo>
                      <a:pt x="215" y="15"/>
                    </a:lnTo>
                    <a:lnTo>
                      <a:pt x="215" y="31"/>
                    </a:lnTo>
                    <a:lnTo>
                      <a:pt x="211" y="41"/>
                    </a:lnTo>
                    <a:lnTo>
                      <a:pt x="205" y="46"/>
                    </a:lnTo>
                    <a:lnTo>
                      <a:pt x="200" y="41"/>
                    </a:lnTo>
                    <a:lnTo>
                      <a:pt x="199" y="50"/>
                    </a:lnTo>
                    <a:lnTo>
                      <a:pt x="190" y="62"/>
                    </a:lnTo>
                    <a:lnTo>
                      <a:pt x="187" y="56"/>
                    </a:lnTo>
                    <a:lnTo>
                      <a:pt x="179" y="52"/>
                    </a:lnTo>
                    <a:lnTo>
                      <a:pt x="177" y="56"/>
                    </a:lnTo>
                    <a:lnTo>
                      <a:pt x="179" y="63"/>
                    </a:lnTo>
                    <a:lnTo>
                      <a:pt x="182" y="69"/>
                    </a:lnTo>
                    <a:lnTo>
                      <a:pt x="182" y="78"/>
                    </a:lnTo>
                    <a:lnTo>
                      <a:pt x="177" y="74"/>
                    </a:lnTo>
                    <a:lnTo>
                      <a:pt x="172" y="81"/>
                    </a:lnTo>
                    <a:lnTo>
                      <a:pt x="170" y="85"/>
                    </a:lnTo>
                    <a:lnTo>
                      <a:pt x="173" y="91"/>
                    </a:lnTo>
                    <a:lnTo>
                      <a:pt x="179" y="93"/>
                    </a:lnTo>
                    <a:lnTo>
                      <a:pt x="182" y="96"/>
                    </a:lnTo>
                    <a:lnTo>
                      <a:pt x="177" y="97"/>
                    </a:lnTo>
                    <a:lnTo>
                      <a:pt x="172" y="96"/>
                    </a:lnTo>
                    <a:lnTo>
                      <a:pt x="160" y="109"/>
                    </a:lnTo>
                    <a:lnTo>
                      <a:pt x="162" y="101"/>
                    </a:lnTo>
                    <a:lnTo>
                      <a:pt x="160" y="97"/>
                    </a:lnTo>
                    <a:lnTo>
                      <a:pt x="156" y="101"/>
                    </a:lnTo>
                    <a:lnTo>
                      <a:pt x="156" y="103"/>
                    </a:lnTo>
                    <a:lnTo>
                      <a:pt x="150" y="110"/>
                    </a:lnTo>
                    <a:lnTo>
                      <a:pt x="146" y="114"/>
                    </a:lnTo>
                    <a:lnTo>
                      <a:pt x="153" y="127"/>
                    </a:lnTo>
                    <a:lnTo>
                      <a:pt x="149" y="130"/>
                    </a:lnTo>
                    <a:lnTo>
                      <a:pt x="143" y="129"/>
                    </a:lnTo>
                    <a:lnTo>
                      <a:pt x="142" y="120"/>
                    </a:lnTo>
                    <a:lnTo>
                      <a:pt x="137" y="119"/>
                    </a:lnTo>
                    <a:lnTo>
                      <a:pt x="129" y="123"/>
                    </a:lnTo>
                    <a:lnTo>
                      <a:pt x="121" y="130"/>
                    </a:lnTo>
                    <a:lnTo>
                      <a:pt x="121" y="137"/>
                    </a:lnTo>
                    <a:lnTo>
                      <a:pt x="128" y="144"/>
                    </a:lnTo>
                    <a:lnTo>
                      <a:pt x="129" y="149"/>
                    </a:lnTo>
                    <a:lnTo>
                      <a:pt x="124" y="150"/>
                    </a:lnTo>
                    <a:lnTo>
                      <a:pt x="118" y="149"/>
                    </a:lnTo>
                    <a:lnTo>
                      <a:pt x="114" y="145"/>
                    </a:lnTo>
                    <a:lnTo>
                      <a:pt x="111" y="137"/>
                    </a:lnTo>
                    <a:lnTo>
                      <a:pt x="107" y="135"/>
                    </a:lnTo>
                    <a:lnTo>
                      <a:pt x="102" y="140"/>
                    </a:lnTo>
                    <a:lnTo>
                      <a:pt x="98" y="137"/>
                    </a:lnTo>
                    <a:lnTo>
                      <a:pt x="91" y="139"/>
                    </a:lnTo>
                    <a:lnTo>
                      <a:pt x="91" y="144"/>
                    </a:lnTo>
                    <a:lnTo>
                      <a:pt x="87" y="148"/>
                    </a:lnTo>
                    <a:lnTo>
                      <a:pt x="84" y="147"/>
                    </a:lnTo>
                    <a:lnTo>
                      <a:pt x="79" y="151"/>
                    </a:lnTo>
                    <a:lnTo>
                      <a:pt x="77" y="150"/>
                    </a:lnTo>
                    <a:lnTo>
                      <a:pt x="75" y="147"/>
                    </a:lnTo>
                    <a:lnTo>
                      <a:pt x="67" y="151"/>
                    </a:lnTo>
                    <a:lnTo>
                      <a:pt x="64" y="154"/>
                    </a:lnTo>
                    <a:lnTo>
                      <a:pt x="53" y="155"/>
                    </a:lnTo>
                    <a:lnTo>
                      <a:pt x="48" y="152"/>
                    </a:lnTo>
                    <a:lnTo>
                      <a:pt x="44" y="157"/>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4" name="Freeform 152"/>
              <p:cNvSpPr>
                <a:spLocks/>
              </p:cNvSpPr>
              <p:nvPr/>
            </p:nvSpPr>
            <p:spPr bwMode="auto">
              <a:xfrm>
                <a:off x="3067" y="3018"/>
                <a:ext cx="293" cy="543"/>
              </a:xfrm>
              <a:custGeom>
                <a:avLst/>
                <a:gdLst>
                  <a:gd name="T0" fmla="*/ 2994 w 274"/>
                  <a:gd name="T1" fmla="*/ 4858 h 517"/>
                  <a:gd name="T2" fmla="*/ 2800 w 274"/>
                  <a:gd name="T3" fmla="*/ 5990 h 517"/>
                  <a:gd name="T4" fmla="*/ 4058 w 274"/>
                  <a:gd name="T5" fmla="*/ 7089 h 517"/>
                  <a:gd name="T6" fmla="*/ 4075 w 274"/>
                  <a:gd name="T7" fmla="*/ 7482 h 517"/>
                  <a:gd name="T8" fmla="*/ 2141 w 274"/>
                  <a:gd name="T9" fmla="*/ 8416 h 517"/>
                  <a:gd name="T10" fmla="*/ 896 w 274"/>
                  <a:gd name="T11" fmla="*/ 9079 h 517"/>
                  <a:gd name="T12" fmla="*/ 0 w 274"/>
                  <a:gd name="T13" fmla="*/ 9783 h 517"/>
                  <a:gd name="T14" fmla="*/ 6 w 274"/>
                  <a:gd name="T15" fmla="*/ 10546 h 517"/>
                  <a:gd name="T16" fmla="*/ 1531 w 274"/>
                  <a:gd name="T17" fmla="*/ 11174 h 517"/>
                  <a:gd name="T18" fmla="*/ 1432 w 274"/>
                  <a:gd name="T19" fmla="*/ 11832 h 517"/>
                  <a:gd name="T20" fmla="*/ 3424 w 274"/>
                  <a:gd name="T21" fmla="*/ 12683 h 517"/>
                  <a:gd name="T22" fmla="*/ 6121 w 274"/>
                  <a:gd name="T23" fmla="*/ 13179 h 517"/>
                  <a:gd name="T24" fmla="*/ 10736 w 274"/>
                  <a:gd name="T25" fmla="*/ 12689 h 517"/>
                  <a:gd name="T26" fmla="*/ 12238 w 274"/>
                  <a:gd name="T27" fmla="*/ 12504 h 517"/>
                  <a:gd name="T28" fmla="*/ 13797 w 274"/>
                  <a:gd name="T29" fmla="*/ 11635 h 517"/>
                  <a:gd name="T30" fmla="*/ 14754 w 274"/>
                  <a:gd name="T31" fmla="*/ 10367 h 517"/>
                  <a:gd name="T32" fmla="*/ 16595 w 274"/>
                  <a:gd name="T33" fmla="*/ 8753 h 517"/>
                  <a:gd name="T34" fmla="*/ 18354 w 274"/>
                  <a:gd name="T35" fmla="*/ 7062 h 517"/>
                  <a:gd name="T36" fmla="*/ 19237 w 274"/>
                  <a:gd name="T37" fmla="*/ 6402 h 517"/>
                  <a:gd name="T38" fmla="*/ 20142 w 274"/>
                  <a:gd name="T39" fmla="*/ 4880 h 517"/>
                  <a:gd name="T40" fmla="*/ 20988 w 274"/>
                  <a:gd name="T41" fmla="*/ 4393 h 517"/>
                  <a:gd name="T42" fmla="*/ 20630 w 274"/>
                  <a:gd name="T43" fmla="*/ 3610 h 517"/>
                  <a:gd name="T44" fmla="*/ 21694 w 274"/>
                  <a:gd name="T45" fmla="*/ 3437 h 517"/>
                  <a:gd name="T46" fmla="*/ 22751 w 274"/>
                  <a:gd name="T47" fmla="*/ 3437 h 517"/>
                  <a:gd name="T48" fmla="*/ 22441 w 274"/>
                  <a:gd name="T49" fmla="*/ 2646 h 517"/>
                  <a:gd name="T50" fmla="*/ 21880 w 274"/>
                  <a:gd name="T51" fmla="*/ 1839 h 517"/>
                  <a:gd name="T52" fmla="*/ 21321 w 274"/>
                  <a:gd name="T53" fmla="*/ 1021 h 517"/>
                  <a:gd name="T54" fmla="*/ 20161 w 274"/>
                  <a:gd name="T55" fmla="*/ 379 h 517"/>
                  <a:gd name="T56" fmla="*/ 18354 w 274"/>
                  <a:gd name="T57" fmla="*/ 4 h 517"/>
                  <a:gd name="T58" fmla="*/ 17893 w 274"/>
                  <a:gd name="T59" fmla="*/ 379 h 517"/>
                  <a:gd name="T60" fmla="*/ 17112 w 274"/>
                  <a:gd name="T61" fmla="*/ 1171 h 517"/>
                  <a:gd name="T62" fmla="*/ 15777 w 274"/>
                  <a:gd name="T63" fmla="*/ 1572 h 517"/>
                  <a:gd name="T64" fmla="*/ 14712 w 274"/>
                  <a:gd name="T65" fmla="*/ 1425 h 517"/>
                  <a:gd name="T66" fmla="*/ 15216 w 274"/>
                  <a:gd name="T67" fmla="*/ 2002 h 517"/>
                  <a:gd name="T68" fmla="*/ 14229 w 274"/>
                  <a:gd name="T69" fmla="*/ 2137 h 517"/>
                  <a:gd name="T70" fmla="*/ 15216 w 274"/>
                  <a:gd name="T71" fmla="*/ 2444 h 517"/>
                  <a:gd name="T72" fmla="*/ 13484 w 274"/>
                  <a:gd name="T73" fmla="*/ 2779 h 517"/>
                  <a:gd name="T74" fmla="*/ 13037 w 274"/>
                  <a:gd name="T75" fmla="*/ 2567 h 517"/>
                  <a:gd name="T76" fmla="*/ 12192 w 274"/>
                  <a:gd name="T77" fmla="*/ 2919 h 517"/>
                  <a:gd name="T78" fmla="*/ 11917 w 274"/>
                  <a:gd name="T79" fmla="*/ 3281 h 517"/>
                  <a:gd name="T80" fmla="*/ 10736 w 274"/>
                  <a:gd name="T81" fmla="*/ 3124 h 517"/>
                  <a:gd name="T82" fmla="*/ 10702 w 274"/>
                  <a:gd name="T83" fmla="*/ 3654 h 517"/>
                  <a:gd name="T84" fmla="*/ 9786 w 274"/>
                  <a:gd name="T85" fmla="*/ 3801 h 517"/>
                  <a:gd name="T86" fmla="*/ 8898 w 274"/>
                  <a:gd name="T87" fmla="*/ 3446 h 517"/>
                  <a:gd name="T88" fmla="*/ 7546 w 274"/>
                  <a:gd name="T89" fmla="*/ 3552 h 517"/>
                  <a:gd name="T90" fmla="*/ 6999 w 274"/>
                  <a:gd name="T91" fmla="*/ 3746 h 517"/>
                  <a:gd name="T92" fmla="*/ 6259 w 274"/>
                  <a:gd name="T93" fmla="*/ 3746 h 517"/>
                  <a:gd name="T94" fmla="*/ 4476 w 274"/>
                  <a:gd name="T95" fmla="*/ 3983 h 51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4"/>
                  <a:gd name="T145" fmla="*/ 0 h 517"/>
                  <a:gd name="T146" fmla="*/ 274 w 274"/>
                  <a:gd name="T147" fmla="*/ 517 h 51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4" h="517">
                    <a:moveTo>
                      <a:pt x="44" y="157"/>
                    </a:moveTo>
                    <a:lnTo>
                      <a:pt x="46" y="168"/>
                    </a:lnTo>
                    <a:lnTo>
                      <a:pt x="36" y="190"/>
                    </a:lnTo>
                    <a:lnTo>
                      <a:pt x="26" y="205"/>
                    </a:lnTo>
                    <a:lnTo>
                      <a:pt x="33" y="216"/>
                    </a:lnTo>
                    <a:lnTo>
                      <a:pt x="34" y="236"/>
                    </a:lnTo>
                    <a:lnTo>
                      <a:pt x="38" y="255"/>
                    </a:lnTo>
                    <a:lnTo>
                      <a:pt x="43" y="268"/>
                    </a:lnTo>
                    <a:lnTo>
                      <a:pt x="48" y="277"/>
                    </a:lnTo>
                    <a:lnTo>
                      <a:pt x="50" y="284"/>
                    </a:lnTo>
                    <a:lnTo>
                      <a:pt x="47" y="287"/>
                    </a:lnTo>
                    <a:lnTo>
                      <a:pt x="49" y="294"/>
                    </a:lnTo>
                    <a:lnTo>
                      <a:pt x="46" y="302"/>
                    </a:lnTo>
                    <a:lnTo>
                      <a:pt x="39" y="308"/>
                    </a:lnTo>
                    <a:lnTo>
                      <a:pt x="26" y="331"/>
                    </a:lnTo>
                    <a:lnTo>
                      <a:pt x="21" y="348"/>
                    </a:lnTo>
                    <a:lnTo>
                      <a:pt x="15" y="349"/>
                    </a:lnTo>
                    <a:lnTo>
                      <a:pt x="11" y="356"/>
                    </a:lnTo>
                    <a:lnTo>
                      <a:pt x="5" y="366"/>
                    </a:lnTo>
                    <a:lnTo>
                      <a:pt x="0" y="374"/>
                    </a:lnTo>
                    <a:lnTo>
                      <a:pt x="0" y="385"/>
                    </a:lnTo>
                    <a:lnTo>
                      <a:pt x="1" y="394"/>
                    </a:lnTo>
                    <a:lnTo>
                      <a:pt x="1" y="404"/>
                    </a:lnTo>
                    <a:lnTo>
                      <a:pt x="6" y="414"/>
                    </a:lnTo>
                    <a:lnTo>
                      <a:pt x="12" y="418"/>
                    </a:lnTo>
                    <a:lnTo>
                      <a:pt x="16" y="427"/>
                    </a:lnTo>
                    <a:lnTo>
                      <a:pt x="19" y="438"/>
                    </a:lnTo>
                    <a:lnTo>
                      <a:pt x="16" y="445"/>
                    </a:lnTo>
                    <a:lnTo>
                      <a:pt x="16" y="453"/>
                    </a:lnTo>
                    <a:lnTo>
                      <a:pt x="18" y="465"/>
                    </a:lnTo>
                    <a:lnTo>
                      <a:pt x="22" y="476"/>
                    </a:lnTo>
                    <a:lnTo>
                      <a:pt x="33" y="490"/>
                    </a:lnTo>
                    <a:lnTo>
                      <a:pt x="41" y="497"/>
                    </a:lnTo>
                    <a:lnTo>
                      <a:pt x="50" y="502"/>
                    </a:lnTo>
                    <a:lnTo>
                      <a:pt x="60" y="507"/>
                    </a:lnTo>
                    <a:lnTo>
                      <a:pt x="74" y="517"/>
                    </a:lnTo>
                    <a:lnTo>
                      <a:pt x="84" y="515"/>
                    </a:lnTo>
                    <a:lnTo>
                      <a:pt x="106" y="503"/>
                    </a:lnTo>
                    <a:lnTo>
                      <a:pt x="129" y="498"/>
                    </a:lnTo>
                    <a:lnTo>
                      <a:pt x="135" y="500"/>
                    </a:lnTo>
                    <a:lnTo>
                      <a:pt x="142" y="496"/>
                    </a:lnTo>
                    <a:lnTo>
                      <a:pt x="147" y="490"/>
                    </a:lnTo>
                    <a:lnTo>
                      <a:pt x="156" y="476"/>
                    </a:lnTo>
                    <a:lnTo>
                      <a:pt x="160" y="468"/>
                    </a:lnTo>
                    <a:lnTo>
                      <a:pt x="166" y="458"/>
                    </a:lnTo>
                    <a:lnTo>
                      <a:pt x="170" y="437"/>
                    </a:lnTo>
                    <a:lnTo>
                      <a:pt x="173" y="425"/>
                    </a:lnTo>
                    <a:lnTo>
                      <a:pt x="178" y="407"/>
                    </a:lnTo>
                    <a:lnTo>
                      <a:pt x="187" y="380"/>
                    </a:lnTo>
                    <a:lnTo>
                      <a:pt x="190" y="369"/>
                    </a:lnTo>
                    <a:lnTo>
                      <a:pt x="199" y="344"/>
                    </a:lnTo>
                    <a:lnTo>
                      <a:pt x="202" y="329"/>
                    </a:lnTo>
                    <a:lnTo>
                      <a:pt x="210" y="310"/>
                    </a:lnTo>
                    <a:lnTo>
                      <a:pt x="221" y="275"/>
                    </a:lnTo>
                    <a:lnTo>
                      <a:pt x="223" y="269"/>
                    </a:lnTo>
                    <a:lnTo>
                      <a:pt x="224" y="269"/>
                    </a:lnTo>
                    <a:lnTo>
                      <a:pt x="231" y="249"/>
                    </a:lnTo>
                    <a:lnTo>
                      <a:pt x="238" y="214"/>
                    </a:lnTo>
                    <a:lnTo>
                      <a:pt x="238" y="204"/>
                    </a:lnTo>
                    <a:lnTo>
                      <a:pt x="240" y="192"/>
                    </a:lnTo>
                    <a:lnTo>
                      <a:pt x="245" y="182"/>
                    </a:lnTo>
                    <a:lnTo>
                      <a:pt x="250" y="178"/>
                    </a:lnTo>
                    <a:lnTo>
                      <a:pt x="252" y="171"/>
                    </a:lnTo>
                    <a:lnTo>
                      <a:pt x="252" y="160"/>
                    </a:lnTo>
                    <a:lnTo>
                      <a:pt x="248" y="151"/>
                    </a:lnTo>
                    <a:lnTo>
                      <a:pt x="248" y="141"/>
                    </a:lnTo>
                    <a:lnTo>
                      <a:pt x="250" y="125"/>
                    </a:lnTo>
                    <a:lnTo>
                      <a:pt x="257" y="125"/>
                    </a:lnTo>
                    <a:lnTo>
                      <a:pt x="260" y="134"/>
                    </a:lnTo>
                    <a:lnTo>
                      <a:pt x="263" y="144"/>
                    </a:lnTo>
                    <a:lnTo>
                      <a:pt x="269" y="144"/>
                    </a:lnTo>
                    <a:lnTo>
                      <a:pt x="273" y="134"/>
                    </a:lnTo>
                    <a:lnTo>
                      <a:pt x="274" y="124"/>
                    </a:lnTo>
                    <a:lnTo>
                      <a:pt x="273" y="114"/>
                    </a:lnTo>
                    <a:lnTo>
                      <a:pt x="268" y="104"/>
                    </a:lnTo>
                    <a:lnTo>
                      <a:pt x="266" y="93"/>
                    </a:lnTo>
                    <a:lnTo>
                      <a:pt x="265" y="82"/>
                    </a:lnTo>
                    <a:lnTo>
                      <a:pt x="263" y="72"/>
                    </a:lnTo>
                    <a:lnTo>
                      <a:pt x="260" y="60"/>
                    </a:lnTo>
                    <a:lnTo>
                      <a:pt x="257" y="48"/>
                    </a:lnTo>
                    <a:lnTo>
                      <a:pt x="256" y="41"/>
                    </a:lnTo>
                    <a:lnTo>
                      <a:pt x="253" y="31"/>
                    </a:lnTo>
                    <a:lnTo>
                      <a:pt x="248" y="22"/>
                    </a:lnTo>
                    <a:lnTo>
                      <a:pt x="241" y="15"/>
                    </a:lnTo>
                    <a:lnTo>
                      <a:pt x="235" y="7"/>
                    </a:lnTo>
                    <a:lnTo>
                      <a:pt x="227" y="0"/>
                    </a:lnTo>
                    <a:lnTo>
                      <a:pt x="221" y="4"/>
                    </a:lnTo>
                    <a:lnTo>
                      <a:pt x="215" y="11"/>
                    </a:lnTo>
                    <a:lnTo>
                      <a:pt x="211" y="10"/>
                    </a:lnTo>
                    <a:lnTo>
                      <a:pt x="215" y="15"/>
                    </a:lnTo>
                    <a:lnTo>
                      <a:pt x="215" y="31"/>
                    </a:lnTo>
                    <a:lnTo>
                      <a:pt x="211" y="41"/>
                    </a:lnTo>
                    <a:lnTo>
                      <a:pt x="205" y="46"/>
                    </a:lnTo>
                    <a:lnTo>
                      <a:pt x="200" y="41"/>
                    </a:lnTo>
                    <a:lnTo>
                      <a:pt x="199" y="50"/>
                    </a:lnTo>
                    <a:lnTo>
                      <a:pt x="190" y="62"/>
                    </a:lnTo>
                    <a:lnTo>
                      <a:pt x="187" y="56"/>
                    </a:lnTo>
                    <a:lnTo>
                      <a:pt x="179" y="52"/>
                    </a:lnTo>
                    <a:lnTo>
                      <a:pt x="177" y="56"/>
                    </a:lnTo>
                    <a:lnTo>
                      <a:pt x="179" y="63"/>
                    </a:lnTo>
                    <a:lnTo>
                      <a:pt x="182" y="69"/>
                    </a:lnTo>
                    <a:lnTo>
                      <a:pt x="182" y="78"/>
                    </a:lnTo>
                    <a:lnTo>
                      <a:pt x="177" y="74"/>
                    </a:lnTo>
                    <a:lnTo>
                      <a:pt x="172" y="81"/>
                    </a:lnTo>
                    <a:lnTo>
                      <a:pt x="170" y="85"/>
                    </a:lnTo>
                    <a:lnTo>
                      <a:pt x="173" y="91"/>
                    </a:lnTo>
                    <a:lnTo>
                      <a:pt x="179" y="93"/>
                    </a:lnTo>
                    <a:lnTo>
                      <a:pt x="182" y="96"/>
                    </a:lnTo>
                    <a:lnTo>
                      <a:pt x="177" y="97"/>
                    </a:lnTo>
                    <a:lnTo>
                      <a:pt x="172" y="96"/>
                    </a:lnTo>
                    <a:lnTo>
                      <a:pt x="160" y="109"/>
                    </a:lnTo>
                    <a:lnTo>
                      <a:pt x="162" y="101"/>
                    </a:lnTo>
                    <a:lnTo>
                      <a:pt x="160" y="97"/>
                    </a:lnTo>
                    <a:lnTo>
                      <a:pt x="156" y="101"/>
                    </a:lnTo>
                    <a:lnTo>
                      <a:pt x="156" y="103"/>
                    </a:lnTo>
                    <a:lnTo>
                      <a:pt x="150" y="110"/>
                    </a:lnTo>
                    <a:lnTo>
                      <a:pt x="146" y="114"/>
                    </a:lnTo>
                    <a:lnTo>
                      <a:pt x="153" y="127"/>
                    </a:lnTo>
                    <a:lnTo>
                      <a:pt x="149" y="130"/>
                    </a:lnTo>
                    <a:lnTo>
                      <a:pt x="143" y="129"/>
                    </a:lnTo>
                    <a:lnTo>
                      <a:pt x="142" y="120"/>
                    </a:lnTo>
                    <a:lnTo>
                      <a:pt x="137" y="119"/>
                    </a:lnTo>
                    <a:lnTo>
                      <a:pt x="129" y="123"/>
                    </a:lnTo>
                    <a:lnTo>
                      <a:pt x="121" y="130"/>
                    </a:lnTo>
                    <a:lnTo>
                      <a:pt x="121" y="137"/>
                    </a:lnTo>
                    <a:lnTo>
                      <a:pt x="128" y="144"/>
                    </a:lnTo>
                    <a:lnTo>
                      <a:pt x="129" y="149"/>
                    </a:lnTo>
                    <a:lnTo>
                      <a:pt x="124" y="150"/>
                    </a:lnTo>
                    <a:lnTo>
                      <a:pt x="118" y="149"/>
                    </a:lnTo>
                    <a:lnTo>
                      <a:pt x="114" y="145"/>
                    </a:lnTo>
                    <a:lnTo>
                      <a:pt x="111" y="137"/>
                    </a:lnTo>
                    <a:lnTo>
                      <a:pt x="107" y="135"/>
                    </a:lnTo>
                    <a:lnTo>
                      <a:pt x="102" y="140"/>
                    </a:lnTo>
                    <a:lnTo>
                      <a:pt x="98" y="137"/>
                    </a:lnTo>
                    <a:lnTo>
                      <a:pt x="91" y="139"/>
                    </a:lnTo>
                    <a:lnTo>
                      <a:pt x="91" y="144"/>
                    </a:lnTo>
                    <a:lnTo>
                      <a:pt x="87" y="148"/>
                    </a:lnTo>
                    <a:lnTo>
                      <a:pt x="84" y="147"/>
                    </a:lnTo>
                    <a:lnTo>
                      <a:pt x="79" y="151"/>
                    </a:lnTo>
                    <a:lnTo>
                      <a:pt x="77" y="150"/>
                    </a:lnTo>
                    <a:lnTo>
                      <a:pt x="75" y="147"/>
                    </a:lnTo>
                    <a:lnTo>
                      <a:pt x="67" y="151"/>
                    </a:lnTo>
                    <a:lnTo>
                      <a:pt x="64" y="154"/>
                    </a:lnTo>
                    <a:lnTo>
                      <a:pt x="53" y="155"/>
                    </a:lnTo>
                    <a:lnTo>
                      <a:pt x="48" y="152"/>
                    </a:lnTo>
                    <a:lnTo>
                      <a:pt x="44" y="157"/>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55" name="Freeform 153"/>
              <p:cNvSpPr>
                <a:spLocks/>
              </p:cNvSpPr>
              <p:nvPr/>
            </p:nvSpPr>
            <p:spPr bwMode="auto">
              <a:xfrm>
                <a:off x="3561" y="3372"/>
                <a:ext cx="31" cy="29"/>
              </a:xfrm>
              <a:custGeom>
                <a:avLst/>
                <a:gdLst>
                  <a:gd name="T0" fmla="*/ 2 w 29"/>
                  <a:gd name="T1" fmla="*/ 4 h 28"/>
                  <a:gd name="T2" fmla="*/ 5 w 29"/>
                  <a:gd name="T3" fmla="*/ 164 h 28"/>
                  <a:gd name="T4" fmla="*/ 996 w 29"/>
                  <a:gd name="T5" fmla="*/ 218 h 28"/>
                  <a:gd name="T6" fmla="*/ 1486 w 29"/>
                  <a:gd name="T7" fmla="*/ 269 h 28"/>
                  <a:gd name="T8" fmla="*/ 2215 w 29"/>
                  <a:gd name="T9" fmla="*/ 251 h 28"/>
                  <a:gd name="T10" fmla="*/ 2368 w 29"/>
                  <a:gd name="T11" fmla="*/ 196 h 28"/>
                  <a:gd name="T12" fmla="*/ 2368 w 29"/>
                  <a:gd name="T13" fmla="*/ 11 h 28"/>
                  <a:gd name="T14" fmla="*/ 1938 w 29"/>
                  <a:gd name="T15" fmla="*/ 4 h 28"/>
                  <a:gd name="T16" fmla="*/ 1300 w 29"/>
                  <a:gd name="T17" fmla="*/ 0 h 28"/>
                  <a:gd name="T18" fmla="*/ 0 w 29"/>
                  <a:gd name="T19" fmla="*/ 2 h 28"/>
                  <a:gd name="T20" fmla="*/ 2 w 29"/>
                  <a:gd name="T21" fmla="*/ 4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8"/>
                  <a:gd name="T35" fmla="*/ 29 w 29"/>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8">
                    <a:moveTo>
                      <a:pt x="2" y="4"/>
                    </a:moveTo>
                    <a:lnTo>
                      <a:pt x="5" y="14"/>
                    </a:lnTo>
                    <a:lnTo>
                      <a:pt x="13" y="22"/>
                    </a:lnTo>
                    <a:lnTo>
                      <a:pt x="19" y="28"/>
                    </a:lnTo>
                    <a:lnTo>
                      <a:pt x="27" y="26"/>
                    </a:lnTo>
                    <a:lnTo>
                      <a:pt x="29" y="19"/>
                    </a:lnTo>
                    <a:lnTo>
                      <a:pt x="29" y="11"/>
                    </a:lnTo>
                    <a:lnTo>
                      <a:pt x="23" y="4"/>
                    </a:lnTo>
                    <a:lnTo>
                      <a:pt x="17" y="0"/>
                    </a:lnTo>
                    <a:lnTo>
                      <a:pt x="0" y="2"/>
                    </a:lnTo>
                    <a:lnTo>
                      <a:pt x="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6" name="Freeform 154"/>
              <p:cNvSpPr>
                <a:spLocks/>
              </p:cNvSpPr>
              <p:nvPr/>
            </p:nvSpPr>
            <p:spPr bwMode="auto">
              <a:xfrm>
                <a:off x="3561" y="3372"/>
                <a:ext cx="31" cy="29"/>
              </a:xfrm>
              <a:custGeom>
                <a:avLst/>
                <a:gdLst>
                  <a:gd name="T0" fmla="*/ 2 w 29"/>
                  <a:gd name="T1" fmla="*/ 4 h 28"/>
                  <a:gd name="T2" fmla="*/ 5 w 29"/>
                  <a:gd name="T3" fmla="*/ 164 h 28"/>
                  <a:gd name="T4" fmla="*/ 996 w 29"/>
                  <a:gd name="T5" fmla="*/ 218 h 28"/>
                  <a:gd name="T6" fmla="*/ 1486 w 29"/>
                  <a:gd name="T7" fmla="*/ 269 h 28"/>
                  <a:gd name="T8" fmla="*/ 2215 w 29"/>
                  <a:gd name="T9" fmla="*/ 251 h 28"/>
                  <a:gd name="T10" fmla="*/ 2368 w 29"/>
                  <a:gd name="T11" fmla="*/ 196 h 28"/>
                  <a:gd name="T12" fmla="*/ 2368 w 29"/>
                  <a:gd name="T13" fmla="*/ 11 h 28"/>
                  <a:gd name="T14" fmla="*/ 1938 w 29"/>
                  <a:gd name="T15" fmla="*/ 4 h 28"/>
                  <a:gd name="T16" fmla="*/ 1300 w 29"/>
                  <a:gd name="T17" fmla="*/ 0 h 28"/>
                  <a:gd name="T18" fmla="*/ 0 w 29"/>
                  <a:gd name="T19" fmla="*/ 2 h 28"/>
                  <a:gd name="T20" fmla="*/ 2 w 29"/>
                  <a:gd name="T21" fmla="*/ 4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8"/>
                  <a:gd name="T35" fmla="*/ 29 w 29"/>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8">
                    <a:moveTo>
                      <a:pt x="2" y="4"/>
                    </a:moveTo>
                    <a:lnTo>
                      <a:pt x="5" y="14"/>
                    </a:lnTo>
                    <a:lnTo>
                      <a:pt x="13" y="22"/>
                    </a:lnTo>
                    <a:lnTo>
                      <a:pt x="19" y="28"/>
                    </a:lnTo>
                    <a:lnTo>
                      <a:pt x="27" y="26"/>
                    </a:lnTo>
                    <a:lnTo>
                      <a:pt x="29" y="19"/>
                    </a:lnTo>
                    <a:lnTo>
                      <a:pt x="29" y="11"/>
                    </a:lnTo>
                    <a:lnTo>
                      <a:pt x="23" y="4"/>
                    </a:lnTo>
                    <a:lnTo>
                      <a:pt x="17" y="0"/>
                    </a:lnTo>
                    <a:lnTo>
                      <a:pt x="0" y="2"/>
                    </a:lnTo>
                    <a:lnTo>
                      <a:pt x="2" y="4"/>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57" name="Freeform 155"/>
              <p:cNvSpPr>
                <a:spLocks/>
              </p:cNvSpPr>
              <p:nvPr/>
            </p:nvSpPr>
            <p:spPr bwMode="auto">
              <a:xfrm>
                <a:off x="3652" y="3333"/>
                <a:ext cx="30" cy="29"/>
              </a:xfrm>
              <a:custGeom>
                <a:avLst/>
                <a:gdLst>
                  <a:gd name="T0" fmla="*/ 1038 w 28"/>
                  <a:gd name="T1" fmla="*/ 4 h 28"/>
                  <a:gd name="T2" fmla="*/ 6 w 28"/>
                  <a:gd name="T3" fmla="*/ 9 h 28"/>
                  <a:gd name="T4" fmla="*/ 0 w 28"/>
                  <a:gd name="T5" fmla="*/ 189 h 28"/>
                  <a:gd name="T6" fmla="*/ 2 w 28"/>
                  <a:gd name="T7" fmla="*/ 269 h 28"/>
                  <a:gd name="T8" fmla="*/ 1570 w 28"/>
                  <a:gd name="T9" fmla="*/ 251 h 28"/>
                  <a:gd name="T10" fmla="*/ 2375 w 28"/>
                  <a:gd name="T11" fmla="*/ 226 h 28"/>
                  <a:gd name="T12" fmla="*/ 2634 w 28"/>
                  <a:gd name="T13" fmla="*/ 176 h 28"/>
                  <a:gd name="T14" fmla="*/ 2294 w 28"/>
                  <a:gd name="T15" fmla="*/ 7 h 28"/>
                  <a:gd name="T16" fmla="*/ 2141 w 28"/>
                  <a:gd name="T17" fmla="*/ 0 h 28"/>
                  <a:gd name="T18" fmla="*/ 1112 w 28"/>
                  <a:gd name="T19" fmla="*/ 2 h 28"/>
                  <a:gd name="T20" fmla="*/ 1038 w 28"/>
                  <a:gd name="T21" fmla="*/ 4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28"/>
                  <a:gd name="T35" fmla="*/ 28 w 28"/>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28">
                    <a:moveTo>
                      <a:pt x="11" y="4"/>
                    </a:moveTo>
                    <a:lnTo>
                      <a:pt x="6" y="9"/>
                    </a:lnTo>
                    <a:lnTo>
                      <a:pt x="0" y="18"/>
                    </a:lnTo>
                    <a:lnTo>
                      <a:pt x="2" y="28"/>
                    </a:lnTo>
                    <a:lnTo>
                      <a:pt x="17" y="26"/>
                    </a:lnTo>
                    <a:lnTo>
                      <a:pt x="25" y="23"/>
                    </a:lnTo>
                    <a:lnTo>
                      <a:pt x="28" y="16"/>
                    </a:lnTo>
                    <a:lnTo>
                      <a:pt x="24" y="7"/>
                    </a:lnTo>
                    <a:lnTo>
                      <a:pt x="22" y="0"/>
                    </a:lnTo>
                    <a:lnTo>
                      <a:pt x="12" y="2"/>
                    </a:lnTo>
                    <a:lnTo>
                      <a:pt x="1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8" name="Freeform 156"/>
              <p:cNvSpPr>
                <a:spLocks/>
              </p:cNvSpPr>
              <p:nvPr/>
            </p:nvSpPr>
            <p:spPr bwMode="auto">
              <a:xfrm>
                <a:off x="3652" y="3333"/>
                <a:ext cx="30" cy="29"/>
              </a:xfrm>
              <a:custGeom>
                <a:avLst/>
                <a:gdLst>
                  <a:gd name="T0" fmla="*/ 1038 w 28"/>
                  <a:gd name="T1" fmla="*/ 4 h 28"/>
                  <a:gd name="T2" fmla="*/ 6 w 28"/>
                  <a:gd name="T3" fmla="*/ 9 h 28"/>
                  <a:gd name="T4" fmla="*/ 0 w 28"/>
                  <a:gd name="T5" fmla="*/ 189 h 28"/>
                  <a:gd name="T6" fmla="*/ 2 w 28"/>
                  <a:gd name="T7" fmla="*/ 269 h 28"/>
                  <a:gd name="T8" fmla="*/ 1570 w 28"/>
                  <a:gd name="T9" fmla="*/ 251 h 28"/>
                  <a:gd name="T10" fmla="*/ 2375 w 28"/>
                  <a:gd name="T11" fmla="*/ 226 h 28"/>
                  <a:gd name="T12" fmla="*/ 2634 w 28"/>
                  <a:gd name="T13" fmla="*/ 176 h 28"/>
                  <a:gd name="T14" fmla="*/ 2294 w 28"/>
                  <a:gd name="T15" fmla="*/ 7 h 28"/>
                  <a:gd name="T16" fmla="*/ 2141 w 28"/>
                  <a:gd name="T17" fmla="*/ 0 h 28"/>
                  <a:gd name="T18" fmla="*/ 1112 w 28"/>
                  <a:gd name="T19" fmla="*/ 2 h 28"/>
                  <a:gd name="T20" fmla="*/ 1038 w 28"/>
                  <a:gd name="T21" fmla="*/ 4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28"/>
                  <a:gd name="T35" fmla="*/ 28 w 28"/>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28">
                    <a:moveTo>
                      <a:pt x="11" y="4"/>
                    </a:moveTo>
                    <a:lnTo>
                      <a:pt x="6" y="9"/>
                    </a:lnTo>
                    <a:lnTo>
                      <a:pt x="0" y="18"/>
                    </a:lnTo>
                    <a:lnTo>
                      <a:pt x="2" y="28"/>
                    </a:lnTo>
                    <a:lnTo>
                      <a:pt x="17" y="26"/>
                    </a:lnTo>
                    <a:lnTo>
                      <a:pt x="25" y="23"/>
                    </a:lnTo>
                    <a:lnTo>
                      <a:pt x="28" y="16"/>
                    </a:lnTo>
                    <a:lnTo>
                      <a:pt x="24" y="7"/>
                    </a:lnTo>
                    <a:lnTo>
                      <a:pt x="22" y="0"/>
                    </a:lnTo>
                    <a:lnTo>
                      <a:pt x="12" y="2"/>
                    </a:lnTo>
                    <a:lnTo>
                      <a:pt x="11" y="4"/>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59" name="Freeform 157"/>
              <p:cNvSpPr>
                <a:spLocks/>
              </p:cNvSpPr>
              <p:nvPr/>
            </p:nvSpPr>
            <p:spPr bwMode="auto">
              <a:xfrm>
                <a:off x="1626" y="2366"/>
                <a:ext cx="31" cy="31"/>
              </a:xfrm>
              <a:custGeom>
                <a:avLst/>
                <a:gdLst>
                  <a:gd name="T0" fmla="*/ 2368 w 29"/>
                  <a:gd name="T1" fmla="*/ 763 h 29"/>
                  <a:gd name="T2" fmla="*/ 1588 w 29"/>
                  <a:gd name="T3" fmla="*/ 0 h 29"/>
                  <a:gd name="T4" fmla="*/ 872 w 29"/>
                  <a:gd name="T5" fmla="*/ 0 h 29"/>
                  <a:gd name="T6" fmla="*/ 5 w 29"/>
                  <a:gd name="T7" fmla="*/ 1138 h 29"/>
                  <a:gd name="T8" fmla="*/ 0 w 29"/>
                  <a:gd name="T9" fmla="*/ 1588 h 29"/>
                  <a:gd name="T10" fmla="*/ 0 w 29"/>
                  <a:gd name="T11" fmla="*/ 1938 h 29"/>
                  <a:gd name="T12" fmla="*/ 2 w 29"/>
                  <a:gd name="T13" fmla="*/ 1940 h 29"/>
                  <a:gd name="T14" fmla="*/ 7 w 29"/>
                  <a:gd name="T15" fmla="*/ 2215 h 29"/>
                  <a:gd name="T16" fmla="*/ 816 w 29"/>
                  <a:gd name="T17" fmla="*/ 2368 h 29"/>
                  <a:gd name="T18" fmla="*/ 1216 w 29"/>
                  <a:gd name="T19" fmla="*/ 2368 h 29"/>
                  <a:gd name="T20" fmla="*/ 1815 w 29"/>
                  <a:gd name="T21" fmla="*/ 2215 h 29"/>
                  <a:gd name="T22" fmla="*/ 1938 w 29"/>
                  <a:gd name="T23" fmla="*/ 1940 h 29"/>
                  <a:gd name="T24" fmla="*/ 2074 w 29"/>
                  <a:gd name="T25" fmla="*/ 1698 h 29"/>
                  <a:gd name="T26" fmla="*/ 2368 w 29"/>
                  <a:gd name="T27" fmla="*/ 1138 h 29"/>
                  <a:gd name="T28" fmla="*/ 2368 w 29"/>
                  <a:gd name="T29" fmla="*/ 763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29"/>
                  <a:gd name="T47" fmla="*/ 29 w 29"/>
                  <a:gd name="T48" fmla="*/ 29 h 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29">
                    <a:moveTo>
                      <a:pt x="29" y="9"/>
                    </a:moveTo>
                    <a:lnTo>
                      <a:pt x="20" y="0"/>
                    </a:lnTo>
                    <a:lnTo>
                      <a:pt x="11" y="0"/>
                    </a:lnTo>
                    <a:lnTo>
                      <a:pt x="5" y="15"/>
                    </a:lnTo>
                    <a:lnTo>
                      <a:pt x="0" y="20"/>
                    </a:lnTo>
                    <a:lnTo>
                      <a:pt x="0" y="23"/>
                    </a:lnTo>
                    <a:lnTo>
                      <a:pt x="2" y="24"/>
                    </a:lnTo>
                    <a:lnTo>
                      <a:pt x="7" y="27"/>
                    </a:lnTo>
                    <a:lnTo>
                      <a:pt x="10" y="29"/>
                    </a:lnTo>
                    <a:lnTo>
                      <a:pt x="16" y="29"/>
                    </a:lnTo>
                    <a:lnTo>
                      <a:pt x="22" y="27"/>
                    </a:lnTo>
                    <a:lnTo>
                      <a:pt x="23" y="24"/>
                    </a:lnTo>
                    <a:lnTo>
                      <a:pt x="26" y="21"/>
                    </a:lnTo>
                    <a:lnTo>
                      <a:pt x="29" y="15"/>
                    </a:lnTo>
                    <a:lnTo>
                      <a:pt x="29"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0" name="Freeform 158"/>
              <p:cNvSpPr>
                <a:spLocks/>
              </p:cNvSpPr>
              <p:nvPr/>
            </p:nvSpPr>
            <p:spPr bwMode="auto">
              <a:xfrm>
                <a:off x="1626" y="2366"/>
                <a:ext cx="31" cy="31"/>
              </a:xfrm>
              <a:custGeom>
                <a:avLst/>
                <a:gdLst>
                  <a:gd name="T0" fmla="*/ 2368 w 29"/>
                  <a:gd name="T1" fmla="*/ 763 h 29"/>
                  <a:gd name="T2" fmla="*/ 1588 w 29"/>
                  <a:gd name="T3" fmla="*/ 0 h 29"/>
                  <a:gd name="T4" fmla="*/ 872 w 29"/>
                  <a:gd name="T5" fmla="*/ 0 h 29"/>
                  <a:gd name="T6" fmla="*/ 5 w 29"/>
                  <a:gd name="T7" fmla="*/ 1138 h 29"/>
                  <a:gd name="T8" fmla="*/ 0 w 29"/>
                  <a:gd name="T9" fmla="*/ 1588 h 29"/>
                  <a:gd name="T10" fmla="*/ 0 w 29"/>
                  <a:gd name="T11" fmla="*/ 1938 h 29"/>
                  <a:gd name="T12" fmla="*/ 2 w 29"/>
                  <a:gd name="T13" fmla="*/ 1940 h 29"/>
                  <a:gd name="T14" fmla="*/ 7 w 29"/>
                  <a:gd name="T15" fmla="*/ 2215 h 29"/>
                  <a:gd name="T16" fmla="*/ 816 w 29"/>
                  <a:gd name="T17" fmla="*/ 2368 h 29"/>
                  <a:gd name="T18" fmla="*/ 1216 w 29"/>
                  <a:gd name="T19" fmla="*/ 2368 h 29"/>
                  <a:gd name="T20" fmla="*/ 1815 w 29"/>
                  <a:gd name="T21" fmla="*/ 2215 h 29"/>
                  <a:gd name="T22" fmla="*/ 1938 w 29"/>
                  <a:gd name="T23" fmla="*/ 1940 h 29"/>
                  <a:gd name="T24" fmla="*/ 2074 w 29"/>
                  <a:gd name="T25" fmla="*/ 1698 h 29"/>
                  <a:gd name="T26" fmla="*/ 2368 w 29"/>
                  <a:gd name="T27" fmla="*/ 1138 h 29"/>
                  <a:gd name="T28" fmla="*/ 2368 w 29"/>
                  <a:gd name="T29" fmla="*/ 763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29"/>
                  <a:gd name="T47" fmla="*/ 29 w 29"/>
                  <a:gd name="T48" fmla="*/ 29 h 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29">
                    <a:moveTo>
                      <a:pt x="29" y="9"/>
                    </a:moveTo>
                    <a:lnTo>
                      <a:pt x="20" y="0"/>
                    </a:lnTo>
                    <a:lnTo>
                      <a:pt x="11" y="0"/>
                    </a:lnTo>
                    <a:lnTo>
                      <a:pt x="5" y="15"/>
                    </a:lnTo>
                    <a:lnTo>
                      <a:pt x="0" y="20"/>
                    </a:lnTo>
                    <a:lnTo>
                      <a:pt x="0" y="23"/>
                    </a:lnTo>
                    <a:lnTo>
                      <a:pt x="2" y="24"/>
                    </a:lnTo>
                    <a:lnTo>
                      <a:pt x="7" y="27"/>
                    </a:lnTo>
                    <a:lnTo>
                      <a:pt x="10" y="29"/>
                    </a:lnTo>
                    <a:lnTo>
                      <a:pt x="16" y="29"/>
                    </a:lnTo>
                    <a:lnTo>
                      <a:pt x="22" y="27"/>
                    </a:lnTo>
                    <a:lnTo>
                      <a:pt x="23" y="24"/>
                    </a:lnTo>
                    <a:lnTo>
                      <a:pt x="26" y="21"/>
                    </a:lnTo>
                    <a:lnTo>
                      <a:pt x="29" y="15"/>
                    </a:lnTo>
                    <a:lnTo>
                      <a:pt x="29" y="9"/>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61" name="Freeform 159"/>
              <p:cNvSpPr>
                <a:spLocks/>
              </p:cNvSpPr>
              <p:nvPr/>
            </p:nvSpPr>
            <p:spPr bwMode="auto">
              <a:xfrm>
                <a:off x="2928" y="2723"/>
                <a:ext cx="30" cy="30"/>
              </a:xfrm>
              <a:custGeom>
                <a:avLst/>
                <a:gdLst>
                  <a:gd name="T0" fmla="*/ 2634 w 28"/>
                  <a:gd name="T1" fmla="*/ 10 h 29"/>
                  <a:gd name="T2" fmla="*/ 2634 w 28"/>
                  <a:gd name="T3" fmla="*/ 10 h 29"/>
                  <a:gd name="T4" fmla="*/ 2069 w 28"/>
                  <a:gd name="T5" fmla="*/ 0 h 29"/>
                  <a:gd name="T6" fmla="*/ 969 w 28"/>
                  <a:gd name="T7" fmla="*/ 1 h 29"/>
                  <a:gd name="T8" fmla="*/ 0 w 28"/>
                  <a:gd name="T9" fmla="*/ 0 h 29"/>
                  <a:gd name="T10" fmla="*/ 0 w 28"/>
                  <a:gd name="T11" fmla="*/ 12 h 29"/>
                  <a:gd name="T12" fmla="*/ 0 w 28"/>
                  <a:gd name="T13" fmla="*/ 213 h 29"/>
                  <a:gd name="T14" fmla="*/ 1682 w 28"/>
                  <a:gd name="T15" fmla="*/ 252 h 29"/>
                  <a:gd name="T16" fmla="*/ 2634 w 28"/>
                  <a:gd name="T17" fmla="*/ 168 h 29"/>
                  <a:gd name="T18" fmla="*/ 2634 w 28"/>
                  <a:gd name="T19" fmla="*/ 10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29"/>
                  <a:gd name="T32" fmla="*/ 28 w 28"/>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29">
                    <a:moveTo>
                      <a:pt x="28" y="10"/>
                    </a:moveTo>
                    <a:lnTo>
                      <a:pt x="28" y="10"/>
                    </a:lnTo>
                    <a:lnTo>
                      <a:pt x="21" y="0"/>
                    </a:lnTo>
                    <a:lnTo>
                      <a:pt x="10" y="1"/>
                    </a:lnTo>
                    <a:lnTo>
                      <a:pt x="0" y="0"/>
                    </a:lnTo>
                    <a:lnTo>
                      <a:pt x="0" y="12"/>
                    </a:lnTo>
                    <a:lnTo>
                      <a:pt x="0" y="24"/>
                    </a:lnTo>
                    <a:lnTo>
                      <a:pt x="18" y="29"/>
                    </a:lnTo>
                    <a:lnTo>
                      <a:pt x="28" y="17"/>
                    </a:lnTo>
                    <a:lnTo>
                      <a:pt x="28"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2" name="Freeform 160"/>
              <p:cNvSpPr>
                <a:spLocks/>
              </p:cNvSpPr>
              <p:nvPr/>
            </p:nvSpPr>
            <p:spPr bwMode="auto">
              <a:xfrm>
                <a:off x="2928" y="2723"/>
                <a:ext cx="30" cy="30"/>
              </a:xfrm>
              <a:custGeom>
                <a:avLst/>
                <a:gdLst>
                  <a:gd name="T0" fmla="*/ 2634 w 28"/>
                  <a:gd name="T1" fmla="*/ 10 h 29"/>
                  <a:gd name="T2" fmla="*/ 2634 w 28"/>
                  <a:gd name="T3" fmla="*/ 10 h 29"/>
                  <a:gd name="T4" fmla="*/ 2069 w 28"/>
                  <a:gd name="T5" fmla="*/ 0 h 29"/>
                  <a:gd name="T6" fmla="*/ 969 w 28"/>
                  <a:gd name="T7" fmla="*/ 1 h 29"/>
                  <a:gd name="T8" fmla="*/ 0 w 28"/>
                  <a:gd name="T9" fmla="*/ 0 h 29"/>
                  <a:gd name="T10" fmla="*/ 0 w 28"/>
                  <a:gd name="T11" fmla="*/ 12 h 29"/>
                  <a:gd name="T12" fmla="*/ 0 w 28"/>
                  <a:gd name="T13" fmla="*/ 213 h 29"/>
                  <a:gd name="T14" fmla="*/ 1682 w 28"/>
                  <a:gd name="T15" fmla="*/ 252 h 29"/>
                  <a:gd name="T16" fmla="*/ 2634 w 28"/>
                  <a:gd name="T17" fmla="*/ 168 h 29"/>
                  <a:gd name="T18" fmla="*/ 2634 w 28"/>
                  <a:gd name="T19" fmla="*/ 10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29"/>
                  <a:gd name="T32" fmla="*/ 28 w 28"/>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29">
                    <a:moveTo>
                      <a:pt x="28" y="10"/>
                    </a:moveTo>
                    <a:lnTo>
                      <a:pt x="28" y="10"/>
                    </a:lnTo>
                    <a:lnTo>
                      <a:pt x="21" y="0"/>
                    </a:lnTo>
                    <a:lnTo>
                      <a:pt x="10" y="1"/>
                    </a:lnTo>
                    <a:lnTo>
                      <a:pt x="0" y="0"/>
                    </a:lnTo>
                    <a:lnTo>
                      <a:pt x="0" y="12"/>
                    </a:lnTo>
                    <a:lnTo>
                      <a:pt x="0" y="24"/>
                    </a:lnTo>
                    <a:lnTo>
                      <a:pt x="18" y="29"/>
                    </a:lnTo>
                    <a:lnTo>
                      <a:pt x="28" y="17"/>
                    </a:lnTo>
                    <a:lnTo>
                      <a:pt x="28" y="1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63" name="Freeform 161"/>
              <p:cNvSpPr>
                <a:spLocks/>
              </p:cNvSpPr>
              <p:nvPr/>
            </p:nvSpPr>
            <p:spPr bwMode="auto">
              <a:xfrm>
                <a:off x="2909" y="2757"/>
                <a:ext cx="31" cy="31"/>
              </a:xfrm>
              <a:custGeom>
                <a:avLst/>
                <a:gdLst>
                  <a:gd name="T0" fmla="*/ 714 w 29"/>
                  <a:gd name="T1" fmla="*/ 0 h 29"/>
                  <a:gd name="T2" fmla="*/ 2 w 29"/>
                  <a:gd name="T3" fmla="*/ 0 h 29"/>
                  <a:gd name="T4" fmla="*/ 0 w 29"/>
                  <a:gd name="T5" fmla="*/ 6 h 29"/>
                  <a:gd name="T6" fmla="*/ 2 w 29"/>
                  <a:gd name="T7" fmla="*/ 1698 h 29"/>
                  <a:gd name="T8" fmla="*/ 2368 w 29"/>
                  <a:gd name="T9" fmla="*/ 2368 h 29"/>
                  <a:gd name="T10" fmla="*/ 1938 w 29"/>
                  <a:gd name="T11" fmla="*/ 1588 h 29"/>
                  <a:gd name="T12" fmla="*/ 1390 w 29"/>
                  <a:gd name="T13" fmla="*/ 1390 h 29"/>
                  <a:gd name="T14" fmla="*/ 816 w 29"/>
                  <a:gd name="T15" fmla="*/ 1216 h 29"/>
                  <a:gd name="T16" fmla="*/ 714 w 29"/>
                  <a:gd name="T17" fmla="*/ 7 h 29"/>
                  <a:gd name="T18" fmla="*/ 714 w 29"/>
                  <a:gd name="T19" fmla="*/ 0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29"/>
                  <a:gd name="T32" fmla="*/ 29 w 29"/>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29">
                    <a:moveTo>
                      <a:pt x="8" y="0"/>
                    </a:moveTo>
                    <a:lnTo>
                      <a:pt x="2" y="0"/>
                    </a:lnTo>
                    <a:lnTo>
                      <a:pt x="0" y="6"/>
                    </a:lnTo>
                    <a:lnTo>
                      <a:pt x="2" y="21"/>
                    </a:lnTo>
                    <a:lnTo>
                      <a:pt x="29" y="29"/>
                    </a:lnTo>
                    <a:lnTo>
                      <a:pt x="23" y="20"/>
                    </a:lnTo>
                    <a:lnTo>
                      <a:pt x="18" y="18"/>
                    </a:lnTo>
                    <a:lnTo>
                      <a:pt x="10" y="16"/>
                    </a:lnTo>
                    <a:lnTo>
                      <a:pt x="8" y="7"/>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4" name="Freeform 162"/>
              <p:cNvSpPr>
                <a:spLocks/>
              </p:cNvSpPr>
              <p:nvPr/>
            </p:nvSpPr>
            <p:spPr bwMode="auto">
              <a:xfrm>
                <a:off x="2909" y="2757"/>
                <a:ext cx="31" cy="31"/>
              </a:xfrm>
              <a:custGeom>
                <a:avLst/>
                <a:gdLst>
                  <a:gd name="T0" fmla="*/ 714 w 29"/>
                  <a:gd name="T1" fmla="*/ 0 h 29"/>
                  <a:gd name="T2" fmla="*/ 2 w 29"/>
                  <a:gd name="T3" fmla="*/ 0 h 29"/>
                  <a:gd name="T4" fmla="*/ 0 w 29"/>
                  <a:gd name="T5" fmla="*/ 6 h 29"/>
                  <a:gd name="T6" fmla="*/ 2 w 29"/>
                  <a:gd name="T7" fmla="*/ 1698 h 29"/>
                  <a:gd name="T8" fmla="*/ 2368 w 29"/>
                  <a:gd name="T9" fmla="*/ 2368 h 29"/>
                  <a:gd name="T10" fmla="*/ 1938 w 29"/>
                  <a:gd name="T11" fmla="*/ 1588 h 29"/>
                  <a:gd name="T12" fmla="*/ 1390 w 29"/>
                  <a:gd name="T13" fmla="*/ 1390 h 29"/>
                  <a:gd name="T14" fmla="*/ 816 w 29"/>
                  <a:gd name="T15" fmla="*/ 1216 h 29"/>
                  <a:gd name="T16" fmla="*/ 714 w 29"/>
                  <a:gd name="T17" fmla="*/ 7 h 29"/>
                  <a:gd name="T18" fmla="*/ 714 w 29"/>
                  <a:gd name="T19" fmla="*/ 0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29"/>
                  <a:gd name="T32" fmla="*/ 29 w 29"/>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29">
                    <a:moveTo>
                      <a:pt x="8" y="0"/>
                    </a:moveTo>
                    <a:lnTo>
                      <a:pt x="2" y="0"/>
                    </a:lnTo>
                    <a:lnTo>
                      <a:pt x="0" y="6"/>
                    </a:lnTo>
                    <a:lnTo>
                      <a:pt x="2" y="21"/>
                    </a:lnTo>
                    <a:lnTo>
                      <a:pt x="29" y="29"/>
                    </a:lnTo>
                    <a:lnTo>
                      <a:pt x="23" y="20"/>
                    </a:lnTo>
                    <a:lnTo>
                      <a:pt x="18" y="18"/>
                    </a:lnTo>
                    <a:lnTo>
                      <a:pt x="10" y="16"/>
                    </a:lnTo>
                    <a:lnTo>
                      <a:pt x="8" y="7"/>
                    </a:lnTo>
                    <a:lnTo>
                      <a:pt x="8" y="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65" name="Freeform 163"/>
              <p:cNvSpPr>
                <a:spLocks/>
              </p:cNvSpPr>
              <p:nvPr/>
            </p:nvSpPr>
            <p:spPr bwMode="auto">
              <a:xfrm>
                <a:off x="3050" y="2049"/>
                <a:ext cx="31" cy="31"/>
              </a:xfrm>
              <a:custGeom>
                <a:avLst/>
                <a:gdLst>
                  <a:gd name="T0" fmla="*/ 872 w 29"/>
                  <a:gd name="T1" fmla="*/ 816 h 29"/>
                  <a:gd name="T2" fmla="*/ 1216 w 29"/>
                  <a:gd name="T3" fmla="*/ 0 h 29"/>
                  <a:gd name="T4" fmla="*/ 1216 w 29"/>
                  <a:gd name="T5" fmla="*/ 816 h 29"/>
                  <a:gd name="T6" fmla="*/ 2368 w 29"/>
                  <a:gd name="T7" fmla="*/ 816 h 29"/>
                  <a:gd name="T8" fmla="*/ 1698 w 29"/>
                  <a:gd name="T9" fmla="*/ 1390 h 29"/>
                  <a:gd name="T10" fmla="*/ 1938 w 29"/>
                  <a:gd name="T11" fmla="*/ 2368 h 29"/>
                  <a:gd name="T12" fmla="*/ 1216 w 29"/>
                  <a:gd name="T13" fmla="*/ 1698 h 29"/>
                  <a:gd name="T14" fmla="*/ 5 w 29"/>
                  <a:gd name="T15" fmla="*/ 2368 h 29"/>
                  <a:gd name="T16" fmla="*/ 714 w 29"/>
                  <a:gd name="T17" fmla="*/ 1390 h 29"/>
                  <a:gd name="T18" fmla="*/ 0 w 29"/>
                  <a:gd name="T19" fmla="*/ 816 h 29"/>
                  <a:gd name="T20" fmla="*/ 872 w 29"/>
                  <a:gd name="T21" fmla="*/ 816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9"/>
                  <a:gd name="T35" fmla="*/ 29 w 29"/>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9">
                    <a:moveTo>
                      <a:pt x="11" y="10"/>
                    </a:moveTo>
                    <a:lnTo>
                      <a:pt x="16" y="0"/>
                    </a:lnTo>
                    <a:lnTo>
                      <a:pt x="16" y="10"/>
                    </a:lnTo>
                    <a:lnTo>
                      <a:pt x="29" y="10"/>
                    </a:lnTo>
                    <a:lnTo>
                      <a:pt x="21" y="18"/>
                    </a:lnTo>
                    <a:lnTo>
                      <a:pt x="23" y="29"/>
                    </a:lnTo>
                    <a:lnTo>
                      <a:pt x="16" y="21"/>
                    </a:lnTo>
                    <a:lnTo>
                      <a:pt x="5" y="29"/>
                    </a:lnTo>
                    <a:lnTo>
                      <a:pt x="8" y="18"/>
                    </a:lnTo>
                    <a:lnTo>
                      <a:pt x="0" y="10"/>
                    </a:lnTo>
                    <a:lnTo>
                      <a:pt x="11"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6" name="Freeform 164"/>
              <p:cNvSpPr>
                <a:spLocks/>
              </p:cNvSpPr>
              <p:nvPr/>
            </p:nvSpPr>
            <p:spPr bwMode="auto">
              <a:xfrm>
                <a:off x="3050" y="2049"/>
                <a:ext cx="31" cy="31"/>
              </a:xfrm>
              <a:custGeom>
                <a:avLst/>
                <a:gdLst>
                  <a:gd name="T0" fmla="*/ 872 w 29"/>
                  <a:gd name="T1" fmla="*/ 816 h 29"/>
                  <a:gd name="T2" fmla="*/ 1216 w 29"/>
                  <a:gd name="T3" fmla="*/ 0 h 29"/>
                  <a:gd name="T4" fmla="*/ 1216 w 29"/>
                  <a:gd name="T5" fmla="*/ 816 h 29"/>
                  <a:gd name="T6" fmla="*/ 2368 w 29"/>
                  <a:gd name="T7" fmla="*/ 816 h 29"/>
                  <a:gd name="T8" fmla="*/ 1698 w 29"/>
                  <a:gd name="T9" fmla="*/ 1390 h 29"/>
                  <a:gd name="T10" fmla="*/ 1938 w 29"/>
                  <a:gd name="T11" fmla="*/ 2368 h 29"/>
                  <a:gd name="T12" fmla="*/ 1216 w 29"/>
                  <a:gd name="T13" fmla="*/ 1698 h 29"/>
                  <a:gd name="T14" fmla="*/ 5 w 29"/>
                  <a:gd name="T15" fmla="*/ 2368 h 29"/>
                  <a:gd name="T16" fmla="*/ 714 w 29"/>
                  <a:gd name="T17" fmla="*/ 1390 h 29"/>
                  <a:gd name="T18" fmla="*/ 0 w 29"/>
                  <a:gd name="T19" fmla="*/ 816 h 29"/>
                  <a:gd name="T20" fmla="*/ 872 w 29"/>
                  <a:gd name="T21" fmla="*/ 816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9"/>
                  <a:gd name="T35" fmla="*/ 29 w 29"/>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9">
                    <a:moveTo>
                      <a:pt x="11" y="10"/>
                    </a:moveTo>
                    <a:lnTo>
                      <a:pt x="16" y="0"/>
                    </a:lnTo>
                    <a:lnTo>
                      <a:pt x="16" y="10"/>
                    </a:lnTo>
                    <a:lnTo>
                      <a:pt x="29" y="10"/>
                    </a:lnTo>
                    <a:lnTo>
                      <a:pt x="21" y="18"/>
                    </a:lnTo>
                    <a:lnTo>
                      <a:pt x="23" y="29"/>
                    </a:lnTo>
                    <a:lnTo>
                      <a:pt x="16" y="21"/>
                    </a:lnTo>
                    <a:lnTo>
                      <a:pt x="5" y="29"/>
                    </a:lnTo>
                    <a:lnTo>
                      <a:pt x="8" y="18"/>
                    </a:lnTo>
                    <a:lnTo>
                      <a:pt x="0" y="10"/>
                    </a:lnTo>
                    <a:lnTo>
                      <a:pt x="11" y="1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pic>
            <p:nvPicPr>
              <p:cNvPr id="367" name="Picture 165"/>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73" y="1961"/>
                <a:ext cx="4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 name="Picture 16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73" y="1961"/>
                <a:ext cx="4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9" name="Freeform 167"/>
              <p:cNvSpPr>
                <a:spLocks/>
              </p:cNvSpPr>
              <p:nvPr/>
            </p:nvSpPr>
            <p:spPr bwMode="auto">
              <a:xfrm>
                <a:off x="578" y="1966"/>
                <a:ext cx="31" cy="31"/>
              </a:xfrm>
              <a:custGeom>
                <a:avLst/>
                <a:gdLst>
                  <a:gd name="T0" fmla="*/ 816 w 29"/>
                  <a:gd name="T1" fmla="*/ 763 h 29"/>
                  <a:gd name="T2" fmla="*/ 996 w 29"/>
                  <a:gd name="T3" fmla="*/ 0 h 29"/>
                  <a:gd name="T4" fmla="*/ 1216 w 29"/>
                  <a:gd name="T5" fmla="*/ 763 h 29"/>
                  <a:gd name="T6" fmla="*/ 2368 w 29"/>
                  <a:gd name="T7" fmla="*/ 763 h 29"/>
                  <a:gd name="T8" fmla="*/ 1588 w 29"/>
                  <a:gd name="T9" fmla="*/ 1300 h 29"/>
                  <a:gd name="T10" fmla="*/ 1698 w 29"/>
                  <a:gd name="T11" fmla="*/ 2368 h 29"/>
                  <a:gd name="T12" fmla="*/ 996 w 29"/>
                  <a:gd name="T13" fmla="*/ 1698 h 29"/>
                  <a:gd name="T14" fmla="*/ 5 w 29"/>
                  <a:gd name="T15" fmla="*/ 2368 h 29"/>
                  <a:gd name="T16" fmla="*/ 714 w 29"/>
                  <a:gd name="T17" fmla="*/ 1300 h 29"/>
                  <a:gd name="T18" fmla="*/ 0 w 29"/>
                  <a:gd name="T19" fmla="*/ 763 h 29"/>
                  <a:gd name="T20" fmla="*/ 816 w 29"/>
                  <a:gd name="T21" fmla="*/ 763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9"/>
                  <a:gd name="T35" fmla="*/ 29 w 29"/>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9">
                    <a:moveTo>
                      <a:pt x="10" y="9"/>
                    </a:moveTo>
                    <a:lnTo>
                      <a:pt x="13" y="0"/>
                    </a:lnTo>
                    <a:lnTo>
                      <a:pt x="16" y="9"/>
                    </a:lnTo>
                    <a:lnTo>
                      <a:pt x="29" y="9"/>
                    </a:lnTo>
                    <a:lnTo>
                      <a:pt x="20" y="17"/>
                    </a:lnTo>
                    <a:lnTo>
                      <a:pt x="21" y="29"/>
                    </a:lnTo>
                    <a:lnTo>
                      <a:pt x="13" y="21"/>
                    </a:lnTo>
                    <a:lnTo>
                      <a:pt x="5" y="29"/>
                    </a:lnTo>
                    <a:lnTo>
                      <a:pt x="8" y="17"/>
                    </a:lnTo>
                    <a:lnTo>
                      <a:pt x="0" y="9"/>
                    </a:lnTo>
                    <a:lnTo>
                      <a:pt x="1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0" name="Freeform 168"/>
              <p:cNvSpPr>
                <a:spLocks/>
              </p:cNvSpPr>
              <p:nvPr/>
            </p:nvSpPr>
            <p:spPr bwMode="auto">
              <a:xfrm>
                <a:off x="578" y="1966"/>
                <a:ext cx="31" cy="31"/>
              </a:xfrm>
              <a:custGeom>
                <a:avLst/>
                <a:gdLst>
                  <a:gd name="T0" fmla="*/ 816 w 29"/>
                  <a:gd name="T1" fmla="*/ 763 h 29"/>
                  <a:gd name="T2" fmla="*/ 996 w 29"/>
                  <a:gd name="T3" fmla="*/ 0 h 29"/>
                  <a:gd name="T4" fmla="*/ 1216 w 29"/>
                  <a:gd name="T5" fmla="*/ 763 h 29"/>
                  <a:gd name="T6" fmla="*/ 2368 w 29"/>
                  <a:gd name="T7" fmla="*/ 763 h 29"/>
                  <a:gd name="T8" fmla="*/ 1588 w 29"/>
                  <a:gd name="T9" fmla="*/ 1300 h 29"/>
                  <a:gd name="T10" fmla="*/ 1698 w 29"/>
                  <a:gd name="T11" fmla="*/ 2368 h 29"/>
                  <a:gd name="T12" fmla="*/ 996 w 29"/>
                  <a:gd name="T13" fmla="*/ 1698 h 29"/>
                  <a:gd name="T14" fmla="*/ 5 w 29"/>
                  <a:gd name="T15" fmla="*/ 2368 h 29"/>
                  <a:gd name="T16" fmla="*/ 714 w 29"/>
                  <a:gd name="T17" fmla="*/ 1300 h 29"/>
                  <a:gd name="T18" fmla="*/ 0 w 29"/>
                  <a:gd name="T19" fmla="*/ 763 h 29"/>
                  <a:gd name="T20" fmla="*/ 816 w 29"/>
                  <a:gd name="T21" fmla="*/ 763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9"/>
                  <a:gd name="T35" fmla="*/ 29 w 29"/>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9">
                    <a:moveTo>
                      <a:pt x="10" y="9"/>
                    </a:moveTo>
                    <a:lnTo>
                      <a:pt x="13" y="0"/>
                    </a:lnTo>
                    <a:lnTo>
                      <a:pt x="16" y="9"/>
                    </a:lnTo>
                    <a:lnTo>
                      <a:pt x="29" y="9"/>
                    </a:lnTo>
                    <a:lnTo>
                      <a:pt x="20" y="17"/>
                    </a:lnTo>
                    <a:lnTo>
                      <a:pt x="21" y="29"/>
                    </a:lnTo>
                    <a:lnTo>
                      <a:pt x="13" y="21"/>
                    </a:lnTo>
                    <a:lnTo>
                      <a:pt x="5" y="29"/>
                    </a:lnTo>
                    <a:lnTo>
                      <a:pt x="8" y="17"/>
                    </a:lnTo>
                    <a:lnTo>
                      <a:pt x="0" y="9"/>
                    </a:lnTo>
                    <a:lnTo>
                      <a:pt x="10" y="9"/>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71" name="Freeform 169"/>
              <p:cNvSpPr>
                <a:spLocks/>
              </p:cNvSpPr>
              <p:nvPr/>
            </p:nvSpPr>
            <p:spPr bwMode="auto">
              <a:xfrm>
                <a:off x="1525" y="2605"/>
                <a:ext cx="32" cy="29"/>
              </a:xfrm>
              <a:custGeom>
                <a:avLst/>
                <a:gdLst>
                  <a:gd name="T0" fmla="*/ 10407 w 29"/>
                  <a:gd name="T1" fmla="*/ 0 h 28"/>
                  <a:gd name="T2" fmla="*/ 5766 w 29"/>
                  <a:gd name="T3" fmla="*/ 2 h 28"/>
                  <a:gd name="T4" fmla="*/ 5225 w 29"/>
                  <a:gd name="T5" fmla="*/ 2 h 28"/>
                  <a:gd name="T6" fmla="*/ 3 w 29"/>
                  <a:gd name="T7" fmla="*/ 4 h 28"/>
                  <a:gd name="T8" fmla="*/ 0 w 29"/>
                  <a:gd name="T9" fmla="*/ 10 h 28"/>
                  <a:gd name="T10" fmla="*/ 0 w 29"/>
                  <a:gd name="T11" fmla="*/ 176 h 28"/>
                  <a:gd name="T12" fmla="*/ 2 w 29"/>
                  <a:gd name="T13" fmla="*/ 196 h 28"/>
                  <a:gd name="T14" fmla="*/ 2 w 29"/>
                  <a:gd name="T15" fmla="*/ 203 h 28"/>
                  <a:gd name="T16" fmla="*/ 3 w 29"/>
                  <a:gd name="T17" fmla="*/ 203 h 28"/>
                  <a:gd name="T18" fmla="*/ 3 w 29"/>
                  <a:gd name="T19" fmla="*/ 234 h 28"/>
                  <a:gd name="T20" fmla="*/ 3 w 29"/>
                  <a:gd name="T21" fmla="*/ 269 h 28"/>
                  <a:gd name="T22" fmla="*/ 3889 w 29"/>
                  <a:gd name="T23" fmla="*/ 242 h 28"/>
                  <a:gd name="T24" fmla="*/ 3889 w 29"/>
                  <a:gd name="T25" fmla="*/ 234 h 28"/>
                  <a:gd name="T26" fmla="*/ 4291 w 29"/>
                  <a:gd name="T27" fmla="*/ 234 h 28"/>
                  <a:gd name="T28" fmla="*/ 4291 w 29"/>
                  <a:gd name="T29" fmla="*/ 242 h 28"/>
                  <a:gd name="T30" fmla="*/ 5766 w 29"/>
                  <a:gd name="T31" fmla="*/ 234 h 28"/>
                  <a:gd name="T32" fmla="*/ 5766 w 29"/>
                  <a:gd name="T33" fmla="*/ 226 h 28"/>
                  <a:gd name="T34" fmla="*/ 7746 w 29"/>
                  <a:gd name="T35" fmla="*/ 226 h 28"/>
                  <a:gd name="T36" fmla="*/ 10407 w 29"/>
                  <a:gd name="T37" fmla="*/ 203 h 28"/>
                  <a:gd name="T38" fmla="*/ 10627 w 29"/>
                  <a:gd name="T39" fmla="*/ 189 h 28"/>
                  <a:gd name="T40" fmla="*/ 17026 w 29"/>
                  <a:gd name="T41" fmla="*/ 12 h 28"/>
                  <a:gd name="T42" fmla="*/ 17385 w 29"/>
                  <a:gd name="T43" fmla="*/ 6 h 28"/>
                  <a:gd name="T44" fmla="*/ 19183 w 29"/>
                  <a:gd name="T45" fmla="*/ 5 h 28"/>
                  <a:gd name="T46" fmla="*/ 17026 w 29"/>
                  <a:gd name="T47" fmla="*/ 4 h 28"/>
                  <a:gd name="T48" fmla="*/ 17026 w 29"/>
                  <a:gd name="T49" fmla="*/ 2 h 28"/>
                  <a:gd name="T50" fmla="*/ 14278 w 29"/>
                  <a:gd name="T51" fmla="*/ 2 h 28"/>
                  <a:gd name="T52" fmla="*/ 15755 w 29"/>
                  <a:gd name="T53" fmla="*/ 1 h 28"/>
                  <a:gd name="T54" fmla="*/ 12939 w 29"/>
                  <a:gd name="T55" fmla="*/ 0 h 28"/>
                  <a:gd name="T56" fmla="*/ 12672 w 29"/>
                  <a:gd name="T57" fmla="*/ 0 h 28"/>
                  <a:gd name="T58" fmla="*/ 10407 w 29"/>
                  <a:gd name="T59" fmla="*/ 0 h 2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
                  <a:gd name="T91" fmla="*/ 0 h 28"/>
                  <a:gd name="T92" fmla="*/ 29 w 29"/>
                  <a:gd name="T93" fmla="*/ 28 h 2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 h="28">
                    <a:moveTo>
                      <a:pt x="15" y="0"/>
                    </a:moveTo>
                    <a:lnTo>
                      <a:pt x="9" y="2"/>
                    </a:lnTo>
                    <a:lnTo>
                      <a:pt x="8" y="2"/>
                    </a:lnTo>
                    <a:lnTo>
                      <a:pt x="3" y="4"/>
                    </a:lnTo>
                    <a:lnTo>
                      <a:pt x="0" y="10"/>
                    </a:lnTo>
                    <a:lnTo>
                      <a:pt x="0" y="16"/>
                    </a:lnTo>
                    <a:lnTo>
                      <a:pt x="2" y="19"/>
                    </a:lnTo>
                    <a:lnTo>
                      <a:pt x="2" y="20"/>
                    </a:lnTo>
                    <a:lnTo>
                      <a:pt x="3" y="20"/>
                    </a:lnTo>
                    <a:lnTo>
                      <a:pt x="3" y="24"/>
                    </a:lnTo>
                    <a:lnTo>
                      <a:pt x="3" y="28"/>
                    </a:lnTo>
                    <a:lnTo>
                      <a:pt x="5" y="25"/>
                    </a:lnTo>
                    <a:lnTo>
                      <a:pt x="5" y="24"/>
                    </a:lnTo>
                    <a:lnTo>
                      <a:pt x="6" y="24"/>
                    </a:lnTo>
                    <a:lnTo>
                      <a:pt x="6" y="25"/>
                    </a:lnTo>
                    <a:lnTo>
                      <a:pt x="9" y="24"/>
                    </a:lnTo>
                    <a:lnTo>
                      <a:pt x="9" y="23"/>
                    </a:lnTo>
                    <a:lnTo>
                      <a:pt x="12" y="23"/>
                    </a:lnTo>
                    <a:lnTo>
                      <a:pt x="15" y="20"/>
                    </a:lnTo>
                    <a:lnTo>
                      <a:pt x="16" y="18"/>
                    </a:lnTo>
                    <a:lnTo>
                      <a:pt x="25" y="12"/>
                    </a:lnTo>
                    <a:lnTo>
                      <a:pt x="26" y="6"/>
                    </a:lnTo>
                    <a:lnTo>
                      <a:pt x="29" y="5"/>
                    </a:lnTo>
                    <a:lnTo>
                      <a:pt x="25" y="4"/>
                    </a:lnTo>
                    <a:lnTo>
                      <a:pt x="25" y="2"/>
                    </a:lnTo>
                    <a:lnTo>
                      <a:pt x="22" y="2"/>
                    </a:lnTo>
                    <a:lnTo>
                      <a:pt x="24" y="1"/>
                    </a:lnTo>
                    <a:lnTo>
                      <a:pt x="20" y="0"/>
                    </a:lnTo>
                    <a:lnTo>
                      <a:pt x="19" y="0"/>
                    </a:lnTo>
                    <a:lnTo>
                      <a:pt x="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2" name="Freeform 170"/>
              <p:cNvSpPr>
                <a:spLocks/>
              </p:cNvSpPr>
              <p:nvPr/>
            </p:nvSpPr>
            <p:spPr bwMode="auto">
              <a:xfrm>
                <a:off x="1525" y="2605"/>
                <a:ext cx="32" cy="29"/>
              </a:xfrm>
              <a:custGeom>
                <a:avLst/>
                <a:gdLst>
                  <a:gd name="T0" fmla="*/ 10407 w 29"/>
                  <a:gd name="T1" fmla="*/ 0 h 28"/>
                  <a:gd name="T2" fmla="*/ 5766 w 29"/>
                  <a:gd name="T3" fmla="*/ 2 h 28"/>
                  <a:gd name="T4" fmla="*/ 5225 w 29"/>
                  <a:gd name="T5" fmla="*/ 2 h 28"/>
                  <a:gd name="T6" fmla="*/ 3 w 29"/>
                  <a:gd name="T7" fmla="*/ 4 h 28"/>
                  <a:gd name="T8" fmla="*/ 0 w 29"/>
                  <a:gd name="T9" fmla="*/ 10 h 28"/>
                  <a:gd name="T10" fmla="*/ 0 w 29"/>
                  <a:gd name="T11" fmla="*/ 176 h 28"/>
                  <a:gd name="T12" fmla="*/ 2 w 29"/>
                  <a:gd name="T13" fmla="*/ 196 h 28"/>
                  <a:gd name="T14" fmla="*/ 2 w 29"/>
                  <a:gd name="T15" fmla="*/ 203 h 28"/>
                  <a:gd name="T16" fmla="*/ 3 w 29"/>
                  <a:gd name="T17" fmla="*/ 203 h 28"/>
                  <a:gd name="T18" fmla="*/ 3 w 29"/>
                  <a:gd name="T19" fmla="*/ 234 h 28"/>
                  <a:gd name="T20" fmla="*/ 3 w 29"/>
                  <a:gd name="T21" fmla="*/ 269 h 28"/>
                  <a:gd name="T22" fmla="*/ 3889 w 29"/>
                  <a:gd name="T23" fmla="*/ 242 h 28"/>
                  <a:gd name="T24" fmla="*/ 3889 w 29"/>
                  <a:gd name="T25" fmla="*/ 234 h 28"/>
                  <a:gd name="T26" fmla="*/ 4291 w 29"/>
                  <a:gd name="T27" fmla="*/ 234 h 28"/>
                  <a:gd name="T28" fmla="*/ 4291 w 29"/>
                  <a:gd name="T29" fmla="*/ 242 h 28"/>
                  <a:gd name="T30" fmla="*/ 5766 w 29"/>
                  <a:gd name="T31" fmla="*/ 234 h 28"/>
                  <a:gd name="T32" fmla="*/ 5766 w 29"/>
                  <a:gd name="T33" fmla="*/ 226 h 28"/>
                  <a:gd name="T34" fmla="*/ 7746 w 29"/>
                  <a:gd name="T35" fmla="*/ 226 h 28"/>
                  <a:gd name="T36" fmla="*/ 10407 w 29"/>
                  <a:gd name="T37" fmla="*/ 203 h 28"/>
                  <a:gd name="T38" fmla="*/ 10627 w 29"/>
                  <a:gd name="T39" fmla="*/ 189 h 28"/>
                  <a:gd name="T40" fmla="*/ 17026 w 29"/>
                  <a:gd name="T41" fmla="*/ 12 h 28"/>
                  <a:gd name="T42" fmla="*/ 17385 w 29"/>
                  <a:gd name="T43" fmla="*/ 6 h 28"/>
                  <a:gd name="T44" fmla="*/ 19183 w 29"/>
                  <a:gd name="T45" fmla="*/ 5 h 28"/>
                  <a:gd name="T46" fmla="*/ 17026 w 29"/>
                  <a:gd name="T47" fmla="*/ 4 h 28"/>
                  <a:gd name="T48" fmla="*/ 17026 w 29"/>
                  <a:gd name="T49" fmla="*/ 2 h 28"/>
                  <a:gd name="T50" fmla="*/ 14278 w 29"/>
                  <a:gd name="T51" fmla="*/ 2 h 28"/>
                  <a:gd name="T52" fmla="*/ 15755 w 29"/>
                  <a:gd name="T53" fmla="*/ 1 h 28"/>
                  <a:gd name="T54" fmla="*/ 12939 w 29"/>
                  <a:gd name="T55" fmla="*/ 0 h 28"/>
                  <a:gd name="T56" fmla="*/ 12672 w 29"/>
                  <a:gd name="T57" fmla="*/ 0 h 28"/>
                  <a:gd name="T58" fmla="*/ 10407 w 29"/>
                  <a:gd name="T59" fmla="*/ 0 h 2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
                  <a:gd name="T91" fmla="*/ 0 h 28"/>
                  <a:gd name="T92" fmla="*/ 29 w 29"/>
                  <a:gd name="T93" fmla="*/ 28 h 2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 h="28">
                    <a:moveTo>
                      <a:pt x="15" y="0"/>
                    </a:moveTo>
                    <a:lnTo>
                      <a:pt x="9" y="2"/>
                    </a:lnTo>
                    <a:lnTo>
                      <a:pt x="8" y="2"/>
                    </a:lnTo>
                    <a:lnTo>
                      <a:pt x="3" y="4"/>
                    </a:lnTo>
                    <a:lnTo>
                      <a:pt x="0" y="10"/>
                    </a:lnTo>
                    <a:lnTo>
                      <a:pt x="0" y="16"/>
                    </a:lnTo>
                    <a:lnTo>
                      <a:pt x="2" y="19"/>
                    </a:lnTo>
                    <a:lnTo>
                      <a:pt x="2" y="20"/>
                    </a:lnTo>
                    <a:lnTo>
                      <a:pt x="3" y="20"/>
                    </a:lnTo>
                    <a:lnTo>
                      <a:pt x="3" y="24"/>
                    </a:lnTo>
                    <a:lnTo>
                      <a:pt x="3" y="28"/>
                    </a:lnTo>
                    <a:lnTo>
                      <a:pt x="5" y="25"/>
                    </a:lnTo>
                    <a:lnTo>
                      <a:pt x="5" y="24"/>
                    </a:lnTo>
                    <a:lnTo>
                      <a:pt x="6" y="24"/>
                    </a:lnTo>
                    <a:lnTo>
                      <a:pt x="6" y="25"/>
                    </a:lnTo>
                    <a:lnTo>
                      <a:pt x="9" y="24"/>
                    </a:lnTo>
                    <a:lnTo>
                      <a:pt x="9" y="23"/>
                    </a:lnTo>
                    <a:lnTo>
                      <a:pt x="12" y="23"/>
                    </a:lnTo>
                    <a:lnTo>
                      <a:pt x="15" y="20"/>
                    </a:lnTo>
                    <a:lnTo>
                      <a:pt x="16" y="18"/>
                    </a:lnTo>
                    <a:lnTo>
                      <a:pt x="25" y="12"/>
                    </a:lnTo>
                    <a:lnTo>
                      <a:pt x="26" y="6"/>
                    </a:lnTo>
                    <a:lnTo>
                      <a:pt x="29" y="5"/>
                    </a:lnTo>
                    <a:lnTo>
                      <a:pt x="25" y="4"/>
                    </a:lnTo>
                    <a:lnTo>
                      <a:pt x="25" y="2"/>
                    </a:lnTo>
                    <a:lnTo>
                      <a:pt x="22" y="2"/>
                    </a:lnTo>
                    <a:lnTo>
                      <a:pt x="24" y="1"/>
                    </a:lnTo>
                    <a:lnTo>
                      <a:pt x="20" y="0"/>
                    </a:lnTo>
                    <a:lnTo>
                      <a:pt x="19" y="0"/>
                    </a:lnTo>
                    <a:lnTo>
                      <a:pt x="15" y="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73" name="Freeform 171"/>
              <p:cNvSpPr>
                <a:spLocks/>
              </p:cNvSpPr>
              <p:nvPr/>
            </p:nvSpPr>
            <p:spPr bwMode="auto">
              <a:xfrm>
                <a:off x="1548" y="2533"/>
                <a:ext cx="31" cy="30"/>
              </a:xfrm>
              <a:custGeom>
                <a:avLst/>
                <a:gdLst>
                  <a:gd name="T0" fmla="*/ 6 w 29"/>
                  <a:gd name="T1" fmla="*/ 0 h 28"/>
                  <a:gd name="T2" fmla="*/ 6 w 29"/>
                  <a:gd name="T3" fmla="*/ 969 h 28"/>
                  <a:gd name="T4" fmla="*/ 0 w 29"/>
                  <a:gd name="T5" fmla="*/ 969 h 28"/>
                  <a:gd name="T6" fmla="*/ 0 w 29"/>
                  <a:gd name="T7" fmla="*/ 1276 h 28"/>
                  <a:gd name="T8" fmla="*/ 0 w 29"/>
                  <a:gd name="T9" fmla="*/ 1931 h 28"/>
                  <a:gd name="T10" fmla="*/ 2 w 29"/>
                  <a:gd name="T11" fmla="*/ 1802 h 28"/>
                  <a:gd name="T12" fmla="*/ 4 w 29"/>
                  <a:gd name="T13" fmla="*/ 2141 h 28"/>
                  <a:gd name="T14" fmla="*/ 6 w 29"/>
                  <a:gd name="T15" fmla="*/ 1931 h 28"/>
                  <a:gd name="T16" fmla="*/ 816 w 29"/>
                  <a:gd name="T17" fmla="*/ 2141 h 28"/>
                  <a:gd name="T18" fmla="*/ 932 w 29"/>
                  <a:gd name="T19" fmla="*/ 2634 h 28"/>
                  <a:gd name="T20" fmla="*/ 1138 w 29"/>
                  <a:gd name="T21" fmla="*/ 2294 h 28"/>
                  <a:gd name="T22" fmla="*/ 1138 w 29"/>
                  <a:gd name="T23" fmla="*/ 1931 h 28"/>
                  <a:gd name="T24" fmla="*/ 1486 w 29"/>
                  <a:gd name="T25" fmla="*/ 1931 h 28"/>
                  <a:gd name="T26" fmla="*/ 1486 w 29"/>
                  <a:gd name="T27" fmla="*/ 1367 h 28"/>
                  <a:gd name="T28" fmla="*/ 1486 w 29"/>
                  <a:gd name="T29" fmla="*/ 969 h 28"/>
                  <a:gd name="T30" fmla="*/ 2072 w 29"/>
                  <a:gd name="T31" fmla="*/ 904 h 28"/>
                  <a:gd name="T32" fmla="*/ 2368 w 29"/>
                  <a:gd name="T33" fmla="*/ 2 h 28"/>
                  <a:gd name="T34" fmla="*/ 1486 w 29"/>
                  <a:gd name="T35" fmla="*/ 4 h 28"/>
                  <a:gd name="T36" fmla="*/ 2072 w 29"/>
                  <a:gd name="T37" fmla="*/ 0 h 28"/>
                  <a:gd name="T38" fmla="*/ 2072 w 29"/>
                  <a:gd name="T39" fmla="*/ 0 h 28"/>
                  <a:gd name="T40" fmla="*/ 1815 w 29"/>
                  <a:gd name="T41" fmla="*/ 0 h 28"/>
                  <a:gd name="T42" fmla="*/ 1486 w 29"/>
                  <a:gd name="T43" fmla="*/ 0 h 28"/>
                  <a:gd name="T44" fmla="*/ 1138 w 29"/>
                  <a:gd name="T45" fmla="*/ 0 h 28"/>
                  <a:gd name="T46" fmla="*/ 6 w 29"/>
                  <a:gd name="T47" fmla="*/ 0 h 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9"/>
                  <a:gd name="T73" fmla="*/ 0 h 28"/>
                  <a:gd name="T74" fmla="*/ 29 w 29"/>
                  <a:gd name="T75" fmla="*/ 28 h 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9" h="28">
                    <a:moveTo>
                      <a:pt x="6" y="0"/>
                    </a:moveTo>
                    <a:lnTo>
                      <a:pt x="6" y="10"/>
                    </a:lnTo>
                    <a:lnTo>
                      <a:pt x="0" y="10"/>
                    </a:lnTo>
                    <a:lnTo>
                      <a:pt x="0" y="14"/>
                    </a:lnTo>
                    <a:lnTo>
                      <a:pt x="0" y="20"/>
                    </a:lnTo>
                    <a:lnTo>
                      <a:pt x="2" y="19"/>
                    </a:lnTo>
                    <a:lnTo>
                      <a:pt x="4" y="22"/>
                    </a:lnTo>
                    <a:lnTo>
                      <a:pt x="6" y="20"/>
                    </a:lnTo>
                    <a:lnTo>
                      <a:pt x="10" y="22"/>
                    </a:lnTo>
                    <a:lnTo>
                      <a:pt x="12" y="28"/>
                    </a:lnTo>
                    <a:lnTo>
                      <a:pt x="15" y="24"/>
                    </a:lnTo>
                    <a:lnTo>
                      <a:pt x="15" y="20"/>
                    </a:lnTo>
                    <a:lnTo>
                      <a:pt x="19" y="20"/>
                    </a:lnTo>
                    <a:lnTo>
                      <a:pt x="19" y="15"/>
                    </a:lnTo>
                    <a:lnTo>
                      <a:pt x="19" y="10"/>
                    </a:lnTo>
                    <a:lnTo>
                      <a:pt x="25" y="9"/>
                    </a:lnTo>
                    <a:lnTo>
                      <a:pt x="29" y="2"/>
                    </a:lnTo>
                    <a:lnTo>
                      <a:pt x="19" y="4"/>
                    </a:lnTo>
                    <a:lnTo>
                      <a:pt x="25" y="0"/>
                    </a:lnTo>
                    <a:lnTo>
                      <a:pt x="22" y="0"/>
                    </a:lnTo>
                    <a:lnTo>
                      <a:pt x="19" y="0"/>
                    </a:lnTo>
                    <a:lnTo>
                      <a:pt x="15" y="0"/>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4" name="Freeform 172"/>
              <p:cNvSpPr>
                <a:spLocks/>
              </p:cNvSpPr>
              <p:nvPr/>
            </p:nvSpPr>
            <p:spPr bwMode="auto">
              <a:xfrm>
                <a:off x="1548" y="2533"/>
                <a:ext cx="31" cy="30"/>
              </a:xfrm>
              <a:custGeom>
                <a:avLst/>
                <a:gdLst>
                  <a:gd name="T0" fmla="*/ 6 w 29"/>
                  <a:gd name="T1" fmla="*/ 0 h 28"/>
                  <a:gd name="T2" fmla="*/ 6 w 29"/>
                  <a:gd name="T3" fmla="*/ 969 h 28"/>
                  <a:gd name="T4" fmla="*/ 0 w 29"/>
                  <a:gd name="T5" fmla="*/ 969 h 28"/>
                  <a:gd name="T6" fmla="*/ 0 w 29"/>
                  <a:gd name="T7" fmla="*/ 1276 h 28"/>
                  <a:gd name="T8" fmla="*/ 0 w 29"/>
                  <a:gd name="T9" fmla="*/ 1931 h 28"/>
                  <a:gd name="T10" fmla="*/ 2 w 29"/>
                  <a:gd name="T11" fmla="*/ 1802 h 28"/>
                  <a:gd name="T12" fmla="*/ 4 w 29"/>
                  <a:gd name="T13" fmla="*/ 2141 h 28"/>
                  <a:gd name="T14" fmla="*/ 6 w 29"/>
                  <a:gd name="T15" fmla="*/ 1931 h 28"/>
                  <a:gd name="T16" fmla="*/ 816 w 29"/>
                  <a:gd name="T17" fmla="*/ 2141 h 28"/>
                  <a:gd name="T18" fmla="*/ 932 w 29"/>
                  <a:gd name="T19" fmla="*/ 2634 h 28"/>
                  <a:gd name="T20" fmla="*/ 1138 w 29"/>
                  <a:gd name="T21" fmla="*/ 2294 h 28"/>
                  <a:gd name="T22" fmla="*/ 1138 w 29"/>
                  <a:gd name="T23" fmla="*/ 1931 h 28"/>
                  <a:gd name="T24" fmla="*/ 1486 w 29"/>
                  <a:gd name="T25" fmla="*/ 1931 h 28"/>
                  <a:gd name="T26" fmla="*/ 1486 w 29"/>
                  <a:gd name="T27" fmla="*/ 1367 h 28"/>
                  <a:gd name="T28" fmla="*/ 1486 w 29"/>
                  <a:gd name="T29" fmla="*/ 969 h 28"/>
                  <a:gd name="T30" fmla="*/ 2072 w 29"/>
                  <a:gd name="T31" fmla="*/ 904 h 28"/>
                  <a:gd name="T32" fmla="*/ 2368 w 29"/>
                  <a:gd name="T33" fmla="*/ 2 h 28"/>
                  <a:gd name="T34" fmla="*/ 1486 w 29"/>
                  <a:gd name="T35" fmla="*/ 4 h 28"/>
                  <a:gd name="T36" fmla="*/ 2072 w 29"/>
                  <a:gd name="T37" fmla="*/ 0 h 28"/>
                  <a:gd name="T38" fmla="*/ 2072 w 29"/>
                  <a:gd name="T39" fmla="*/ 0 h 28"/>
                  <a:gd name="T40" fmla="*/ 1815 w 29"/>
                  <a:gd name="T41" fmla="*/ 0 h 28"/>
                  <a:gd name="T42" fmla="*/ 1486 w 29"/>
                  <a:gd name="T43" fmla="*/ 0 h 28"/>
                  <a:gd name="T44" fmla="*/ 1138 w 29"/>
                  <a:gd name="T45" fmla="*/ 0 h 28"/>
                  <a:gd name="T46" fmla="*/ 6 w 29"/>
                  <a:gd name="T47" fmla="*/ 0 h 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9"/>
                  <a:gd name="T73" fmla="*/ 0 h 28"/>
                  <a:gd name="T74" fmla="*/ 29 w 29"/>
                  <a:gd name="T75" fmla="*/ 28 h 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9" h="28">
                    <a:moveTo>
                      <a:pt x="6" y="0"/>
                    </a:moveTo>
                    <a:lnTo>
                      <a:pt x="6" y="10"/>
                    </a:lnTo>
                    <a:lnTo>
                      <a:pt x="0" y="10"/>
                    </a:lnTo>
                    <a:lnTo>
                      <a:pt x="0" y="14"/>
                    </a:lnTo>
                    <a:lnTo>
                      <a:pt x="0" y="20"/>
                    </a:lnTo>
                    <a:lnTo>
                      <a:pt x="2" y="19"/>
                    </a:lnTo>
                    <a:lnTo>
                      <a:pt x="4" y="22"/>
                    </a:lnTo>
                    <a:lnTo>
                      <a:pt x="6" y="20"/>
                    </a:lnTo>
                    <a:lnTo>
                      <a:pt x="10" y="22"/>
                    </a:lnTo>
                    <a:lnTo>
                      <a:pt x="12" y="28"/>
                    </a:lnTo>
                    <a:lnTo>
                      <a:pt x="15" y="24"/>
                    </a:lnTo>
                    <a:lnTo>
                      <a:pt x="15" y="20"/>
                    </a:lnTo>
                    <a:lnTo>
                      <a:pt x="19" y="20"/>
                    </a:lnTo>
                    <a:lnTo>
                      <a:pt x="19" y="15"/>
                    </a:lnTo>
                    <a:lnTo>
                      <a:pt x="19" y="10"/>
                    </a:lnTo>
                    <a:lnTo>
                      <a:pt x="25" y="9"/>
                    </a:lnTo>
                    <a:lnTo>
                      <a:pt x="29" y="2"/>
                    </a:lnTo>
                    <a:lnTo>
                      <a:pt x="19" y="4"/>
                    </a:lnTo>
                    <a:lnTo>
                      <a:pt x="25" y="0"/>
                    </a:lnTo>
                    <a:lnTo>
                      <a:pt x="22" y="0"/>
                    </a:lnTo>
                    <a:lnTo>
                      <a:pt x="19" y="0"/>
                    </a:lnTo>
                    <a:lnTo>
                      <a:pt x="15" y="0"/>
                    </a:lnTo>
                    <a:lnTo>
                      <a:pt x="6" y="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75" name="Freeform 173"/>
              <p:cNvSpPr>
                <a:spLocks/>
              </p:cNvSpPr>
              <p:nvPr/>
            </p:nvSpPr>
            <p:spPr bwMode="auto">
              <a:xfrm>
                <a:off x="346" y="1814"/>
                <a:ext cx="30" cy="30"/>
              </a:xfrm>
              <a:custGeom>
                <a:avLst/>
                <a:gdLst>
                  <a:gd name="T0" fmla="*/ 2 w 28"/>
                  <a:gd name="T1" fmla="*/ 4 h 29"/>
                  <a:gd name="T2" fmla="*/ 5 w 28"/>
                  <a:gd name="T3" fmla="*/ 0 h 29"/>
                  <a:gd name="T4" fmla="*/ 2 w 28"/>
                  <a:gd name="T5" fmla="*/ 0 h 29"/>
                  <a:gd name="T6" fmla="*/ 0 w 28"/>
                  <a:gd name="T7" fmla="*/ 3 h 29"/>
                  <a:gd name="T8" fmla="*/ 0 w 28"/>
                  <a:gd name="T9" fmla="*/ 10 h 29"/>
                  <a:gd name="T10" fmla="*/ 0 w 28"/>
                  <a:gd name="T11" fmla="*/ 162 h 29"/>
                  <a:gd name="T12" fmla="*/ 6 w 28"/>
                  <a:gd name="T13" fmla="*/ 213 h 29"/>
                  <a:gd name="T14" fmla="*/ 1802 w 28"/>
                  <a:gd name="T15" fmla="*/ 252 h 29"/>
                  <a:gd name="T16" fmla="*/ 2634 w 28"/>
                  <a:gd name="T17" fmla="*/ 180 h 29"/>
                  <a:gd name="T18" fmla="*/ 1682 w 28"/>
                  <a:gd name="T19" fmla="*/ 10 h 29"/>
                  <a:gd name="T20" fmla="*/ 1276 w 28"/>
                  <a:gd name="T21" fmla="*/ 10 h 29"/>
                  <a:gd name="T22" fmla="*/ 969 w 28"/>
                  <a:gd name="T23" fmla="*/ 5 h 29"/>
                  <a:gd name="T24" fmla="*/ 2 w 28"/>
                  <a:gd name="T25" fmla="*/ 4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29"/>
                  <a:gd name="T41" fmla="*/ 28 w 28"/>
                  <a:gd name="T42" fmla="*/ 29 h 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29">
                    <a:moveTo>
                      <a:pt x="2" y="4"/>
                    </a:moveTo>
                    <a:lnTo>
                      <a:pt x="5" y="0"/>
                    </a:lnTo>
                    <a:lnTo>
                      <a:pt x="2" y="0"/>
                    </a:lnTo>
                    <a:lnTo>
                      <a:pt x="0" y="3"/>
                    </a:lnTo>
                    <a:lnTo>
                      <a:pt x="0" y="10"/>
                    </a:lnTo>
                    <a:lnTo>
                      <a:pt x="0" y="16"/>
                    </a:lnTo>
                    <a:lnTo>
                      <a:pt x="6" y="24"/>
                    </a:lnTo>
                    <a:lnTo>
                      <a:pt x="19" y="29"/>
                    </a:lnTo>
                    <a:lnTo>
                      <a:pt x="28" y="19"/>
                    </a:lnTo>
                    <a:lnTo>
                      <a:pt x="18" y="10"/>
                    </a:lnTo>
                    <a:lnTo>
                      <a:pt x="14" y="10"/>
                    </a:lnTo>
                    <a:lnTo>
                      <a:pt x="10" y="5"/>
                    </a:lnTo>
                    <a:lnTo>
                      <a:pt x="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6" name="Freeform 174"/>
              <p:cNvSpPr>
                <a:spLocks/>
              </p:cNvSpPr>
              <p:nvPr/>
            </p:nvSpPr>
            <p:spPr bwMode="auto">
              <a:xfrm>
                <a:off x="346" y="1814"/>
                <a:ext cx="30" cy="30"/>
              </a:xfrm>
              <a:custGeom>
                <a:avLst/>
                <a:gdLst>
                  <a:gd name="T0" fmla="*/ 2 w 28"/>
                  <a:gd name="T1" fmla="*/ 4 h 29"/>
                  <a:gd name="T2" fmla="*/ 5 w 28"/>
                  <a:gd name="T3" fmla="*/ 0 h 29"/>
                  <a:gd name="T4" fmla="*/ 2 w 28"/>
                  <a:gd name="T5" fmla="*/ 0 h 29"/>
                  <a:gd name="T6" fmla="*/ 0 w 28"/>
                  <a:gd name="T7" fmla="*/ 3 h 29"/>
                  <a:gd name="T8" fmla="*/ 0 w 28"/>
                  <a:gd name="T9" fmla="*/ 10 h 29"/>
                  <a:gd name="T10" fmla="*/ 0 w 28"/>
                  <a:gd name="T11" fmla="*/ 162 h 29"/>
                  <a:gd name="T12" fmla="*/ 6 w 28"/>
                  <a:gd name="T13" fmla="*/ 213 h 29"/>
                  <a:gd name="T14" fmla="*/ 1802 w 28"/>
                  <a:gd name="T15" fmla="*/ 252 h 29"/>
                  <a:gd name="T16" fmla="*/ 2634 w 28"/>
                  <a:gd name="T17" fmla="*/ 180 h 29"/>
                  <a:gd name="T18" fmla="*/ 1682 w 28"/>
                  <a:gd name="T19" fmla="*/ 10 h 29"/>
                  <a:gd name="T20" fmla="*/ 1276 w 28"/>
                  <a:gd name="T21" fmla="*/ 10 h 29"/>
                  <a:gd name="T22" fmla="*/ 969 w 28"/>
                  <a:gd name="T23" fmla="*/ 5 h 29"/>
                  <a:gd name="T24" fmla="*/ 2 w 28"/>
                  <a:gd name="T25" fmla="*/ 4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29"/>
                  <a:gd name="T41" fmla="*/ 28 w 28"/>
                  <a:gd name="T42" fmla="*/ 29 h 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29">
                    <a:moveTo>
                      <a:pt x="2" y="4"/>
                    </a:moveTo>
                    <a:lnTo>
                      <a:pt x="5" y="0"/>
                    </a:lnTo>
                    <a:lnTo>
                      <a:pt x="2" y="0"/>
                    </a:lnTo>
                    <a:lnTo>
                      <a:pt x="0" y="3"/>
                    </a:lnTo>
                    <a:lnTo>
                      <a:pt x="0" y="10"/>
                    </a:lnTo>
                    <a:lnTo>
                      <a:pt x="0" y="16"/>
                    </a:lnTo>
                    <a:lnTo>
                      <a:pt x="6" y="24"/>
                    </a:lnTo>
                    <a:lnTo>
                      <a:pt x="19" y="29"/>
                    </a:lnTo>
                    <a:lnTo>
                      <a:pt x="28" y="19"/>
                    </a:lnTo>
                    <a:lnTo>
                      <a:pt x="18" y="10"/>
                    </a:lnTo>
                    <a:lnTo>
                      <a:pt x="14" y="10"/>
                    </a:lnTo>
                    <a:lnTo>
                      <a:pt x="10" y="5"/>
                    </a:lnTo>
                    <a:lnTo>
                      <a:pt x="2" y="4"/>
                    </a:lnTo>
                    <a:close/>
                  </a:path>
                </a:pathLst>
              </a:custGeom>
              <a:solidFill>
                <a:srgbClr val="C0504D"/>
              </a:solidFill>
              <a:ln w="7938">
                <a:solidFill>
                  <a:srgbClr val="1C1329"/>
                </a:solidFill>
                <a:miter lim="800000"/>
                <a:headEnd/>
                <a:tailEnd/>
              </a:ln>
              <a:extLst/>
            </p:spPr>
            <p:txBody>
              <a:bodyPr/>
              <a:lstStyle/>
              <a:p>
                <a:endParaRPr lang="en-US"/>
              </a:p>
            </p:txBody>
          </p:sp>
          <p:sp>
            <p:nvSpPr>
              <p:cNvPr id="377" name="Freeform 175"/>
              <p:cNvSpPr>
                <a:spLocks/>
              </p:cNvSpPr>
              <p:nvPr/>
            </p:nvSpPr>
            <p:spPr bwMode="auto">
              <a:xfrm>
                <a:off x="317" y="1835"/>
                <a:ext cx="30" cy="30"/>
              </a:xfrm>
              <a:custGeom>
                <a:avLst/>
                <a:gdLst>
                  <a:gd name="T0" fmla="*/ 1038 w 28"/>
                  <a:gd name="T1" fmla="*/ 0 h 29"/>
                  <a:gd name="T2" fmla="*/ 0 w 28"/>
                  <a:gd name="T3" fmla="*/ 162 h 29"/>
                  <a:gd name="T4" fmla="*/ 1 w 28"/>
                  <a:gd name="T5" fmla="*/ 228 h 29"/>
                  <a:gd name="T6" fmla="*/ 904 w 28"/>
                  <a:gd name="T7" fmla="*/ 252 h 29"/>
                  <a:gd name="T8" fmla="*/ 2217 w 28"/>
                  <a:gd name="T9" fmla="*/ 228 h 29"/>
                  <a:gd name="T10" fmla="*/ 2634 w 28"/>
                  <a:gd name="T11" fmla="*/ 162 h 29"/>
                  <a:gd name="T12" fmla="*/ 1931 w 28"/>
                  <a:gd name="T13" fmla="*/ 1 h 29"/>
                  <a:gd name="T14" fmla="*/ 1038 w 28"/>
                  <a:gd name="T15" fmla="*/ 0 h 29"/>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9"/>
                  <a:gd name="T26" fmla="*/ 28 w 28"/>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9">
                    <a:moveTo>
                      <a:pt x="11" y="0"/>
                    </a:moveTo>
                    <a:lnTo>
                      <a:pt x="0" y="16"/>
                    </a:lnTo>
                    <a:lnTo>
                      <a:pt x="1" y="26"/>
                    </a:lnTo>
                    <a:lnTo>
                      <a:pt x="9" y="29"/>
                    </a:lnTo>
                    <a:lnTo>
                      <a:pt x="23" y="26"/>
                    </a:lnTo>
                    <a:lnTo>
                      <a:pt x="28" y="16"/>
                    </a:lnTo>
                    <a:lnTo>
                      <a:pt x="20" y="1"/>
                    </a:lnTo>
                    <a:lnTo>
                      <a:pt x="1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8" name="Freeform 176"/>
              <p:cNvSpPr>
                <a:spLocks/>
              </p:cNvSpPr>
              <p:nvPr/>
            </p:nvSpPr>
            <p:spPr bwMode="auto">
              <a:xfrm>
                <a:off x="317" y="1835"/>
                <a:ext cx="30" cy="30"/>
              </a:xfrm>
              <a:custGeom>
                <a:avLst/>
                <a:gdLst>
                  <a:gd name="T0" fmla="*/ 1038 w 28"/>
                  <a:gd name="T1" fmla="*/ 0 h 29"/>
                  <a:gd name="T2" fmla="*/ 0 w 28"/>
                  <a:gd name="T3" fmla="*/ 162 h 29"/>
                  <a:gd name="T4" fmla="*/ 1 w 28"/>
                  <a:gd name="T5" fmla="*/ 228 h 29"/>
                  <a:gd name="T6" fmla="*/ 904 w 28"/>
                  <a:gd name="T7" fmla="*/ 252 h 29"/>
                  <a:gd name="T8" fmla="*/ 2217 w 28"/>
                  <a:gd name="T9" fmla="*/ 228 h 29"/>
                  <a:gd name="T10" fmla="*/ 2634 w 28"/>
                  <a:gd name="T11" fmla="*/ 162 h 29"/>
                  <a:gd name="T12" fmla="*/ 1931 w 28"/>
                  <a:gd name="T13" fmla="*/ 1 h 29"/>
                  <a:gd name="T14" fmla="*/ 1038 w 28"/>
                  <a:gd name="T15" fmla="*/ 0 h 29"/>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9"/>
                  <a:gd name="T26" fmla="*/ 28 w 28"/>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9">
                    <a:moveTo>
                      <a:pt x="11" y="0"/>
                    </a:moveTo>
                    <a:lnTo>
                      <a:pt x="0" y="16"/>
                    </a:lnTo>
                    <a:lnTo>
                      <a:pt x="1" y="26"/>
                    </a:lnTo>
                    <a:lnTo>
                      <a:pt x="9" y="29"/>
                    </a:lnTo>
                    <a:lnTo>
                      <a:pt x="23" y="26"/>
                    </a:lnTo>
                    <a:lnTo>
                      <a:pt x="28" y="16"/>
                    </a:lnTo>
                    <a:lnTo>
                      <a:pt x="20" y="1"/>
                    </a:lnTo>
                    <a:lnTo>
                      <a:pt x="11" y="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79" name="Freeform 177"/>
              <p:cNvSpPr>
                <a:spLocks/>
              </p:cNvSpPr>
              <p:nvPr/>
            </p:nvSpPr>
            <p:spPr bwMode="auto">
              <a:xfrm>
                <a:off x="306" y="1849"/>
                <a:ext cx="31" cy="30"/>
              </a:xfrm>
              <a:custGeom>
                <a:avLst/>
                <a:gdLst>
                  <a:gd name="T0" fmla="*/ 5 w 29"/>
                  <a:gd name="T1" fmla="*/ 0 h 29"/>
                  <a:gd name="T2" fmla="*/ 0 w 29"/>
                  <a:gd name="T3" fmla="*/ 252 h 29"/>
                  <a:gd name="T4" fmla="*/ 1216 w 29"/>
                  <a:gd name="T5" fmla="*/ 220 h 29"/>
                  <a:gd name="T6" fmla="*/ 2368 w 29"/>
                  <a:gd name="T7" fmla="*/ 0 h 29"/>
                  <a:gd name="T8" fmla="*/ 5 w 29"/>
                  <a:gd name="T9" fmla="*/ 0 h 29"/>
                  <a:gd name="T10" fmla="*/ 0 60000 65536"/>
                  <a:gd name="T11" fmla="*/ 0 60000 65536"/>
                  <a:gd name="T12" fmla="*/ 0 60000 65536"/>
                  <a:gd name="T13" fmla="*/ 0 60000 65536"/>
                  <a:gd name="T14" fmla="*/ 0 60000 65536"/>
                  <a:gd name="T15" fmla="*/ 0 w 29"/>
                  <a:gd name="T16" fmla="*/ 0 h 29"/>
                  <a:gd name="T17" fmla="*/ 29 w 29"/>
                  <a:gd name="T18" fmla="*/ 29 h 29"/>
                </a:gdLst>
                <a:ahLst/>
                <a:cxnLst>
                  <a:cxn ang="T10">
                    <a:pos x="T0" y="T1"/>
                  </a:cxn>
                  <a:cxn ang="T11">
                    <a:pos x="T2" y="T3"/>
                  </a:cxn>
                  <a:cxn ang="T12">
                    <a:pos x="T4" y="T5"/>
                  </a:cxn>
                  <a:cxn ang="T13">
                    <a:pos x="T6" y="T7"/>
                  </a:cxn>
                  <a:cxn ang="T14">
                    <a:pos x="T8" y="T9"/>
                  </a:cxn>
                </a:cxnLst>
                <a:rect l="T15" t="T16" r="T17" b="T18"/>
                <a:pathLst>
                  <a:path w="29" h="29">
                    <a:moveTo>
                      <a:pt x="5" y="0"/>
                    </a:moveTo>
                    <a:lnTo>
                      <a:pt x="0" y="29"/>
                    </a:lnTo>
                    <a:lnTo>
                      <a:pt x="16" y="25"/>
                    </a:lnTo>
                    <a:lnTo>
                      <a:pt x="29" y="0"/>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0" name="Freeform 178"/>
              <p:cNvSpPr>
                <a:spLocks/>
              </p:cNvSpPr>
              <p:nvPr/>
            </p:nvSpPr>
            <p:spPr bwMode="auto">
              <a:xfrm>
                <a:off x="306" y="1849"/>
                <a:ext cx="31" cy="30"/>
              </a:xfrm>
              <a:custGeom>
                <a:avLst/>
                <a:gdLst>
                  <a:gd name="T0" fmla="*/ 5 w 29"/>
                  <a:gd name="T1" fmla="*/ 0 h 29"/>
                  <a:gd name="T2" fmla="*/ 0 w 29"/>
                  <a:gd name="T3" fmla="*/ 252 h 29"/>
                  <a:gd name="T4" fmla="*/ 1216 w 29"/>
                  <a:gd name="T5" fmla="*/ 220 h 29"/>
                  <a:gd name="T6" fmla="*/ 2368 w 29"/>
                  <a:gd name="T7" fmla="*/ 0 h 29"/>
                  <a:gd name="T8" fmla="*/ 5 w 29"/>
                  <a:gd name="T9" fmla="*/ 0 h 29"/>
                  <a:gd name="T10" fmla="*/ 0 60000 65536"/>
                  <a:gd name="T11" fmla="*/ 0 60000 65536"/>
                  <a:gd name="T12" fmla="*/ 0 60000 65536"/>
                  <a:gd name="T13" fmla="*/ 0 60000 65536"/>
                  <a:gd name="T14" fmla="*/ 0 60000 65536"/>
                  <a:gd name="T15" fmla="*/ 0 w 29"/>
                  <a:gd name="T16" fmla="*/ 0 h 29"/>
                  <a:gd name="T17" fmla="*/ 29 w 29"/>
                  <a:gd name="T18" fmla="*/ 29 h 29"/>
                </a:gdLst>
                <a:ahLst/>
                <a:cxnLst>
                  <a:cxn ang="T10">
                    <a:pos x="T0" y="T1"/>
                  </a:cxn>
                  <a:cxn ang="T11">
                    <a:pos x="T2" y="T3"/>
                  </a:cxn>
                  <a:cxn ang="T12">
                    <a:pos x="T4" y="T5"/>
                  </a:cxn>
                  <a:cxn ang="T13">
                    <a:pos x="T6" y="T7"/>
                  </a:cxn>
                  <a:cxn ang="T14">
                    <a:pos x="T8" y="T9"/>
                  </a:cxn>
                </a:cxnLst>
                <a:rect l="T15" t="T16" r="T17" b="T18"/>
                <a:pathLst>
                  <a:path w="29" h="29">
                    <a:moveTo>
                      <a:pt x="5" y="0"/>
                    </a:moveTo>
                    <a:lnTo>
                      <a:pt x="0" y="29"/>
                    </a:lnTo>
                    <a:lnTo>
                      <a:pt x="16" y="25"/>
                    </a:lnTo>
                    <a:lnTo>
                      <a:pt x="29" y="0"/>
                    </a:lnTo>
                    <a:lnTo>
                      <a:pt x="5" y="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1" name="Freeform 179"/>
              <p:cNvSpPr>
                <a:spLocks/>
              </p:cNvSpPr>
              <p:nvPr/>
            </p:nvSpPr>
            <p:spPr bwMode="auto">
              <a:xfrm>
                <a:off x="370" y="1812"/>
                <a:ext cx="29" cy="29"/>
              </a:xfrm>
              <a:custGeom>
                <a:avLst/>
                <a:gdLst>
                  <a:gd name="T0" fmla="*/ 0 w 28"/>
                  <a:gd name="T1" fmla="*/ 5 h 28"/>
                  <a:gd name="T2" fmla="*/ 0 w 28"/>
                  <a:gd name="T3" fmla="*/ 269 h 28"/>
                  <a:gd name="T4" fmla="*/ 269 w 28"/>
                  <a:gd name="T5" fmla="*/ 218 h 28"/>
                  <a:gd name="T6" fmla="*/ 234 w 28"/>
                  <a:gd name="T7" fmla="*/ 5 h 28"/>
                  <a:gd name="T8" fmla="*/ 7 w 28"/>
                  <a:gd name="T9" fmla="*/ 0 h 28"/>
                  <a:gd name="T10" fmla="*/ 0 w 28"/>
                  <a:gd name="T11" fmla="*/ 5 h 28"/>
                  <a:gd name="T12" fmla="*/ 0 60000 65536"/>
                  <a:gd name="T13" fmla="*/ 0 60000 65536"/>
                  <a:gd name="T14" fmla="*/ 0 60000 65536"/>
                  <a:gd name="T15" fmla="*/ 0 60000 65536"/>
                  <a:gd name="T16" fmla="*/ 0 60000 65536"/>
                  <a:gd name="T17" fmla="*/ 0 60000 65536"/>
                  <a:gd name="T18" fmla="*/ 0 w 28"/>
                  <a:gd name="T19" fmla="*/ 0 h 28"/>
                  <a:gd name="T20" fmla="*/ 28 w 28"/>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8" h="28">
                    <a:moveTo>
                      <a:pt x="0" y="5"/>
                    </a:moveTo>
                    <a:lnTo>
                      <a:pt x="0" y="28"/>
                    </a:lnTo>
                    <a:lnTo>
                      <a:pt x="28" y="22"/>
                    </a:lnTo>
                    <a:lnTo>
                      <a:pt x="24" y="5"/>
                    </a:lnTo>
                    <a:lnTo>
                      <a:pt x="7" y="0"/>
                    </a:lnTo>
                    <a:lnTo>
                      <a:pt x="0" y="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2" name="Freeform 180"/>
              <p:cNvSpPr>
                <a:spLocks/>
              </p:cNvSpPr>
              <p:nvPr/>
            </p:nvSpPr>
            <p:spPr bwMode="auto">
              <a:xfrm>
                <a:off x="370" y="1812"/>
                <a:ext cx="29" cy="29"/>
              </a:xfrm>
              <a:custGeom>
                <a:avLst/>
                <a:gdLst>
                  <a:gd name="T0" fmla="*/ 0 w 28"/>
                  <a:gd name="T1" fmla="*/ 5 h 28"/>
                  <a:gd name="T2" fmla="*/ 0 w 28"/>
                  <a:gd name="T3" fmla="*/ 269 h 28"/>
                  <a:gd name="T4" fmla="*/ 269 w 28"/>
                  <a:gd name="T5" fmla="*/ 218 h 28"/>
                  <a:gd name="T6" fmla="*/ 234 w 28"/>
                  <a:gd name="T7" fmla="*/ 5 h 28"/>
                  <a:gd name="T8" fmla="*/ 7 w 28"/>
                  <a:gd name="T9" fmla="*/ 0 h 28"/>
                  <a:gd name="T10" fmla="*/ 0 w 28"/>
                  <a:gd name="T11" fmla="*/ 5 h 28"/>
                  <a:gd name="T12" fmla="*/ 0 60000 65536"/>
                  <a:gd name="T13" fmla="*/ 0 60000 65536"/>
                  <a:gd name="T14" fmla="*/ 0 60000 65536"/>
                  <a:gd name="T15" fmla="*/ 0 60000 65536"/>
                  <a:gd name="T16" fmla="*/ 0 60000 65536"/>
                  <a:gd name="T17" fmla="*/ 0 60000 65536"/>
                  <a:gd name="T18" fmla="*/ 0 w 28"/>
                  <a:gd name="T19" fmla="*/ 0 h 28"/>
                  <a:gd name="T20" fmla="*/ 28 w 28"/>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8" h="28">
                    <a:moveTo>
                      <a:pt x="0" y="5"/>
                    </a:moveTo>
                    <a:lnTo>
                      <a:pt x="0" y="28"/>
                    </a:lnTo>
                    <a:lnTo>
                      <a:pt x="28" y="22"/>
                    </a:lnTo>
                    <a:lnTo>
                      <a:pt x="24" y="5"/>
                    </a:lnTo>
                    <a:lnTo>
                      <a:pt x="7" y="0"/>
                    </a:lnTo>
                    <a:lnTo>
                      <a:pt x="0" y="5"/>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3" name="Freeform 181"/>
              <p:cNvSpPr>
                <a:spLocks/>
              </p:cNvSpPr>
              <p:nvPr/>
            </p:nvSpPr>
            <p:spPr bwMode="auto">
              <a:xfrm>
                <a:off x="375" y="1761"/>
                <a:ext cx="31" cy="30"/>
              </a:xfrm>
              <a:custGeom>
                <a:avLst/>
                <a:gdLst>
                  <a:gd name="T0" fmla="*/ 6 w 29"/>
                  <a:gd name="T1" fmla="*/ 2634 h 28"/>
                  <a:gd name="T2" fmla="*/ 1815 w 29"/>
                  <a:gd name="T3" fmla="*/ 2217 h 28"/>
                  <a:gd name="T4" fmla="*/ 1588 w 29"/>
                  <a:gd name="T5" fmla="*/ 1682 h 28"/>
                  <a:gd name="T6" fmla="*/ 2368 w 29"/>
                  <a:gd name="T7" fmla="*/ 1682 h 28"/>
                  <a:gd name="T8" fmla="*/ 2368 w 29"/>
                  <a:gd name="T9" fmla="*/ 5 h 28"/>
                  <a:gd name="T10" fmla="*/ 1486 w 29"/>
                  <a:gd name="T11" fmla="*/ 0 h 28"/>
                  <a:gd name="T12" fmla="*/ 5 w 29"/>
                  <a:gd name="T13" fmla="*/ 2 h 28"/>
                  <a:gd name="T14" fmla="*/ 2 w 29"/>
                  <a:gd name="T15" fmla="*/ 1 h 28"/>
                  <a:gd name="T16" fmla="*/ 1 w 29"/>
                  <a:gd name="T17" fmla="*/ 904 h 28"/>
                  <a:gd name="T18" fmla="*/ 0 w 29"/>
                  <a:gd name="T19" fmla="*/ 1931 h 28"/>
                  <a:gd name="T20" fmla="*/ 6 w 29"/>
                  <a:gd name="T21" fmla="*/ 2634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8"/>
                  <a:gd name="T35" fmla="*/ 29 w 29"/>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8">
                    <a:moveTo>
                      <a:pt x="6" y="28"/>
                    </a:moveTo>
                    <a:lnTo>
                      <a:pt x="22" y="23"/>
                    </a:lnTo>
                    <a:lnTo>
                      <a:pt x="20" y="18"/>
                    </a:lnTo>
                    <a:lnTo>
                      <a:pt x="29" y="18"/>
                    </a:lnTo>
                    <a:lnTo>
                      <a:pt x="29" y="5"/>
                    </a:lnTo>
                    <a:lnTo>
                      <a:pt x="19" y="0"/>
                    </a:lnTo>
                    <a:lnTo>
                      <a:pt x="5" y="2"/>
                    </a:lnTo>
                    <a:lnTo>
                      <a:pt x="2" y="1"/>
                    </a:lnTo>
                    <a:lnTo>
                      <a:pt x="1" y="9"/>
                    </a:lnTo>
                    <a:lnTo>
                      <a:pt x="0" y="20"/>
                    </a:lnTo>
                    <a:lnTo>
                      <a:pt x="6"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4" name="Freeform 182"/>
              <p:cNvSpPr>
                <a:spLocks/>
              </p:cNvSpPr>
              <p:nvPr/>
            </p:nvSpPr>
            <p:spPr bwMode="auto">
              <a:xfrm>
                <a:off x="375" y="1761"/>
                <a:ext cx="31" cy="30"/>
              </a:xfrm>
              <a:custGeom>
                <a:avLst/>
                <a:gdLst>
                  <a:gd name="T0" fmla="*/ 6 w 29"/>
                  <a:gd name="T1" fmla="*/ 2634 h 28"/>
                  <a:gd name="T2" fmla="*/ 1815 w 29"/>
                  <a:gd name="T3" fmla="*/ 2217 h 28"/>
                  <a:gd name="T4" fmla="*/ 1588 w 29"/>
                  <a:gd name="T5" fmla="*/ 1682 h 28"/>
                  <a:gd name="T6" fmla="*/ 2368 w 29"/>
                  <a:gd name="T7" fmla="*/ 1682 h 28"/>
                  <a:gd name="T8" fmla="*/ 2368 w 29"/>
                  <a:gd name="T9" fmla="*/ 5 h 28"/>
                  <a:gd name="T10" fmla="*/ 1486 w 29"/>
                  <a:gd name="T11" fmla="*/ 0 h 28"/>
                  <a:gd name="T12" fmla="*/ 5 w 29"/>
                  <a:gd name="T13" fmla="*/ 2 h 28"/>
                  <a:gd name="T14" fmla="*/ 2 w 29"/>
                  <a:gd name="T15" fmla="*/ 1 h 28"/>
                  <a:gd name="T16" fmla="*/ 1 w 29"/>
                  <a:gd name="T17" fmla="*/ 904 h 28"/>
                  <a:gd name="T18" fmla="*/ 0 w 29"/>
                  <a:gd name="T19" fmla="*/ 1931 h 28"/>
                  <a:gd name="T20" fmla="*/ 6 w 29"/>
                  <a:gd name="T21" fmla="*/ 2634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8"/>
                  <a:gd name="T35" fmla="*/ 29 w 29"/>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8">
                    <a:moveTo>
                      <a:pt x="6" y="28"/>
                    </a:moveTo>
                    <a:lnTo>
                      <a:pt x="22" y="23"/>
                    </a:lnTo>
                    <a:lnTo>
                      <a:pt x="20" y="18"/>
                    </a:lnTo>
                    <a:lnTo>
                      <a:pt x="29" y="18"/>
                    </a:lnTo>
                    <a:lnTo>
                      <a:pt x="29" y="5"/>
                    </a:lnTo>
                    <a:lnTo>
                      <a:pt x="19" y="0"/>
                    </a:lnTo>
                    <a:lnTo>
                      <a:pt x="5" y="2"/>
                    </a:lnTo>
                    <a:lnTo>
                      <a:pt x="2" y="1"/>
                    </a:lnTo>
                    <a:lnTo>
                      <a:pt x="1" y="9"/>
                    </a:lnTo>
                    <a:lnTo>
                      <a:pt x="0" y="20"/>
                    </a:lnTo>
                    <a:lnTo>
                      <a:pt x="6" y="28"/>
                    </a:lnTo>
                    <a:close/>
                  </a:path>
                </a:pathLst>
              </a:custGeom>
              <a:solidFill>
                <a:srgbClr val="C0504D"/>
              </a:solidFill>
              <a:ln w="7938">
                <a:solidFill>
                  <a:srgbClr val="1C1329"/>
                </a:solidFill>
                <a:miter lim="800000"/>
                <a:headEnd/>
                <a:tailEnd/>
              </a:ln>
              <a:extLst/>
            </p:spPr>
            <p:txBody>
              <a:bodyPr/>
              <a:lstStyle/>
              <a:p>
                <a:endParaRPr lang="en-US"/>
              </a:p>
            </p:txBody>
          </p:sp>
          <p:sp>
            <p:nvSpPr>
              <p:cNvPr id="385" name="Freeform 183"/>
              <p:cNvSpPr>
                <a:spLocks/>
              </p:cNvSpPr>
              <p:nvPr/>
            </p:nvSpPr>
            <p:spPr bwMode="auto">
              <a:xfrm>
                <a:off x="311" y="1751"/>
                <a:ext cx="30" cy="29"/>
              </a:xfrm>
              <a:custGeom>
                <a:avLst/>
                <a:gdLst>
                  <a:gd name="T0" fmla="*/ 844 w 28"/>
                  <a:gd name="T1" fmla="*/ 269 h 28"/>
                  <a:gd name="T2" fmla="*/ 904 w 28"/>
                  <a:gd name="T3" fmla="*/ 189 h 28"/>
                  <a:gd name="T4" fmla="*/ 1570 w 28"/>
                  <a:gd name="T5" fmla="*/ 164 h 28"/>
                  <a:gd name="T6" fmla="*/ 1802 w 28"/>
                  <a:gd name="T7" fmla="*/ 176 h 28"/>
                  <a:gd name="T8" fmla="*/ 2634 w 28"/>
                  <a:gd name="T9" fmla="*/ 11 h 28"/>
                  <a:gd name="T10" fmla="*/ 2217 w 28"/>
                  <a:gd name="T11" fmla="*/ 4 h 28"/>
                  <a:gd name="T12" fmla="*/ 1367 w 28"/>
                  <a:gd name="T13" fmla="*/ 4 h 28"/>
                  <a:gd name="T14" fmla="*/ 1112 w 28"/>
                  <a:gd name="T15" fmla="*/ 1 h 28"/>
                  <a:gd name="T16" fmla="*/ 904 w 28"/>
                  <a:gd name="T17" fmla="*/ 5 h 28"/>
                  <a:gd name="T18" fmla="*/ 4 w 28"/>
                  <a:gd name="T19" fmla="*/ 0 h 28"/>
                  <a:gd name="T20" fmla="*/ 0 w 28"/>
                  <a:gd name="T21" fmla="*/ 9 h 28"/>
                  <a:gd name="T22" fmla="*/ 844 w 28"/>
                  <a:gd name="T23" fmla="*/ 269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28"/>
                  <a:gd name="T38" fmla="*/ 28 w 28"/>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28">
                    <a:moveTo>
                      <a:pt x="8" y="28"/>
                    </a:moveTo>
                    <a:lnTo>
                      <a:pt x="9" y="18"/>
                    </a:lnTo>
                    <a:lnTo>
                      <a:pt x="17" y="14"/>
                    </a:lnTo>
                    <a:lnTo>
                      <a:pt x="19" y="16"/>
                    </a:lnTo>
                    <a:lnTo>
                      <a:pt x="28" y="11"/>
                    </a:lnTo>
                    <a:lnTo>
                      <a:pt x="23" y="4"/>
                    </a:lnTo>
                    <a:lnTo>
                      <a:pt x="15" y="4"/>
                    </a:lnTo>
                    <a:lnTo>
                      <a:pt x="12" y="1"/>
                    </a:lnTo>
                    <a:lnTo>
                      <a:pt x="9" y="5"/>
                    </a:lnTo>
                    <a:lnTo>
                      <a:pt x="4" y="0"/>
                    </a:lnTo>
                    <a:lnTo>
                      <a:pt x="0" y="9"/>
                    </a:lnTo>
                    <a:lnTo>
                      <a:pt x="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6" name="Freeform 184"/>
              <p:cNvSpPr>
                <a:spLocks/>
              </p:cNvSpPr>
              <p:nvPr/>
            </p:nvSpPr>
            <p:spPr bwMode="auto">
              <a:xfrm>
                <a:off x="311" y="1751"/>
                <a:ext cx="30" cy="29"/>
              </a:xfrm>
              <a:custGeom>
                <a:avLst/>
                <a:gdLst>
                  <a:gd name="T0" fmla="*/ 844 w 28"/>
                  <a:gd name="T1" fmla="*/ 269 h 28"/>
                  <a:gd name="T2" fmla="*/ 904 w 28"/>
                  <a:gd name="T3" fmla="*/ 189 h 28"/>
                  <a:gd name="T4" fmla="*/ 1570 w 28"/>
                  <a:gd name="T5" fmla="*/ 164 h 28"/>
                  <a:gd name="T6" fmla="*/ 1802 w 28"/>
                  <a:gd name="T7" fmla="*/ 176 h 28"/>
                  <a:gd name="T8" fmla="*/ 2634 w 28"/>
                  <a:gd name="T9" fmla="*/ 11 h 28"/>
                  <a:gd name="T10" fmla="*/ 2217 w 28"/>
                  <a:gd name="T11" fmla="*/ 4 h 28"/>
                  <a:gd name="T12" fmla="*/ 1367 w 28"/>
                  <a:gd name="T13" fmla="*/ 4 h 28"/>
                  <a:gd name="T14" fmla="*/ 1112 w 28"/>
                  <a:gd name="T15" fmla="*/ 1 h 28"/>
                  <a:gd name="T16" fmla="*/ 904 w 28"/>
                  <a:gd name="T17" fmla="*/ 5 h 28"/>
                  <a:gd name="T18" fmla="*/ 4 w 28"/>
                  <a:gd name="T19" fmla="*/ 0 h 28"/>
                  <a:gd name="T20" fmla="*/ 0 w 28"/>
                  <a:gd name="T21" fmla="*/ 9 h 28"/>
                  <a:gd name="T22" fmla="*/ 844 w 28"/>
                  <a:gd name="T23" fmla="*/ 269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28"/>
                  <a:gd name="T38" fmla="*/ 28 w 28"/>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28">
                    <a:moveTo>
                      <a:pt x="8" y="28"/>
                    </a:moveTo>
                    <a:lnTo>
                      <a:pt x="9" y="18"/>
                    </a:lnTo>
                    <a:lnTo>
                      <a:pt x="17" y="14"/>
                    </a:lnTo>
                    <a:lnTo>
                      <a:pt x="19" y="16"/>
                    </a:lnTo>
                    <a:lnTo>
                      <a:pt x="28" y="11"/>
                    </a:lnTo>
                    <a:lnTo>
                      <a:pt x="23" y="4"/>
                    </a:lnTo>
                    <a:lnTo>
                      <a:pt x="15" y="4"/>
                    </a:lnTo>
                    <a:lnTo>
                      <a:pt x="12" y="1"/>
                    </a:lnTo>
                    <a:lnTo>
                      <a:pt x="9" y="5"/>
                    </a:lnTo>
                    <a:lnTo>
                      <a:pt x="4" y="0"/>
                    </a:lnTo>
                    <a:lnTo>
                      <a:pt x="0" y="9"/>
                    </a:lnTo>
                    <a:lnTo>
                      <a:pt x="8" y="28"/>
                    </a:lnTo>
                    <a:close/>
                  </a:path>
                </a:pathLst>
              </a:custGeom>
              <a:solidFill>
                <a:srgbClr val="C0504D"/>
              </a:solidFill>
              <a:ln w="7938">
                <a:solidFill>
                  <a:srgbClr val="1C1329"/>
                </a:solidFill>
                <a:miter lim="800000"/>
                <a:headEnd/>
                <a:tailEnd/>
              </a:ln>
              <a:extLst/>
            </p:spPr>
            <p:txBody>
              <a:bodyPr/>
              <a:lstStyle/>
              <a:p>
                <a:endParaRPr lang="en-US"/>
              </a:p>
            </p:txBody>
          </p:sp>
          <p:sp>
            <p:nvSpPr>
              <p:cNvPr id="387" name="Freeform 185"/>
              <p:cNvSpPr>
                <a:spLocks/>
              </p:cNvSpPr>
              <p:nvPr/>
            </p:nvSpPr>
            <p:spPr bwMode="auto">
              <a:xfrm>
                <a:off x="373" y="1730"/>
                <a:ext cx="31" cy="29"/>
              </a:xfrm>
              <a:custGeom>
                <a:avLst/>
                <a:gdLst>
                  <a:gd name="T0" fmla="*/ 1815 w 29"/>
                  <a:gd name="T1" fmla="*/ 269 h 28"/>
                  <a:gd name="T2" fmla="*/ 1815 w 29"/>
                  <a:gd name="T3" fmla="*/ 196 h 28"/>
                  <a:gd name="T4" fmla="*/ 2368 w 29"/>
                  <a:gd name="T5" fmla="*/ 176 h 28"/>
                  <a:gd name="T6" fmla="*/ 1486 w 29"/>
                  <a:gd name="T7" fmla="*/ 9 h 28"/>
                  <a:gd name="T8" fmla="*/ 1486 w 29"/>
                  <a:gd name="T9" fmla="*/ 1 h 28"/>
                  <a:gd name="T10" fmla="*/ 872 w 29"/>
                  <a:gd name="T11" fmla="*/ 0 h 28"/>
                  <a:gd name="T12" fmla="*/ 0 w 29"/>
                  <a:gd name="T13" fmla="*/ 1 h 28"/>
                  <a:gd name="T14" fmla="*/ 2 w 29"/>
                  <a:gd name="T15" fmla="*/ 11 h 28"/>
                  <a:gd name="T16" fmla="*/ 0 w 29"/>
                  <a:gd name="T17" fmla="*/ 170 h 28"/>
                  <a:gd name="T18" fmla="*/ 932 w 29"/>
                  <a:gd name="T19" fmla="*/ 176 h 28"/>
                  <a:gd name="T20" fmla="*/ 1815 w 29"/>
                  <a:gd name="T21" fmla="*/ 269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8"/>
                  <a:gd name="T35" fmla="*/ 29 w 29"/>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8">
                    <a:moveTo>
                      <a:pt x="22" y="28"/>
                    </a:moveTo>
                    <a:lnTo>
                      <a:pt x="22" y="19"/>
                    </a:lnTo>
                    <a:lnTo>
                      <a:pt x="29" y="16"/>
                    </a:lnTo>
                    <a:lnTo>
                      <a:pt x="19" y="9"/>
                    </a:lnTo>
                    <a:lnTo>
                      <a:pt x="19" y="1"/>
                    </a:lnTo>
                    <a:lnTo>
                      <a:pt x="11" y="0"/>
                    </a:lnTo>
                    <a:lnTo>
                      <a:pt x="0" y="1"/>
                    </a:lnTo>
                    <a:lnTo>
                      <a:pt x="2" y="11"/>
                    </a:lnTo>
                    <a:lnTo>
                      <a:pt x="0" y="15"/>
                    </a:lnTo>
                    <a:lnTo>
                      <a:pt x="12" y="16"/>
                    </a:lnTo>
                    <a:lnTo>
                      <a:pt x="22"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8" name="Freeform 186"/>
              <p:cNvSpPr>
                <a:spLocks/>
              </p:cNvSpPr>
              <p:nvPr/>
            </p:nvSpPr>
            <p:spPr bwMode="auto">
              <a:xfrm>
                <a:off x="373" y="1730"/>
                <a:ext cx="31" cy="29"/>
              </a:xfrm>
              <a:custGeom>
                <a:avLst/>
                <a:gdLst>
                  <a:gd name="T0" fmla="*/ 1815 w 29"/>
                  <a:gd name="T1" fmla="*/ 269 h 28"/>
                  <a:gd name="T2" fmla="*/ 1815 w 29"/>
                  <a:gd name="T3" fmla="*/ 196 h 28"/>
                  <a:gd name="T4" fmla="*/ 2368 w 29"/>
                  <a:gd name="T5" fmla="*/ 176 h 28"/>
                  <a:gd name="T6" fmla="*/ 1486 w 29"/>
                  <a:gd name="T7" fmla="*/ 9 h 28"/>
                  <a:gd name="T8" fmla="*/ 1486 w 29"/>
                  <a:gd name="T9" fmla="*/ 1 h 28"/>
                  <a:gd name="T10" fmla="*/ 872 w 29"/>
                  <a:gd name="T11" fmla="*/ 0 h 28"/>
                  <a:gd name="T12" fmla="*/ 0 w 29"/>
                  <a:gd name="T13" fmla="*/ 1 h 28"/>
                  <a:gd name="T14" fmla="*/ 2 w 29"/>
                  <a:gd name="T15" fmla="*/ 11 h 28"/>
                  <a:gd name="T16" fmla="*/ 0 w 29"/>
                  <a:gd name="T17" fmla="*/ 170 h 28"/>
                  <a:gd name="T18" fmla="*/ 932 w 29"/>
                  <a:gd name="T19" fmla="*/ 176 h 28"/>
                  <a:gd name="T20" fmla="*/ 1815 w 29"/>
                  <a:gd name="T21" fmla="*/ 269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28"/>
                  <a:gd name="T35" fmla="*/ 29 w 29"/>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28">
                    <a:moveTo>
                      <a:pt x="22" y="28"/>
                    </a:moveTo>
                    <a:lnTo>
                      <a:pt x="22" y="19"/>
                    </a:lnTo>
                    <a:lnTo>
                      <a:pt x="29" y="16"/>
                    </a:lnTo>
                    <a:lnTo>
                      <a:pt x="19" y="9"/>
                    </a:lnTo>
                    <a:lnTo>
                      <a:pt x="19" y="1"/>
                    </a:lnTo>
                    <a:lnTo>
                      <a:pt x="11" y="0"/>
                    </a:lnTo>
                    <a:lnTo>
                      <a:pt x="0" y="1"/>
                    </a:lnTo>
                    <a:lnTo>
                      <a:pt x="2" y="11"/>
                    </a:lnTo>
                    <a:lnTo>
                      <a:pt x="0" y="15"/>
                    </a:lnTo>
                    <a:lnTo>
                      <a:pt x="12" y="16"/>
                    </a:lnTo>
                    <a:lnTo>
                      <a:pt x="22" y="28"/>
                    </a:lnTo>
                    <a:close/>
                  </a:path>
                </a:pathLst>
              </a:custGeom>
              <a:solidFill>
                <a:srgbClr val="C0504D"/>
              </a:solidFill>
              <a:ln w="7938">
                <a:solidFill>
                  <a:srgbClr val="1C1329"/>
                </a:solidFill>
                <a:miter lim="800000"/>
                <a:headEnd/>
                <a:tailEnd/>
              </a:ln>
              <a:extLst/>
            </p:spPr>
            <p:txBody>
              <a:bodyPr/>
              <a:lstStyle/>
              <a:p>
                <a:endParaRPr lang="en-US"/>
              </a:p>
            </p:txBody>
          </p:sp>
          <p:sp>
            <p:nvSpPr>
              <p:cNvPr id="389" name="Freeform 187"/>
              <p:cNvSpPr>
                <a:spLocks/>
              </p:cNvSpPr>
              <p:nvPr/>
            </p:nvSpPr>
            <p:spPr bwMode="auto">
              <a:xfrm>
                <a:off x="280" y="1742"/>
                <a:ext cx="31" cy="30"/>
              </a:xfrm>
              <a:custGeom>
                <a:avLst/>
                <a:gdLst>
                  <a:gd name="T0" fmla="*/ 1815 w 29"/>
                  <a:gd name="T1" fmla="*/ 0 h 28"/>
                  <a:gd name="T2" fmla="*/ 2368 w 29"/>
                  <a:gd name="T3" fmla="*/ 1465 h 28"/>
                  <a:gd name="T4" fmla="*/ 1138 w 29"/>
                  <a:gd name="T5" fmla="*/ 2294 h 28"/>
                  <a:gd name="T6" fmla="*/ 816 w 29"/>
                  <a:gd name="T7" fmla="*/ 2634 h 28"/>
                  <a:gd name="T8" fmla="*/ 0 w 29"/>
                  <a:gd name="T9" fmla="*/ 1931 h 28"/>
                  <a:gd name="T10" fmla="*/ 816 w 29"/>
                  <a:gd name="T11" fmla="*/ 1276 h 28"/>
                  <a:gd name="T12" fmla="*/ 872 w 29"/>
                  <a:gd name="T13" fmla="*/ 1 h 28"/>
                  <a:gd name="T14" fmla="*/ 1815 w 29"/>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29"/>
                  <a:gd name="T25" fmla="*/ 0 h 28"/>
                  <a:gd name="T26" fmla="*/ 29 w 2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 h="28">
                    <a:moveTo>
                      <a:pt x="22" y="0"/>
                    </a:moveTo>
                    <a:lnTo>
                      <a:pt x="29" y="16"/>
                    </a:lnTo>
                    <a:lnTo>
                      <a:pt x="15" y="24"/>
                    </a:lnTo>
                    <a:lnTo>
                      <a:pt x="10" y="28"/>
                    </a:lnTo>
                    <a:lnTo>
                      <a:pt x="0" y="20"/>
                    </a:lnTo>
                    <a:lnTo>
                      <a:pt x="10" y="14"/>
                    </a:lnTo>
                    <a:lnTo>
                      <a:pt x="11" y="1"/>
                    </a:lnTo>
                    <a:lnTo>
                      <a:pt x="22" y="0"/>
                    </a:lnTo>
                    <a:close/>
                  </a:path>
                </a:pathLst>
              </a:custGeom>
              <a:solidFill>
                <a:srgbClr val="C050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0" name="Freeform 188"/>
              <p:cNvSpPr>
                <a:spLocks/>
              </p:cNvSpPr>
              <p:nvPr/>
            </p:nvSpPr>
            <p:spPr bwMode="auto">
              <a:xfrm>
                <a:off x="280" y="1742"/>
                <a:ext cx="31" cy="30"/>
              </a:xfrm>
              <a:custGeom>
                <a:avLst/>
                <a:gdLst>
                  <a:gd name="T0" fmla="*/ 1815 w 29"/>
                  <a:gd name="T1" fmla="*/ 0 h 28"/>
                  <a:gd name="T2" fmla="*/ 2368 w 29"/>
                  <a:gd name="T3" fmla="*/ 1465 h 28"/>
                  <a:gd name="T4" fmla="*/ 1138 w 29"/>
                  <a:gd name="T5" fmla="*/ 2294 h 28"/>
                  <a:gd name="T6" fmla="*/ 816 w 29"/>
                  <a:gd name="T7" fmla="*/ 2634 h 28"/>
                  <a:gd name="T8" fmla="*/ 0 w 29"/>
                  <a:gd name="T9" fmla="*/ 1931 h 28"/>
                  <a:gd name="T10" fmla="*/ 816 w 29"/>
                  <a:gd name="T11" fmla="*/ 1276 h 28"/>
                  <a:gd name="T12" fmla="*/ 872 w 29"/>
                  <a:gd name="T13" fmla="*/ 1 h 28"/>
                  <a:gd name="T14" fmla="*/ 1815 w 29"/>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29"/>
                  <a:gd name="T25" fmla="*/ 0 h 28"/>
                  <a:gd name="T26" fmla="*/ 29 w 2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 h="28">
                    <a:moveTo>
                      <a:pt x="22" y="0"/>
                    </a:moveTo>
                    <a:lnTo>
                      <a:pt x="29" y="16"/>
                    </a:lnTo>
                    <a:lnTo>
                      <a:pt x="15" y="24"/>
                    </a:lnTo>
                    <a:lnTo>
                      <a:pt x="10" y="28"/>
                    </a:lnTo>
                    <a:lnTo>
                      <a:pt x="0" y="20"/>
                    </a:lnTo>
                    <a:lnTo>
                      <a:pt x="10" y="14"/>
                    </a:lnTo>
                    <a:lnTo>
                      <a:pt x="11" y="1"/>
                    </a:lnTo>
                    <a:lnTo>
                      <a:pt x="22" y="0"/>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1" name="Freeform 189"/>
              <p:cNvSpPr>
                <a:spLocks/>
              </p:cNvSpPr>
              <p:nvPr/>
            </p:nvSpPr>
            <p:spPr bwMode="auto">
              <a:xfrm>
                <a:off x="267" y="1728"/>
                <a:ext cx="31" cy="30"/>
              </a:xfrm>
              <a:custGeom>
                <a:avLst/>
                <a:gdLst>
                  <a:gd name="T0" fmla="*/ 1698 w 29"/>
                  <a:gd name="T1" fmla="*/ 0 h 29"/>
                  <a:gd name="T2" fmla="*/ 1138 w 29"/>
                  <a:gd name="T3" fmla="*/ 0 h 29"/>
                  <a:gd name="T4" fmla="*/ 872 w 29"/>
                  <a:gd name="T5" fmla="*/ 3 h 29"/>
                  <a:gd name="T6" fmla="*/ 6 w 29"/>
                  <a:gd name="T7" fmla="*/ 5 h 29"/>
                  <a:gd name="T8" fmla="*/ 0 w 29"/>
                  <a:gd name="T9" fmla="*/ 174 h 29"/>
                  <a:gd name="T10" fmla="*/ 3 w 29"/>
                  <a:gd name="T11" fmla="*/ 180 h 29"/>
                  <a:gd name="T12" fmla="*/ 3 w 29"/>
                  <a:gd name="T13" fmla="*/ 220 h 29"/>
                  <a:gd name="T14" fmla="*/ 6 w 29"/>
                  <a:gd name="T15" fmla="*/ 220 h 29"/>
                  <a:gd name="T16" fmla="*/ 714 w 29"/>
                  <a:gd name="T17" fmla="*/ 213 h 29"/>
                  <a:gd name="T18" fmla="*/ 816 w 29"/>
                  <a:gd name="T19" fmla="*/ 252 h 29"/>
                  <a:gd name="T20" fmla="*/ 1486 w 29"/>
                  <a:gd name="T21" fmla="*/ 168 h 29"/>
                  <a:gd name="T22" fmla="*/ 2368 w 29"/>
                  <a:gd name="T23" fmla="*/ 8 h 29"/>
                  <a:gd name="T24" fmla="*/ 1940 w 29"/>
                  <a:gd name="T25" fmla="*/ 5 h 29"/>
                  <a:gd name="T26" fmla="*/ 1698 w 29"/>
                  <a:gd name="T27" fmla="*/ 0 h 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29"/>
                  <a:gd name="T44" fmla="*/ 29 w 29"/>
                  <a:gd name="T45" fmla="*/ 29 h 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29">
                    <a:moveTo>
                      <a:pt x="21" y="0"/>
                    </a:moveTo>
                    <a:lnTo>
                      <a:pt x="15" y="0"/>
                    </a:lnTo>
                    <a:lnTo>
                      <a:pt x="11" y="3"/>
                    </a:lnTo>
                    <a:lnTo>
                      <a:pt x="6" y="5"/>
                    </a:lnTo>
                    <a:lnTo>
                      <a:pt x="0" y="18"/>
                    </a:lnTo>
                    <a:lnTo>
                      <a:pt x="3" y="19"/>
                    </a:lnTo>
                    <a:lnTo>
                      <a:pt x="3" y="25"/>
                    </a:lnTo>
                    <a:lnTo>
                      <a:pt x="6" y="25"/>
                    </a:lnTo>
                    <a:lnTo>
                      <a:pt x="8" y="24"/>
                    </a:lnTo>
                    <a:lnTo>
                      <a:pt x="10" y="29"/>
                    </a:lnTo>
                    <a:lnTo>
                      <a:pt x="19" y="17"/>
                    </a:lnTo>
                    <a:lnTo>
                      <a:pt x="29" y="8"/>
                    </a:lnTo>
                    <a:lnTo>
                      <a:pt x="24" y="5"/>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2" name="Freeform 190"/>
              <p:cNvSpPr>
                <a:spLocks/>
              </p:cNvSpPr>
              <p:nvPr/>
            </p:nvSpPr>
            <p:spPr bwMode="auto">
              <a:xfrm>
                <a:off x="267" y="1728"/>
                <a:ext cx="31" cy="30"/>
              </a:xfrm>
              <a:custGeom>
                <a:avLst/>
                <a:gdLst>
                  <a:gd name="T0" fmla="*/ 1698 w 29"/>
                  <a:gd name="T1" fmla="*/ 0 h 29"/>
                  <a:gd name="T2" fmla="*/ 1138 w 29"/>
                  <a:gd name="T3" fmla="*/ 0 h 29"/>
                  <a:gd name="T4" fmla="*/ 872 w 29"/>
                  <a:gd name="T5" fmla="*/ 3 h 29"/>
                  <a:gd name="T6" fmla="*/ 6 w 29"/>
                  <a:gd name="T7" fmla="*/ 5 h 29"/>
                  <a:gd name="T8" fmla="*/ 0 w 29"/>
                  <a:gd name="T9" fmla="*/ 174 h 29"/>
                  <a:gd name="T10" fmla="*/ 3 w 29"/>
                  <a:gd name="T11" fmla="*/ 180 h 29"/>
                  <a:gd name="T12" fmla="*/ 3 w 29"/>
                  <a:gd name="T13" fmla="*/ 220 h 29"/>
                  <a:gd name="T14" fmla="*/ 6 w 29"/>
                  <a:gd name="T15" fmla="*/ 220 h 29"/>
                  <a:gd name="T16" fmla="*/ 714 w 29"/>
                  <a:gd name="T17" fmla="*/ 213 h 29"/>
                  <a:gd name="T18" fmla="*/ 816 w 29"/>
                  <a:gd name="T19" fmla="*/ 252 h 29"/>
                  <a:gd name="T20" fmla="*/ 1486 w 29"/>
                  <a:gd name="T21" fmla="*/ 168 h 29"/>
                  <a:gd name="T22" fmla="*/ 2368 w 29"/>
                  <a:gd name="T23" fmla="*/ 8 h 29"/>
                  <a:gd name="T24" fmla="*/ 1940 w 29"/>
                  <a:gd name="T25" fmla="*/ 5 h 29"/>
                  <a:gd name="T26" fmla="*/ 1698 w 29"/>
                  <a:gd name="T27" fmla="*/ 0 h 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29"/>
                  <a:gd name="T44" fmla="*/ 29 w 29"/>
                  <a:gd name="T45" fmla="*/ 29 h 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29">
                    <a:moveTo>
                      <a:pt x="21" y="0"/>
                    </a:moveTo>
                    <a:lnTo>
                      <a:pt x="15" y="0"/>
                    </a:lnTo>
                    <a:lnTo>
                      <a:pt x="11" y="3"/>
                    </a:lnTo>
                    <a:lnTo>
                      <a:pt x="6" y="5"/>
                    </a:lnTo>
                    <a:lnTo>
                      <a:pt x="0" y="18"/>
                    </a:lnTo>
                    <a:lnTo>
                      <a:pt x="3" y="19"/>
                    </a:lnTo>
                    <a:lnTo>
                      <a:pt x="3" y="25"/>
                    </a:lnTo>
                    <a:lnTo>
                      <a:pt x="6" y="25"/>
                    </a:lnTo>
                    <a:lnTo>
                      <a:pt x="8" y="24"/>
                    </a:lnTo>
                    <a:lnTo>
                      <a:pt x="10" y="29"/>
                    </a:lnTo>
                    <a:lnTo>
                      <a:pt x="19" y="17"/>
                    </a:lnTo>
                    <a:lnTo>
                      <a:pt x="29" y="8"/>
                    </a:lnTo>
                    <a:lnTo>
                      <a:pt x="24" y="5"/>
                    </a:lnTo>
                    <a:lnTo>
                      <a:pt x="21" y="0"/>
                    </a:lnTo>
                    <a:close/>
                  </a:path>
                </a:pathLst>
              </a:custGeom>
              <a:solidFill>
                <a:srgbClr val="C0504D"/>
              </a:solidFill>
              <a:ln w="7938">
                <a:solidFill>
                  <a:srgbClr val="1C1329"/>
                </a:solidFill>
                <a:miter lim="800000"/>
                <a:headEnd/>
                <a:tailEnd/>
              </a:ln>
              <a:extLst/>
            </p:spPr>
            <p:txBody>
              <a:bodyPr/>
              <a:lstStyle/>
              <a:p>
                <a:endParaRPr lang="en-US"/>
              </a:p>
            </p:txBody>
          </p:sp>
          <p:sp>
            <p:nvSpPr>
              <p:cNvPr id="393" name="Freeform 191"/>
              <p:cNvSpPr>
                <a:spLocks/>
              </p:cNvSpPr>
              <p:nvPr/>
            </p:nvSpPr>
            <p:spPr bwMode="auto">
              <a:xfrm>
                <a:off x="307" y="1841"/>
                <a:ext cx="31" cy="31"/>
              </a:xfrm>
              <a:custGeom>
                <a:avLst/>
                <a:gdLst>
                  <a:gd name="T0" fmla="*/ 0 w 29"/>
                  <a:gd name="T1" fmla="*/ 2368 h 29"/>
                  <a:gd name="T2" fmla="*/ 2368 w 29"/>
                  <a:gd name="T3" fmla="*/ 5 h 29"/>
                  <a:gd name="T4" fmla="*/ 5 w 29"/>
                  <a:gd name="T5" fmla="*/ 0 h 29"/>
                  <a:gd name="T6" fmla="*/ 0 w 29"/>
                  <a:gd name="T7" fmla="*/ 2368 h 29"/>
                  <a:gd name="T8" fmla="*/ 0 60000 65536"/>
                  <a:gd name="T9" fmla="*/ 0 60000 65536"/>
                  <a:gd name="T10" fmla="*/ 0 60000 65536"/>
                  <a:gd name="T11" fmla="*/ 0 60000 65536"/>
                  <a:gd name="T12" fmla="*/ 0 w 29"/>
                  <a:gd name="T13" fmla="*/ 0 h 29"/>
                  <a:gd name="T14" fmla="*/ 29 w 29"/>
                  <a:gd name="T15" fmla="*/ 29 h 29"/>
                </a:gdLst>
                <a:ahLst/>
                <a:cxnLst>
                  <a:cxn ang="T8">
                    <a:pos x="T0" y="T1"/>
                  </a:cxn>
                  <a:cxn ang="T9">
                    <a:pos x="T2" y="T3"/>
                  </a:cxn>
                  <a:cxn ang="T10">
                    <a:pos x="T4" y="T5"/>
                  </a:cxn>
                  <a:cxn ang="T11">
                    <a:pos x="T6" y="T7"/>
                  </a:cxn>
                </a:cxnLst>
                <a:rect l="T12" t="T13" r="T14" b="T15"/>
                <a:pathLst>
                  <a:path w="29" h="29">
                    <a:moveTo>
                      <a:pt x="0" y="29"/>
                    </a:moveTo>
                    <a:lnTo>
                      <a:pt x="29" y="5"/>
                    </a:lnTo>
                    <a:lnTo>
                      <a:pt x="5" y="0"/>
                    </a:lnTo>
                    <a:lnTo>
                      <a:pt x="0" y="29"/>
                    </a:lnTo>
                    <a:close/>
                  </a:path>
                </a:pathLst>
              </a:custGeom>
              <a:solidFill>
                <a:srgbClr val="C050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4" name="Freeform 192"/>
              <p:cNvSpPr>
                <a:spLocks/>
              </p:cNvSpPr>
              <p:nvPr/>
            </p:nvSpPr>
            <p:spPr bwMode="auto">
              <a:xfrm>
                <a:off x="307" y="1841"/>
                <a:ext cx="31" cy="31"/>
              </a:xfrm>
              <a:custGeom>
                <a:avLst/>
                <a:gdLst>
                  <a:gd name="T0" fmla="*/ 0 w 29"/>
                  <a:gd name="T1" fmla="*/ 2368 h 29"/>
                  <a:gd name="T2" fmla="*/ 2368 w 29"/>
                  <a:gd name="T3" fmla="*/ 5 h 29"/>
                  <a:gd name="T4" fmla="*/ 5 w 29"/>
                  <a:gd name="T5" fmla="*/ 0 h 29"/>
                  <a:gd name="T6" fmla="*/ 0 w 29"/>
                  <a:gd name="T7" fmla="*/ 2368 h 29"/>
                  <a:gd name="T8" fmla="*/ 0 60000 65536"/>
                  <a:gd name="T9" fmla="*/ 0 60000 65536"/>
                  <a:gd name="T10" fmla="*/ 0 60000 65536"/>
                  <a:gd name="T11" fmla="*/ 0 60000 65536"/>
                  <a:gd name="T12" fmla="*/ 0 w 29"/>
                  <a:gd name="T13" fmla="*/ 0 h 29"/>
                  <a:gd name="T14" fmla="*/ 29 w 29"/>
                  <a:gd name="T15" fmla="*/ 29 h 29"/>
                </a:gdLst>
                <a:ahLst/>
                <a:cxnLst>
                  <a:cxn ang="T8">
                    <a:pos x="T0" y="T1"/>
                  </a:cxn>
                  <a:cxn ang="T9">
                    <a:pos x="T2" y="T3"/>
                  </a:cxn>
                  <a:cxn ang="T10">
                    <a:pos x="T4" y="T5"/>
                  </a:cxn>
                  <a:cxn ang="T11">
                    <a:pos x="T6" y="T7"/>
                  </a:cxn>
                </a:cxnLst>
                <a:rect l="T12" t="T13" r="T14" b="T15"/>
                <a:pathLst>
                  <a:path w="29" h="29">
                    <a:moveTo>
                      <a:pt x="0" y="29"/>
                    </a:moveTo>
                    <a:lnTo>
                      <a:pt x="29" y="5"/>
                    </a:lnTo>
                    <a:lnTo>
                      <a:pt x="5" y="0"/>
                    </a:lnTo>
                    <a:lnTo>
                      <a:pt x="0" y="29"/>
                    </a:lnTo>
                    <a:close/>
                  </a:path>
                </a:pathLst>
              </a:custGeom>
              <a:solidFill>
                <a:srgbClr val="C0504D"/>
              </a:solidFill>
              <a:ln w="7938">
                <a:solidFill>
                  <a:srgbClr val="1C1329"/>
                </a:solidFill>
                <a:miter lim="800000"/>
                <a:headEnd/>
                <a:tailEnd/>
              </a:ln>
              <a:extLst/>
            </p:spPr>
            <p:txBody>
              <a:bodyPr/>
              <a:lstStyle/>
              <a:p>
                <a:endParaRPr lang="en-US"/>
              </a:p>
            </p:txBody>
          </p:sp>
          <p:sp>
            <p:nvSpPr>
              <p:cNvPr id="395" name="Freeform 197"/>
              <p:cNvSpPr>
                <a:spLocks/>
              </p:cNvSpPr>
              <p:nvPr/>
            </p:nvSpPr>
            <p:spPr bwMode="auto">
              <a:xfrm>
                <a:off x="3099" y="3043"/>
                <a:ext cx="22" cy="29"/>
              </a:xfrm>
              <a:custGeom>
                <a:avLst/>
                <a:gdLst>
                  <a:gd name="T0" fmla="*/ 0 w 21"/>
                  <a:gd name="T1" fmla="*/ 9 h 28"/>
                  <a:gd name="T2" fmla="*/ 2 w 21"/>
                  <a:gd name="T3" fmla="*/ 9 h 28"/>
                  <a:gd name="T4" fmla="*/ 4 w 21"/>
                  <a:gd name="T5" fmla="*/ 11 h 28"/>
                  <a:gd name="T6" fmla="*/ 9 w 21"/>
                  <a:gd name="T7" fmla="*/ 12 h 28"/>
                  <a:gd name="T8" fmla="*/ 10 w 21"/>
                  <a:gd name="T9" fmla="*/ 12 h 28"/>
                  <a:gd name="T10" fmla="*/ 10 w 21"/>
                  <a:gd name="T11" fmla="*/ 13 h 28"/>
                  <a:gd name="T12" fmla="*/ 10 w 21"/>
                  <a:gd name="T13" fmla="*/ 164 h 28"/>
                  <a:gd name="T14" fmla="*/ 267 w 21"/>
                  <a:gd name="T15" fmla="*/ 164 h 28"/>
                  <a:gd name="T16" fmla="*/ 280 w 21"/>
                  <a:gd name="T17" fmla="*/ 170 h 28"/>
                  <a:gd name="T18" fmla="*/ 280 w 21"/>
                  <a:gd name="T19" fmla="*/ 176 h 28"/>
                  <a:gd name="T20" fmla="*/ 293 w 21"/>
                  <a:gd name="T21" fmla="*/ 176 h 28"/>
                  <a:gd name="T22" fmla="*/ 293 w 21"/>
                  <a:gd name="T23" fmla="*/ 182 h 28"/>
                  <a:gd name="T24" fmla="*/ 293 w 21"/>
                  <a:gd name="T25" fmla="*/ 182 h 28"/>
                  <a:gd name="T26" fmla="*/ 293 w 21"/>
                  <a:gd name="T27" fmla="*/ 182 h 28"/>
                  <a:gd name="T28" fmla="*/ 293 w 21"/>
                  <a:gd name="T29" fmla="*/ 189 h 28"/>
                  <a:gd name="T30" fmla="*/ 293 w 21"/>
                  <a:gd name="T31" fmla="*/ 196 h 28"/>
                  <a:gd name="T32" fmla="*/ 293 w 21"/>
                  <a:gd name="T33" fmla="*/ 203 h 28"/>
                  <a:gd name="T34" fmla="*/ 293 w 21"/>
                  <a:gd name="T35" fmla="*/ 203 h 28"/>
                  <a:gd name="T36" fmla="*/ 293 w 21"/>
                  <a:gd name="T37" fmla="*/ 210 h 28"/>
                  <a:gd name="T38" fmla="*/ 293 w 21"/>
                  <a:gd name="T39" fmla="*/ 218 h 28"/>
                  <a:gd name="T40" fmla="*/ 280 w 21"/>
                  <a:gd name="T41" fmla="*/ 218 h 28"/>
                  <a:gd name="T42" fmla="*/ 280 w 21"/>
                  <a:gd name="T43" fmla="*/ 218 h 28"/>
                  <a:gd name="T44" fmla="*/ 322 w 21"/>
                  <a:gd name="T45" fmla="*/ 234 h 28"/>
                  <a:gd name="T46" fmla="*/ 322 w 21"/>
                  <a:gd name="T47" fmla="*/ 242 h 28"/>
                  <a:gd name="T48" fmla="*/ 322 w 21"/>
                  <a:gd name="T49" fmla="*/ 251 h 28"/>
                  <a:gd name="T50" fmla="*/ 322 w 21"/>
                  <a:gd name="T51" fmla="*/ 260 h 28"/>
                  <a:gd name="T52" fmla="*/ 337 w 21"/>
                  <a:gd name="T53" fmla="*/ 260 h 28"/>
                  <a:gd name="T54" fmla="*/ 353 w 21"/>
                  <a:gd name="T55" fmla="*/ 269 h 28"/>
                  <a:gd name="T56" fmla="*/ 370 w 21"/>
                  <a:gd name="T57" fmla="*/ 269 h 28"/>
                  <a:gd name="T58" fmla="*/ 425 w 21"/>
                  <a:gd name="T59" fmla="*/ 269 h 28"/>
                  <a:gd name="T60" fmla="*/ 406 w 21"/>
                  <a:gd name="T61" fmla="*/ 251 h 28"/>
                  <a:gd name="T62" fmla="*/ 370 w 21"/>
                  <a:gd name="T63" fmla="*/ 218 h 28"/>
                  <a:gd name="T64" fmla="*/ 388 w 21"/>
                  <a:gd name="T65" fmla="*/ 218 h 28"/>
                  <a:gd name="T66" fmla="*/ 388 w 21"/>
                  <a:gd name="T67" fmla="*/ 203 h 28"/>
                  <a:gd name="T68" fmla="*/ 388 w 21"/>
                  <a:gd name="T69" fmla="*/ 196 h 28"/>
                  <a:gd name="T70" fmla="*/ 388 w 21"/>
                  <a:gd name="T71" fmla="*/ 176 h 28"/>
                  <a:gd name="T72" fmla="*/ 406 w 21"/>
                  <a:gd name="T73" fmla="*/ 13 h 28"/>
                  <a:gd name="T74" fmla="*/ 388 w 21"/>
                  <a:gd name="T75" fmla="*/ 12 h 28"/>
                  <a:gd name="T76" fmla="*/ 322 w 21"/>
                  <a:gd name="T77" fmla="*/ 12 h 28"/>
                  <a:gd name="T78" fmla="*/ 322 w 21"/>
                  <a:gd name="T79" fmla="*/ 11 h 28"/>
                  <a:gd name="T80" fmla="*/ 293 w 21"/>
                  <a:gd name="T81" fmla="*/ 8 h 28"/>
                  <a:gd name="T82" fmla="*/ 267 w 21"/>
                  <a:gd name="T83" fmla="*/ 5 h 28"/>
                  <a:gd name="T84" fmla="*/ 267 w 21"/>
                  <a:gd name="T85" fmla="*/ 0 h 28"/>
                  <a:gd name="T86" fmla="*/ 8 w 21"/>
                  <a:gd name="T87" fmla="*/ 0 h 28"/>
                  <a:gd name="T88" fmla="*/ 8 w 21"/>
                  <a:gd name="T89" fmla="*/ 4 h 28"/>
                  <a:gd name="T90" fmla="*/ 6 w 21"/>
                  <a:gd name="T91" fmla="*/ 5 h 28"/>
                  <a:gd name="T92" fmla="*/ 6 w 21"/>
                  <a:gd name="T93" fmla="*/ 6 h 28"/>
                  <a:gd name="T94" fmla="*/ 4 w 21"/>
                  <a:gd name="T95" fmla="*/ 6 h 28"/>
                  <a:gd name="T96" fmla="*/ 4 w 21"/>
                  <a:gd name="T97" fmla="*/ 5 h 28"/>
                  <a:gd name="T98" fmla="*/ 0 w 21"/>
                  <a:gd name="T99" fmla="*/ 6 h 28"/>
                  <a:gd name="T100" fmla="*/ 0 w 21"/>
                  <a:gd name="T101" fmla="*/ 9 h 2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1"/>
                  <a:gd name="T154" fmla="*/ 0 h 28"/>
                  <a:gd name="T155" fmla="*/ 21 w 21"/>
                  <a:gd name="T156" fmla="*/ 28 h 2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1" h="28">
                    <a:moveTo>
                      <a:pt x="0" y="9"/>
                    </a:moveTo>
                    <a:lnTo>
                      <a:pt x="2" y="9"/>
                    </a:lnTo>
                    <a:lnTo>
                      <a:pt x="4" y="11"/>
                    </a:lnTo>
                    <a:lnTo>
                      <a:pt x="9" y="12"/>
                    </a:lnTo>
                    <a:lnTo>
                      <a:pt x="10" y="12"/>
                    </a:lnTo>
                    <a:lnTo>
                      <a:pt x="10" y="13"/>
                    </a:lnTo>
                    <a:lnTo>
                      <a:pt x="10" y="14"/>
                    </a:lnTo>
                    <a:lnTo>
                      <a:pt x="11" y="14"/>
                    </a:lnTo>
                    <a:lnTo>
                      <a:pt x="12" y="15"/>
                    </a:lnTo>
                    <a:lnTo>
                      <a:pt x="12" y="16"/>
                    </a:lnTo>
                    <a:lnTo>
                      <a:pt x="13" y="16"/>
                    </a:lnTo>
                    <a:lnTo>
                      <a:pt x="13" y="17"/>
                    </a:lnTo>
                    <a:lnTo>
                      <a:pt x="13" y="18"/>
                    </a:lnTo>
                    <a:lnTo>
                      <a:pt x="13" y="19"/>
                    </a:lnTo>
                    <a:lnTo>
                      <a:pt x="13" y="20"/>
                    </a:lnTo>
                    <a:lnTo>
                      <a:pt x="13" y="21"/>
                    </a:lnTo>
                    <a:lnTo>
                      <a:pt x="13" y="22"/>
                    </a:lnTo>
                    <a:lnTo>
                      <a:pt x="12" y="22"/>
                    </a:lnTo>
                    <a:lnTo>
                      <a:pt x="15" y="24"/>
                    </a:lnTo>
                    <a:lnTo>
                      <a:pt x="15" y="25"/>
                    </a:lnTo>
                    <a:lnTo>
                      <a:pt x="15" y="26"/>
                    </a:lnTo>
                    <a:lnTo>
                      <a:pt x="15" y="27"/>
                    </a:lnTo>
                    <a:lnTo>
                      <a:pt x="16" y="27"/>
                    </a:lnTo>
                    <a:lnTo>
                      <a:pt x="17" y="28"/>
                    </a:lnTo>
                    <a:lnTo>
                      <a:pt x="18" y="28"/>
                    </a:lnTo>
                    <a:lnTo>
                      <a:pt x="21" y="28"/>
                    </a:lnTo>
                    <a:lnTo>
                      <a:pt x="20" y="26"/>
                    </a:lnTo>
                    <a:lnTo>
                      <a:pt x="18" y="22"/>
                    </a:lnTo>
                    <a:lnTo>
                      <a:pt x="19" y="22"/>
                    </a:lnTo>
                    <a:lnTo>
                      <a:pt x="19" y="20"/>
                    </a:lnTo>
                    <a:lnTo>
                      <a:pt x="19" y="19"/>
                    </a:lnTo>
                    <a:lnTo>
                      <a:pt x="19" y="16"/>
                    </a:lnTo>
                    <a:lnTo>
                      <a:pt x="20" y="13"/>
                    </a:lnTo>
                    <a:lnTo>
                      <a:pt x="19" y="12"/>
                    </a:lnTo>
                    <a:lnTo>
                      <a:pt x="15" y="12"/>
                    </a:lnTo>
                    <a:lnTo>
                      <a:pt x="15" y="11"/>
                    </a:lnTo>
                    <a:lnTo>
                      <a:pt x="13" y="8"/>
                    </a:lnTo>
                    <a:lnTo>
                      <a:pt x="11" y="5"/>
                    </a:lnTo>
                    <a:lnTo>
                      <a:pt x="11" y="0"/>
                    </a:lnTo>
                    <a:lnTo>
                      <a:pt x="8" y="0"/>
                    </a:lnTo>
                    <a:lnTo>
                      <a:pt x="8" y="4"/>
                    </a:lnTo>
                    <a:lnTo>
                      <a:pt x="6" y="5"/>
                    </a:lnTo>
                    <a:lnTo>
                      <a:pt x="6" y="6"/>
                    </a:lnTo>
                    <a:lnTo>
                      <a:pt x="4" y="6"/>
                    </a:lnTo>
                    <a:lnTo>
                      <a:pt x="4" y="5"/>
                    </a:lnTo>
                    <a:lnTo>
                      <a:pt x="0" y="6"/>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6" name="Freeform 198"/>
              <p:cNvSpPr>
                <a:spLocks/>
              </p:cNvSpPr>
              <p:nvPr/>
            </p:nvSpPr>
            <p:spPr bwMode="auto">
              <a:xfrm>
                <a:off x="3099" y="3043"/>
                <a:ext cx="22" cy="29"/>
              </a:xfrm>
              <a:custGeom>
                <a:avLst/>
                <a:gdLst>
                  <a:gd name="T0" fmla="*/ 0 w 21"/>
                  <a:gd name="T1" fmla="*/ 9 h 28"/>
                  <a:gd name="T2" fmla="*/ 2 w 21"/>
                  <a:gd name="T3" fmla="*/ 9 h 28"/>
                  <a:gd name="T4" fmla="*/ 4 w 21"/>
                  <a:gd name="T5" fmla="*/ 11 h 28"/>
                  <a:gd name="T6" fmla="*/ 9 w 21"/>
                  <a:gd name="T7" fmla="*/ 12 h 28"/>
                  <a:gd name="T8" fmla="*/ 10 w 21"/>
                  <a:gd name="T9" fmla="*/ 12 h 28"/>
                  <a:gd name="T10" fmla="*/ 10 w 21"/>
                  <a:gd name="T11" fmla="*/ 13 h 28"/>
                  <a:gd name="T12" fmla="*/ 10 w 21"/>
                  <a:gd name="T13" fmla="*/ 164 h 28"/>
                  <a:gd name="T14" fmla="*/ 267 w 21"/>
                  <a:gd name="T15" fmla="*/ 164 h 28"/>
                  <a:gd name="T16" fmla="*/ 280 w 21"/>
                  <a:gd name="T17" fmla="*/ 170 h 28"/>
                  <a:gd name="T18" fmla="*/ 280 w 21"/>
                  <a:gd name="T19" fmla="*/ 176 h 28"/>
                  <a:gd name="T20" fmla="*/ 293 w 21"/>
                  <a:gd name="T21" fmla="*/ 176 h 28"/>
                  <a:gd name="T22" fmla="*/ 293 w 21"/>
                  <a:gd name="T23" fmla="*/ 182 h 28"/>
                  <a:gd name="T24" fmla="*/ 293 w 21"/>
                  <a:gd name="T25" fmla="*/ 182 h 28"/>
                  <a:gd name="T26" fmla="*/ 293 w 21"/>
                  <a:gd name="T27" fmla="*/ 182 h 28"/>
                  <a:gd name="T28" fmla="*/ 293 w 21"/>
                  <a:gd name="T29" fmla="*/ 189 h 28"/>
                  <a:gd name="T30" fmla="*/ 293 w 21"/>
                  <a:gd name="T31" fmla="*/ 196 h 28"/>
                  <a:gd name="T32" fmla="*/ 293 w 21"/>
                  <a:gd name="T33" fmla="*/ 203 h 28"/>
                  <a:gd name="T34" fmla="*/ 293 w 21"/>
                  <a:gd name="T35" fmla="*/ 203 h 28"/>
                  <a:gd name="T36" fmla="*/ 293 w 21"/>
                  <a:gd name="T37" fmla="*/ 210 h 28"/>
                  <a:gd name="T38" fmla="*/ 293 w 21"/>
                  <a:gd name="T39" fmla="*/ 218 h 28"/>
                  <a:gd name="T40" fmla="*/ 280 w 21"/>
                  <a:gd name="T41" fmla="*/ 218 h 28"/>
                  <a:gd name="T42" fmla="*/ 280 w 21"/>
                  <a:gd name="T43" fmla="*/ 218 h 28"/>
                  <a:gd name="T44" fmla="*/ 322 w 21"/>
                  <a:gd name="T45" fmla="*/ 234 h 28"/>
                  <a:gd name="T46" fmla="*/ 322 w 21"/>
                  <a:gd name="T47" fmla="*/ 242 h 28"/>
                  <a:gd name="T48" fmla="*/ 322 w 21"/>
                  <a:gd name="T49" fmla="*/ 251 h 28"/>
                  <a:gd name="T50" fmla="*/ 322 w 21"/>
                  <a:gd name="T51" fmla="*/ 260 h 28"/>
                  <a:gd name="T52" fmla="*/ 337 w 21"/>
                  <a:gd name="T53" fmla="*/ 260 h 28"/>
                  <a:gd name="T54" fmla="*/ 353 w 21"/>
                  <a:gd name="T55" fmla="*/ 269 h 28"/>
                  <a:gd name="T56" fmla="*/ 370 w 21"/>
                  <a:gd name="T57" fmla="*/ 269 h 28"/>
                  <a:gd name="T58" fmla="*/ 425 w 21"/>
                  <a:gd name="T59" fmla="*/ 269 h 28"/>
                  <a:gd name="T60" fmla="*/ 406 w 21"/>
                  <a:gd name="T61" fmla="*/ 251 h 28"/>
                  <a:gd name="T62" fmla="*/ 370 w 21"/>
                  <a:gd name="T63" fmla="*/ 218 h 28"/>
                  <a:gd name="T64" fmla="*/ 388 w 21"/>
                  <a:gd name="T65" fmla="*/ 218 h 28"/>
                  <a:gd name="T66" fmla="*/ 388 w 21"/>
                  <a:gd name="T67" fmla="*/ 203 h 28"/>
                  <a:gd name="T68" fmla="*/ 388 w 21"/>
                  <a:gd name="T69" fmla="*/ 196 h 28"/>
                  <a:gd name="T70" fmla="*/ 388 w 21"/>
                  <a:gd name="T71" fmla="*/ 176 h 28"/>
                  <a:gd name="T72" fmla="*/ 406 w 21"/>
                  <a:gd name="T73" fmla="*/ 13 h 28"/>
                  <a:gd name="T74" fmla="*/ 388 w 21"/>
                  <a:gd name="T75" fmla="*/ 12 h 28"/>
                  <a:gd name="T76" fmla="*/ 322 w 21"/>
                  <a:gd name="T77" fmla="*/ 12 h 28"/>
                  <a:gd name="T78" fmla="*/ 322 w 21"/>
                  <a:gd name="T79" fmla="*/ 11 h 28"/>
                  <a:gd name="T80" fmla="*/ 293 w 21"/>
                  <a:gd name="T81" fmla="*/ 8 h 28"/>
                  <a:gd name="T82" fmla="*/ 267 w 21"/>
                  <a:gd name="T83" fmla="*/ 5 h 28"/>
                  <a:gd name="T84" fmla="*/ 267 w 21"/>
                  <a:gd name="T85" fmla="*/ 0 h 28"/>
                  <a:gd name="T86" fmla="*/ 8 w 21"/>
                  <a:gd name="T87" fmla="*/ 0 h 28"/>
                  <a:gd name="T88" fmla="*/ 8 w 21"/>
                  <a:gd name="T89" fmla="*/ 4 h 28"/>
                  <a:gd name="T90" fmla="*/ 6 w 21"/>
                  <a:gd name="T91" fmla="*/ 5 h 28"/>
                  <a:gd name="T92" fmla="*/ 6 w 21"/>
                  <a:gd name="T93" fmla="*/ 6 h 28"/>
                  <a:gd name="T94" fmla="*/ 4 w 21"/>
                  <a:gd name="T95" fmla="*/ 6 h 28"/>
                  <a:gd name="T96" fmla="*/ 4 w 21"/>
                  <a:gd name="T97" fmla="*/ 5 h 28"/>
                  <a:gd name="T98" fmla="*/ 0 w 21"/>
                  <a:gd name="T99" fmla="*/ 6 h 28"/>
                  <a:gd name="T100" fmla="*/ 0 w 21"/>
                  <a:gd name="T101" fmla="*/ 9 h 2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1"/>
                  <a:gd name="T154" fmla="*/ 0 h 28"/>
                  <a:gd name="T155" fmla="*/ 21 w 21"/>
                  <a:gd name="T156" fmla="*/ 28 h 2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1" h="28">
                    <a:moveTo>
                      <a:pt x="0" y="9"/>
                    </a:moveTo>
                    <a:lnTo>
                      <a:pt x="2" y="9"/>
                    </a:lnTo>
                    <a:lnTo>
                      <a:pt x="4" y="11"/>
                    </a:lnTo>
                    <a:lnTo>
                      <a:pt x="9" y="12"/>
                    </a:lnTo>
                    <a:lnTo>
                      <a:pt x="10" y="12"/>
                    </a:lnTo>
                    <a:lnTo>
                      <a:pt x="10" y="13"/>
                    </a:lnTo>
                    <a:lnTo>
                      <a:pt x="10" y="14"/>
                    </a:lnTo>
                    <a:lnTo>
                      <a:pt x="11" y="14"/>
                    </a:lnTo>
                    <a:lnTo>
                      <a:pt x="12" y="15"/>
                    </a:lnTo>
                    <a:lnTo>
                      <a:pt x="12" y="16"/>
                    </a:lnTo>
                    <a:lnTo>
                      <a:pt x="13" y="16"/>
                    </a:lnTo>
                    <a:lnTo>
                      <a:pt x="13" y="17"/>
                    </a:lnTo>
                    <a:lnTo>
                      <a:pt x="13" y="18"/>
                    </a:lnTo>
                    <a:lnTo>
                      <a:pt x="13" y="19"/>
                    </a:lnTo>
                    <a:lnTo>
                      <a:pt x="13" y="20"/>
                    </a:lnTo>
                    <a:lnTo>
                      <a:pt x="13" y="21"/>
                    </a:lnTo>
                    <a:lnTo>
                      <a:pt x="13" y="22"/>
                    </a:lnTo>
                    <a:lnTo>
                      <a:pt x="12" y="22"/>
                    </a:lnTo>
                    <a:lnTo>
                      <a:pt x="15" y="24"/>
                    </a:lnTo>
                    <a:lnTo>
                      <a:pt x="15" y="25"/>
                    </a:lnTo>
                    <a:lnTo>
                      <a:pt x="15" y="26"/>
                    </a:lnTo>
                    <a:lnTo>
                      <a:pt x="15" y="27"/>
                    </a:lnTo>
                    <a:lnTo>
                      <a:pt x="16" y="27"/>
                    </a:lnTo>
                    <a:lnTo>
                      <a:pt x="17" y="28"/>
                    </a:lnTo>
                    <a:lnTo>
                      <a:pt x="18" y="28"/>
                    </a:lnTo>
                    <a:lnTo>
                      <a:pt x="21" y="28"/>
                    </a:lnTo>
                    <a:lnTo>
                      <a:pt x="20" y="26"/>
                    </a:lnTo>
                    <a:lnTo>
                      <a:pt x="18" y="22"/>
                    </a:lnTo>
                    <a:lnTo>
                      <a:pt x="19" y="22"/>
                    </a:lnTo>
                    <a:lnTo>
                      <a:pt x="19" y="20"/>
                    </a:lnTo>
                    <a:lnTo>
                      <a:pt x="19" y="19"/>
                    </a:lnTo>
                    <a:lnTo>
                      <a:pt x="19" y="16"/>
                    </a:lnTo>
                    <a:lnTo>
                      <a:pt x="20" y="13"/>
                    </a:lnTo>
                    <a:lnTo>
                      <a:pt x="19" y="12"/>
                    </a:lnTo>
                    <a:lnTo>
                      <a:pt x="15" y="12"/>
                    </a:lnTo>
                    <a:lnTo>
                      <a:pt x="15" y="11"/>
                    </a:lnTo>
                    <a:lnTo>
                      <a:pt x="13" y="8"/>
                    </a:lnTo>
                    <a:lnTo>
                      <a:pt x="11" y="5"/>
                    </a:lnTo>
                    <a:lnTo>
                      <a:pt x="11" y="0"/>
                    </a:lnTo>
                    <a:lnTo>
                      <a:pt x="8" y="0"/>
                    </a:lnTo>
                    <a:lnTo>
                      <a:pt x="8" y="4"/>
                    </a:lnTo>
                    <a:lnTo>
                      <a:pt x="6" y="5"/>
                    </a:lnTo>
                    <a:lnTo>
                      <a:pt x="6" y="6"/>
                    </a:lnTo>
                    <a:lnTo>
                      <a:pt x="4" y="6"/>
                    </a:lnTo>
                    <a:lnTo>
                      <a:pt x="4" y="5"/>
                    </a:lnTo>
                    <a:lnTo>
                      <a:pt x="0" y="6"/>
                    </a:lnTo>
                    <a:lnTo>
                      <a:pt x="0" y="9"/>
                    </a:lnTo>
                    <a:close/>
                  </a:path>
                </a:pathLst>
              </a:custGeom>
              <a:noFill/>
              <a:ln w="7938">
                <a:solidFill>
                  <a:srgbClr val="1C1329"/>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7" name="Freeform 199"/>
              <p:cNvSpPr>
                <a:spLocks/>
              </p:cNvSpPr>
              <p:nvPr/>
            </p:nvSpPr>
            <p:spPr bwMode="auto">
              <a:xfrm>
                <a:off x="3139" y="3010"/>
                <a:ext cx="22" cy="22"/>
              </a:xfrm>
              <a:custGeom>
                <a:avLst/>
                <a:gdLst>
                  <a:gd name="T0" fmla="*/ 2 w 21"/>
                  <a:gd name="T1" fmla="*/ 1 h 21"/>
                  <a:gd name="T2" fmla="*/ 0 w 21"/>
                  <a:gd name="T3" fmla="*/ 9 h 21"/>
                  <a:gd name="T4" fmla="*/ 2 w 21"/>
                  <a:gd name="T5" fmla="*/ 267 h 21"/>
                  <a:gd name="T6" fmla="*/ 4 w 21"/>
                  <a:gd name="T7" fmla="*/ 280 h 21"/>
                  <a:gd name="T8" fmla="*/ 8 w 21"/>
                  <a:gd name="T9" fmla="*/ 388 h 21"/>
                  <a:gd name="T10" fmla="*/ 9 w 21"/>
                  <a:gd name="T11" fmla="*/ 388 h 21"/>
                  <a:gd name="T12" fmla="*/ 267 w 21"/>
                  <a:gd name="T13" fmla="*/ 425 h 21"/>
                  <a:gd name="T14" fmla="*/ 307 w 21"/>
                  <a:gd name="T15" fmla="*/ 425 h 21"/>
                  <a:gd name="T16" fmla="*/ 322 w 21"/>
                  <a:gd name="T17" fmla="*/ 293 h 21"/>
                  <a:gd name="T18" fmla="*/ 337 w 21"/>
                  <a:gd name="T19" fmla="*/ 322 h 21"/>
                  <a:gd name="T20" fmla="*/ 425 w 21"/>
                  <a:gd name="T21" fmla="*/ 322 h 21"/>
                  <a:gd name="T22" fmla="*/ 388 w 21"/>
                  <a:gd name="T23" fmla="*/ 7 h 21"/>
                  <a:gd name="T24" fmla="*/ 307 w 21"/>
                  <a:gd name="T25" fmla="*/ 7 h 21"/>
                  <a:gd name="T26" fmla="*/ 10 w 21"/>
                  <a:gd name="T27" fmla="*/ 6 h 21"/>
                  <a:gd name="T28" fmla="*/ 5 w 21"/>
                  <a:gd name="T29" fmla="*/ 1 h 21"/>
                  <a:gd name="T30" fmla="*/ 5 w 21"/>
                  <a:gd name="T31" fmla="*/ 0 h 21"/>
                  <a:gd name="T32" fmla="*/ 2 w 21"/>
                  <a:gd name="T33" fmla="*/ 1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21"/>
                  <a:gd name="T53" fmla="*/ 21 w 21"/>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21">
                    <a:moveTo>
                      <a:pt x="2" y="1"/>
                    </a:moveTo>
                    <a:lnTo>
                      <a:pt x="0" y="9"/>
                    </a:lnTo>
                    <a:lnTo>
                      <a:pt x="2" y="11"/>
                    </a:lnTo>
                    <a:lnTo>
                      <a:pt x="4" y="12"/>
                    </a:lnTo>
                    <a:lnTo>
                      <a:pt x="8" y="19"/>
                    </a:lnTo>
                    <a:lnTo>
                      <a:pt x="9" y="19"/>
                    </a:lnTo>
                    <a:lnTo>
                      <a:pt x="11" y="21"/>
                    </a:lnTo>
                    <a:lnTo>
                      <a:pt x="14" y="21"/>
                    </a:lnTo>
                    <a:lnTo>
                      <a:pt x="15" y="13"/>
                    </a:lnTo>
                    <a:lnTo>
                      <a:pt x="16" y="15"/>
                    </a:lnTo>
                    <a:lnTo>
                      <a:pt x="21" y="15"/>
                    </a:lnTo>
                    <a:lnTo>
                      <a:pt x="19" y="7"/>
                    </a:lnTo>
                    <a:lnTo>
                      <a:pt x="14" y="7"/>
                    </a:lnTo>
                    <a:lnTo>
                      <a:pt x="10" y="6"/>
                    </a:lnTo>
                    <a:lnTo>
                      <a:pt x="5" y="1"/>
                    </a:lnTo>
                    <a:lnTo>
                      <a:pt x="5" y="0"/>
                    </a:lnTo>
                    <a:lnTo>
                      <a:pt x="2"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8" name="Freeform 200"/>
              <p:cNvSpPr>
                <a:spLocks/>
              </p:cNvSpPr>
              <p:nvPr/>
            </p:nvSpPr>
            <p:spPr bwMode="auto">
              <a:xfrm>
                <a:off x="3139" y="3010"/>
                <a:ext cx="22" cy="22"/>
              </a:xfrm>
              <a:custGeom>
                <a:avLst/>
                <a:gdLst>
                  <a:gd name="T0" fmla="*/ 2 w 21"/>
                  <a:gd name="T1" fmla="*/ 1 h 21"/>
                  <a:gd name="T2" fmla="*/ 0 w 21"/>
                  <a:gd name="T3" fmla="*/ 9 h 21"/>
                  <a:gd name="T4" fmla="*/ 2 w 21"/>
                  <a:gd name="T5" fmla="*/ 267 h 21"/>
                  <a:gd name="T6" fmla="*/ 4 w 21"/>
                  <a:gd name="T7" fmla="*/ 280 h 21"/>
                  <a:gd name="T8" fmla="*/ 8 w 21"/>
                  <a:gd name="T9" fmla="*/ 388 h 21"/>
                  <a:gd name="T10" fmla="*/ 9 w 21"/>
                  <a:gd name="T11" fmla="*/ 388 h 21"/>
                  <a:gd name="T12" fmla="*/ 267 w 21"/>
                  <a:gd name="T13" fmla="*/ 425 h 21"/>
                  <a:gd name="T14" fmla="*/ 307 w 21"/>
                  <a:gd name="T15" fmla="*/ 425 h 21"/>
                  <a:gd name="T16" fmla="*/ 322 w 21"/>
                  <a:gd name="T17" fmla="*/ 293 h 21"/>
                  <a:gd name="T18" fmla="*/ 337 w 21"/>
                  <a:gd name="T19" fmla="*/ 322 h 21"/>
                  <a:gd name="T20" fmla="*/ 425 w 21"/>
                  <a:gd name="T21" fmla="*/ 322 h 21"/>
                  <a:gd name="T22" fmla="*/ 388 w 21"/>
                  <a:gd name="T23" fmla="*/ 7 h 21"/>
                  <a:gd name="T24" fmla="*/ 307 w 21"/>
                  <a:gd name="T25" fmla="*/ 7 h 21"/>
                  <a:gd name="T26" fmla="*/ 10 w 21"/>
                  <a:gd name="T27" fmla="*/ 6 h 21"/>
                  <a:gd name="T28" fmla="*/ 5 w 21"/>
                  <a:gd name="T29" fmla="*/ 1 h 21"/>
                  <a:gd name="T30" fmla="*/ 5 w 21"/>
                  <a:gd name="T31" fmla="*/ 0 h 21"/>
                  <a:gd name="T32" fmla="*/ 2 w 21"/>
                  <a:gd name="T33" fmla="*/ 1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21"/>
                  <a:gd name="T53" fmla="*/ 21 w 21"/>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21">
                    <a:moveTo>
                      <a:pt x="2" y="1"/>
                    </a:moveTo>
                    <a:lnTo>
                      <a:pt x="0" y="9"/>
                    </a:lnTo>
                    <a:lnTo>
                      <a:pt x="2" y="11"/>
                    </a:lnTo>
                    <a:lnTo>
                      <a:pt x="4" y="12"/>
                    </a:lnTo>
                    <a:lnTo>
                      <a:pt x="8" y="19"/>
                    </a:lnTo>
                    <a:lnTo>
                      <a:pt x="9" y="19"/>
                    </a:lnTo>
                    <a:lnTo>
                      <a:pt x="11" y="21"/>
                    </a:lnTo>
                    <a:lnTo>
                      <a:pt x="14" y="21"/>
                    </a:lnTo>
                    <a:lnTo>
                      <a:pt x="15" y="13"/>
                    </a:lnTo>
                    <a:lnTo>
                      <a:pt x="16" y="15"/>
                    </a:lnTo>
                    <a:lnTo>
                      <a:pt x="21" y="15"/>
                    </a:lnTo>
                    <a:lnTo>
                      <a:pt x="19" y="7"/>
                    </a:lnTo>
                    <a:lnTo>
                      <a:pt x="14" y="7"/>
                    </a:lnTo>
                    <a:lnTo>
                      <a:pt x="10" y="6"/>
                    </a:lnTo>
                    <a:lnTo>
                      <a:pt x="5" y="1"/>
                    </a:lnTo>
                    <a:lnTo>
                      <a:pt x="5" y="0"/>
                    </a:lnTo>
                    <a:lnTo>
                      <a:pt x="2" y="1"/>
                    </a:lnTo>
                    <a:close/>
                  </a:path>
                </a:pathLst>
              </a:custGeom>
              <a:solidFill>
                <a:srgbClr val="C0504D"/>
              </a:solidFill>
              <a:ln w="7938">
                <a:solidFill>
                  <a:srgbClr val="1C1329"/>
                </a:solidFill>
                <a:miter lim="800000"/>
                <a:headEnd/>
                <a:tailEnd/>
              </a:ln>
              <a:extLst/>
            </p:spPr>
            <p:txBody>
              <a:bodyPr/>
              <a:lstStyle/>
              <a:p>
                <a:endParaRPr lang="en-US"/>
              </a:p>
            </p:txBody>
          </p:sp>
        </p:grpSp>
      </p:grpSp>
    </p:spTree>
    <p:extLst>
      <p:ext uri="{BB962C8B-B14F-4D97-AF65-F5344CB8AC3E}">
        <p14:creationId xmlns:p14="http://schemas.microsoft.com/office/powerpoint/2010/main" val="1431850020"/>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4"/>
          <p:cNvSpPr txBox="1">
            <a:spLocks noChangeArrowheads="1"/>
          </p:cNvSpPr>
          <p:nvPr/>
        </p:nvSpPr>
        <p:spPr bwMode="auto">
          <a:xfrm>
            <a:off x="62185" y="33869"/>
            <a:ext cx="9042400" cy="1200329"/>
          </a:xfrm>
          <a:prstGeom prst="rect">
            <a:avLst/>
          </a:prstGeom>
          <a:noFill/>
          <a:ln w="9525">
            <a:noFill/>
            <a:miter lim="800000"/>
            <a:headEnd/>
            <a:tailEnd/>
          </a:ln>
        </p:spPr>
        <p:txBody>
          <a:bodyPr wrap="square">
            <a:spAutoFit/>
          </a:bodyPr>
          <a:lstStyle/>
          <a:p>
            <a:pPr algn="ctr">
              <a:spcBef>
                <a:spcPct val="50000"/>
              </a:spcBef>
            </a:pPr>
            <a:r>
              <a:rPr lang="en-US" sz="3600" dirty="0" smtClean="0">
                <a:solidFill>
                  <a:srgbClr val="FFFF00"/>
                </a:solidFill>
                <a:ea typeface="ヒラギノ角ゴ Pro W3"/>
                <a:cs typeface="ヒラギノ角ゴ Pro W3"/>
              </a:rPr>
              <a:t>Reported ART </a:t>
            </a:r>
            <a:r>
              <a:rPr lang="en-US" sz="3600" dirty="0">
                <a:solidFill>
                  <a:srgbClr val="FFFF00"/>
                </a:solidFill>
                <a:ea typeface="ヒラギノ角ゴ Pro W3"/>
                <a:cs typeface="ヒラギノ角ゴ Pro W3"/>
              </a:rPr>
              <a:t>i</a:t>
            </a:r>
            <a:r>
              <a:rPr lang="en-US" sz="3600" dirty="0" smtClean="0">
                <a:solidFill>
                  <a:srgbClr val="FFFF00"/>
                </a:solidFill>
                <a:ea typeface="ヒラギノ角ゴ Pro W3"/>
                <a:cs typeface="ヒラギノ角ゴ Pro W3"/>
              </a:rPr>
              <a:t>nitiation </a:t>
            </a:r>
            <a:r>
              <a:rPr lang="en-US" sz="3600" dirty="0">
                <a:solidFill>
                  <a:srgbClr val="FFFF00"/>
                </a:solidFill>
                <a:ea typeface="ヒラギノ角ゴ Pro W3"/>
                <a:cs typeface="ヒラギノ角ゴ Pro W3"/>
              </a:rPr>
              <a:t>criteria in </a:t>
            </a:r>
            <a:r>
              <a:rPr lang="en-US" sz="3600" dirty="0" smtClean="0">
                <a:solidFill>
                  <a:srgbClr val="FFFF00"/>
                </a:solidFill>
                <a:ea typeface="ヒラギノ角ゴ Pro W3"/>
                <a:cs typeface="ヒラギノ角ゴ Pro W3"/>
              </a:rPr>
              <a:t>71 countries (missing written policy document)</a:t>
            </a:r>
            <a:endParaRPr lang="en-US" sz="3600" dirty="0">
              <a:solidFill>
                <a:srgbClr val="FFFF00"/>
              </a:solidFill>
              <a:ea typeface="ヒラギノ角ゴ Pro W3"/>
              <a:cs typeface="ヒラギノ角ゴ Pro W3"/>
            </a:endParaRPr>
          </a:p>
        </p:txBody>
      </p:sp>
      <p:graphicFrame>
        <p:nvGraphicFramePr>
          <p:cNvPr id="4" name="Table 3"/>
          <p:cNvGraphicFramePr>
            <a:graphicFrameLocks noGrp="1"/>
          </p:cNvGraphicFramePr>
          <p:nvPr>
            <p:extLst>
              <p:ext uri="{D42A27DB-BD31-4B8C-83A1-F6EECF244321}">
                <p14:modId xmlns:p14="http://schemas.microsoft.com/office/powerpoint/2010/main" val="2608876790"/>
              </p:ext>
            </p:extLst>
          </p:nvPr>
        </p:nvGraphicFramePr>
        <p:xfrm>
          <a:off x="355600" y="1298648"/>
          <a:ext cx="8568267" cy="5379937"/>
        </p:xfrm>
        <a:graphic>
          <a:graphicData uri="http://schemas.openxmlformats.org/drawingml/2006/table">
            <a:tbl>
              <a:tblPr/>
              <a:tblGrid>
                <a:gridCol w="1786133"/>
                <a:gridCol w="1291365"/>
                <a:gridCol w="5490769"/>
              </a:tblGrid>
              <a:tr h="579118">
                <a:tc>
                  <a:txBody>
                    <a:bodyPr/>
                    <a:lstStyle/>
                    <a:p>
                      <a:pPr algn="ctr" fontAlgn="b"/>
                      <a:r>
                        <a:rPr lang="en-US" sz="1800" b="1" i="0" u="none" strike="noStrike" dirty="0" smtClean="0">
                          <a:solidFill>
                            <a:schemeClr val="bg1"/>
                          </a:solidFill>
                          <a:effectLst/>
                          <a:latin typeface="Arial"/>
                          <a:cs typeface="Arial"/>
                        </a:rPr>
                        <a:t>ART initiation criteria</a:t>
                      </a:r>
                      <a:endParaRPr lang="en-US" sz="1800" b="1" i="0" u="none" strike="noStrike" dirty="0">
                        <a:solidFill>
                          <a:schemeClr val="bg1"/>
                        </a:solidFill>
                        <a:effectLst/>
                        <a:latin typeface="Arial"/>
                        <a:cs typeface="Arial"/>
                      </a:endParaRPr>
                    </a:p>
                  </a:txBody>
                  <a:tcPr marL="12700" marR="12700" marT="12698" marB="0" anchor="ctr">
                    <a:lnL w="19050" cap="flat" cmpd="sng" algn="ctr">
                      <a:solidFill>
                        <a:prstClr val="white"/>
                      </a:solidFill>
                      <a:prstDash val="solid"/>
                      <a:round/>
                      <a:headEnd type="none" w="med" len="med"/>
                      <a:tailEnd type="none" w="med" len="med"/>
                    </a:lnL>
                    <a:lnR w="28575" cap="flat" cmpd="sng" algn="ctr">
                      <a:solidFill>
                        <a:srgbClr val="FFFFFF"/>
                      </a:solidFill>
                      <a:prstDash val="solid"/>
                      <a:round/>
                      <a:headEnd type="none" w="med" len="med"/>
                      <a:tailEnd type="none" w="med" len="med"/>
                    </a:lnR>
                    <a:lnT w="19050" cap="flat" cmpd="sng" algn="ctr">
                      <a:solidFill>
                        <a:prstClr val="white"/>
                      </a:solidFill>
                      <a:prstDash val="solid"/>
                      <a:round/>
                      <a:headEnd type="none" w="med" len="med"/>
                      <a:tailEnd type="none" w="med" len="med"/>
                    </a:lnT>
                    <a:lnB w="19050" cap="flat" cmpd="sng" algn="ctr">
                      <a:solidFill>
                        <a:prstClr val="white"/>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US" sz="1800" b="1" i="0" u="none" strike="noStrike" dirty="0" smtClean="0">
                          <a:solidFill>
                            <a:schemeClr val="bg1"/>
                          </a:solidFill>
                          <a:effectLst/>
                          <a:latin typeface="Arial"/>
                          <a:cs typeface="Arial"/>
                        </a:rPr>
                        <a:t>No.</a:t>
                      </a:r>
                      <a:r>
                        <a:rPr lang="en-US" sz="1800" b="1" i="0" u="none" strike="noStrike" baseline="0" dirty="0" smtClean="0">
                          <a:solidFill>
                            <a:schemeClr val="bg1"/>
                          </a:solidFill>
                          <a:effectLst/>
                          <a:latin typeface="Arial"/>
                          <a:cs typeface="Arial"/>
                        </a:rPr>
                        <a:t> of Countries</a:t>
                      </a:r>
                      <a:endParaRPr lang="en-US" sz="1800" b="1" i="0" u="none" strike="noStrike" dirty="0">
                        <a:solidFill>
                          <a:schemeClr val="bg1"/>
                        </a:solidFill>
                        <a:effectLst/>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9050" cap="flat" cmpd="sng" algn="ctr">
                      <a:solidFill>
                        <a:prstClr val="white"/>
                      </a:solidFill>
                      <a:prstDash val="solid"/>
                      <a:round/>
                      <a:headEnd type="none" w="med" len="med"/>
                      <a:tailEnd type="none" w="med" len="med"/>
                    </a:lnT>
                    <a:lnB w="19050" cap="flat" cmpd="sng" algn="ctr">
                      <a:solidFill>
                        <a:prstClr val="white"/>
                      </a:solidFill>
                      <a:prstDash val="solid"/>
                      <a:round/>
                      <a:headEnd type="none" w="med" len="med"/>
                      <a:tailEnd type="none" w="med" len="med"/>
                    </a:lnB>
                    <a:lnTlToBr>
                      <a:noFill/>
                    </a:lnTlToBr>
                    <a:lnBlToTr>
                      <a:noFill/>
                    </a:lnBlToTr>
                    <a:solidFill>
                      <a:schemeClr val="accent2"/>
                    </a:solidFill>
                  </a:tcPr>
                </a:tc>
                <a:tc>
                  <a:txBody>
                    <a:bodyPr/>
                    <a:lstStyle/>
                    <a:p>
                      <a:pPr algn="ctr" fontAlgn="b"/>
                      <a:r>
                        <a:rPr lang="en-US" sz="1800" b="1" i="0" u="none" strike="noStrike" dirty="0" smtClean="0">
                          <a:solidFill>
                            <a:schemeClr val="bg1"/>
                          </a:solidFill>
                          <a:effectLst/>
                          <a:latin typeface="Arial"/>
                          <a:cs typeface="Arial"/>
                        </a:rPr>
                        <a:t>Countries</a:t>
                      </a:r>
                      <a:endParaRPr lang="en-US" sz="1800" b="1" i="0" u="none" strike="noStrike" dirty="0">
                        <a:solidFill>
                          <a:schemeClr val="bg1"/>
                        </a:solidFill>
                        <a:effectLst/>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19050" cap="flat" cmpd="sng" algn="ctr">
                      <a:solidFill>
                        <a:prstClr val="white"/>
                      </a:solidFill>
                      <a:prstDash val="solid"/>
                      <a:round/>
                      <a:headEnd type="none" w="med" len="med"/>
                      <a:tailEnd type="none" w="med" len="med"/>
                    </a:lnR>
                    <a:lnT w="19050" cap="flat" cmpd="sng" algn="ctr">
                      <a:solidFill>
                        <a:prstClr val="white"/>
                      </a:solidFill>
                      <a:prstDash val="solid"/>
                      <a:round/>
                      <a:headEnd type="none" w="med" len="med"/>
                      <a:tailEnd type="none" w="med" len="med"/>
                    </a:lnT>
                    <a:lnB w="19050" cap="flat" cmpd="sng" algn="ctr">
                      <a:solidFill>
                        <a:prstClr val="white"/>
                      </a:solidFill>
                      <a:prstDash val="solid"/>
                      <a:round/>
                      <a:headEnd type="none" w="med" len="med"/>
                      <a:tailEnd type="none" w="med" len="med"/>
                    </a:lnB>
                    <a:lnTlToBr>
                      <a:noFill/>
                    </a:lnTlToBr>
                    <a:lnBlToTr>
                      <a:noFill/>
                    </a:lnBlToTr>
                    <a:solidFill>
                      <a:schemeClr val="accent2"/>
                    </a:solidFill>
                  </a:tcPr>
                </a:tc>
              </a:tr>
              <a:tr h="43434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smtClean="0">
                          <a:solidFill>
                            <a:schemeClr val="bg1"/>
                          </a:solidFill>
                          <a:latin typeface="Arial"/>
                          <a:cs typeface="Arial"/>
                        </a:rPr>
                        <a:t>Irrespective of CD4 count</a:t>
                      </a:r>
                    </a:p>
                  </a:txBody>
                  <a:tcPr marL="12700" marR="12700" marT="12698" marB="0" anchor="ctr">
                    <a:lnL w="19050" cap="flat" cmpd="sng" algn="ctr">
                      <a:solidFill>
                        <a:prstClr val="white"/>
                      </a:solidFill>
                      <a:prstDash val="solid"/>
                      <a:round/>
                      <a:headEnd type="none" w="med" len="med"/>
                      <a:tailEnd type="none" w="med" len="med"/>
                    </a:lnL>
                    <a:lnR w="6350" cap="flat" cmpd="sng" algn="ctr">
                      <a:solidFill>
                        <a:prstClr val="white"/>
                      </a:solidFill>
                      <a:prstDash val="solid"/>
                      <a:round/>
                      <a:headEnd type="none" w="med" len="med"/>
                      <a:tailEnd type="none" w="med" len="med"/>
                    </a:lnR>
                    <a:lnT w="19050" cap="flat" cmpd="sng" algn="ctr">
                      <a:solidFill>
                        <a:prstClr val="white"/>
                      </a:solidFill>
                      <a:prstDash val="solid"/>
                      <a:round/>
                      <a:headEnd type="none" w="med" len="med"/>
                      <a:tailEnd type="none" w="med" len="med"/>
                    </a:lnT>
                    <a:lnB w="635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chemeClr val="bg1"/>
                          </a:solidFill>
                          <a:effectLst/>
                          <a:latin typeface="Arial" charset="0"/>
                          <a:ea typeface="ＭＳ Ｐゴシック" charset="0"/>
                          <a:cs typeface="Arial" charset="0"/>
                        </a:rPr>
                        <a:t>25</a:t>
                      </a:r>
                      <a:endParaRPr kumimoji="0" lang="en-US" sz="1800" b="1" i="0" u="none" strike="noStrike" cap="none" normalizeH="0" baseline="0" dirty="0">
                        <a:ln>
                          <a:noFill/>
                        </a:ln>
                        <a:solidFill>
                          <a:schemeClr val="bg1"/>
                        </a:solidFill>
                        <a:effectLst/>
                        <a:latin typeface="Arial" charset="0"/>
                        <a:ea typeface="ＭＳ Ｐゴシック" charset="0"/>
                        <a:cs typeface="Arial" charset="0"/>
                      </a:endParaRPr>
                    </a:p>
                  </a:txBody>
                  <a:tcPr marL="12700" marR="12700" marT="12701" marB="0" anchor="ctr" horzOverflow="overflow">
                    <a:lnL w="6350" cap="flat" cmpd="sng" algn="ctr">
                      <a:solidFill>
                        <a:prstClr val="white"/>
                      </a:solidFill>
                      <a:prstDash val="solid"/>
                      <a:round/>
                      <a:headEnd type="none" w="med" len="med"/>
                      <a:tailEnd type="none" w="med" len="med"/>
                    </a:lnL>
                    <a:lnR w="6350" cap="flat" cmpd="sng" algn="ctr">
                      <a:solidFill>
                        <a:prstClr val="white"/>
                      </a:solidFill>
                      <a:prstDash val="solid"/>
                      <a:round/>
                      <a:headEnd type="none" w="med" len="med"/>
                      <a:tailEnd type="none" w="med" len="med"/>
                    </a:lnR>
                    <a:lnT w="19050" cap="flat" cmpd="sng" algn="ctr">
                      <a:solidFill>
                        <a:prstClr val="white"/>
                      </a:solidFill>
                      <a:prstDash val="solid"/>
                      <a:round/>
                      <a:headEnd type="none" w="med" len="med"/>
                      <a:tailEnd type="none" w="med" len="med"/>
                    </a:lnT>
                    <a:lnB w="635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l" defTabSz="6858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bg1"/>
                          </a:solidFill>
                          <a:effectLst/>
                          <a:latin typeface="Arial" charset="0"/>
                          <a:ea typeface="ＭＳ Ｐゴシック" charset="0"/>
                          <a:cs typeface="Arial" charset="0"/>
                        </a:rPr>
                        <a:t>Bahamas, Barbados, Cameroon, Cyprus, Czech Republic, Democratic Republic of Congo, Estonia, Ethiopia, Fiji, Finland, Greece, Hungary, Iceland, Ireland, Malta, Mongolia, Myanmar, Nigeria, Panama, Serbia, Slovakia, Slovenia, Solomon Islands, Timor-Leste, Vanuatu</a:t>
                      </a:r>
                      <a:endParaRPr kumimoji="0" lang="en-US" sz="1600" b="0" i="0" u="none" strike="noStrike" cap="none" normalizeH="0" baseline="0" dirty="0">
                        <a:ln>
                          <a:noFill/>
                        </a:ln>
                        <a:solidFill>
                          <a:schemeClr val="bg1"/>
                        </a:solidFill>
                        <a:effectLst/>
                        <a:latin typeface="Arial" charset="0"/>
                        <a:ea typeface="ＭＳ Ｐゴシック" charset="0"/>
                        <a:cs typeface="Arial" charset="0"/>
                      </a:endParaRPr>
                    </a:p>
                  </a:txBody>
                  <a:tcPr marL="12700" marR="12700" marT="12701" marB="0" anchor="ctr" horzOverflow="overflow">
                    <a:lnL w="6350" cap="flat" cmpd="sng" algn="ctr">
                      <a:solidFill>
                        <a:prstClr val="white"/>
                      </a:solidFill>
                      <a:prstDash val="solid"/>
                      <a:round/>
                      <a:headEnd type="none" w="med" len="med"/>
                      <a:tailEnd type="none" w="med" len="med"/>
                    </a:lnL>
                    <a:lnR w="19050" cap="flat" cmpd="sng" algn="ctr">
                      <a:solidFill>
                        <a:prstClr val="white"/>
                      </a:solidFill>
                      <a:prstDash val="solid"/>
                      <a:round/>
                      <a:headEnd type="none" w="med" len="med"/>
                      <a:tailEnd type="none" w="med" len="med"/>
                    </a:lnR>
                    <a:lnT w="19050" cap="flat" cmpd="sng" algn="ctr">
                      <a:solidFill>
                        <a:prstClr val="white"/>
                      </a:solidFill>
                      <a:prstDash val="solid"/>
                      <a:round/>
                      <a:headEnd type="none" w="med" len="med"/>
                      <a:tailEnd type="none" w="med" len="med"/>
                    </a:lnT>
                    <a:lnB w="6350" cap="flat" cmpd="sng" algn="ctr">
                      <a:solidFill>
                        <a:prstClr val="white"/>
                      </a:solidFill>
                      <a:prstDash val="solid"/>
                      <a:round/>
                      <a:headEnd type="none" w="med" len="med"/>
                      <a:tailEnd type="none" w="med" len="med"/>
                    </a:lnB>
                    <a:lnTlToBr>
                      <a:noFill/>
                    </a:lnTlToBr>
                    <a:lnBlToTr>
                      <a:noFill/>
                    </a:lnBlToTr>
                    <a:noFill/>
                  </a:tcPr>
                </a:tc>
              </a:tr>
              <a:tr h="43434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smtClean="0">
                          <a:solidFill>
                            <a:srgbClr val="FFFF00"/>
                          </a:solidFill>
                          <a:latin typeface="Arial"/>
                          <a:cs typeface="Arial"/>
                        </a:rPr>
                        <a:t>&gt;500</a:t>
                      </a:r>
                    </a:p>
                  </a:txBody>
                  <a:tcPr marL="12700" marR="12700" marT="12698" marB="0" anchor="ctr">
                    <a:lnL w="19050" cap="flat" cmpd="sng" algn="ctr">
                      <a:solidFill>
                        <a:prstClr val="white"/>
                      </a:solidFill>
                      <a:prstDash val="solid"/>
                      <a:round/>
                      <a:headEnd type="none" w="med" len="med"/>
                      <a:tailEnd type="none" w="med" len="med"/>
                    </a:lnL>
                    <a:lnR w="6350" cap="flat" cmpd="sng" algn="ctr">
                      <a:solidFill>
                        <a:prstClr val="white"/>
                      </a:solidFill>
                      <a:prstDash val="solid"/>
                      <a:round/>
                      <a:headEnd type="none" w="med" len="med"/>
                      <a:tailEnd type="none" w="med" len="med"/>
                    </a:lnR>
                    <a:lnT w="6350" cap="flat" cmpd="sng" algn="ctr">
                      <a:solidFill>
                        <a:prstClr val="white"/>
                      </a:solidFill>
                      <a:prstDash val="solid"/>
                      <a:round/>
                      <a:headEnd type="none" w="med" len="med"/>
                      <a:tailEnd type="none" w="med" len="med"/>
                    </a:lnT>
                    <a:lnB w="635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00"/>
                          </a:solidFill>
                          <a:effectLst/>
                          <a:latin typeface="Arial" charset="0"/>
                          <a:ea typeface="ＭＳ Ｐゴシック" charset="0"/>
                          <a:cs typeface="Arial" charset="0"/>
                        </a:rPr>
                        <a:t>1</a:t>
                      </a:r>
                      <a:endParaRPr kumimoji="0" lang="en-US" sz="1800" b="1" i="0" u="none" strike="noStrike" cap="none" normalizeH="0" baseline="0" dirty="0">
                        <a:ln>
                          <a:noFill/>
                        </a:ln>
                        <a:solidFill>
                          <a:srgbClr val="FFFF00"/>
                        </a:solidFill>
                        <a:effectLst/>
                        <a:latin typeface="Arial" charset="0"/>
                        <a:ea typeface="ＭＳ Ｐゴシック" charset="0"/>
                        <a:cs typeface="Arial" charset="0"/>
                      </a:endParaRPr>
                    </a:p>
                  </a:txBody>
                  <a:tcPr marL="12700" marR="12700" marT="12701" marB="0" anchor="ctr" horzOverflow="overflow">
                    <a:lnL w="6350" cap="flat" cmpd="sng" algn="ctr">
                      <a:solidFill>
                        <a:prstClr val="white"/>
                      </a:solidFill>
                      <a:prstDash val="solid"/>
                      <a:round/>
                      <a:headEnd type="none" w="med" len="med"/>
                      <a:tailEnd type="none" w="med" len="med"/>
                    </a:lnL>
                    <a:lnR w="6350" cap="flat" cmpd="sng" algn="ctr">
                      <a:solidFill>
                        <a:prstClr val="white"/>
                      </a:solidFill>
                      <a:prstDash val="solid"/>
                      <a:round/>
                      <a:headEnd type="none" w="med" len="med"/>
                      <a:tailEnd type="none" w="med" len="med"/>
                    </a:lnR>
                    <a:lnT w="6350" cap="flat" cmpd="sng" algn="ctr">
                      <a:solidFill>
                        <a:prstClr val="white"/>
                      </a:solidFill>
                      <a:prstDash val="solid"/>
                      <a:round/>
                      <a:headEnd type="none" w="med" len="med"/>
                      <a:tailEnd type="none" w="med" len="med"/>
                    </a:lnT>
                    <a:lnB w="635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l" defTabSz="6858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FFFF00"/>
                          </a:solidFill>
                          <a:effectLst/>
                          <a:latin typeface="Arial" charset="0"/>
                          <a:ea typeface="ＭＳ Ｐゴシック" charset="0"/>
                          <a:cs typeface="Arial" charset="0"/>
                        </a:rPr>
                        <a:t> New Zealand</a:t>
                      </a:r>
                      <a:endParaRPr kumimoji="0" lang="en-US" sz="1600" b="0" i="0" u="none" strike="noStrike" cap="none" normalizeH="0" baseline="0" dirty="0">
                        <a:ln>
                          <a:noFill/>
                        </a:ln>
                        <a:solidFill>
                          <a:srgbClr val="FFFF00"/>
                        </a:solidFill>
                        <a:effectLst/>
                        <a:latin typeface="Arial" charset="0"/>
                        <a:ea typeface="ＭＳ Ｐゴシック" charset="0"/>
                        <a:cs typeface="Arial" charset="0"/>
                      </a:endParaRPr>
                    </a:p>
                  </a:txBody>
                  <a:tcPr marL="12700" marR="12700" marT="12701" marB="0" anchor="ctr" horzOverflow="overflow">
                    <a:lnL w="6350" cap="flat" cmpd="sng" algn="ctr">
                      <a:solidFill>
                        <a:prstClr val="white"/>
                      </a:solidFill>
                      <a:prstDash val="solid"/>
                      <a:round/>
                      <a:headEnd type="none" w="med" len="med"/>
                      <a:tailEnd type="none" w="med" len="med"/>
                    </a:lnL>
                    <a:lnR w="19050" cap="flat" cmpd="sng" algn="ctr">
                      <a:solidFill>
                        <a:prstClr val="white"/>
                      </a:solidFill>
                      <a:prstDash val="solid"/>
                      <a:round/>
                      <a:headEnd type="none" w="med" len="med"/>
                      <a:tailEnd type="none" w="med" len="med"/>
                    </a:lnR>
                    <a:lnT w="6350" cap="flat" cmpd="sng" algn="ctr">
                      <a:solidFill>
                        <a:prstClr val="white"/>
                      </a:solidFill>
                      <a:prstDash val="solid"/>
                      <a:round/>
                      <a:headEnd type="none" w="med" len="med"/>
                      <a:tailEnd type="none" w="med" len="med"/>
                    </a:lnT>
                    <a:lnB w="6350" cap="flat" cmpd="sng" algn="ctr">
                      <a:solidFill>
                        <a:prstClr val="white"/>
                      </a:solidFill>
                      <a:prstDash val="solid"/>
                      <a:round/>
                      <a:headEnd type="none" w="med" len="med"/>
                      <a:tailEnd type="none" w="med" len="med"/>
                    </a:lnB>
                    <a:lnTlToBr>
                      <a:noFill/>
                    </a:lnTlToBr>
                    <a:lnBlToTr>
                      <a:noFill/>
                    </a:lnBlToTr>
                    <a:noFill/>
                  </a:tcPr>
                </a:tc>
              </a:tr>
              <a:tr h="982379">
                <a:tc>
                  <a:txBody>
                    <a:bodyPr/>
                    <a:lstStyle/>
                    <a:p>
                      <a:pPr algn="ctr"/>
                      <a:r>
                        <a:rPr lang="en-US" sz="1800" dirty="0" smtClean="0">
                          <a:solidFill>
                            <a:srgbClr val="FFFF00"/>
                          </a:solidFill>
                          <a:latin typeface="Arial"/>
                          <a:cs typeface="Arial"/>
                        </a:rPr>
                        <a:t>≤500</a:t>
                      </a:r>
                      <a:endParaRPr lang="en-US" sz="1800" dirty="0">
                        <a:solidFill>
                          <a:srgbClr val="FFFF00"/>
                        </a:solidFill>
                        <a:latin typeface="Arial"/>
                        <a:cs typeface="Arial"/>
                      </a:endParaRPr>
                    </a:p>
                  </a:txBody>
                  <a:tcPr marL="12700" marR="12700" marT="12698" marB="0" anchor="ctr">
                    <a:lnL w="19050" cap="flat" cmpd="sng" algn="ctr">
                      <a:solidFill>
                        <a:prstClr val="white"/>
                      </a:solidFill>
                      <a:prstDash val="solid"/>
                      <a:round/>
                      <a:headEnd type="none" w="med" len="med"/>
                      <a:tailEnd type="none" w="med" len="med"/>
                    </a:lnL>
                    <a:lnR w="6350" cap="flat" cmpd="sng" algn="ctr">
                      <a:solidFill>
                        <a:prstClr val="white"/>
                      </a:solidFill>
                      <a:prstDash val="solid"/>
                      <a:round/>
                      <a:headEnd type="none" w="med" len="med"/>
                      <a:tailEnd type="none" w="med" len="med"/>
                    </a:lnR>
                    <a:lnT w="6350" cap="flat" cmpd="sng" algn="ctr">
                      <a:solidFill>
                        <a:prstClr val="white"/>
                      </a:solidFill>
                      <a:prstDash val="solid"/>
                      <a:round/>
                      <a:headEnd type="none" w="med" len="med"/>
                      <a:tailEnd type="none" w="med" len="med"/>
                    </a:lnT>
                    <a:lnB w="635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00"/>
                          </a:solidFill>
                          <a:effectLst/>
                          <a:latin typeface="Arial" charset="0"/>
                          <a:ea typeface="ＭＳ Ｐゴシック" charset="0"/>
                          <a:cs typeface="Arial" charset="0"/>
                        </a:rPr>
                        <a:t>24</a:t>
                      </a:r>
                      <a:endParaRPr kumimoji="0" lang="en-US" sz="1800" b="1" i="0" u="none" strike="noStrike" cap="none" normalizeH="0" baseline="0" dirty="0">
                        <a:ln>
                          <a:noFill/>
                        </a:ln>
                        <a:solidFill>
                          <a:srgbClr val="FFFF00"/>
                        </a:solidFill>
                        <a:effectLst/>
                        <a:latin typeface="Arial" charset="0"/>
                        <a:ea typeface="ＭＳ Ｐゴシック" charset="0"/>
                        <a:cs typeface="Arial" charset="0"/>
                      </a:endParaRPr>
                    </a:p>
                  </a:txBody>
                  <a:tcPr marL="12700" marR="12700" marT="12701" marB="0" anchor="ctr" horzOverflow="overflow">
                    <a:lnL w="6350" cap="flat" cmpd="sng" algn="ctr">
                      <a:solidFill>
                        <a:prstClr val="white"/>
                      </a:solidFill>
                      <a:prstDash val="solid"/>
                      <a:round/>
                      <a:headEnd type="none" w="med" len="med"/>
                      <a:tailEnd type="none" w="med" len="med"/>
                    </a:lnL>
                    <a:lnR w="6350" cap="flat" cmpd="sng" algn="ctr">
                      <a:solidFill>
                        <a:prstClr val="white"/>
                      </a:solidFill>
                      <a:prstDash val="solid"/>
                      <a:round/>
                      <a:headEnd type="none" w="med" len="med"/>
                      <a:tailEnd type="none" w="med" len="med"/>
                    </a:lnR>
                    <a:lnT w="6350" cap="flat" cmpd="sng" algn="ctr">
                      <a:solidFill>
                        <a:prstClr val="white"/>
                      </a:solidFill>
                      <a:prstDash val="solid"/>
                      <a:round/>
                      <a:headEnd type="none" w="med" len="med"/>
                      <a:tailEnd type="none" w="med" len="med"/>
                    </a:lnT>
                    <a:lnB w="635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1600" b="0" i="0" u="none" strike="noStrike" cap="none" normalizeH="0" baseline="0" dirty="0" smtClean="0">
                          <a:ln>
                            <a:noFill/>
                          </a:ln>
                          <a:solidFill>
                            <a:srgbClr val="FFFF00"/>
                          </a:solidFill>
                          <a:effectLst/>
                          <a:latin typeface="Arial" charset="0"/>
                          <a:ea typeface="ＭＳ Ｐゴシック" charset="0"/>
                          <a:cs typeface="Arial" charset="0"/>
                        </a:rPr>
                        <a:t>Antigua </a:t>
                      </a:r>
                      <a:r>
                        <a:rPr kumimoji="0" lang="en-US" sz="1600" b="0" i="0" u="none" strike="noStrike" cap="none" normalizeH="0" baseline="0" dirty="0">
                          <a:ln>
                            <a:noFill/>
                          </a:ln>
                          <a:solidFill>
                            <a:srgbClr val="FFFF00"/>
                          </a:solidFill>
                          <a:effectLst/>
                          <a:latin typeface="Arial" charset="0"/>
                          <a:ea typeface="ＭＳ Ｐゴシック" charset="0"/>
                          <a:cs typeface="Arial" charset="0"/>
                        </a:rPr>
                        <a:t>and Barbuda, </a:t>
                      </a:r>
                      <a:r>
                        <a:rPr kumimoji="0" lang="en-US" sz="1600" b="0" i="0" u="none" strike="noStrike" cap="none" normalizeH="0" baseline="0" dirty="0" smtClean="0">
                          <a:ln>
                            <a:noFill/>
                          </a:ln>
                          <a:solidFill>
                            <a:srgbClr val="FFFF00"/>
                          </a:solidFill>
                          <a:effectLst/>
                          <a:latin typeface="Arial" charset="0"/>
                          <a:ea typeface="ＭＳ Ｐゴシック" charset="0"/>
                          <a:cs typeface="Arial" charset="0"/>
                        </a:rPr>
                        <a:t>Armenia, Belgium, Belize</a:t>
                      </a:r>
                      <a:r>
                        <a:rPr kumimoji="0" lang="en-US" sz="1600" b="0" i="0" u="none" strike="noStrike" cap="none" normalizeH="0" baseline="0" dirty="0">
                          <a:ln>
                            <a:noFill/>
                          </a:ln>
                          <a:solidFill>
                            <a:srgbClr val="FFFF00"/>
                          </a:solidFill>
                          <a:effectLst/>
                          <a:latin typeface="Arial" charset="0"/>
                          <a:ea typeface="ＭＳ Ｐゴシック" charset="0"/>
                          <a:cs typeface="Arial" charset="0"/>
                        </a:rPr>
                        <a:t>, </a:t>
                      </a:r>
                      <a:r>
                        <a:rPr kumimoji="0" lang="en-US" sz="1600" b="0" i="0" u="none" strike="noStrike" cap="none" normalizeH="0" baseline="0" dirty="0" smtClean="0">
                          <a:ln>
                            <a:noFill/>
                          </a:ln>
                          <a:solidFill>
                            <a:srgbClr val="FFFF00"/>
                          </a:solidFill>
                          <a:effectLst/>
                          <a:latin typeface="Arial" charset="0"/>
                          <a:ea typeface="ＭＳ Ｐゴシック" charset="0"/>
                          <a:cs typeface="Arial" charset="0"/>
                        </a:rPr>
                        <a:t>Bulgaria, Central </a:t>
                      </a:r>
                      <a:r>
                        <a:rPr kumimoji="0" lang="en-US" sz="1600" b="0" i="0" u="none" strike="noStrike" cap="none" normalizeH="0" baseline="0" dirty="0">
                          <a:ln>
                            <a:noFill/>
                          </a:ln>
                          <a:solidFill>
                            <a:srgbClr val="FFFF00"/>
                          </a:solidFill>
                          <a:effectLst/>
                          <a:latin typeface="Arial" charset="0"/>
                          <a:ea typeface="ＭＳ Ｐゴシック" charset="0"/>
                          <a:cs typeface="Arial" charset="0"/>
                        </a:rPr>
                        <a:t>African Republic, Chad, </a:t>
                      </a:r>
                      <a:r>
                        <a:rPr kumimoji="0" lang="en-US" sz="1600" b="0" i="0" u="none" strike="noStrike" cap="none" normalizeH="0" baseline="0" dirty="0" smtClean="0">
                          <a:ln>
                            <a:noFill/>
                          </a:ln>
                          <a:solidFill>
                            <a:srgbClr val="FFFF00"/>
                          </a:solidFill>
                          <a:effectLst/>
                          <a:latin typeface="Arial" charset="0"/>
                          <a:ea typeface="ＭＳ Ｐゴシック" charset="0"/>
                          <a:cs typeface="Arial" charset="0"/>
                        </a:rPr>
                        <a:t>Costa </a:t>
                      </a:r>
                      <a:r>
                        <a:rPr kumimoji="0" lang="en-US" sz="1600" b="0" i="0" u="none" strike="noStrike" cap="none" normalizeH="0" baseline="0" dirty="0">
                          <a:ln>
                            <a:noFill/>
                          </a:ln>
                          <a:solidFill>
                            <a:srgbClr val="FFFF00"/>
                          </a:solidFill>
                          <a:effectLst/>
                          <a:latin typeface="Arial" charset="0"/>
                          <a:ea typeface="ＭＳ Ｐゴシック" charset="0"/>
                          <a:cs typeface="Arial" charset="0"/>
                        </a:rPr>
                        <a:t>Rica, Cuba, Dominica</a:t>
                      </a:r>
                      <a:r>
                        <a:rPr kumimoji="0" lang="en-US" sz="1600" b="0" i="0" u="none" strike="noStrike" cap="none" normalizeH="0" baseline="0" dirty="0" smtClean="0">
                          <a:ln>
                            <a:noFill/>
                          </a:ln>
                          <a:solidFill>
                            <a:srgbClr val="FFFF00"/>
                          </a:solidFill>
                          <a:effectLst/>
                          <a:latin typeface="Arial" charset="0"/>
                          <a:ea typeface="ＭＳ Ｐゴシック" charset="0"/>
                          <a:cs typeface="Arial" charset="0"/>
                        </a:rPr>
                        <a:t>, Dominican Republic, Grenada</a:t>
                      </a:r>
                      <a:r>
                        <a:rPr kumimoji="0" lang="en-US" sz="1600" b="0" i="0" u="none" strike="noStrike" cap="none" normalizeH="0" baseline="0" dirty="0">
                          <a:ln>
                            <a:noFill/>
                          </a:ln>
                          <a:solidFill>
                            <a:srgbClr val="FFFF00"/>
                          </a:solidFill>
                          <a:effectLst/>
                          <a:latin typeface="Arial" charset="0"/>
                          <a:ea typeface="ＭＳ Ｐゴシック" charset="0"/>
                          <a:cs typeface="Arial" charset="0"/>
                        </a:rPr>
                        <a:t>, Guatemala</a:t>
                      </a:r>
                      <a:r>
                        <a:rPr kumimoji="0" lang="en-US" sz="1600" b="0" i="0" u="none" strike="noStrike" cap="none" normalizeH="0" baseline="0" dirty="0" smtClean="0">
                          <a:ln>
                            <a:noFill/>
                          </a:ln>
                          <a:solidFill>
                            <a:srgbClr val="FFFF00"/>
                          </a:solidFill>
                          <a:effectLst/>
                          <a:latin typeface="Arial" charset="0"/>
                          <a:ea typeface="ＭＳ Ｐゴシック" charset="0"/>
                          <a:cs typeface="Arial" charset="0"/>
                        </a:rPr>
                        <a:t>, Luxemburg, Mauritius, Morocco</a:t>
                      </a:r>
                      <a:r>
                        <a:rPr kumimoji="0" lang="en-US" sz="1600" b="0" i="0" u="none" strike="noStrike" cap="none" normalizeH="0" baseline="0" dirty="0">
                          <a:ln>
                            <a:noFill/>
                          </a:ln>
                          <a:solidFill>
                            <a:srgbClr val="FFFF00"/>
                          </a:solidFill>
                          <a:effectLst/>
                          <a:latin typeface="Arial" charset="0"/>
                          <a:ea typeface="ＭＳ Ｐゴシック" charset="0"/>
                          <a:cs typeface="Arial" charset="0"/>
                        </a:rPr>
                        <a:t>, </a:t>
                      </a:r>
                      <a:r>
                        <a:rPr kumimoji="0" lang="en-US" sz="1600" b="0" i="0" u="none" strike="noStrike" cap="none" normalizeH="0" baseline="0" dirty="0" smtClean="0">
                          <a:ln>
                            <a:noFill/>
                          </a:ln>
                          <a:solidFill>
                            <a:srgbClr val="FFFF00"/>
                          </a:solidFill>
                          <a:effectLst/>
                          <a:latin typeface="Arial" charset="0"/>
                          <a:ea typeface="ＭＳ Ｐゴシック" charset="0"/>
                          <a:cs typeface="Arial" charset="0"/>
                        </a:rPr>
                        <a:t>Palau, Saint </a:t>
                      </a:r>
                      <a:r>
                        <a:rPr kumimoji="0" lang="en-US" sz="1600" b="0" i="0" u="none" strike="noStrike" cap="none" normalizeH="0" baseline="0" dirty="0">
                          <a:ln>
                            <a:noFill/>
                          </a:ln>
                          <a:solidFill>
                            <a:srgbClr val="FFFF00"/>
                          </a:solidFill>
                          <a:effectLst/>
                          <a:latin typeface="Arial" charset="0"/>
                          <a:ea typeface="ＭＳ Ｐゴシック" charset="0"/>
                          <a:cs typeface="Arial" charset="0"/>
                        </a:rPr>
                        <a:t>Kitts and Nevis, Saint Lucia, Saint Vincent and the Grenadines, </a:t>
                      </a:r>
                      <a:r>
                        <a:rPr kumimoji="0" lang="en-US" sz="1600" b="0" i="0" u="none" strike="noStrike" cap="none" normalizeH="0" baseline="0" dirty="0" smtClean="0">
                          <a:ln>
                            <a:noFill/>
                          </a:ln>
                          <a:solidFill>
                            <a:srgbClr val="FFFF00"/>
                          </a:solidFill>
                          <a:effectLst/>
                          <a:latin typeface="Arial" charset="0"/>
                          <a:ea typeface="ＭＳ Ｐゴシック" charset="0"/>
                          <a:cs typeface="Arial" charset="0"/>
                        </a:rPr>
                        <a:t>Saudi Arabia, </a:t>
                      </a:r>
                      <a:r>
                        <a:rPr kumimoji="0" lang="en-US" sz="1600" b="0" i="0" u="none" strike="noStrike" cap="none" normalizeH="0" baseline="0" dirty="0">
                          <a:ln>
                            <a:noFill/>
                          </a:ln>
                          <a:solidFill>
                            <a:srgbClr val="FFFF00"/>
                          </a:solidFill>
                          <a:effectLst/>
                          <a:latin typeface="Arial" charset="0"/>
                          <a:ea typeface="ＭＳ Ｐゴシック" charset="0"/>
                          <a:cs typeface="Arial" charset="0"/>
                        </a:rPr>
                        <a:t>Trinidad and Tobago</a:t>
                      </a:r>
                      <a:r>
                        <a:rPr kumimoji="0" lang="en-US" sz="1600" b="0" i="0" u="none" strike="noStrike" cap="none" normalizeH="0" baseline="0" dirty="0" smtClean="0">
                          <a:ln>
                            <a:noFill/>
                          </a:ln>
                          <a:solidFill>
                            <a:srgbClr val="FFFF00"/>
                          </a:solidFill>
                          <a:effectLst/>
                          <a:latin typeface="Arial" charset="0"/>
                          <a:ea typeface="ＭＳ Ｐゴシック" charset="0"/>
                          <a:cs typeface="Arial" charset="0"/>
                        </a:rPr>
                        <a:t>, Uzbekistan, Yemen</a:t>
                      </a:r>
                      <a:endParaRPr kumimoji="0" lang="en-US" sz="1600" b="1" i="0" u="none" strike="noStrike" cap="none" normalizeH="0" baseline="0" dirty="0">
                        <a:ln>
                          <a:noFill/>
                        </a:ln>
                        <a:solidFill>
                          <a:srgbClr val="FFFF00"/>
                        </a:solidFill>
                        <a:effectLst/>
                        <a:latin typeface="Arial" charset="0"/>
                        <a:ea typeface="ＭＳ Ｐゴシック" charset="0"/>
                        <a:cs typeface="Arial" charset="0"/>
                      </a:endParaRPr>
                    </a:p>
                  </a:txBody>
                  <a:tcPr marL="12700" marR="12700" marT="12701" marB="0" anchor="ctr" horzOverflow="overflow">
                    <a:lnL w="6350" cap="flat" cmpd="sng" algn="ctr">
                      <a:solidFill>
                        <a:prstClr val="white"/>
                      </a:solidFill>
                      <a:prstDash val="solid"/>
                      <a:round/>
                      <a:headEnd type="none" w="med" len="med"/>
                      <a:tailEnd type="none" w="med" len="med"/>
                    </a:lnL>
                    <a:lnR w="19050" cap="flat" cmpd="sng" algn="ctr">
                      <a:solidFill>
                        <a:prstClr val="white"/>
                      </a:solidFill>
                      <a:prstDash val="solid"/>
                      <a:round/>
                      <a:headEnd type="none" w="med" len="med"/>
                      <a:tailEnd type="none" w="med" len="med"/>
                    </a:lnR>
                    <a:lnT w="6350" cap="flat" cmpd="sng" algn="ctr">
                      <a:solidFill>
                        <a:prstClr val="white"/>
                      </a:solidFill>
                      <a:prstDash val="solid"/>
                      <a:round/>
                      <a:headEnd type="none" w="med" len="med"/>
                      <a:tailEnd type="none" w="med" len="med"/>
                    </a:lnT>
                    <a:lnB w="6350" cap="flat" cmpd="sng" algn="ctr">
                      <a:solidFill>
                        <a:prstClr val="white"/>
                      </a:solidFill>
                      <a:prstDash val="solid"/>
                      <a:round/>
                      <a:headEnd type="none" w="med" len="med"/>
                      <a:tailEnd type="none" w="med" len="med"/>
                    </a:lnB>
                    <a:lnTlToBr>
                      <a:noFill/>
                    </a:lnTlToBr>
                    <a:lnBlToTr>
                      <a:noFill/>
                    </a:lnBlToTr>
                    <a:noFill/>
                  </a:tcPr>
                </a:tc>
              </a:tr>
              <a:tr h="1245580">
                <a:tc>
                  <a:txBody>
                    <a:bodyPr/>
                    <a:lstStyle/>
                    <a:p>
                      <a:pPr algn="ctr"/>
                      <a:r>
                        <a:rPr lang="en-US" sz="1800" dirty="0" smtClean="0">
                          <a:solidFill>
                            <a:srgbClr val="FFFF00"/>
                          </a:solidFill>
                          <a:latin typeface="Arial"/>
                          <a:cs typeface="Arial"/>
                        </a:rPr>
                        <a:t>≤350</a:t>
                      </a:r>
                      <a:endParaRPr lang="en-US" sz="1800" dirty="0">
                        <a:solidFill>
                          <a:srgbClr val="FFFF00"/>
                        </a:solidFill>
                        <a:latin typeface="Arial"/>
                        <a:cs typeface="Arial"/>
                      </a:endParaRPr>
                    </a:p>
                  </a:txBody>
                  <a:tcPr marL="12700" marR="12700" marT="12698" marB="0" anchor="ctr">
                    <a:lnL w="19050" cap="flat" cmpd="sng" algn="ctr">
                      <a:solidFill>
                        <a:prstClr val="white"/>
                      </a:solidFill>
                      <a:prstDash val="solid"/>
                      <a:round/>
                      <a:headEnd type="none" w="med" len="med"/>
                      <a:tailEnd type="none" w="med" len="med"/>
                    </a:lnL>
                    <a:lnR w="6350" cap="flat" cmpd="sng" algn="ctr">
                      <a:solidFill>
                        <a:prstClr val="white"/>
                      </a:solidFill>
                      <a:prstDash val="solid"/>
                      <a:round/>
                      <a:headEnd type="none" w="med" len="med"/>
                      <a:tailEnd type="none" w="med" len="med"/>
                    </a:lnR>
                    <a:lnT w="6350" cap="flat" cmpd="sng" algn="ctr">
                      <a:solidFill>
                        <a:prstClr val="white"/>
                      </a:solidFill>
                      <a:prstDash val="solid"/>
                      <a:round/>
                      <a:headEnd type="none" w="med" len="med"/>
                      <a:tailEnd type="none" w="med" len="med"/>
                    </a:lnT>
                    <a:lnB w="635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00"/>
                          </a:solidFill>
                          <a:effectLst/>
                          <a:latin typeface="Arial" charset="0"/>
                          <a:ea typeface="ＭＳ Ｐゴシック" charset="0"/>
                          <a:cs typeface="Arial" charset="0"/>
                        </a:rPr>
                        <a:t>20</a:t>
                      </a:r>
                      <a:endParaRPr kumimoji="0" lang="en-US" sz="1800" b="1" i="0" u="none" strike="noStrike" cap="none" normalizeH="0" baseline="0" dirty="0">
                        <a:ln>
                          <a:noFill/>
                        </a:ln>
                        <a:solidFill>
                          <a:srgbClr val="FFFF00"/>
                        </a:solidFill>
                        <a:effectLst/>
                        <a:latin typeface="Arial" charset="0"/>
                        <a:ea typeface="ＭＳ Ｐゴシック" charset="0"/>
                        <a:cs typeface="Arial" charset="0"/>
                      </a:endParaRPr>
                    </a:p>
                  </a:txBody>
                  <a:tcPr marL="12700" marR="12700" marT="12701" marB="0" anchor="ctr" horzOverflow="overflow">
                    <a:lnL w="6350" cap="flat" cmpd="sng" algn="ctr">
                      <a:solidFill>
                        <a:prstClr val="white"/>
                      </a:solidFill>
                      <a:prstDash val="solid"/>
                      <a:round/>
                      <a:headEnd type="none" w="med" len="med"/>
                      <a:tailEnd type="none" w="med" len="med"/>
                    </a:lnL>
                    <a:lnR w="6350" cap="flat" cmpd="sng" algn="ctr">
                      <a:solidFill>
                        <a:prstClr val="white"/>
                      </a:solidFill>
                      <a:prstDash val="solid"/>
                      <a:round/>
                      <a:headEnd type="none" w="med" len="med"/>
                      <a:tailEnd type="none" w="med" len="med"/>
                    </a:lnR>
                    <a:lnT w="6350" cap="flat" cmpd="sng" algn="ctr">
                      <a:solidFill>
                        <a:prstClr val="white"/>
                      </a:solidFill>
                      <a:prstDash val="solid"/>
                      <a:round/>
                      <a:headEnd type="none" w="med" len="med"/>
                      <a:tailEnd type="none" w="med" len="med"/>
                    </a:lnT>
                    <a:lnB w="635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rgbClr val="FFFF00"/>
                          </a:solidFill>
                          <a:effectLst/>
                          <a:latin typeface="Arial" charset="0"/>
                          <a:ea typeface="ＭＳ Ｐゴシック" charset="0"/>
                          <a:cs typeface="Arial" charset="0"/>
                        </a:rPr>
                        <a:t>Albania, Azerbaijan,, British </a:t>
                      </a:r>
                      <a:r>
                        <a:rPr kumimoji="0" lang="en-US" sz="1600" b="0" i="0" u="none" strike="noStrike" cap="none" normalizeH="0" baseline="0" dirty="0">
                          <a:ln>
                            <a:noFill/>
                          </a:ln>
                          <a:solidFill>
                            <a:srgbClr val="FFFF00"/>
                          </a:solidFill>
                          <a:effectLst/>
                          <a:latin typeface="Arial" charset="0"/>
                          <a:ea typeface="ＭＳ Ｐゴシック" charset="0"/>
                          <a:cs typeface="Arial" charset="0"/>
                        </a:rPr>
                        <a:t>Virgin Islands, </a:t>
                      </a:r>
                      <a:r>
                        <a:rPr kumimoji="0" lang="en-US" sz="1600" b="0" i="0" u="none" strike="noStrike" cap="none" normalizeH="0" baseline="0" dirty="0" smtClean="0">
                          <a:ln>
                            <a:noFill/>
                          </a:ln>
                          <a:solidFill>
                            <a:srgbClr val="FFFF00"/>
                          </a:solidFill>
                          <a:effectLst/>
                          <a:latin typeface="Arial" charset="0"/>
                          <a:ea typeface="ＭＳ Ｐゴシック" charset="0"/>
                          <a:cs typeface="Arial" charset="0"/>
                        </a:rPr>
                        <a:t>Cape </a:t>
                      </a:r>
                      <a:r>
                        <a:rPr kumimoji="0" lang="en-US" sz="1600" b="0" i="0" u="none" strike="noStrike" cap="none" normalizeH="0" baseline="0" dirty="0">
                          <a:ln>
                            <a:noFill/>
                          </a:ln>
                          <a:solidFill>
                            <a:srgbClr val="FFFF00"/>
                          </a:solidFill>
                          <a:effectLst/>
                          <a:latin typeface="Arial" charset="0"/>
                          <a:ea typeface="ＭＳ Ｐゴシック" charset="0"/>
                          <a:cs typeface="Arial" charset="0"/>
                        </a:rPr>
                        <a:t>Verde, </a:t>
                      </a:r>
                      <a:r>
                        <a:rPr kumimoji="0" lang="en-US" sz="1600" b="0" i="0" u="none" strike="noStrike" cap="none" normalizeH="0" baseline="0" dirty="0" smtClean="0">
                          <a:ln>
                            <a:noFill/>
                          </a:ln>
                          <a:solidFill>
                            <a:srgbClr val="FFFF00"/>
                          </a:solidFill>
                          <a:effectLst/>
                          <a:latin typeface="Arial" charset="0"/>
                          <a:ea typeface="ＭＳ Ｐゴシック" charset="0"/>
                          <a:cs typeface="Arial" charset="0"/>
                        </a:rPr>
                        <a:t>Comoros, Congo</a:t>
                      </a:r>
                      <a:r>
                        <a:rPr kumimoji="0" lang="en-US" sz="1600" b="0" i="0" u="none" strike="noStrike" cap="none" normalizeH="0" baseline="0" dirty="0">
                          <a:ln>
                            <a:noFill/>
                          </a:ln>
                          <a:solidFill>
                            <a:srgbClr val="FFFF00"/>
                          </a:solidFill>
                          <a:effectLst/>
                          <a:latin typeface="Arial" charset="0"/>
                          <a:ea typeface="ＭＳ Ｐゴシック" charset="0"/>
                          <a:cs typeface="Arial" charset="0"/>
                        </a:rPr>
                        <a:t>, Egypt, Equatorial Guinea, Eritrea, Gambia, Guinea- Bissau, </a:t>
                      </a:r>
                      <a:r>
                        <a:rPr kumimoji="0" lang="en-US" sz="1600" b="0" i="0" u="none" strike="noStrike" cap="none" normalizeH="0" baseline="0" dirty="0" smtClean="0">
                          <a:ln>
                            <a:noFill/>
                          </a:ln>
                          <a:solidFill>
                            <a:srgbClr val="FFFF00"/>
                          </a:solidFill>
                          <a:effectLst/>
                          <a:latin typeface="Arial" charset="0"/>
                          <a:ea typeface="ＭＳ Ｐゴシック" charset="0"/>
                          <a:cs typeface="Arial" charset="0"/>
                        </a:rPr>
                        <a:t>Iran, Kyrgyzstan</a:t>
                      </a:r>
                      <a:r>
                        <a:rPr kumimoji="0" lang="en-US" sz="1600" b="0" i="0" u="none" strike="noStrike" cap="none" normalizeH="0" baseline="0" dirty="0">
                          <a:ln>
                            <a:noFill/>
                          </a:ln>
                          <a:solidFill>
                            <a:srgbClr val="FFFF00"/>
                          </a:solidFill>
                          <a:effectLst/>
                          <a:latin typeface="Arial" charset="0"/>
                          <a:ea typeface="ＭＳ Ｐゴシック" charset="0"/>
                          <a:cs typeface="Arial" charset="0"/>
                        </a:rPr>
                        <a:t>, </a:t>
                      </a:r>
                      <a:r>
                        <a:rPr kumimoji="0" lang="en-US" sz="1600" b="0" i="0" u="none" strike="noStrike" cap="none" normalizeH="0" baseline="0" dirty="0" smtClean="0">
                          <a:ln>
                            <a:noFill/>
                          </a:ln>
                          <a:solidFill>
                            <a:srgbClr val="FFFF00"/>
                          </a:solidFill>
                          <a:effectLst/>
                          <a:latin typeface="Arial" charset="0"/>
                          <a:ea typeface="ＭＳ Ｐゴシック" charset="0"/>
                          <a:cs typeface="Arial" charset="0"/>
                        </a:rPr>
                        <a:t>Lithuania, Sao </a:t>
                      </a:r>
                      <a:r>
                        <a:rPr kumimoji="0" lang="en-US" sz="1600" b="0" i="0" u="none" strike="noStrike" cap="none" normalizeH="0" baseline="0" dirty="0">
                          <a:ln>
                            <a:noFill/>
                          </a:ln>
                          <a:solidFill>
                            <a:srgbClr val="FFFF00"/>
                          </a:solidFill>
                          <a:effectLst/>
                          <a:latin typeface="Arial" charset="0"/>
                          <a:ea typeface="ＭＳ Ｐゴシック" charset="0"/>
                          <a:cs typeface="Arial" charset="0"/>
                        </a:rPr>
                        <a:t>Tome, Senegal, </a:t>
                      </a:r>
                      <a:r>
                        <a:rPr kumimoji="0" lang="en-US" sz="1600" b="0" i="0" u="none" strike="noStrike" cap="none" normalizeH="0" baseline="0" dirty="0" smtClean="0">
                          <a:ln>
                            <a:noFill/>
                          </a:ln>
                          <a:solidFill>
                            <a:srgbClr val="FFFF00"/>
                          </a:solidFill>
                          <a:effectLst/>
                          <a:latin typeface="Arial" charset="0"/>
                          <a:ea typeface="ＭＳ Ｐゴシック" charset="0"/>
                          <a:cs typeface="Arial" charset="0"/>
                        </a:rPr>
                        <a:t>Seychelles</a:t>
                      </a:r>
                      <a:r>
                        <a:rPr kumimoji="0" lang="en-US" sz="1600" b="0" i="0" u="none" strike="noStrike" cap="none" normalizeH="0" baseline="0" dirty="0">
                          <a:ln>
                            <a:noFill/>
                          </a:ln>
                          <a:solidFill>
                            <a:srgbClr val="FFFF00"/>
                          </a:solidFill>
                          <a:effectLst/>
                          <a:latin typeface="Arial" charset="0"/>
                          <a:ea typeface="ＭＳ Ｐゴシック" charset="0"/>
                          <a:cs typeface="Arial" charset="0"/>
                        </a:rPr>
                        <a:t>, Somalia, Tajikistan, </a:t>
                      </a:r>
                      <a:r>
                        <a:rPr kumimoji="0" lang="en-US" sz="1600" b="0" i="0" u="none" strike="noStrike" cap="none" normalizeH="0" baseline="0" dirty="0" smtClean="0">
                          <a:ln>
                            <a:noFill/>
                          </a:ln>
                          <a:solidFill>
                            <a:srgbClr val="FFFF00"/>
                          </a:solidFill>
                          <a:effectLst/>
                          <a:latin typeface="Arial" charset="0"/>
                          <a:ea typeface="ＭＳ Ｐゴシック" charset="0"/>
                          <a:cs typeface="Arial" charset="0"/>
                        </a:rPr>
                        <a:t>Togo, Turkmenistan</a:t>
                      </a:r>
                      <a:endParaRPr kumimoji="0" lang="en-US" sz="1600" b="0" i="0" u="none" strike="noStrike" cap="none" normalizeH="0" baseline="0" dirty="0">
                        <a:ln>
                          <a:noFill/>
                        </a:ln>
                        <a:solidFill>
                          <a:srgbClr val="FFFF00"/>
                        </a:solidFill>
                        <a:effectLst/>
                        <a:latin typeface="Arial" charset="0"/>
                        <a:ea typeface="ＭＳ Ｐゴシック" charset="0"/>
                        <a:cs typeface="Arial" charset="0"/>
                      </a:endParaRPr>
                    </a:p>
                  </a:txBody>
                  <a:tcPr marL="12700" marR="12700" marT="12701" marB="0" anchor="ctr" horzOverflow="overflow">
                    <a:lnL w="6350" cap="flat" cmpd="sng" algn="ctr">
                      <a:solidFill>
                        <a:prstClr val="white"/>
                      </a:solidFill>
                      <a:prstDash val="solid"/>
                      <a:round/>
                      <a:headEnd type="none" w="med" len="med"/>
                      <a:tailEnd type="none" w="med" len="med"/>
                    </a:lnL>
                    <a:lnR w="19050" cap="flat" cmpd="sng" algn="ctr">
                      <a:solidFill>
                        <a:prstClr val="white"/>
                      </a:solidFill>
                      <a:prstDash val="solid"/>
                      <a:round/>
                      <a:headEnd type="none" w="med" len="med"/>
                      <a:tailEnd type="none" w="med" len="med"/>
                    </a:lnR>
                    <a:lnT w="6350" cap="flat" cmpd="sng" algn="ctr">
                      <a:solidFill>
                        <a:prstClr val="white"/>
                      </a:solidFill>
                      <a:prstDash val="solid"/>
                      <a:round/>
                      <a:headEnd type="none" w="med" len="med"/>
                      <a:tailEnd type="none" w="med" len="med"/>
                    </a:lnT>
                    <a:lnB w="6350" cap="flat" cmpd="sng" algn="ctr">
                      <a:solidFill>
                        <a:prstClr val="white"/>
                      </a:solidFill>
                      <a:prstDash val="solid"/>
                      <a:round/>
                      <a:headEnd type="none" w="med" len="med"/>
                      <a:tailEnd type="none" w="med" len="med"/>
                    </a:lnB>
                    <a:lnTlToBr>
                      <a:noFill/>
                    </a:lnTlToBr>
                    <a:lnBlToTr>
                      <a:noFill/>
                    </a:lnBlToTr>
                    <a:noFill/>
                  </a:tcPr>
                </a:tc>
              </a:tr>
              <a:tr h="41325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smtClean="0">
                          <a:solidFill>
                            <a:srgbClr val="FFFF00"/>
                          </a:solidFill>
                          <a:latin typeface="Arial"/>
                          <a:cs typeface="Arial"/>
                        </a:rPr>
                        <a:t>≤200</a:t>
                      </a:r>
                    </a:p>
                  </a:txBody>
                  <a:tcPr marL="12700" marR="12700" marT="12698" marB="0" anchor="ctr">
                    <a:lnL w="19050" cap="flat" cmpd="sng" algn="ctr">
                      <a:solidFill>
                        <a:prstClr val="white"/>
                      </a:solidFill>
                      <a:prstDash val="solid"/>
                      <a:round/>
                      <a:headEnd type="none" w="med" len="med"/>
                      <a:tailEnd type="none" w="med" len="med"/>
                    </a:lnL>
                    <a:lnR w="6350" cap="flat" cmpd="sng" algn="ctr">
                      <a:solidFill>
                        <a:prstClr val="white"/>
                      </a:solidFill>
                      <a:prstDash val="solid"/>
                      <a:round/>
                      <a:headEnd type="none" w="med" len="med"/>
                      <a:tailEnd type="none" w="med" len="med"/>
                    </a:lnR>
                    <a:lnT w="6350" cap="flat" cmpd="sng" algn="ctr">
                      <a:solidFill>
                        <a:prstClr val="white"/>
                      </a:solidFill>
                      <a:prstDash val="solid"/>
                      <a:round/>
                      <a:headEnd type="none" w="med" len="med"/>
                      <a:tailEnd type="none" w="med" len="med"/>
                    </a:lnT>
                    <a:lnB w="1905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rgbClr val="FFFF00"/>
                          </a:solidFill>
                          <a:effectLst/>
                          <a:latin typeface="Arial" charset="0"/>
                          <a:ea typeface="ＭＳ Ｐゴシック" charset="0"/>
                          <a:cs typeface="Arial" charset="0"/>
                        </a:rPr>
                        <a:t>1</a:t>
                      </a:r>
                    </a:p>
                  </a:txBody>
                  <a:tcPr marL="12700" marR="12700" marT="12701" marB="0" anchor="ctr" horzOverflow="overflow">
                    <a:lnL w="6350" cap="flat" cmpd="sng" algn="ctr">
                      <a:solidFill>
                        <a:prstClr val="white"/>
                      </a:solidFill>
                      <a:prstDash val="solid"/>
                      <a:round/>
                      <a:headEnd type="none" w="med" len="med"/>
                      <a:tailEnd type="none" w="med" len="med"/>
                    </a:lnL>
                    <a:lnR w="6350" cap="flat" cmpd="sng" algn="ctr">
                      <a:solidFill>
                        <a:prstClr val="white"/>
                      </a:solidFill>
                      <a:prstDash val="solid"/>
                      <a:round/>
                      <a:headEnd type="none" w="med" len="med"/>
                      <a:tailEnd type="none" w="med" len="med"/>
                    </a:lnR>
                    <a:lnT w="6350" cap="flat" cmpd="sng" algn="ctr">
                      <a:solidFill>
                        <a:prstClr val="white"/>
                      </a:solidFill>
                      <a:prstDash val="solid"/>
                      <a:round/>
                      <a:headEnd type="none" w="med" len="med"/>
                      <a:tailEnd type="none" w="med" len="med"/>
                    </a:lnT>
                    <a:lnB w="1905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FFFF00"/>
                          </a:solidFill>
                          <a:effectLst/>
                          <a:latin typeface="Arial" charset="0"/>
                          <a:ea typeface="ＭＳ Ｐゴシック" charset="0"/>
                          <a:cs typeface="Arial" charset="0"/>
                        </a:rPr>
                        <a:t> Suriname</a:t>
                      </a:r>
                    </a:p>
                  </a:txBody>
                  <a:tcPr marL="12700" marR="12700" marT="12701" marB="0" anchor="ctr" horzOverflow="overflow">
                    <a:lnL w="6350" cap="flat" cmpd="sng" algn="ctr">
                      <a:solidFill>
                        <a:prstClr val="white"/>
                      </a:solidFill>
                      <a:prstDash val="solid"/>
                      <a:round/>
                      <a:headEnd type="none" w="med" len="med"/>
                      <a:tailEnd type="none" w="med" len="med"/>
                    </a:lnL>
                    <a:lnR w="19050" cap="flat" cmpd="sng" algn="ctr">
                      <a:solidFill>
                        <a:prstClr val="white"/>
                      </a:solidFill>
                      <a:prstDash val="solid"/>
                      <a:round/>
                      <a:headEnd type="none" w="med" len="med"/>
                      <a:tailEnd type="none" w="med" len="med"/>
                    </a:lnR>
                    <a:lnT w="6350" cap="flat" cmpd="sng" algn="ctr">
                      <a:solidFill>
                        <a:prstClr val="white"/>
                      </a:solidFill>
                      <a:prstDash val="solid"/>
                      <a:round/>
                      <a:headEnd type="none" w="med" len="med"/>
                      <a:tailEnd type="none" w="med" len="med"/>
                    </a:lnT>
                    <a:lnB w="19050" cap="flat" cmpd="sng" algn="ctr">
                      <a:solidFill>
                        <a:prstClr val="white"/>
                      </a:solidFill>
                      <a:prstDash val="solid"/>
                      <a:round/>
                      <a:headEnd type="none" w="med" len="med"/>
                      <a:tailEnd type="none" w="med" len="med"/>
                    </a:lnB>
                    <a:lnTlToBr>
                      <a:noFill/>
                    </a:lnTlToBr>
                    <a:lnBlToTr>
                      <a:noFill/>
                    </a:lnBlToTr>
                    <a:noFill/>
                  </a:tcPr>
                </a:tc>
              </a:tr>
            </a:tbl>
          </a:graphicData>
        </a:graphic>
      </p:graphicFrame>
      <p:pic>
        <p:nvPicPr>
          <p:cNvPr id="5" name="Picture 4"/>
          <p:cNvPicPr>
            <a:picLocks noChangeAspect="1"/>
          </p:cNvPicPr>
          <p:nvPr/>
        </p:nvPicPr>
        <p:blipFill>
          <a:blip r:embed="rId3"/>
          <a:stretch>
            <a:fillRect/>
          </a:stretch>
        </p:blipFill>
        <p:spPr>
          <a:xfrm>
            <a:off x="7747000" y="6324600"/>
            <a:ext cx="1397000" cy="533400"/>
          </a:xfrm>
          <a:prstGeom prst="rect">
            <a:avLst/>
          </a:prstGeom>
          <a:ln>
            <a:noFill/>
          </a:ln>
        </p:spPr>
      </p:pic>
    </p:spTree>
    <p:extLst>
      <p:ext uri="{BB962C8B-B14F-4D97-AF65-F5344CB8AC3E}">
        <p14:creationId xmlns:p14="http://schemas.microsoft.com/office/powerpoint/2010/main" val="2781216191"/>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4"/>
          <p:cNvSpPr txBox="1">
            <a:spLocks noChangeArrowheads="1"/>
          </p:cNvSpPr>
          <p:nvPr/>
        </p:nvSpPr>
        <p:spPr bwMode="auto">
          <a:xfrm>
            <a:off x="-101602" y="-57147"/>
            <a:ext cx="9330267" cy="646331"/>
          </a:xfrm>
          <a:prstGeom prst="rect">
            <a:avLst/>
          </a:prstGeom>
          <a:noFill/>
          <a:ln w="9525">
            <a:noFill/>
            <a:miter lim="800000"/>
            <a:headEnd/>
            <a:tailEnd/>
          </a:ln>
        </p:spPr>
        <p:txBody>
          <a:bodyPr wrap="square">
            <a:spAutoFit/>
          </a:bodyPr>
          <a:lstStyle/>
          <a:p>
            <a:pPr algn="ctr">
              <a:spcBef>
                <a:spcPct val="50000"/>
              </a:spcBef>
            </a:pPr>
            <a:r>
              <a:rPr lang="en-US" sz="3600" dirty="0" smtClean="0">
                <a:solidFill>
                  <a:srgbClr val="FFFF00"/>
                </a:solidFill>
                <a:ea typeface="ヒラギノ角ゴ Pro W3"/>
                <a:cs typeface="ヒラギノ角ゴ Pro W3"/>
              </a:rPr>
              <a:t>ART initiation for asymptomatic people</a:t>
            </a:r>
            <a:endParaRPr lang="en-US" sz="3600" dirty="0">
              <a:solidFill>
                <a:srgbClr val="FFFF00"/>
              </a:solidFill>
              <a:ea typeface="ヒラギノ角ゴ Pro W3"/>
              <a:cs typeface="ヒラギノ角ゴ Pro W3"/>
            </a:endParaRPr>
          </a:p>
        </p:txBody>
      </p:sp>
      <p:graphicFrame>
        <p:nvGraphicFramePr>
          <p:cNvPr id="3" name="Table 2"/>
          <p:cNvGraphicFramePr>
            <a:graphicFrameLocks noGrp="1"/>
          </p:cNvGraphicFramePr>
          <p:nvPr>
            <p:extLst>
              <p:ext uri="{D42A27DB-BD31-4B8C-83A1-F6EECF244321}">
                <p14:modId xmlns:p14="http://schemas.microsoft.com/office/powerpoint/2010/main" val="2770302598"/>
              </p:ext>
            </p:extLst>
          </p:nvPr>
        </p:nvGraphicFramePr>
        <p:xfrm>
          <a:off x="35197" y="623050"/>
          <a:ext cx="9058005" cy="5841907"/>
        </p:xfrm>
        <a:graphic>
          <a:graphicData uri="http://schemas.openxmlformats.org/drawingml/2006/table">
            <a:tbl>
              <a:tblPr/>
              <a:tblGrid>
                <a:gridCol w="1150138"/>
                <a:gridCol w="812800"/>
                <a:gridCol w="1083734"/>
                <a:gridCol w="6011333"/>
              </a:tblGrid>
              <a:tr h="274417">
                <a:tc>
                  <a:txBody>
                    <a:bodyPr/>
                    <a:lstStyle/>
                    <a:p>
                      <a:pPr algn="ctr" fontAlgn="b"/>
                      <a:r>
                        <a:rPr lang="en-US" sz="1200" b="1" i="0" u="none" strike="noStrike" dirty="0" smtClean="0">
                          <a:solidFill>
                            <a:srgbClr val="FFFFFF"/>
                          </a:solidFill>
                          <a:effectLst/>
                          <a:latin typeface="Arial"/>
                          <a:cs typeface="Arial"/>
                        </a:rPr>
                        <a:t>ART criteria</a:t>
                      </a:r>
                      <a:endParaRPr lang="en-US" sz="1200" b="1" i="0" u="none" strike="noStrike" dirty="0">
                        <a:solidFill>
                          <a:srgbClr val="FFFFFF"/>
                        </a:solidFill>
                        <a:effectLst/>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C0504D"/>
                    </a:solidFill>
                  </a:tcPr>
                </a:tc>
                <a:tc>
                  <a:txBody>
                    <a:bodyPr/>
                    <a:lstStyle/>
                    <a:p>
                      <a:pPr algn="ctr" fontAlgn="b"/>
                      <a:r>
                        <a:rPr lang="en-US" sz="1200" b="1" i="0" u="none" strike="noStrike" baseline="0" dirty="0" smtClean="0">
                          <a:solidFill>
                            <a:srgbClr val="FFFFFF"/>
                          </a:solidFill>
                          <a:effectLst/>
                          <a:latin typeface="Arial"/>
                          <a:cs typeface="Arial"/>
                        </a:rPr>
                        <a:t>Countries</a:t>
                      </a:r>
                      <a:endParaRPr lang="en-US" sz="1200" b="1" i="0" u="none" strike="noStrike" dirty="0">
                        <a:solidFill>
                          <a:srgbClr val="FFFFFF"/>
                        </a:solidFill>
                        <a:effectLst/>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C0504D"/>
                    </a:solidFill>
                  </a:tcPr>
                </a:tc>
                <a:tc>
                  <a:txBody>
                    <a:bodyPr/>
                    <a:lstStyle/>
                    <a:p>
                      <a:pPr algn="ctr" fontAlgn="b"/>
                      <a:r>
                        <a:rPr lang="en-US" sz="1200" b="1" i="0" u="none" strike="noStrike" dirty="0" smtClean="0">
                          <a:solidFill>
                            <a:srgbClr val="FFFFFF"/>
                          </a:solidFill>
                          <a:effectLst/>
                          <a:latin typeface="Arial"/>
                          <a:cs typeface="Arial"/>
                        </a:rPr>
                        <a:t>PLHIV </a:t>
                      </a:r>
                      <a:r>
                        <a:rPr lang="en-US" sz="1200" b="1" i="0" u="none" strike="noStrike" baseline="0" dirty="0" smtClean="0">
                          <a:solidFill>
                            <a:srgbClr val="FFFFFF"/>
                          </a:solidFill>
                          <a:effectLst/>
                          <a:latin typeface="Arial"/>
                          <a:cs typeface="Arial"/>
                        </a:rPr>
                        <a:t>(2015)</a:t>
                      </a:r>
                      <a:endParaRPr lang="en-US" sz="1200" b="1" i="0" u="none" strike="noStrike" dirty="0">
                        <a:solidFill>
                          <a:srgbClr val="FFFFFF"/>
                        </a:solidFill>
                        <a:effectLst/>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C0504D"/>
                    </a:solidFill>
                  </a:tcPr>
                </a:tc>
                <a:tc>
                  <a:txBody>
                    <a:bodyPr/>
                    <a:lstStyle/>
                    <a:p>
                      <a:pPr algn="ctr" fontAlgn="b"/>
                      <a:r>
                        <a:rPr lang="en-US" sz="1200" b="1" i="0" u="none" strike="noStrike" dirty="0" smtClean="0">
                          <a:solidFill>
                            <a:srgbClr val="FFFFFF"/>
                          </a:solidFill>
                          <a:effectLst/>
                          <a:latin typeface="Arial"/>
                          <a:cs typeface="Arial"/>
                        </a:rPr>
                        <a:t>Countries</a:t>
                      </a:r>
                      <a:endParaRPr lang="en-US" sz="1200" b="1" i="0" u="none" strike="noStrike" dirty="0">
                        <a:solidFill>
                          <a:srgbClr val="FFFFFF"/>
                        </a:solidFill>
                        <a:effectLst/>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C0504D"/>
                    </a:solidFill>
                  </a:tcPr>
                </a:tc>
              </a:tr>
              <a:tr h="434345">
                <a:tc>
                  <a:txBody>
                    <a:bodyPr/>
                    <a:lstStyle/>
                    <a:p>
                      <a:pPr algn="ctr"/>
                      <a:r>
                        <a:rPr lang="en-US" sz="1200" dirty="0" smtClean="0">
                          <a:solidFill>
                            <a:schemeClr val="bg1"/>
                          </a:solidFill>
                          <a:latin typeface="Arial"/>
                          <a:cs typeface="Arial"/>
                        </a:rPr>
                        <a:t>Irrespective of CD4 count</a:t>
                      </a:r>
                      <a:endParaRPr lang="en-US" sz="1200" dirty="0">
                        <a:solidFill>
                          <a:schemeClr val="bg1"/>
                        </a:solidFill>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a:ea typeface="ＭＳ Ｐゴシック" charset="0"/>
                          <a:cs typeface="Arial"/>
                        </a:rPr>
                        <a:t>73</a:t>
                      </a:r>
                      <a:endParaRPr kumimoji="0" lang="en-US" sz="1200" b="1" i="0" u="none" strike="noStrike" cap="none" normalizeH="0" baseline="0" dirty="0">
                        <a:ln>
                          <a:noFill/>
                        </a:ln>
                        <a:solidFill>
                          <a:srgbClr val="FFFFFF"/>
                        </a:solidFill>
                        <a:effectLst/>
                        <a:latin typeface="Arial"/>
                        <a:ea typeface="ＭＳ Ｐゴシック" charset="0"/>
                        <a:cs typeface="Arial"/>
                      </a:endParaRPr>
                    </a:p>
                  </a:txBody>
                  <a:tcPr marL="12701" marR="12701" marT="12695" marB="0" anchor="ctr" horzOverflow="overflow">
                    <a:lnL w="12700" cap="flat" cmpd="sng" algn="ctr">
                      <a:solidFill>
                        <a:srgbClr val="FFFFFF"/>
                      </a:solidFill>
                      <a:prstDash val="solid"/>
                      <a:round/>
                      <a:headEnd type="none" w="med" len="med"/>
                      <a:tailEnd type="none" w="med" len="med"/>
                    </a:lnL>
                    <a:lnR w="12700" cap="flat" cmpd="sng" algn="ctr">
                      <a:solidFill>
                        <a:prstClr val="white"/>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bg1">
                              <a:lumMod val="95000"/>
                            </a:schemeClr>
                          </a:solidFill>
                          <a:effectLst/>
                          <a:latin typeface="Arial"/>
                          <a:ea typeface="ＭＳ Ｐゴシック" charset="0"/>
                          <a:cs typeface="Arial"/>
                        </a:rPr>
                        <a:t>28,615,000 (78%</a:t>
                      </a:r>
                      <a:r>
                        <a:rPr kumimoji="0" lang="en-US" sz="1200" b="0" i="0" u="none" strike="noStrike" cap="none" normalizeH="0" baseline="0" dirty="0">
                          <a:ln>
                            <a:noFill/>
                          </a:ln>
                          <a:solidFill>
                            <a:schemeClr val="bg1">
                              <a:lumMod val="95000"/>
                            </a:schemeClr>
                          </a:solidFill>
                          <a:effectLst/>
                          <a:latin typeface="Arial"/>
                          <a:ea typeface="ＭＳ Ｐゴシック" charset="0"/>
                          <a:cs typeface="Arial"/>
                        </a:rPr>
                        <a:t>)</a:t>
                      </a:r>
                    </a:p>
                  </a:txBody>
                  <a:tcPr marL="12701" marR="12701" marT="12695" marB="0" anchor="ctr" horzOverflow="overflow">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1150" b="0" i="0" u="none" strike="noStrike" cap="none" normalizeH="0" baseline="0" dirty="0" smtClean="0">
                          <a:ln>
                            <a:noFill/>
                          </a:ln>
                          <a:solidFill>
                            <a:srgbClr val="FFFFFF"/>
                          </a:solidFill>
                          <a:effectLst/>
                          <a:latin typeface="Arial" charset="0"/>
                          <a:ea typeface="ＭＳ Ｐゴシック" charset="0"/>
                          <a:cs typeface="Arial" charset="0"/>
                        </a:rPr>
                        <a:t>Argentina, Australia, Austria, Botswana, Brazil, British Columbia (Canada), </a:t>
                      </a:r>
                      <a:r>
                        <a:rPr kumimoji="0" lang="en-US" sz="1150" b="0" i="0" u="none" strike="noStrike" cap="none" normalizeH="0" baseline="0" dirty="0" smtClean="0">
                          <a:ln>
                            <a:noFill/>
                          </a:ln>
                          <a:solidFill>
                            <a:srgbClr val="FFFFFF"/>
                          </a:solidFill>
                          <a:effectLst/>
                          <a:latin typeface="Arial"/>
                          <a:ea typeface="ＭＳ Ｐゴシック" charset="0"/>
                          <a:cs typeface="Arial"/>
                        </a:rPr>
                        <a:t>Burundi, Cambodia, China</a:t>
                      </a:r>
                      <a:r>
                        <a:rPr kumimoji="0" lang="en-US" sz="1150" b="0" i="0" u="none" strike="noStrike" cap="none" normalizeH="0" baseline="0" dirty="0" smtClean="0">
                          <a:ln>
                            <a:noFill/>
                          </a:ln>
                          <a:solidFill>
                            <a:schemeClr val="bg1"/>
                          </a:solidFill>
                          <a:effectLst/>
                          <a:latin typeface="Arial"/>
                          <a:ea typeface="ＭＳ Ｐゴシック" charset="0"/>
                          <a:cs typeface="Arial"/>
                        </a:rPr>
                        <a:t>, </a:t>
                      </a:r>
                      <a:r>
                        <a:rPr kumimoji="0" lang="en-US" sz="1150" b="0" i="0" u="none" strike="noStrike" cap="none" normalizeH="0" baseline="0" dirty="0" smtClean="0">
                          <a:ln>
                            <a:noFill/>
                          </a:ln>
                          <a:solidFill>
                            <a:srgbClr val="FFFFFF"/>
                          </a:solidFill>
                          <a:effectLst/>
                          <a:latin typeface="Arial"/>
                          <a:ea typeface="ＭＳ Ｐゴシック" charset="0"/>
                          <a:cs typeface="Arial"/>
                        </a:rPr>
                        <a:t>Croatia, </a:t>
                      </a:r>
                      <a:r>
                        <a:rPr kumimoji="0" lang="en-US" sz="1150" b="0" i="0" u="none" strike="noStrike" cap="none" normalizeH="0" baseline="0" dirty="0" smtClean="0">
                          <a:ln>
                            <a:noFill/>
                          </a:ln>
                          <a:solidFill>
                            <a:schemeClr val="bg1"/>
                          </a:solidFill>
                          <a:effectLst/>
                          <a:latin typeface="Arial"/>
                          <a:ea typeface="ＭＳ Ｐゴシック" charset="0"/>
                          <a:cs typeface="Arial"/>
                        </a:rPr>
                        <a:t>Denmark, </a:t>
                      </a:r>
                      <a:r>
                        <a:rPr kumimoji="0" lang="en-US" sz="1150" b="0" i="0" u="none" strike="noStrike" cap="none" normalizeH="0" baseline="0" dirty="0" smtClean="0">
                          <a:ln>
                            <a:noFill/>
                          </a:ln>
                          <a:solidFill>
                            <a:schemeClr val="bg1"/>
                          </a:solidFill>
                          <a:effectLst/>
                          <a:latin typeface="Arial" charset="0"/>
                          <a:ea typeface="ＭＳ Ｐゴシック" charset="0"/>
                          <a:cs typeface="Arial" charset="0"/>
                        </a:rPr>
                        <a:t>France</a:t>
                      </a:r>
                      <a:r>
                        <a:rPr kumimoji="0" lang="en-US" sz="1150" b="0" i="0" u="none" strike="noStrike" cap="none" normalizeH="0" baseline="0" dirty="0" smtClean="0">
                          <a:ln>
                            <a:noFill/>
                          </a:ln>
                          <a:solidFill>
                            <a:srgbClr val="FFFFFF"/>
                          </a:solidFill>
                          <a:effectLst/>
                          <a:latin typeface="Arial" charset="0"/>
                          <a:ea typeface="ＭＳ Ｐゴシック" charset="0"/>
                          <a:cs typeface="Arial" charset="0"/>
                        </a:rPr>
                        <a:t>, </a:t>
                      </a:r>
                      <a:r>
                        <a:rPr kumimoji="0" lang="en-US" sz="1150" b="0" i="0" u="none" strike="noStrike" cap="none" normalizeH="0" baseline="0" dirty="0" smtClean="0">
                          <a:ln>
                            <a:noFill/>
                          </a:ln>
                          <a:solidFill>
                            <a:schemeClr val="bg1"/>
                          </a:solidFill>
                          <a:effectLst/>
                          <a:latin typeface="Arial" charset="0"/>
                          <a:ea typeface="ＭＳ Ｐゴシック" charset="0"/>
                          <a:cs typeface="Arial" charset="0"/>
                        </a:rPr>
                        <a:t>Georgia, Germany</a:t>
                      </a:r>
                      <a:r>
                        <a:rPr kumimoji="0" lang="en-US" sz="1150" b="0" i="0" u="none" strike="noStrike" cap="none" normalizeH="0" baseline="0" dirty="0" smtClean="0">
                          <a:ln>
                            <a:noFill/>
                          </a:ln>
                          <a:solidFill>
                            <a:srgbClr val="FFFFFF"/>
                          </a:solidFill>
                          <a:effectLst/>
                          <a:latin typeface="Arial" charset="0"/>
                          <a:ea typeface="ＭＳ Ｐゴシック" charset="0"/>
                          <a:cs typeface="Arial" charset="0"/>
                        </a:rPr>
                        <a:t>, </a:t>
                      </a:r>
                      <a:r>
                        <a:rPr kumimoji="0" lang="en-US" sz="1150" b="0" i="0" u="none" strike="noStrike" cap="none" normalizeH="0" baseline="0" dirty="0" smtClean="0">
                          <a:ln>
                            <a:noFill/>
                          </a:ln>
                          <a:solidFill>
                            <a:srgbClr val="F2F2F2"/>
                          </a:solidFill>
                          <a:effectLst/>
                          <a:latin typeface="Arial"/>
                          <a:ea typeface="ＭＳ Ｐゴシック" charset="0"/>
                          <a:cs typeface="Arial"/>
                        </a:rPr>
                        <a:t>Haiti, India</a:t>
                      </a:r>
                      <a:r>
                        <a:rPr kumimoji="0" lang="en-US" sz="1150" b="0" i="0" u="none" strike="noStrike" cap="none" normalizeH="0" baseline="0" dirty="0" smtClean="0">
                          <a:ln>
                            <a:noFill/>
                          </a:ln>
                          <a:solidFill>
                            <a:schemeClr val="bg1"/>
                          </a:solidFill>
                          <a:effectLst/>
                          <a:latin typeface="Arial"/>
                          <a:ea typeface="ＭＳ Ｐゴシック" charset="0"/>
                          <a:cs typeface="Arial"/>
                        </a:rPr>
                        <a:t>, </a:t>
                      </a:r>
                      <a:r>
                        <a:rPr kumimoji="0" lang="en-US" sz="1150" b="0" i="0" u="none" strike="noStrike" cap="none" normalizeH="0" baseline="0" dirty="0" smtClean="0">
                          <a:ln>
                            <a:noFill/>
                          </a:ln>
                          <a:solidFill>
                            <a:schemeClr val="bg1"/>
                          </a:solidFill>
                          <a:effectLst/>
                          <a:latin typeface="Arial" charset="0"/>
                          <a:ea typeface="ＭＳ Ｐゴシック" charset="0"/>
                          <a:cs typeface="Arial" charset="0"/>
                        </a:rPr>
                        <a:t>Italy, </a:t>
                      </a:r>
                      <a:r>
                        <a:rPr kumimoji="0" lang="en-US" sz="1150" b="0" i="0" u="none" strike="noStrike" cap="none" normalizeH="0" baseline="0" dirty="0" smtClean="0">
                          <a:ln>
                            <a:noFill/>
                          </a:ln>
                          <a:solidFill>
                            <a:schemeClr val="bg1"/>
                          </a:solidFill>
                          <a:effectLst/>
                          <a:latin typeface="Arial"/>
                          <a:ea typeface="ＭＳ Ｐゴシック" charset="0"/>
                          <a:cs typeface="Arial"/>
                        </a:rPr>
                        <a:t>Jamaica, </a:t>
                      </a:r>
                      <a:r>
                        <a:rPr kumimoji="0" lang="en-US" sz="1150" b="0" i="0" u="none" strike="noStrike" cap="none" normalizeH="0" baseline="0" dirty="0" smtClean="0">
                          <a:ln>
                            <a:noFill/>
                          </a:ln>
                          <a:solidFill>
                            <a:srgbClr val="FFFFFF"/>
                          </a:solidFill>
                          <a:effectLst/>
                          <a:latin typeface="Arial" charset="0"/>
                          <a:ea typeface="ＭＳ Ｐゴシック" charset="0"/>
                          <a:cs typeface="Arial" charset="0"/>
                        </a:rPr>
                        <a:t>Japan, </a:t>
                      </a:r>
                      <a:r>
                        <a:rPr kumimoji="0" lang="en-US" sz="1150" b="0" i="0" u="none" strike="noStrike" cap="none" normalizeH="0" baseline="0" dirty="0" smtClean="0">
                          <a:ln>
                            <a:noFill/>
                          </a:ln>
                          <a:solidFill>
                            <a:srgbClr val="FFFFFF"/>
                          </a:solidFill>
                          <a:effectLst/>
                          <a:latin typeface="Arial"/>
                          <a:ea typeface="ＭＳ Ｐゴシック" charset="0"/>
                          <a:cs typeface="Arial"/>
                        </a:rPr>
                        <a:t>Kenya, </a:t>
                      </a:r>
                      <a:r>
                        <a:rPr kumimoji="0" lang="en-US" sz="1150" b="0" i="0" u="none" strike="noStrike" cap="none" normalizeH="0" baseline="0" dirty="0" smtClean="0">
                          <a:ln>
                            <a:noFill/>
                          </a:ln>
                          <a:solidFill>
                            <a:srgbClr val="FFFFFF"/>
                          </a:solidFill>
                          <a:effectLst/>
                          <a:latin typeface="Arial" charset="0"/>
                          <a:ea typeface="ＭＳ Ｐゴシック" charset="0"/>
                          <a:cs typeface="Arial" charset="0"/>
                        </a:rPr>
                        <a:t>Korea (</a:t>
                      </a:r>
                      <a:r>
                        <a:rPr kumimoji="0" lang="en-US" sz="1150" b="0" i="0" u="none" strike="noStrike" cap="none" normalizeH="0" baseline="0" dirty="0" smtClean="0">
                          <a:ln>
                            <a:noFill/>
                          </a:ln>
                          <a:solidFill>
                            <a:schemeClr val="bg1"/>
                          </a:solidFill>
                          <a:effectLst/>
                          <a:latin typeface="Arial" charset="0"/>
                          <a:ea typeface="ＭＳ Ｐゴシック" charset="0"/>
                          <a:cs typeface="Arial" charset="0"/>
                        </a:rPr>
                        <a:t>Republic), </a:t>
                      </a:r>
                      <a:r>
                        <a:rPr kumimoji="0" lang="en-US" sz="1150" b="0" i="0" u="none" strike="noStrike" cap="none" normalizeH="0" baseline="0" dirty="0" smtClean="0">
                          <a:ln>
                            <a:noFill/>
                          </a:ln>
                          <a:solidFill>
                            <a:schemeClr val="bg1"/>
                          </a:solidFill>
                          <a:effectLst/>
                          <a:latin typeface="Arial"/>
                          <a:ea typeface="ＭＳ Ｐゴシック" charset="0"/>
                          <a:cs typeface="Arial"/>
                        </a:rPr>
                        <a:t>Lao PDR, </a:t>
                      </a:r>
                      <a:r>
                        <a:rPr lang="en-US" sz="1150" dirty="0" smtClean="0">
                          <a:solidFill>
                            <a:schemeClr val="bg1"/>
                          </a:solidFill>
                          <a:latin typeface="Arial"/>
                          <a:cs typeface="Arial"/>
                        </a:rPr>
                        <a:t>Lesotho</a:t>
                      </a:r>
                      <a:r>
                        <a:rPr lang="en-US" sz="1150" dirty="0" smtClean="0">
                          <a:solidFill>
                            <a:srgbClr val="FFFFFF"/>
                          </a:solidFill>
                          <a:latin typeface="Arial"/>
                          <a:cs typeface="Arial"/>
                        </a:rPr>
                        <a:t>, Malawi, </a:t>
                      </a:r>
                      <a:r>
                        <a:rPr kumimoji="0" lang="en-US" sz="1150" b="0" i="0" u="none" strike="noStrike" cap="none" normalizeH="0" baseline="0" dirty="0" smtClean="0">
                          <a:ln>
                            <a:noFill/>
                          </a:ln>
                          <a:solidFill>
                            <a:srgbClr val="FFFFFF"/>
                          </a:solidFill>
                          <a:effectLst/>
                          <a:latin typeface="Arial"/>
                          <a:ea typeface="ＭＳ Ｐゴシック" charset="0"/>
                          <a:cs typeface="Arial"/>
                        </a:rPr>
                        <a:t>Malaysia, </a:t>
                      </a:r>
                      <a:r>
                        <a:rPr kumimoji="0" lang="en-US" sz="1150" b="0" i="0" u="none" strike="noStrike" cap="none" normalizeH="0" baseline="0" dirty="0" smtClean="0">
                          <a:ln>
                            <a:noFill/>
                          </a:ln>
                          <a:solidFill>
                            <a:srgbClr val="FFFFFF"/>
                          </a:solidFill>
                          <a:effectLst/>
                          <a:latin typeface="Arial" charset="0"/>
                          <a:ea typeface="ＭＳ Ｐゴシック" charset="0"/>
                          <a:cs typeface="Arial" charset="0"/>
                        </a:rPr>
                        <a:t>Maldives, Mexico, Montenegro, </a:t>
                      </a:r>
                      <a:r>
                        <a:rPr kumimoji="0" lang="en-US" sz="1150" b="0" i="0" u="none" strike="noStrike" cap="none" normalizeH="0" baseline="0" dirty="0" smtClean="0">
                          <a:ln>
                            <a:noFill/>
                          </a:ln>
                          <a:solidFill>
                            <a:srgbClr val="FFFFFF"/>
                          </a:solidFill>
                          <a:effectLst/>
                          <a:latin typeface="Arial"/>
                          <a:ea typeface="ＭＳ Ｐゴシック" charset="0"/>
                          <a:cs typeface="Arial"/>
                        </a:rPr>
                        <a:t>Mozambique, </a:t>
                      </a:r>
                      <a:r>
                        <a:rPr kumimoji="0" lang="en-US" sz="1150" b="0" i="0" u="none" strike="noStrike" cap="none" normalizeH="0" baseline="0" dirty="0" smtClean="0">
                          <a:ln>
                            <a:noFill/>
                          </a:ln>
                          <a:solidFill>
                            <a:schemeClr val="bg1"/>
                          </a:solidFill>
                          <a:effectLst/>
                          <a:latin typeface="Arial"/>
                          <a:ea typeface="ＭＳ Ｐゴシック" charset="0"/>
                          <a:cs typeface="Arial"/>
                        </a:rPr>
                        <a:t>Namibia,</a:t>
                      </a:r>
                      <a:r>
                        <a:rPr kumimoji="0" lang="en-US" sz="1150" b="0" i="0" u="none" strike="noStrike" cap="none" normalizeH="0" baseline="0" dirty="0" smtClean="0">
                          <a:ln>
                            <a:noFill/>
                          </a:ln>
                          <a:solidFill>
                            <a:srgbClr val="FFFFFF"/>
                          </a:solidFill>
                          <a:effectLst/>
                          <a:latin typeface="Arial" charset="0"/>
                          <a:ea typeface="ＭＳ Ｐゴシック" charset="0"/>
                          <a:cs typeface="Arial" charset="0"/>
                        </a:rPr>
                        <a:t> Netherlands, </a:t>
                      </a:r>
                      <a:r>
                        <a:rPr kumimoji="0" lang="en-US" sz="1150" b="0" i="0" u="none" strike="noStrike" cap="none" normalizeH="0" baseline="0" dirty="0" smtClean="0">
                          <a:ln>
                            <a:noFill/>
                          </a:ln>
                          <a:solidFill>
                            <a:srgbClr val="FFFFFF"/>
                          </a:solidFill>
                          <a:effectLst/>
                          <a:latin typeface="Arial"/>
                          <a:ea typeface="ＭＳ Ｐゴシック" charset="0"/>
                          <a:cs typeface="Arial"/>
                        </a:rPr>
                        <a:t>Norway,</a:t>
                      </a:r>
                      <a:r>
                        <a:rPr kumimoji="0" lang="en-US" sz="1150" b="0" i="0" u="none" strike="noStrike" cap="none" normalizeH="0" baseline="0" dirty="0" smtClean="0">
                          <a:ln>
                            <a:noFill/>
                          </a:ln>
                          <a:solidFill>
                            <a:srgbClr val="FFFF00"/>
                          </a:solidFill>
                          <a:effectLst/>
                          <a:latin typeface="Arial" charset="0"/>
                          <a:ea typeface="ＭＳ Ｐゴシック" charset="0"/>
                          <a:cs typeface="Arial" charset="0"/>
                        </a:rPr>
                        <a:t> </a:t>
                      </a:r>
                      <a:r>
                        <a:rPr kumimoji="0" lang="en-US" sz="1150" b="0" i="0" u="none" strike="noStrike" cap="none" normalizeH="0" baseline="0" dirty="0" smtClean="0">
                          <a:ln>
                            <a:noFill/>
                          </a:ln>
                          <a:solidFill>
                            <a:srgbClr val="FFFFFF"/>
                          </a:solidFill>
                          <a:effectLst/>
                          <a:latin typeface="Arial"/>
                          <a:ea typeface="ＭＳ Ｐゴシック" charset="0"/>
                          <a:cs typeface="Arial"/>
                        </a:rPr>
                        <a:t>Papua New Guinea, </a:t>
                      </a:r>
                      <a:r>
                        <a:rPr kumimoji="0" lang="en-US" sz="1150" b="0" i="0" u="none" strike="noStrike" cap="none" normalizeH="0" baseline="0" dirty="0" smtClean="0">
                          <a:ln>
                            <a:noFill/>
                          </a:ln>
                          <a:solidFill>
                            <a:schemeClr val="bg1"/>
                          </a:solidFill>
                          <a:effectLst/>
                          <a:latin typeface="Arial" charset="0"/>
                          <a:ea typeface="ＭＳ Ｐゴシック" charset="0"/>
                          <a:cs typeface="Arial" charset="0"/>
                        </a:rPr>
                        <a:t>Poland, Portugal, </a:t>
                      </a:r>
                      <a:r>
                        <a:rPr lang="en-US" sz="1150" dirty="0" smtClean="0">
                          <a:solidFill>
                            <a:srgbClr val="FFFFFF"/>
                          </a:solidFill>
                          <a:latin typeface="Arial"/>
                          <a:cs typeface="Arial"/>
                        </a:rPr>
                        <a:t>Romania,</a:t>
                      </a:r>
                      <a:r>
                        <a:rPr lang="en-US" sz="1150" baseline="0" dirty="0" smtClean="0">
                          <a:solidFill>
                            <a:srgbClr val="FFFFFF"/>
                          </a:solidFill>
                          <a:latin typeface="Arial"/>
                          <a:cs typeface="Arial"/>
                        </a:rPr>
                        <a:t> </a:t>
                      </a:r>
                      <a:r>
                        <a:rPr kumimoji="0" lang="en-US" sz="1150" b="0" i="0" u="none" strike="noStrike" cap="none" normalizeH="0" baseline="0" dirty="0" smtClean="0">
                          <a:ln>
                            <a:noFill/>
                          </a:ln>
                          <a:solidFill>
                            <a:srgbClr val="FFFFFF"/>
                          </a:solidFill>
                          <a:effectLst/>
                          <a:latin typeface="Arial"/>
                          <a:ea typeface="ＭＳ Ｐゴシック" charset="0"/>
                          <a:cs typeface="Arial"/>
                        </a:rPr>
                        <a:t>Rwanda,</a:t>
                      </a:r>
                      <a:r>
                        <a:rPr kumimoji="0" lang="en-US" sz="1150" b="0" i="0" u="none" strike="noStrike" cap="none" normalizeH="0" baseline="0" dirty="0" smtClean="0">
                          <a:ln>
                            <a:noFill/>
                          </a:ln>
                          <a:solidFill>
                            <a:srgbClr val="C20202"/>
                          </a:solidFill>
                          <a:effectLst/>
                          <a:latin typeface="Arial" charset="0"/>
                          <a:ea typeface="ＭＳ Ｐゴシック" charset="0"/>
                          <a:cs typeface="Arial" charset="0"/>
                        </a:rPr>
                        <a:t> </a:t>
                      </a:r>
                      <a:r>
                        <a:rPr kumimoji="0" lang="en-US" sz="1150" b="0" i="0" u="none" strike="noStrike" cap="none" normalizeH="0" baseline="0" dirty="0" smtClean="0">
                          <a:ln>
                            <a:noFill/>
                          </a:ln>
                          <a:solidFill>
                            <a:srgbClr val="FFFFFF"/>
                          </a:solidFill>
                          <a:effectLst/>
                          <a:latin typeface="Arial"/>
                          <a:ea typeface="ＭＳ Ｐゴシック" charset="0"/>
                          <a:cs typeface="Arial"/>
                        </a:rPr>
                        <a:t>South Africa, </a:t>
                      </a:r>
                      <a:r>
                        <a:rPr kumimoji="0" lang="en-US" sz="1150" b="0" i="0" u="none" strike="noStrike" cap="none" normalizeH="0" baseline="0" dirty="0" smtClean="0">
                          <a:ln>
                            <a:noFill/>
                          </a:ln>
                          <a:solidFill>
                            <a:schemeClr val="bg1"/>
                          </a:solidFill>
                          <a:effectLst/>
                          <a:latin typeface="Arial" charset="0"/>
                          <a:ea typeface="ＭＳ Ｐゴシック" charset="0"/>
                          <a:cs typeface="Arial" charset="0"/>
                        </a:rPr>
                        <a:t>Spain, </a:t>
                      </a:r>
                      <a:r>
                        <a:rPr kumimoji="0" lang="en-US" sz="1150" b="0" i="0" u="none" strike="noStrike" cap="none" normalizeH="0" baseline="0" dirty="0" smtClean="0">
                          <a:ln>
                            <a:noFill/>
                          </a:ln>
                          <a:solidFill>
                            <a:schemeClr val="bg1"/>
                          </a:solidFill>
                          <a:effectLst/>
                          <a:latin typeface="Arial"/>
                          <a:ea typeface="ＭＳ Ｐゴシック" charset="0"/>
                          <a:cs typeface="Arial"/>
                        </a:rPr>
                        <a:t>Sri Lanka, </a:t>
                      </a:r>
                      <a:r>
                        <a:rPr kumimoji="0" lang="en-US" sz="1150" b="0" i="0" u="none" strike="noStrike" cap="none" normalizeH="0" baseline="0" dirty="0" smtClean="0">
                          <a:ln>
                            <a:noFill/>
                          </a:ln>
                          <a:solidFill>
                            <a:schemeClr val="bg1"/>
                          </a:solidFill>
                          <a:effectLst/>
                          <a:latin typeface="Arial" charset="0"/>
                          <a:ea typeface="ＭＳ Ｐゴシック" charset="0"/>
                          <a:cs typeface="Arial" charset="0"/>
                        </a:rPr>
                        <a:t>Sweden, </a:t>
                      </a:r>
                      <a:r>
                        <a:rPr kumimoji="0" lang="en-US" sz="1150" b="0" i="0" u="none" strike="noStrike" cap="none" normalizeH="0" baseline="0" dirty="0" smtClean="0">
                          <a:ln>
                            <a:noFill/>
                          </a:ln>
                          <a:solidFill>
                            <a:schemeClr val="bg1"/>
                          </a:solidFill>
                          <a:effectLst/>
                          <a:latin typeface="Arial"/>
                          <a:ea typeface="ＭＳ Ｐゴシック" charset="0"/>
                          <a:cs typeface="Arial"/>
                        </a:rPr>
                        <a:t>Switzerland</a:t>
                      </a:r>
                      <a:r>
                        <a:rPr kumimoji="0" lang="en-US" sz="1150" b="0" i="0" u="none" strike="noStrike" cap="none" normalizeH="0" baseline="0" dirty="0" smtClean="0">
                          <a:ln>
                            <a:noFill/>
                          </a:ln>
                          <a:solidFill>
                            <a:srgbClr val="FFFFFF"/>
                          </a:solidFill>
                          <a:effectLst/>
                          <a:latin typeface="Arial"/>
                          <a:ea typeface="ＭＳ Ｐゴシック" charset="0"/>
                          <a:cs typeface="Arial"/>
                        </a:rPr>
                        <a:t>, </a:t>
                      </a:r>
                      <a:r>
                        <a:rPr kumimoji="0" lang="en-US" sz="1150" b="0" i="0" u="none" strike="noStrike" cap="none" normalizeH="0" baseline="0" dirty="0" smtClean="0">
                          <a:ln>
                            <a:noFill/>
                          </a:ln>
                          <a:solidFill>
                            <a:srgbClr val="FFFFFF"/>
                          </a:solidFill>
                          <a:effectLst/>
                          <a:latin typeface="Arial" charset="0"/>
                          <a:ea typeface="ＭＳ Ｐゴシック" charset="0"/>
                          <a:cs typeface="Arial" charset="0"/>
                        </a:rPr>
                        <a:t>Thailand,</a:t>
                      </a:r>
                      <a:r>
                        <a:rPr kumimoji="0" lang="en-US" sz="1150" b="0" i="0" u="none" strike="noStrike" cap="none" normalizeH="0" baseline="0" dirty="0" smtClean="0">
                          <a:ln>
                            <a:noFill/>
                          </a:ln>
                          <a:solidFill>
                            <a:schemeClr val="tx1"/>
                          </a:solidFill>
                          <a:effectLst/>
                          <a:latin typeface="Arial" charset="0"/>
                          <a:ea typeface="ＭＳ Ｐゴシック" charset="0"/>
                          <a:cs typeface="Arial" charset="0"/>
                        </a:rPr>
                        <a:t> </a:t>
                      </a:r>
                      <a:r>
                        <a:rPr kumimoji="0" lang="en-US" sz="1150" b="0" i="0" u="none" strike="noStrike" cap="none" normalizeH="0" baseline="0" dirty="0" smtClean="0">
                          <a:ln>
                            <a:noFill/>
                          </a:ln>
                          <a:solidFill>
                            <a:srgbClr val="FFFFFF"/>
                          </a:solidFill>
                          <a:effectLst/>
                          <a:latin typeface="Arial" charset="0"/>
                          <a:ea typeface="ＭＳ Ｐゴシック" charset="0"/>
                          <a:cs typeface="Arial" charset="0"/>
                        </a:rPr>
                        <a:t>Turkey, Uganda, United Kingdom, United States, </a:t>
                      </a:r>
                      <a:r>
                        <a:rPr kumimoji="0" lang="en-US" sz="1150" b="0" i="0" u="none" strike="noStrike" cap="none" normalizeH="0" baseline="0" dirty="0" smtClean="0">
                          <a:ln>
                            <a:noFill/>
                          </a:ln>
                          <a:solidFill>
                            <a:srgbClr val="FFFFFF"/>
                          </a:solidFill>
                          <a:effectLst/>
                          <a:latin typeface="Arial"/>
                          <a:ea typeface="ＭＳ Ｐゴシック" charset="0"/>
                          <a:cs typeface="Arial"/>
                        </a:rPr>
                        <a:t>Zambia, </a:t>
                      </a:r>
                      <a:r>
                        <a:rPr kumimoji="0" lang="en-US" sz="1150" b="0" i="0" u="none" strike="noStrike" cap="none" normalizeH="0" baseline="0" dirty="0" smtClean="0">
                          <a:ln>
                            <a:noFill/>
                          </a:ln>
                          <a:solidFill>
                            <a:schemeClr val="bg1"/>
                          </a:solidFill>
                          <a:effectLst/>
                          <a:latin typeface="Arial"/>
                          <a:ea typeface="ＭＳ Ｐゴシック" charset="0"/>
                          <a:cs typeface="Arial"/>
                        </a:rPr>
                        <a:t>Zimbabwe</a:t>
                      </a:r>
                      <a:r>
                        <a:rPr kumimoji="0" lang="en-US" sz="1150" b="0" i="0" u="none" strike="noStrike" cap="none" normalizeH="0" baseline="0" dirty="0" smtClean="0">
                          <a:ln>
                            <a:noFill/>
                          </a:ln>
                          <a:solidFill>
                            <a:srgbClr val="FFFF00"/>
                          </a:solidFill>
                          <a:effectLst/>
                          <a:latin typeface="Arial" charset="0"/>
                          <a:ea typeface="ＭＳ Ｐゴシック" charset="0"/>
                          <a:cs typeface="Arial" charset="0"/>
                        </a:rPr>
                        <a:t>,</a:t>
                      </a:r>
                      <a:r>
                        <a:rPr kumimoji="0" lang="en-US" sz="1150" b="0" i="0" u="none" strike="noStrike" cap="none" normalizeH="0" baseline="0" dirty="0" smtClean="0">
                          <a:ln>
                            <a:noFill/>
                          </a:ln>
                          <a:solidFill>
                            <a:srgbClr val="FFFFFF"/>
                          </a:solidFill>
                          <a:effectLst/>
                          <a:latin typeface="Arial"/>
                          <a:ea typeface="ＭＳ Ｐゴシック" charset="0"/>
                          <a:cs typeface="Arial"/>
                        </a:rPr>
                        <a:t> </a:t>
                      </a:r>
                      <a:r>
                        <a:rPr kumimoji="0" lang="en-US" sz="1150" b="0" i="0" u="none" strike="noStrike" cap="none" normalizeH="0" baseline="0" dirty="0" smtClean="0">
                          <a:ln>
                            <a:noFill/>
                          </a:ln>
                          <a:solidFill>
                            <a:srgbClr val="FFFF00"/>
                          </a:solidFill>
                          <a:effectLst/>
                          <a:latin typeface="Arial"/>
                          <a:ea typeface="ＭＳ Ｐゴシック" charset="0"/>
                          <a:cs typeface="Arial"/>
                        </a:rPr>
                        <a:t>Bahamas, Barbados, Cameroon, Cyprus, Czech Republic, Democratic Republic of Congo, Estonia, Ethiopia, Fiji, Finland, Greece, Hungary, Iceland, Ireland, Malta, Mongolia, Myanmar, Nigeria, Panama, Serbia, Slovakia, Slovenia, Solomon Islands, Timor-Leste, Vanuatu</a:t>
                      </a:r>
                      <a:endParaRPr kumimoji="0" lang="en-US" sz="1150" b="0" i="0" u="none" strike="noStrike" cap="none" normalizeH="0" baseline="0" dirty="0">
                        <a:ln>
                          <a:noFill/>
                        </a:ln>
                        <a:solidFill>
                          <a:srgbClr val="FFFF00"/>
                        </a:solidFill>
                        <a:effectLst/>
                        <a:latin typeface="Arial" charset="0"/>
                        <a:ea typeface="ＭＳ Ｐゴシック" charset="0"/>
                        <a:cs typeface="Arial" charset="0"/>
                      </a:endParaRPr>
                    </a:p>
                  </a:txBody>
                  <a:tcPr marL="12701" marR="12701" marT="12695" marB="0" anchor="ctr" horzOverflow="overflow">
                    <a:lnL w="12700" cap="flat" cmpd="sng" algn="ctr">
                      <a:solidFill>
                        <a:prstClr val="white"/>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r>
              <a:tr h="372902">
                <a:tc>
                  <a:txBody>
                    <a:bodyPr/>
                    <a:lstStyle/>
                    <a:p>
                      <a:pPr algn="ctr"/>
                      <a:r>
                        <a:rPr lang="en-US" sz="1200" dirty="0" smtClean="0">
                          <a:solidFill>
                            <a:schemeClr val="bg1"/>
                          </a:solidFill>
                          <a:latin typeface="Arial"/>
                          <a:cs typeface="Arial"/>
                        </a:rPr>
                        <a:t>Consider for CD4 &gt;500</a:t>
                      </a:r>
                      <a:endParaRPr lang="en-US" sz="1200" dirty="0">
                        <a:solidFill>
                          <a:schemeClr val="bg1"/>
                        </a:solidFill>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Arial"/>
                          <a:ea typeface="ＭＳ Ｐゴシック" charset="0"/>
                          <a:cs typeface="Arial"/>
                        </a:rPr>
                        <a:t>5</a:t>
                      </a:r>
                    </a:p>
                  </a:txBody>
                  <a:tcPr marL="12701" marR="12701" marT="12695"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a:ea typeface="ＭＳ Ｐゴシック" charset="0"/>
                          <a:cs typeface="Arial"/>
                        </a:rPr>
                        <a:t>268,000 (0.7%</a:t>
                      </a:r>
                      <a:r>
                        <a:rPr kumimoji="0" lang="en-US" sz="1200" b="0" i="0" u="none" strike="noStrike" cap="none" normalizeH="0" baseline="0" dirty="0">
                          <a:ln>
                            <a:noFill/>
                          </a:ln>
                          <a:solidFill>
                            <a:srgbClr val="FFFFFF"/>
                          </a:solidFill>
                          <a:effectLst/>
                          <a:latin typeface="Arial"/>
                          <a:ea typeface="ＭＳ Ｐゴシック" charset="0"/>
                          <a:cs typeface="Arial"/>
                        </a:rPr>
                        <a:t>)</a:t>
                      </a:r>
                    </a:p>
                  </a:txBody>
                  <a:tcPr marL="12701" marR="12701" marT="12695"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1150" b="0" i="0" u="none" strike="noStrike" cap="none" normalizeH="0" baseline="0" dirty="0" smtClean="0">
                          <a:ln>
                            <a:noFill/>
                          </a:ln>
                          <a:solidFill>
                            <a:srgbClr val="FFFFFF"/>
                          </a:solidFill>
                          <a:effectLst/>
                          <a:latin typeface="Arial"/>
                          <a:ea typeface="ＭＳ Ｐゴシック" charset="0"/>
                          <a:cs typeface="Arial"/>
                        </a:rPr>
                        <a:t>Colombia, Guyana</a:t>
                      </a:r>
                      <a:r>
                        <a:rPr kumimoji="0" lang="en-US" sz="1150" b="0" i="0" u="none" strike="noStrike" cap="none" normalizeH="0" baseline="0" dirty="0">
                          <a:ln>
                            <a:noFill/>
                          </a:ln>
                          <a:solidFill>
                            <a:srgbClr val="FFFFFF"/>
                          </a:solidFill>
                          <a:effectLst/>
                          <a:latin typeface="Arial"/>
                          <a:ea typeface="ＭＳ Ｐゴシック" charset="0"/>
                          <a:cs typeface="Arial"/>
                        </a:rPr>
                        <a:t>, Hong Kong, </a:t>
                      </a:r>
                      <a:r>
                        <a:rPr kumimoji="0" lang="en-US" sz="1150" b="0" i="0" u="none" strike="noStrike" cap="none" normalizeH="0" baseline="0" dirty="0" smtClean="0">
                          <a:ln>
                            <a:noFill/>
                          </a:ln>
                          <a:solidFill>
                            <a:srgbClr val="FFFF00"/>
                          </a:solidFill>
                          <a:effectLst/>
                          <a:latin typeface="Arial"/>
                          <a:ea typeface="ＭＳ Ｐゴシック" charset="0"/>
                          <a:cs typeface="Arial"/>
                        </a:rPr>
                        <a:t>New Zealand, </a:t>
                      </a:r>
                      <a:r>
                        <a:rPr kumimoji="0" lang="en-US" sz="1150" b="0" i="0" u="none" strike="noStrike" cap="none" normalizeH="0" baseline="0" dirty="0" smtClean="0">
                          <a:ln>
                            <a:noFill/>
                          </a:ln>
                          <a:solidFill>
                            <a:srgbClr val="FFFFFF"/>
                          </a:solidFill>
                          <a:effectLst/>
                          <a:latin typeface="Arial"/>
                          <a:ea typeface="ＭＳ Ｐゴシック" charset="0"/>
                          <a:cs typeface="Arial"/>
                        </a:rPr>
                        <a:t>Venezuela</a:t>
                      </a:r>
                    </a:p>
                  </a:txBody>
                  <a:tcPr marL="12701" marR="12701" marT="12695" marB="0" anchor="ctr" horzOverflow="overflow">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r>
              <a:tr h="1259356">
                <a:tc>
                  <a:txBody>
                    <a:bodyPr/>
                    <a:lstStyle/>
                    <a:p>
                      <a:pPr algn="ctr"/>
                      <a:r>
                        <a:rPr lang="en-US" sz="1200" dirty="0" smtClean="0">
                          <a:solidFill>
                            <a:schemeClr val="bg1"/>
                          </a:solidFill>
                          <a:latin typeface="Arial"/>
                          <a:cs typeface="Arial"/>
                        </a:rPr>
                        <a:t>≤500</a:t>
                      </a:r>
                      <a:endParaRPr lang="en-US" sz="1200" dirty="0">
                        <a:solidFill>
                          <a:schemeClr val="bg1"/>
                        </a:solidFill>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a:ea typeface="ＭＳ Ｐゴシック" charset="0"/>
                          <a:cs typeface="Arial"/>
                        </a:rPr>
                        <a:t>51</a:t>
                      </a:r>
                      <a:endParaRPr kumimoji="0" lang="en-US" sz="1200" b="1" i="0" u="none" strike="noStrike" cap="none" normalizeH="0" baseline="0" dirty="0">
                        <a:ln>
                          <a:noFill/>
                        </a:ln>
                        <a:solidFill>
                          <a:srgbClr val="FFFFFF"/>
                        </a:solidFill>
                        <a:effectLst/>
                        <a:latin typeface="Arial"/>
                        <a:ea typeface="ＭＳ Ｐゴシック" charset="0"/>
                        <a:cs typeface="Arial"/>
                      </a:endParaRPr>
                    </a:p>
                  </a:txBody>
                  <a:tcPr marL="12701" marR="12701" marT="12695"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a:ea typeface="ＭＳ Ｐゴシック" charset="0"/>
                          <a:cs typeface="Arial"/>
                        </a:rPr>
                        <a:t>4,907,500</a:t>
                      </a:r>
                      <a:endParaRPr kumimoji="0" lang="en-US" sz="1200" b="0" i="0" u="none" strike="noStrike" cap="none" normalizeH="0" baseline="0" dirty="0">
                        <a:ln>
                          <a:noFill/>
                        </a:ln>
                        <a:solidFill>
                          <a:srgbClr val="FFFFFF"/>
                        </a:solidFill>
                        <a:effectLst/>
                        <a:latin typeface="Arial"/>
                        <a:ea typeface="ＭＳ Ｐゴシック" charset="0"/>
                        <a:cs typeface="Arial"/>
                      </a:endParaRPr>
                    </a:p>
                    <a:p>
                      <a:pPr marL="0" marR="0" lvl="0" indent="0" algn="ctr" defTabSz="6858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a:ea typeface="ＭＳ Ｐゴシック" charset="0"/>
                          <a:cs typeface="Arial"/>
                        </a:rPr>
                        <a:t>(13%</a:t>
                      </a:r>
                      <a:r>
                        <a:rPr kumimoji="0" lang="en-US" sz="1200" b="0" i="0" u="none" strike="noStrike" cap="none" normalizeH="0" baseline="0" dirty="0">
                          <a:ln>
                            <a:noFill/>
                          </a:ln>
                          <a:solidFill>
                            <a:srgbClr val="FFFFFF"/>
                          </a:solidFill>
                          <a:effectLst/>
                          <a:latin typeface="Arial"/>
                          <a:ea typeface="ＭＳ Ｐゴシック" charset="0"/>
                          <a:cs typeface="Arial"/>
                        </a:rPr>
                        <a:t>)</a:t>
                      </a:r>
                    </a:p>
                  </a:txBody>
                  <a:tcPr marL="12701" marR="12701" marT="12695"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50" b="0" i="0" u="none" strike="noStrike" cap="none" normalizeH="0" baseline="0" dirty="0" smtClean="0">
                          <a:ln>
                            <a:noFill/>
                          </a:ln>
                          <a:solidFill>
                            <a:srgbClr val="FFFFFF"/>
                          </a:solidFill>
                          <a:effectLst/>
                          <a:latin typeface="Arial"/>
                          <a:ea typeface="ＭＳ Ｐゴシック" charset="0"/>
                          <a:cs typeface="Arial"/>
                        </a:rPr>
                        <a:t> Algeria, Bangladesh, Bhutan, Bolivia, Chile, Ecuador, El Salvador, Gabon, </a:t>
                      </a:r>
                      <a:r>
                        <a:rPr kumimoji="0" lang="en-US" sz="1150" b="0" i="0" u="none" strike="noStrike" cap="none" normalizeH="0" baseline="0" dirty="0" smtClean="0">
                          <a:ln>
                            <a:noFill/>
                          </a:ln>
                          <a:solidFill>
                            <a:schemeClr val="bg1"/>
                          </a:solidFill>
                          <a:effectLst/>
                          <a:latin typeface="Arial"/>
                          <a:ea typeface="ＭＳ Ｐゴシック" charset="0"/>
                          <a:cs typeface="Arial"/>
                        </a:rPr>
                        <a:t>Honduras, Liberia, Madagascar</a:t>
                      </a:r>
                      <a:r>
                        <a:rPr kumimoji="0" lang="en-US" sz="1150" b="0" i="0" u="none" strike="noStrike" cap="none" normalizeH="0" baseline="0" dirty="0" smtClean="0">
                          <a:ln>
                            <a:noFill/>
                          </a:ln>
                          <a:solidFill>
                            <a:srgbClr val="FFFFFF"/>
                          </a:solidFill>
                          <a:effectLst/>
                          <a:latin typeface="Arial"/>
                          <a:ea typeface="ＭＳ Ｐゴシック" charset="0"/>
                          <a:cs typeface="Arial"/>
                        </a:rPr>
                        <a:t>, Mali, Mauritania, Moldova, Nepal, Oman, Pakistan, Peru, Russia, South Sudan, Sudan, Swaziland, Tanzania, Tunisia, Ukraine, Uruguay, Viet Nam, </a:t>
                      </a:r>
                      <a:r>
                        <a:rPr kumimoji="0" lang="en-US" sz="1150" b="0" i="0" u="none" strike="noStrike" cap="none" normalizeH="0" baseline="0" dirty="0" smtClean="0">
                          <a:ln>
                            <a:noFill/>
                          </a:ln>
                          <a:solidFill>
                            <a:srgbClr val="FFFF00"/>
                          </a:solidFill>
                          <a:effectLst/>
                          <a:latin typeface="Arial"/>
                          <a:ea typeface="ＭＳ Ｐゴシック" charset="0"/>
                          <a:cs typeface="Arial"/>
                        </a:rPr>
                        <a:t>Antigua and Barbuda, Armenia, Belgium, Belize, Bulgaria, Central African Republic, Chad, Costa Rica, Cuba, Dominica, Dominican Republic, Grenada, Guatemala, Luxemburg, Mauritius, Morocco, Palau, Saint Kitts and Nevis, Saint Lucia, Saint Vincent and the Grenadines, Saudi Arabia, Trinidad and Tobago, Uzbekistan, Yemen</a:t>
                      </a:r>
                    </a:p>
                  </a:txBody>
                  <a:tcPr marL="12701" marR="12701" marT="12695" marB="0" anchor="ctr" horzOverflow="overflow">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r>
              <a:tr h="271858">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dirty="0" smtClean="0">
                          <a:solidFill>
                            <a:schemeClr val="bg1"/>
                          </a:solidFill>
                          <a:latin typeface="Arial"/>
                          <a:cs typeface="Arial"/>
                        </a:rPr>
                        <a:t>≤350 (consider for CD4 ≤ 500)</a:t>
                      </a:r>
                    </a:p>
                  </a:txBody>
                  <a:tcPr marL="12700" marR="12700" marT="12698" marB="0" anchor="ctr">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Arial"/>
                          <a:ea typeface="ＭＳ Ｐゴシック" charset="0"/>
                          <a:cs typeface="Arial"/>
                        </a:rPr>
                        <a:t>2</a:t>
                      </a:r>
                    </a:p>
                  </a:txBody>
                  <a:tcPr marL="12701" marR="12701" marT="12695"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a:ea typeface="ＭＳ Ｐゴシック" charset="0"/>
                          <a:cs typeface="Arial"/>
                        </a:rPr>
                        <a:t>162,000 (0.4%</a:t>
                      </a:r>
                      <a:r>
                        <a:rPr kumimoji="0" lang="en-US" sz="1200" b="0" i="0" u="none" strike="noStrike" cap="none" normalizeH="0" baseline="0" dirty="0">
                          <a:ln>
                            <a:noFill/>
                          </a:ln>
                          <a:solidFill>
                            <a:srgbClr val="FFFFFF"/>
                          </a:solidFill>
                          <a:effectLst/>
                          <a:latin typeface="Arial"/>
                          <a:ea typeface="ＭＳ Ｐゴシック" charset="0"/>
                          <a:cs typeface="Arial"/>
                        </a:rPr>
                        <a:t>)</a:t>
                      </a:r>
                    </a:p>
                  </a:txBody>
                  <a:tcPr marL="12701" marR="12701" marT="12695"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150" b="0" i="0" u="none" strike="noStrike" cap="none" normalizeH="0" baseline="0" dirty="0" smtClean="0">
                          <a:ln>
                            <a:noFill/>
                          </a:ln>
                          <a:solidFill>
                            <a:srgbClr val="FFFFFF"/>
                          </a:solidFill>
                          <a:effectLst/>
                          <a:latin typeface="Arial"/>
                          <a:ea typeface="ＭＳ Ｐゴシック" charset="0"/>
                          <a:cs typeface="Arial"/>
                        </a:rPr>
                        <a:t>Guinea, Philippines</a:t>
                      </a:r>
                      <a:endParaRPr kumimoji="0" lang="en-US" sz="1150" b="0" i="0" u="none" strike="noStrike" cap="none" normalizeH="0" baseline="0" dirty="0">
                        <a:ln>
                          <a:noFill/>
                        </a:ln>
                        <a:solidFill>
                          <a:srgbClr val="FFFFFF"/>
                        </a:solidFill>
                        <a:effectLst/>
                        <a:latin typeface="Arial"/>
                        <a:ea typeface="ＭＳ Ｐゴシック" charset="0"/>
                        <a:cs typeface="Arial"/>
                      </a:endParaRPr>
                    </a:p>
                  </a:txBody>
                  <a:tcPr marL="12701" marR="12701" marT="12695" marB="0" anchor="ctr" horzOverflow="overflow">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r>
              <a:tr h="999559">
                <a:tc>
                  <a:txBody>
                    <a:bodyPr/>
                    <a:lstStyle/>
                    <a:p>
                      <a:pPr algn="ctr"/>
                      <a:r>
                        <a:rPr lang="en-US" sz="1200" dirty="0" smtClean="0">
                          <a:solidFill>
                            <a:schemeClr val="bg1"/>
                          </a:solidFill>
                          <a:latin typeface="Arial"/>
                          <a:cs typeface="Arial"/>
                        </a:rPr>
                        <a:t>≤350</a:t>
                      </a:r>
                      <a:endParaRPr lang="en-US" sz="1200" dirty="0">
                        <a:solidFill>
                          <a:schemeClr val="bg1"/>
                        </a:solidFill>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a:ea typeface="ＭＳ Ｐゴシック" charset="0"/>
                          <a:cs typeface="Arial"/>
                        </a:rPr>
                        <a:t>39</a:t>
                      </a:r>
                      <a:endParaRPr kumimoji="0" lang="en-US" sz="1200" b="1" i="0" u="none" strike="noStrike" cap="none" normalizeH="0" baseline="0" dirty="0">
                        <a:ln>
                          <a:noFill/>
                        </a:ln>
                        <a:solidFill>
                          <a:srgbClr val="FFFFFF"/>
                        </a:solidFill>
                        <a:effectLst/>
                        <a:latin typeface="Arial"/>
                        <a:ea typeface="ＭＳ Ｐゴシック" charset="0"/>
                        <a:cs typeface="Arial"/>
                      </a:endParaRPr>
                    </a:p>
                  </a:txBody>
                  <a:tcPr marL="12701" marR="12701" marT="12695"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a:ea typeface="ＭＳ Ｐゴシック" charset="0"/>
                          <a:cs typeface="Arial"/>
                        </a:rPr>
                        <a:t>2,646,500 </a:t>
                      </a:r>
                      <a:endParaRPr kumimoji="0" lang="en-US" sz="1200" b="0" i="0" u="none" strike="noStrike" cap="none" normalizeH="0" baseline="0" dirty="0">
                        <a:ln>
                          <a:noFill/>
                        </a:ln>
                        <a:solidFill>
                          <a:srgbClr val="FFFFFF"/>
                        </a:solidFill>
                        <a:effectLst/>
                        <a:latin typeface="Arial"/>
                        <a:ea typeface="ＭＳ Ｐゴシック" charset="0"/>
                        <a:cs typeface="Arial"/>
                      </a:endParaRP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a:ea typeface="ＭＳ Ｐゴシック" charset="0"/>
                          <a:cs typeface="Arial"/>
                        </a:rPr>
                        <a:t>(7%</a:t>
                      </a:r>
                      <a:r>
                        <a:rPr kumimoji="0" lang="en-US" sz="1200" b="0" i="0" u="none" strike="noStrike" cap="none" normalizeH="0" baseline="0" dirty="0">
                          <a:ln>
                            <a:noFill/>
                          </a:ln>
                          <a:solidFill>
                            <a:srgbClr val="FFFFFF"/>
                          </a:solidFill>
                          <a:effectLst/>
                          <a:latin typeface="Arial"/>
                          <a:ea typeface="ＭＳ Ｐゴシック" charset="0"/>
                          <a:cs typeface="Arial"/>
                        </a:rPr>
                        <a:t>)</a:t>
                      </a:r>
                    </a:p>
                  </a:txBody>
                  <a:tcPr marL="12701" marR="12701" marT="12695"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150" b="0" i="0" u="none" strike="noStrike" cap="none" normalizeH="0" baseline="0" dirty="0" smtClean="0">
                          <a:ln>
                            <a:noFill/>
                          </a:ln>
                          <a:solidFill>
                            <a:srgbClr val="FFFFFF"/>
                          </a:solidFill>
                          <a:effectLst/>
                          <a:latin typeface="Arial"/>
                          <a:ea typeface="ＭＳ Ｐゴシック" charset="0"/>
                          <a:cs typeface="Arial"/>
                        </a:rPr>
                        <a:t>Afghanistan, Angola, Benin, Burkina Faso, Canada, Cote d’Ivoire, Djibouti, Ghana, Indonesia, Kazakhstan, Latvia, Marshall Islands, Nicaragua, Niger, Paraguay, Samoa, Sierra Leone, Tuvalu, </a:t>
                      </a:r>
                      <a:r>
                        <a:rPr kumimoji="0" lang="en-US" sz="1150" b="0" i="0" u="none" strike="noStrike" cap="none" normalizeH="0" baseline="0" dirty="0" smtClean="0">
                          <a:ln>
                            <a:noFill/>
                          </a:ln>
                          <a:solidFill>
                            <a:srgbClr val="FFFF00"/>
                          </a:solidFill>
                          <a:effectLst/>
                          <a:latin typeface="Arial"/>
                          <a:ea typeface="ＭＳ Ｐゴシック" charset="0"/>
                          <a:cs typeface="Arial"/>
                        </a:rPr>
                        <a:t>Albania, Azerbaijan, British Virgin Islands, Cape Verde, Comoros, Congo, Egypt, Equatorial Guinea, Eritrea, Gambia, Guinea- Bissau, Iran,  Kyrgyzstan, Lithuania, Sao Tome, Senegal, Seychelles, Somalia, Tajikistan, Togo, Turkmenistan</a:t>
                      </a:r>
                      <a:endParaRPr kumimoji="0" lang="en-US" sz="1150" b="0" i="0" u="none" strike="noStrike" cap="none" normalizeH="0" baseline="0" dirty="0">
                        <a:ln>
                          <a:noFill/>
                        </a:ln>
                        <a:solidFill>
                          <a:srgbClr val="FFFF00"/>
                        </a:solidFill>
                        <a:effectLst/>
                        <a:latin typeface="Arial"/>
                        <a:ea typeface="ＭＳ Ｐゴシック" charset="0"/>
                        <a:cs typeface="Arial"/>
                      </a:endParaRPr>
                    </a:p>
                  </a:txBody>
                  <a:tcPr marL="12701" marR="12701" marT="12695" marB="0" anchor="ctr" horzOverflow="overflow">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r>
              <a:tr h="28429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dirty="0" smtClean="0">
                          <a:solidFill>
                            <a:schemeClr val="bg1"/>
                          </a:solidFill>
                          <a:latin typeface="Arial"/>
                          <a:cs typeface="Arial"/>
                        </a:rPr>
                        <a:t>≤300</a:t>
                      </a:r>
                    </a:p>
                  </a:txBody>
                  <a:tcPr marL="12700" marR="12700" marT="12698" marB="0" anchor="ctr">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Arial"/>
                          <a:ea typeface="ＭＳ Ｐゴシック" charset="0"/>
                          <a:cs typeface="Arial"/>
                        </a:rPr>
                        <a:t>1</a:t>
                      </a:r>
                    </a:p>
                  </a:txBody>
                  <a:tcPr marL="12701" marR="12701" marT="12695"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a:ea typeface="ＭＳ Ｐゴシック" charset="0"/>
                          <a:cs typeface="Arial"/>
                        </a:rPr>
                        <a:t>200 </a:t>
                      </a:r>
                      <a:r>
                        <a:rPr kumimoji="0" lang="en-US" sz="1200" b="0" i="0" u="none" strike="noStrike" cap="none" normalizeH="0" baseline="0" dirty="0">
                          <a:ln>
                            <a:noFill/>
                          </a:ln>
                          <a:solidFill>
                            <a:srgbClr val="FFFFFF"/>
                          </a:solidFill>
                          <a:effectLst/>
                          <a:latin typeface="Arial"/>
                          <a:ea typeface="ＭＳ Ｐゴシック" charset="0"/>
                          <a:cs typeface="Arial"/>
                        </a:rPr>
                        <a:t>(</a:t>
                      </a:r>
                      <a:r>
                        <a:rPr kumimoji="0" lang="en-US" sz="1200" b="0" i="0" u="none" strike="noStrike" cap="none" normalizeH="0" baseline="0" dirty="0" smtClean="0">
                          <a:ln>
                            <a:noFill/>
                          </a:ln>
                          <a:solidFill>
                            <a:srgbClr val="FFFFFF"/>
                          </a:solidFill>
                          <a:effectLst/>
                          <a:latin typeface="Arial"/>
                          <a:ea typeface="ＭＳ Ｐゴシック" charset="0"/>
                          <a:cs typeface="Arial"/>
                        </a:rPr>
                        <a:t>0%</a:t>
                      </a:r>
                      <a:r>
                        <a:rPr kumimoji="0" lang="en-US" sz="1200" b="0" i="0" u="none" strike="noStrike" cap="none" normalizeH="0" baseline="0" dirty="0">
                          <a:ln>
                            <a:noFill/>
                          </a:ln>
                          <a:solidFill>
                            <a:srgbClr val="FFFFFF"/>
                          </a:solidFill>
                          <a:effectLst/>
                          <a:latin typeface="Arial"/>
                          <a:ea typeface="ＭＳ Ｐゴシック" charset="0"/>
                          <a:cs typeface="Arial"/>
                        </a:rPr>
                        <a:t>)</a:t>
                      </a:r>
                    </a:p>
                  </a:txBody>
                  <a:tcPr marL="12701" marR="12701" marT="12695"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685800" rtl="0" eaLnBrk="1" fontAlgn="base" latinLnBrk="0" hangingPunct="1">
                        <a:lnSpc>
                          <a:spcPct val="100000"/>
                        </a:lnSpc>
                        <a:spcBef>
                          <a:spcPct val="0"/>
                        </a:spcBef>
                        <a:spcAft>
                          <a:spcPct val="0"/>
                        </a:spcAft>
                        <a:buClrTx/>
                        <a:buSzTx/>
                        <a:buFontTx/>
                        <a:buNone/>
                        <a:tabLst/>
                      </a:pPr>
                      <a:r>
                        <a:rPr kumimoji="0" lang="en-US" sz="1150" b="0" i="0" u="none" strike="noStrike" cap="none" normalizeH="0" baseline="0" dirty="0" smtClean="0">
                          <a:ln>
                            <a:noFill/>
                          </a:ln>
                          <a:solidFill>
                            <a:srgbClr val="C00000"/>
                          </a:solidFill>
                          <a:effectLst/>
                          <a:latin typeface="Arial"/>
                          <a:ea typeface="ＭＳ Ｐゴシック" charset="0"/>
                          <a:cs typeface="Arial"/>
                        </a:rPr>
                        <a:t> </a:t>
                      </a:r>
                      <a:r>
                        <a:rPr kumimoji="0" lang="en-US" sz="1150" b="0" i="0" u="none" strike="noStrike" cap="none" normalizeH="0" baseline="0" dirty="0" smtClean="0">
                          <a:ln>
                            <a:noFill/>
                          </a:ln>
                          <a:solidFill>
                            <a:schemeClr val="bg1"/>
                          </a:solidFill>
                          <a:effectLst/>
                          <a:latin typeface="Arial"/>
                          <a:ea typeface="ＭＳ Ｐゴシック" charset="0"/>
                          <a:cs typeface="Arial"/>
                        </a:rPr>
                        <a:t>Macedonia</a:t>
                      </a:r>
                      <a:endParaRPr kumimoji="0" lang="en-US" sz="1150" b="0" i="0" u="none" strike="noStrike" cap="none" normalizeH="0" baseline="0" dirty="0">
                        <a:ln>
                          <a:noFill/>
                        </a:ln>
                        <a:solidFill>
                          <a:srgbClr val="FFFF00"/>
                        </a:solidFill>
                        <a:effectLst/>
                        <a:latin typeface="Arial"/>
                        <a:ea typeface="ＭＳ Ｐゴシック" charset="0"/>
                        <a:cs typeface="Arial"/>
                      </a:endParaRPr>
                    </a:p>
                  </a:txBody>
                  <a:tcPr marL="12701" marR="12701" marT="12695" marB="0" anchor="ctr" horzOverflow="overflow">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r>
              <a:tr h="395134">
                <a:tc>
                  <a:txBody>
                    <a:bodyPr/>
                    <a:lstStyle/>
                    <a:p>
                      <a:pPr algn="ctr"/>
                      <a:r>
                        <a:rPr lang="en-US" sz="1200" dirty="0" smtClean="0">
                          <a:solidFill>
                            <a:schemeClr val="bg1"/>
                          </a:solidFill>
                          <a:latin typeface="Arial"/>
                          <a:cs typeface="Arial"/>
                        </a:rPr>
                        <a:t>≤200 (consider for CD4 ≤ 350)</a:t>
                      </a:r>
                      <a:endParaRPr lang="en-US" sz="1200" dirty="0">
                        <a:solidFill>
                          <a:schemeClr val="bg1"/>
                        </a:solidFill>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a:ea typeface="ＭＳ Ｐゴシック" charset="0"/>
                          <a:cs typeface="Arial"/>
                        </a:rPr>
                        <a:t>1</a:t>
                      </a:r>
                      <a:endParaRPr kumimoji="0" lang="en-US" sz="1200" b="1" i="0" u="none" strike="noStrike" cap="none" normalizeH="0" baseline="0" dirty="0">
                        <a:ln>
                          <a:noFill/>
                        </a:ln>
                        <a:solidFill>
                          <a:srgbClr val="FFFFFF"/>
                        </a:solidFill>
                        <a:effectLst/>
                        <a:latin typeface="Arial"/>
                        <a:ea typeface="ＭＳ Ｐゴシック" charset="0"/>
                        <a:cs typeface="Arial"/>
                      </a:endParaRPr>
                    </a:p>
                  </a:txBody>
                  <a:tcPr marL="12701" marR="12701" marT="12695"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a:ea typeface="ＭＳ Ｐゴシック" charset="0"/>
                          <a:cs typeface="Arial"/>
                        </a:rPr>
                        <a:t>35,000 (0.1%)</a:t>
                      </a:r>
                      <a:endParaRPr kumimoji="0" lang="en-US" sz="1200" b="0" i="0" u="none" strike="noStrike" cap="none" normalizeH="0" baseline="0" dirty="0">
                        <a:ln>
                          <a:noFill/>
                        </a:ln>
                        <a:solidFill>
                          <a:srgbClr val="FFFFFF"/>
                        </a:solidFill>
                        <a:effectLst/>
                        <a:latin typeface="Arial"/>
                        <a:ea typeface="ＭＳ Ｐゴシック" charset="0"/>
                        <a:cs typeface="Arial"/>
                      </a:endParaRPr>
                    </a:p>
                  </a:txBody>
                  <a:tcPr marL="12701" marR="12701" marT="12695"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685800" rtl="0" eaLnBrk="1" fontAlgn="base" latinLnBrk="0" hangingPunct="1">
                        <a:lnSpc>
                          <a:spcPct val="100000"/>
                        </a:lnSpc>
                        <a:spcBef>
                          <a:spcPct val="0"/>
                        </a:spcBef>
                        <a:spcAft>
                          <a:spcPct val="0"/>
                        </a:spcAft>
                        <a:buClrTx/>
                        <a:buSzTx/>
                        <a:buFontTx/>
                        <a:buNone/>
                        <a:tabLst/>
                      </a:pPr>
                      <a:r>
                        <a:rPr kumimoji="0" lang="en-US" sz="1150" b="0" i="0" u="none" strike="noStrike" cap="none" normalizeH="0" baseline="0" dirty="0" smtClean="0">
                          <a:ln>
                            <a:noFill/>
                          </a:ln>
                          <a:solidFill>
                            <a:srgbClr val="FFFFFF"/>
                          </a:solidFill>
                          <a:effectLst/>
                          <a:latin typeface="Arial"/>
                          <a:ea typeface="ＭＳ Ｐゴシック" charset="0"/>
                          <a:cs typeface="Arial"/>
                        </a:rPr>
                        <a:t> Belarus</a:t>
                      </a:r>
                      <a:endParaRPr kumimoji="0" lang="en-US" sz="1150" b="0" i="0" u="none" strike="noStrike" cap="none" normalizeH="0" baseline="0" dirty="0">
                        <a:ln>
                          <a:noFill/>
                        </a:ln>
                        <a:solidFill>
                          <a:srgbClr val="FFFF00"/>
                        </a:solidFill>
                        <a:effectLst/>
                        <a:latin typeface="Arial"/>
                        <a:ea typeface="ＭＳ Ｐゴシック" charset="0"/>
                        <a:cs typeface="Arial"/>
                      </a:endParaRPr>
                    </a:p>
                  </a:txBody>
                  <a:tcPr marL="12701" marR="12701" marT="12695" marB="0" anchor="ctr" horzOverflow="overflow">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r>
              <a:tr h="282200">
                <a:tc>
                  <a:txBody>
                    <a:bodyPr/>
                    <a:lstStyle/>
                    <a:p>
                      <a:pPr algn="ctr"/>
                      <a:r>
                        <a:rPr lang="en-US" sz="1200" dirty="0" smtClean="0">
                          <a:solidFill>
                            <a:schemeClr val="bg1"/>
                          </a:solidFill>
                          <a:latin typeface="Arial"/>
                          <a:cs typeface="Arial"/>
                        </a:rPr>
                        <a:t>≤200</a:t>
                      </a:r>
                      <a:endParaRPr lang="en-US" sz="1200" dirty="0">
                        <a:solidFill>
                          <a:schemeClr val="bg1"/>
                        </a:solidFill>
                        <a:latin typeface="Arial"/>
                        <a:cs typeface="Arial"/>
                      </a:endParaRPr>
                    </a:p>
                  </a:txBody>
                  <a:tcPr marL="12700" marR="12700" marT="12698" marB="0" anchor="ctr">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a:ea typeface="ＭＳ Ｐゴシック" charset="0"/>
                          <a:cs typeface="Arial"/>
                        </a:rPr>
                        <a:t>1</a:t>
                      </a:r>
                      <a:endParaRPr kumimoji="0" lang="en-US" sz="1200" b="1" i="0" u="none" strike="noStrike" cap="none" normalizeH="0" baseline="0" dirty="0">
                        <a:ln>
                          <a:noFill/>
                        </a:ln>
                        <a:solidFill>
                          <a:srgbClr val="FFFFFF"/>
                        </a:solidFill>
                        <a:effectLst/>
                        <a:latin typeface="Arial"/>
                        <a:ea typeface="ＭＳ Ｐゴシック" charset="0"/>
                        <a:cs typeface="Arial"/>
                      </a:endParaRPr>
                    </a:p>
                  </a:txBody>
                  <a:tcPr marL="12701" marR="12701" marT="12695"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prstClr val="white"/>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a:ea typeface="ＭＳ Ｐゴシック" charset="0"/>
                          <a:cs typeface="Arial"/>
                        </a:rPr>
                        <a:t>3,800 (&lt;0.1%</a:t>
                      </a:r>
                      <a:r>
                        <a:rPr kumimoji="0" lang="en-US" sz="1200" b="0" i="0" u="none" strike="noStrike" cap="none" normalizeH="0" baseline="0" dirty="0">
                          <a:ln>
                            <a:noFill/>
                          </a:ln>
                          <a:solidFill>
                            <a:srgbClr val="FFFFFF"/>
                          </a:solidFill>
                          <a:effectLst/>
                          <a:latin typeface="Arial"/>
                          <a:ea typeface="ＭＳ Ｐゴシック" charset="0"/>
                          <a:cs typeface="Arial"/>
                        </a:rPr>
                        <a:t>)</a:t>
                      </a:r>
                    </a:p>
                  </a:txBody>
                  <a:tcPr marL="12701" marR="12701" marT="12695"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685800" rtl="0" eaLnBrk="1" fontAlgn="base" latinLnBrk="0" hangingPunct="1">
                        <a:lnSpc>
                          <a:spcPct val="100000"/>
                        </a:lnSpc>
                        <a:spcBef>
                          <a:spcPct val="0"/>
                        </a:spcBef>
                        <a:spcAft>
                          <a:spcPct val="0"/>
                        </a:spcAft>
                        <a:buClrTx/>
                        <a:buSzTx/>
                        <a:buFontTx/>
                        <a:buNone/>
                        <a:tabLst/>
                      </a:pPr>
                      <a:r>
                        <a:rPr kumimoji="0" lang="en-US" sz="1150" b="0" i="0" u="none" strike="noStrike" cap="none" normalizeH="0" baseline="0" dirty="0" smtClean="0">
                          <a:ln>
                            <a:noFill/>
                          </a:ln>
                          <a:solidFill>
                            <a:srgbClr val="FFFF00"/>
                          </a:solidFill>
                          <a:effectLst/>
                          <a:latin typeface="Arial"/>
                          <a:ea typeface="ＭＳ Ｐゴシック" charset="0"/>
                          <a:cs typeface="Arial"/>
                        </a:rPr>
                        <a:t> Suriname</a:t>
                      </a:r>
                      <a:endParaRPr kumimoji="0" lang="en-US" sz="1150" b="0" i="0" u="none" strike="noStrike" cap="none" normalizeH="0" baseline="0" dirty="0">
                        <a:ln>
                          <a:noFill/>
                        </a:ln>
                        <a:solidFill>
                          <a:srgbClr val="FFFF00"/>
                        </a:solidFill>
                        <a:effectLst/>
                        <a:latin typeface="Arial"/>
                        <a:ea typeface="ＭＳ Ｐゴシック" charset="0"/>
                        <a:cs typeface="Arial"/>
                      </a:endParaRPr>
                    </a:p>
                  </a:txBody>
                  <a:tcPr marL="12701" marR="12701" marT="12695" marB="0" anchor="ctr" horzOverflow="overflow">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noFill/>
                  </a:tcPr>
                </a:tc>
              </a:tr>
            </a:tbl>
          </a:graphicData>
        </a:graphic>
      </p:graphicFrame>
      <p:sp>
        <p:nvSpPr>
          <p:cNvPr id="5" name="Rectangle 4"/>
          <p:cNvSpPr/>
          <p:nvPr/>
        </p:nvSpPr>
        <p:spPr>
          <a:xfrm>
            <a:off x="94422" y="6533912"/>
            <a:ext cx="3043922" cy="307777"/>
          </a:xfrm>
          <a:prstGeom prst="rect">
            <a:avLst/>
          </a:prstGeom>
        </p:spPr>
        <p:txBody>
          <a:bodyPr wrap="none">
            <a:spAutoFit/>
          </a:bodyPr>
          <a:lstStyle/>
          <a:p>
            <a:pPr algn="ctr">
              <a:spcBef>
                <a:spcPct val="50000"/>
              </a:spcBef>
            </a:pPr>
            <a:r>
              <a:rPr lang="en-US" sz="1400" b="1" dirty="0" smtClean="0">
                <a:solidFill>
                  <a:srgbClr val="FFFF00"/>
                </a:solidFill>
                <a:ea typeface="ヒラギノ角ゴ Pro W3"/>
                <a:cs typeface="ヒラギノ角ゴ Pro W3"/>
              </a:rPr>
              <a:t>Source</a:t>
            </a:r>
            <a:r>
              <a:rPr lang="en-US" sz="1400" dirty="0" smtClean="0">
                <a:solidFill>
                  <a:srgbClr val="FFFF00"/>
                </a:solidFill>
                <a:ea typeface="ヒラギノ角ゴ Pro W3"/>
                <a:cs typeface="ヒラギノ角ゴ Pro W3"/>
              </a:rPr>
              <a:t>: published policy + reported</a:t>
            </a:r>
            <a:endParaRPr lang="en-US" sz="1400" dirty="0">
              <a:solidFill>
                <a:srgbClr val="FFFF00"/>
              </a:solidFill>
              <a:ea typeface="ヒラギノ角ゴ Pro W3"/>
              <a:cs typeface="ヒラギノ角ゴ Pro W3"/>
            </a:endParaRPr>
          </a:p>
        </p:txBody>
      </p:sp>
      <p:sp>
        <p:nvSpPr>
          <p:cNvPr id="6" name="Rectangle 5"/>
          <p:cNvSpPr/>
          <p:nvPr/>
        </p:nvSpPr>
        <p:spPr>
          <a:xfrm>
            <a:off x="60556" y="2506133"/>
            <a:ext cx="9015711" cy="3958824"/>
          </a:xfrm>
          <a:prstGeom prst="rect">
            <a:avLst/>
          </a:prstGeom>
          <a:noFill/>
          <a:ln w="7620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stretch>
            <a:fillRect/>
          </a:stretch>
        </p:blipFill>
        <p:spPr>
          <a:xfrm>
            <a:off x="7747000" y="6324600"/>
            <a:ext cx="1397000" cy="533400"/>
          </a:xfrm>
          <a:prstGeom prst="rect">
            <a:avLst/>
          </a:prstGeom>
          <a:ln>
            <a:noFill/>
          </a:ln>
        </p:spPr>
      </p:pic>
    </p:spTree>
    <p:extLst>
      <p:ext uri="{BB962C8B-B14F-4D97-AF65-F5344CB8AC3E}">
        <p14:creationId xmlns:p14="http://schemas.microsoft.com/office/powerpoint/2010/main" val="563456774"/>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5"/>
          <p:cNvSpPr txBox="1">
            <a:spLocks noChangeArrowheads="1"/>
          </p:cNvSpPr>
          <p:nvPr/>
        </p:nvSpPr>
        <p:spPr bwMode="auto">
          <a:xfrm>
            <a:off x="1689092" y="904913"/>
            <a:ext cx="5795433" cy="338554"/>
          </a:xfrm>
          <a:prstGeom prst="rect">
            <a:avLst/>
          </a:prstGeom>
          <a:noFill/>
          <a:ln w="9525">
            <a:solidFill>
              <a:schemeClr val="bg1"/>
            </a:solidFill>
            <a:miter lim="800000"/>
            <a:headEnd/>
            <a:tailEnd/>
          </a:ln>
        </p:spPr>
        <p:txBody>
          <a:bodyPr wrap="square">
            <a:spAutoFit/>
          </a:bodyPr>
          <a:lstStyle/>
          <a:p>
            <a:pPr algn="ctr">
              <a:spcBef>
                <a:spcPct val="50000"/>
              </a:spcBef>
            </a:pPr>
            <a:r>
              <a:rPr lang="en-US" sz="1600" dirty="0">
                <a:solidFill>
                  <a:schemeClr val="bg1"/>
                </a:solidFill>
                <a:ea typeface="ヒラギノ角ゴ Pro W3"/>
                <a:cs typeface="ヒラギノ角ゴ Pro W3"/>
              </a:rPr>
              <a:t>2015 WHO Recommendation : Irrespective of CD4 count</a:t>
            </a:r>
          </a:p>
        </p:txBody>
      </p:sp>
      <p:sp>
        <p:nvSpPr>
          <p:cNvPr id="22" name="Rectangle 21"/>
          <p:cNvSpPr/>
          <p:nvPr/>
        </p:nvSpPr>
        <p:spPr>
          <a:xfrm>
            <a:off x="94421" y="6260391"/>
            <a:ext cx="3043922" cy="307777"/>
          </a:xfrm>
          <a:prstGeom prst="rect">
            <a:avLst/>
          </a:prstGeom>
        </p:spPr>
        <p:txBody>
          <a:bodyPr wrap="none">
            <a:spAutoFit/>
          </a:bodyPr>
          <a:lstStyle/>
          <a:p>
            <a:pPr algn="ctr">
              <a:spcBef>
                <a:spcPct val="50000"/>
              </a:spcBef>
            </a:pPr>
            <a:r>
              <a:rPr lang="en-US" sz="1400" b="1" dirty="0" smtClean="0">
                <a:solidFill>
                  <a:srgbClr val="FFFF00"/>
                </a:solidFill>
                <a:ea typeface="ヒラギノ角ゴ Pro W3"/>
                <a:cs typeface="ヒラギノ角ゴ Pro W3"/>
              </a:rPr>
              <a:t>Source</a:t>
            </a:r>
            <a:r>
              <a:rPr lang="en-US" sz="1400" dirty="0" smtClean="0">
                <a:solidFill>
                  <a:srgbClr val="FFFF00"/>
                </a:solidFill>
                <a:ea typeface="ヒラギノ角ゴ Pro W3"/>
                <a:cs typeface="ヒラギノ角ゴ Pro W3"/>
              </a:rPr>
              <a:t>: published policy + reported</a:t>
            </a:r>
            <a:endParaRPr lang="en-US" sz="1400" dirty="0">
              <a:solidFill>
                <a:srgbClr val="FFFF00"/>
              </a:solidFill>
              <a:ea typeface="ヒラギノ角ゴ Pro W3"/>
              <a:cs typeface="ヒラギノ角ゴ Pro W3"/>
            </a:endParaRPr>
          </a:p>
        </p:txBody>
      </p:sp>
      <p:sp>
        <p:nvSpPr>
          <p:cNvPr id="23" name="Text Box 4"/>
          <p:cNvSpPr txBox="1">
            <a:spLocks noChangeArrowheads="1"/>
          </p:cNvSpPr>
          <p:nvPr/>
        </p:nvSpPr>
        <p:spPr bwMode="auto">
          <a:xfrm>
            <a:off x="0" y="211681"/>
            <a:ext cx="9143999" cy="646331"/>
          </a:xfrm>
          <a:prstGeom prst="rect">
            <a:avLst/>
          </a:prstGeom>
          <a:noFill/>
          <a:ln w="9525">
            <a:noFill/>
            <a:miter lim="800000"/>
            <a:headEnd/>
            <a:tailEnd/>
          </a:ln>
        </p:spPr>
        <p:txBody>
          <a:bodyPr wrap="square">
            <a:spAutoFit/>
          </a:bodyPr>
          <a:lstStyle/>
          <a:p>
            <a:pPr algn="ctr">
              <a:spcBef>
                <a:spcPct val="50000"/>
              </a:spcBef>
            </a:pPr>
            <a:r>
              <a:rPr lang="en-US" sz="3600" dirty="0" smtClean="0">
                <a:solidFill>
                  <a:srgbClr val="FFFF00"/>
                </a:solidFill>
                <a:ea typeface="ヒラギノ角ゴ Pro W3"/>
                <a:cs typeface="ヒラギノ角ゴ Pro W3"/>
              </a:rPr>
              <a:t>ART initiation for asymptomatic people</a:t>
            </a:r>
            <a:endParaRPr lang="en-US" sz="3600" dirty="0">
              <a:solidFill>
                <a:srgbClr val="FFFF00"/>
              </a:solidFill>
              <a:ea typeface="ヒラギノ角ゴ Pro W3"/>
              <a:cs typeface="ヒラギノ角ゴ Pro W3"/>
            </a:endParaRPr>
          </a:p>
        </p:txBody>
      </p:sp>
      <p:pic>
        <p:nvPicPr>
          <p:cNvPr id="24" name="Picture 23"/>
          <p:cNvPicPr>
            <a:picLocks noChangeAspect="1"/>
          </p:cNvPicPr>
          <p:nvPr/>
        </p:nvPicPr>
        <p:blipFill>
          <a:blip r:embed="rId3"/>
          <a:stretch>
            <a:fillRect/>
          </a:stretch>
        </p:blipFill>
        <p:spPr>
          <a:xfrm>
            <a:off x="7747000" y="6324600"/>
            <a:ext cx="1397000" cy="533400"/>
          </a:xfrm>
          <a:prstGeom prst="rect">
            <a:avLst/>
          </a:prstGeom>
          <a:ln>
            <a:noFill/>
          </a:ln>
        </p:spPr>
      </p:pic>
      <p:sp>
        <p:nvSpPr>
          <p:cNvPr id="26" name="Rectangle 25"/>
          <p:cNvSpPr/>
          <p:nvPr/>
        </p:nvSpPr>
        <p:spPr>
          <a:xfrm>
            <a:off x="57150" y="1378932"/>
            <a:ext cx="9015413" cy="4874102"/>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7" name="Group 23"/>
          <p:cNvGrpSpPr>
            <a:grpSpLocks/>
          </p:cNvGrpSpPr>
          <p:nvPr/>
        </p:nvGrpSpPr>
        <p:grpSpPr bwMode="auto">
          <a:xfrm>
            <a:off x="57150" y="1457325"/>
            <a:ext cx="9015413" cy="4706938"/>
            <a:chOff x="56622" y="1420934"/>
            <a:chExt cx="9016495" cy="4707467"/>
          </a:xfrm>
        </p:grpSpPr>
        <p:grpSp>
          <p:nvGrpSpPr>
            <p:cNvPr id="28" name="Group 24"/>
            <p:cNvGrpSpPr>
              <a:grpSpLocks/>
            </p:cNvGrpSpPr>
            <p:nvPr/>
          </p:nvGrpSpPr>
          <p:grpSpPr bwMode="auto">
            <a:xfrm>
              <a:off x="56622" y="1420934"/>
              <a:ext cx="9016495" cy="4707467"/>
              <a:chOff x="31222" y="1420934"/>
              <a:chExt cx="9016495" cy="4707467"/>
            </a:xfrm>
          </p:grpSpPr>
          <p:grpSp>
            <p:nvGrpSpPr>
              <p:cNvPr id="40" name="Group 36"/>
              <p:cNvGrpSpPr>
                <a:grpSpLocks/>
              </p:cNvGrpSpPr>
              <p:nvPr/>
            </p:nvGrpSpPr>
            <p:grpSpPr bwMode="auto">
              <a:xfrm>
                <a:off x="31222" y="1420934"/>
                <a:ext cx="9016495" cy="4707467"/>
                <a:chOff x="31222" y="1420934"/>
                <a:chExt cx="9016495" cy="4707467"/>
              </a:xfrm>
            </p:grpSpPr>
            <p:graphicFrame>
              <p:nvGraphicFramePr>
                <p:cNvPr id="42" name="Object 38"/>
                <p:cNvGraphicFramePr>
                  <a:graphicFrameLocks noChangeAspect="1"/>
                </p:cNvGraphicFramePr>
                <p:nvPr>
                  <p:extLst>
                    <p:ext uri="{D42A27DB-BD31-4B8C-83A1-F6EECF244321}">
                      <p14:modId xmlns:p14="http://schemas.microsoft.com/office/powerpoint/2010/main" val="148046096"/>
                    </p:ext>
                  </p:extLst>
                </p:nvPr>
              </p:nvGraphicFramePr>
              <p:xfrm>
                <a:off x="31222" y="1420934"/>
                <a:ext cx="9016495" cy="4707467"/>
              </p:xfrm>
              <a:graphic>
                <a:graphicData uri="http://schemas.openxmlformats.org/presentationml/2006/ole">
                  <mc:AlternateContent xmlns:mc="http://schemas.openxmlformats.org/markup-compatibility/2006">
                    <mc:Choice xmlns:v="urn:schemas-microsoft-com:vml" Requires="v">
                      <p:oleObj spid="_x0000_s5961" name="Document" r:id="rId4" imgW="8267700" imgH="4318000" progId="Word.Document.12">
                        <p:embed/>
                      </p:oleObj>
                    </mc:Choice>
                    <mc:Fallback>
                      <p:oleObj name="Document" r:id="rId4" imgW="8267700" imgH="4318000" progId="Word.Document.12">
                        <p:embed/>
                        <p:pic>
                          <p:nvPicPr>
                            <p:cNvPr id="0" name=""/>
                            <p:cNvPicPr>
                              <a:picLocks noChangeAspect="1" noChangeArrowheads="1"/>
                            </p:cNvPicPr>
                            <p:nvPr/>
                          </p:nvPicPr>
                          <p:blipFill>
                            <a:blip r:embed="rId5"/>
                            <a:srcRect/>
                            <a:stretch>
                              <a:fillRect/>
                            </a:stretch>
                          </p:blipFill>
                          <p:spPr bwMode="auto">
                            <a:xfrm>
                              <a:off x="31222" y="1420934"/>
                              <a:ext cx="9016495" cy="4707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3" name="Freeform 125"/>
                <p:cNvSpPr>
                  <a:spLocks/>
                </p:cNvSpPr>
                <p:nvPr/>
              </p:nvSpPr>
              <p:spPr bwMode="auto">
                <a:xfrm>
                  <a:off x="5042962" y="4077570"/>
                  <a:ext cx="48682" cy="45719"/>
                </a:xfrm>
                <a:custGeom>
                  <a:avLst/>
                  <a:gdLst>
                    <a:gd name="T0" fmla="*/ 2147483647 w 89"/>
                    <a:gd name="T1" fmla="*/ 2147483647 h 79"/>
                    <a:gd name="T2" fmla="*/ 2147483647 w 89"/>
                    <a:gd name="T3" fmla="*/ 2147483647 h 79"/>
                    <a:gd name="T4" fmla="*/ 2147483647 w 89"/>
                    <a:gd name="T5" fmla="*/ 2147483647 h 79"/>
                    <a:gd name="T6" fmla="*/ 2147483647 w 89"/>
                    <a:gd name="T7" fmla="*/ 2147483647 h 79"/>
                    <a:gd name="T8" fmla="*/ 2147483647 w 89"/>
                    <a:gd name="T9" fmla="*/ 2147483647 h 79"/>
                    <a:gd name="T10" fmla="*/ 2147483647 w 89"/>
                    <a:gd name="T11" fmla="*/ 2147483647 h 79"/>
                    <a:gd name="T12" fmla="*/ 2147483647 w 89"/>
                    <a:gd name="T13" fmla="*/ 2147483647 h 79"/>
                    <a:gd name="T14" fmla="*/ 2147483647 w 89"/>
                    <a:gd name="T15" fmla="*/ 2147483647 h 79"/>
                    <a:gd name="T16" fmla="*/ 2147483647 w 89"/>
                    <a:gd name="T17" fmla="*/ 2147483647 h 79"/>
                    <a:gd name="T18" fmla="*/ 2147483647 w 89"/>
                    <a:gd name="T19" fmla="*/ 2147483647 h 79"/>
                    <a:gd name="T20" fmla="*/ 2147483647 w 89"/>
                    <a:gd name="T21" fmla="*/ 2147483647 h 79"/>
                    <a:gd name="T22" fmla="*/ 2147483647 w 89"/>
                    <a:gd name="T23" fmla="*/ 2147483647 h 79"/>
                    <a:gd name="T24" fmla="*/ 0 w 89"/>
                    <a:gd name="T25" fmla="*/ 2147483647 h 79"/>
                    <a:gd name="T26" fmla="*/ 2147483647 w 89"/>
                    <a:gd name="T27" fmla="*/ 2147483647 h 79"/>
                    <a:gd name="T28" fmla="*/ 2147483647 w 89"/>
                    <a:gd name="T29" fmla="*/ 2147483647 h 79"/>
                    <a:gd name="T30" fmla="*/ 2147483647 w 89"/>
                    <a:gd name="T31" fmla="*/ 2147483647 h 79"/>
                    <a:gd name="T32" fmla="*/ 2147483647 w 89"/>
                    <a:gd name="T33" fmla="*/ 2147483647 h 79"/>
                    <a:gd name="T34" fmla="*/ 2147483647 w 89"/>
                    <a:gd name="T35" fmla="*/ 0 h 79"/>
                    <a:gd name="T36" fmla="*/ 2147483647 w 89"/>
                    <a:gd name="T37" fmla="*/ 2147483647 h 79"/>
                    <a:gd name="T38" fmla="*/ 2147483647 w 89"/>
                    <a:gd name="T39" fmla="*/ 2147483647 h 79"/>
                    <a:gd name="T40" fmla="*/ 2147483647 w 89"/>
                    <a:gd name="T41" fmla="*/ 2147483647 h 79"/>
                    <a:gd name="T42" fmla="*/ 2147483647 w 89"/>
                    <a:gd name="T43" fmla="*/ 2147483647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5" y="25"/>
                      </a:moveTo>
                      <a:lnTo>
                        <a:pt x="88" y="30"/>
                      </a:lnTo>
                      <a:lnTo>
                        <a:pt x="89" y="29"/>
                      </a:lnTo>
                      <a:lnTo>
                        <a:pt x="89" y="35"/>
                      </a:lnTo>
                      <a:lnTo>
                        <a:pt x="71" y="60"/>
                      </a:lnTo>
                      <a:lnTo>
                        <a:pt x="51" y="67"/>
                      </a:lnTo>
                      <a:lnTo>
                        <a:pt x="44" y="75"/>
                      </a:lnTo>
                      <a:lnTo>
                        <a:pt x="38" y="78"/>
                      </a:lnTo>
                      <a:lnTo>
                        <a:pt x="30" y="79"/>
                      </a:lnTo>
                      <a:lnTo>
                        <a:pt x="16" y="69"/>
                      </a:lnTo>
                      <a:lnTo>
                        <a:pt x="8" y="61"/>
                      </a:lnTo>
                      <a:lnTo>
                        <a:pt x="3" y="53"/>
                      </a:lnTo>
                      <a:lnTo>
                        <a:pt x="0" y="45"/>
                      </a:lnTo>
                      <a:lnTo>
                        <a:pt x="3" y="37"/>
                      </a:lnTo>
                      <a:lnTo>
                        <a:pt x="20" y="16"/>
                      </a:lnTo>
                      <a:lnTo>
                        <a:pt x="28" y="10"/>
                      </a:lnTo>
                      <a:lnTo>
                        <a:pt x="48" y="1"/>
                      </a:lnTo>
                      <a:lnTo>
                        <a:pt x="58" y="0"/>
                      </a:lnTo>
                      <a:lnTo>
                        <a:pt x="67" y="3"/>
                      </a:lnTo>
                      <a:lnTo>
                        <a:pt x="75" y="11"/>
                      </a:lnTo>
                      <a:lnTo>
                        <a:pt x="78" y="17"/>
                      </a:lnTo>
                      <a:lnTo>
                        <a:pt x="85" y="25"/>
                      </a:lnTo>
                      <a:close/>
                    </a:path>
                  </a:pathLst>
                </a:custGeom>
                <a:solidFill>
                  <a:srgbClr val="9BBB59"/>
                </a:solidFill>
                <a:ln w="7938">
                  <a:solidFill>
                    <a:srgbClr val="1C1329"/>
                  </a:solidFill>
                  <a:miter lim="800000"/>
                  <a:headEnd/>
                  <a:tailEnd/>
                </a:ln>
              </p:spPr>
              <p:txBody>
                <a:bodyPr/>
                <a:lstStyle/>
                <a:p>
                  <a:endParaRPr lang="en-US"/>
                </a:p>
              </p:txBody>
            </p:sp>
            <p:sp>
              <p:nvSpPr>
                <p:cNvPr id="44" name="Freeform 125"/>
                <p:cNvSpPr>
                  <a:spLocks/>
                </p:cNvSpPr>
                <p:nvPr/>
              </p:nvSpPr>
              <p:spPr bwMode="auto">
                <a:xfrm>
                  <a:off x="5424607" y="3629395"/>
                  <a:ext cx="47631" cy="46042"/>
                </a:xfrm>
                <a:custGeom>
                  <a:avLst/>
                  <a:gdLst>
                    <a:gd name="T0" fmla="*/ 126 w 89"/>
                    <a:gd name="T1" fmla="*/ 32 h 79"/>
                    <a:gd name="T2" fmla="*/ 130 w 89"/>
                    <a:gd name="T3" fmla="*/ 42 h 79"/>
                    <a:gd name="T4" fmla="*/ 131 w 89"/>
                    <a:gd name="T5" fmla="*/ 40 h 79"/>
                    <a:gd name="T6" fmla="*/ 131 w 89"/>
                    <a:gd name="T7" fmla="*/ 47 h 79"/>
                    <a:gd name="T8" fmla="*/ 105 w 89"/>
                    <a:gd name="T9" fmla="*/ 80 h 79"/>
                    <a:gd name="T10" fmla="*/ 75 w 89"/>
                    <a:gd name="T11" fmla="*/ 90 h 79"/>
                    <a:gd name="T12" fmla="*/ 65 w 89"/>
                    <a:gd name="T13" fmla="*/ 101 h 79"/>
                    <a:gd name="T14" fmla="*/ 57 w 89"/>
                    <a:gd name="T15" fmla="*/ 105 h 79"/>
                    <a:gd name="T16" fmla="*/ 44 w 89"/>
                    <a:gd name="T17" fmla="*/ 106 h 79"/>
                    <a:gd name="T18" fmla="*/ 22 w 89"/>
                    <a:gd name="T19" fmla="*/ 92 h 79"/>
                    <a:gd name="T20" fmla="*/ 14 w 89"/>
                    <a:gd name="T21" fmla="*/ 82 h 79"/>
                    <a:gd name="T22" fmla="*/ 3 w 89"/>
                    <a:gd name="T23" fmla="*/ 71 h 79"/>
                    <a:gd name="T24" fmla="*/ 0 w 89"/>
                    <a:gd name="T25" fmla="*/ 60 h 79"/>
                    <a:gd name="T26" fmla="*/ 3 w 89"/>
                    <a:gd name="T27" fmla="*/ 49 h 79"/>
                    <a:gd name="T28" fmla="*/ 29 w 89"/>
                    <a:gd name="T29" fmla="*/ 22 h 79"/>
                    <a:gd name="T30" fmla="*/ 41 w 89"/>
                    <a:gd name="T31" fmla="*/ 16 h 79"/>
                    <a:gd name="T32" fmla="*/ 70 w 89"/>
                    <a:gd name="T33" fmla="*/ 1 h 79"/>
                    <a:gd name="T34" fmla="*/ 85 w 89"/>
                    <a:gd name="T35" fmla="*/ 0 h 79"/>
                    <a:gd name="T36" fmla="*/ 100 w 89"/>
                    <a:gd name="T37" fmla="*/ 3 h 79"/>
                    <a:gd name="T38" fmla="*/ 111 w 89"/>
                    <a:gd name="T39" fmla="*/ 17 h 79"/>
                    <a:gd name="T40" fmla="*/ 115 w 89"/>
                    <a:gd name="T41" fmla="*/ 23 h 79"/>
                    <a:gd name="T42" fmla="*/ 126 w 89"/>
                    <a:gd name="T43" fmla="*/ 32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5" y="25"/>
                      </a:moveTo>
                      <a:lnTo>
                        <a:pt x="88" y="30"/>
                      </a:lnTo>
                      <a:lnTo>
                        <a:pt x="89" y="29"/>
                      </a:lnTo>
                      <a:lnTo>
                        <a:pt x="89" y="35"/>
                      </a:lnTo>
                      <a:lnTo>
                        <a:pt x="71" y="60"/>
                      </a:lnTo>
                      <a:lnTo>
                        <a:pt x="51" y="67"/>
                      </a:lnTo>
                      <a:lnTo>
                        <a:pt x="44" y="75"/>
                      </a:lnTo>
                      <a:lnTo>
                        <a:pt x="38" y="78"/>
                      </a:lnTo>
                      <a:lnTo>
                        <a:pt x="30" y="79"/>
                      </a:lnTo>
                      <a:lnTo>
                        <a:pt x="16" y="69"/>
                      </a:lnTo>
                      <a:lnTo>
                        <a:pt x="8" y="61"/>
                      </a:lnTo>
                      <a:lnTo>
                        <a:pt x="3" y="53"/>
                      </a:lnTo>
                      <a:lnTo>
                        <a:pt x="0" y="45"/>
                      </a:lnTo>
                      <a:lnTo>
                        <a:pt x="3" y="37"/>
                      </a:lnTo>
                      <a:lnTo>
                        <a:pt x="20" y="16"/>
                      </a:lnTo>
                      <a:lnTo>
                        <a:pt x="28" y="10"/>
                      </a:lnTo>
                      <a:lnTo>
                        <a:pt x="48" y="1"/>
                      </a:lnTo>
                      <a:lnTo>
                        <a:pt x="58" y="0"/>
                      </a:lnTo>
                      <a:lnTo>
                        <a:pt x="67" y="3"/>
                      </a:lnTo>
                      <a:lnTo>
                        <a:pt x="75" y="11"/>
                      </a:lnTo>
                      <a:lnTo>
                        <a:pt x="78" y="17"/>
                      </a:lnTo>
                      <a:lnTo>
                        <a:pt x="85" y="25"/>
                      </a:lnTo>
                      <a:close/>
                    </a:path>
                  </a:pathLst>
                </a:custGeom>
                <a:solidFill>
                  <a:schemeClr val="accent2">
                    <a:lumMod val="60000"/>
                    <a:lumOff val="40000"/>
                  </a:schemeClr>
                </a:solidFill>
                <a:ln w="7938">
                  <a:solidFill>
                    <a:srgbClr val="1C1329"/>
                  </a:solidFill>
                  <a:miter lim="800000"/>
                  <a:headEnd/>
                  <a:tailEnd/>
                </a:ln>
              </p:spPr>
              <p:txBody>
                <a:bodyPr/>
                <a:lstStyle/>
                <a:p>
                  <a:pPr>
                    <a:defRPr/>
                  </a:pPr>
                  <a:endParaRPr lang="en-US">
                    <a:ea typeface="ＭＳ Ｐゴシック" charset="0"/>
                    <a:cs typeface="ＭＳ Ｐゴシック" charset="0"/>
                  </a:endParaRPr>
                </a:p>
              </p:txBody>
            </p:sp>
          </p:grpSp>
          <p:sp>
            <p:nvSpPr>
              <p:cNvPr id="41" name="Freeform 125"/>
              <p:cNvSpPr>
                <a:spLocks/>
              </p:cNvSpPr>
              <p:nvPr/>
            </p:nvSpPr>
            <p:spPr bwMode="auto">
              <a:xfrm>
                <a:off x="4456116" y="3975509"/>
                <a:ext cx="47631" cy="46042"/>
              </a:xfrm>
              <a:custGeom>
                <a:avLst/>
                <a:gdLst>
                  <a:gd name="T0" fmla="*/ 126 w 89"/>
                  <a:gd name="T1" fmla="*/ 32 h 79"/>
                  <a:gd name="T2" fmla="*/ 130 w 89"/>
                  <a:gd name="T3" fmla="*/ 42 h 79"/>
                  <a:gd name="T4" fmla="*/ 131 w 89"/>
                  <a:gd name="T5" fmla="*/ 40 h 79"/>
                  <a:gd name="T6" fmla="*/ 131 w 89"/>
                  <a:gd name="T7" fmla="*/ 47 h 79"/>
                  <a:gd name="T8" fmla="*/ 105 w 89"/>
                  <a:gd name="T9" fmla="*/ 80 h 79"/>
                  <a:gd name="T10" fmla="*/ 75 w 89"/>
                  <a:gd name="T11" fmla="*/ 90 h 79"/>
                  <a:gd name="T12" fmla="*/ 65 w 89"/>
                  <a:gd name="T13" fmla="*/ 101 h 79"/>
                  <a:gd name="T14" fmla="*/ 57 w 89"/>
                  <a:gd name="T15" fmla="*/ 105 h 79"/>
                  <a:gd name="T16" fmla="*/ 44 w 89"/>
                  <a:gd name="T17" fmla="*/ 106 h 79"/>
                  <a:gd name="T18" fmla="*/ 22 w 89"/>
                  <a:gd name="T19" fmla="*/ 92 h 79"/>
                  <a:gd name="T20" fmla="*/ 14 w 89"/>
                  <a:gd name="T21" fmla="*/ 82 h 79"/>
                  <a:gd name="T22" fmla="*/ 3 w 89"/>
                  <a:gd name="T23" fmla="*/ 71 h 79"/>
                  <a:gd name="T24" fmla="*/ 0 w 89"/>
                  <a:gd name="T25" fmla="*/ 60 h 79"/>
                  <a:gd name="T26" fmla="*/ 3 w 89"/>
                  <a:gd name="T27" fmla="*/ 49 h 79"/>
                  <a:gd name="T28" fmla="*/ 29 w 89"/>
                  <a:gd name="T29" fmla="*/ 22 h 79"/>
                  <a:gd name="T30" fmla="*/ 41 w 89"/>
                  <a:gd name="T31" fmla="*/ 16 h 79"/>
                  <a:gd name="T32" fmla="*/ 70 w 89"/>
                  <a:gd name="T33" fmla="*/ 1 h 79"/>
                  <a:gd name="T34" fmla="*/ 85 w 89"/>
                  <a:gd name="T35" fmla="*/ 0 h 79"/>
                  <a:gd name="T36" fmla="*/ 100 w 89"/>
                  <a:gd name="T37" fmla="*/ 3 h 79"/>
                  <a:gd name="T38" fmla="*/ 111 w 89"/>
                  <a:gd name="T39" fmla="*/ 17 h 79"/>
                  <a:gd name="T40" fmla="*/ 115 w 89"/>
                  <a:gd name="T41" fmla="*/ 23 h 79"/>
                  <a:gd name="T42" fmla="*/ 126 w 89"/>
                  <a:gd name="T43" fmla="*/ 32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5" y="25"/>
                    </a:moveTo>
                    <a:lnTo>
                      <a:pt x="88" y="30"/>
                    </a:lnTo>
                    <a:lnTo>
                      <a:pt x="89" y="29"/>
                    </a:lnTo>
                    <a:lnTo>
                      <a:pt x="89" y="35"/>
                    </a:lnTo>
                    <a:lnTo>
                      <a:pt x="71" y="60"/>
                    </a:lnTo>
                    <a:lnTo>
                      <a:pt x="51" y="67"/>
                    </a:lnTo>
                    <a:lnTo>
                      <a:pt x="44" y="75"/>
                    </a:lnTo>
                    <a:lnTo>
                      <a:pt x="38" y="78"/>
                    </a:lnTo>
                    <a:lnTo>
                      <a:pt x="30" y="79"/>
                    </a:lnTo>
                    <a:lnTo>
                      <a:pt x="16" y="69"/>
                    </a:lnTo>
                    <a:lnTo>
                      <a:pt x="8" y="61"/>
                    </a:lnTo>
                    <a:lnTo>
                      <a:pt x="3" y="53"/>
                    </a:lnTo>
                    <a:lnTo>
                      <a:pt x="0" y="45"/>
                    </a:lnTo>
                    <a:lnTo>
                      <a:pt x="3" y="37"/>
                    </a:lnTo>
                    <a:lnTo>
                      <a:pt x="20" y="16"/>
                    </a:lnTo>
                    <a:lnTo>
                      <a:pt x="28" y="10"/>
                    </a:lnTo>
                    <a:lnTo>
                      <a:pt x="48" y="1"/>
                    </a:lnTo>
                    <a:lnTo>
                      <a:pt x="58" y="0"/>
                    </a:lnTo>
                    <a:lnTo>
                      <a:pt x="67" y="3"/>
                    </a:lnTo>
                    <a:lnTo>
                      <a:pt x="75" y="11"/>
                    </a:lnTo>
                    <a:lnTo>
                      <a:pt x="78" y="17"/>
                    </a:lnTo>
                    <a:lnTo>
                      <a:pt x="85" y="25"/>
                    </a:lnTo>
                    <a:close/>
                  </a:path>
                </a:pathLst>
              </a:custGeom>
              <a:solidFill>
                <a:schemeClr val="accent2">
                  <a:lumMod val="60000"/>
                  <a:lumOff val="40000"/>
                </a:schemeClr>
              </a:solidFill>
              <a:ln w="7938">
                <a:solidFill>
                  <a:srgbClr val="1C1329"/>
                </a:solidFill>
                <a:miter lim="800000"/>
                <a:headEnd/>
                <a:tailEnd/>
              </a:ln>
            </p:spPr>
            <p:txBody>
              <a:bodyPr/>
              <a:lstStyle/>
              <a:p>
                <a:pPr>
                  <a:defRPr/>
                </a:pPr>
                <a:endParaRPr lang="en-US">
                  <a:ea typeface="ＭＳ Ｐゴシック" charset="0"/>
                  <a:cs typeface="ＭＳ Ｐゴシック" charset="0"/>
                </a:endParaRPr>
              </a:p>
            </p:txBody>
          </p:sp>
        </p:grpSp>
        <p:grpSp>
          <p:nvGrpSpPr>
            <p:cNvPr id="29" name="Group 25"/>
            <p:cNvGrpSpPr>
              <a:grpSpLocks/>
            </p:cNvGrpSpPr>
            <p:nvPr/>
          </p:nvGrpSpPr>
          <p:grpSpPr bwMode="auto">
            <a:xfrm>
              <a:off x="156690" y="4438248"/>
              <a:ext cx="2680018" cy="1658126"/>
              <a:chOff x="6187440" y="3226133"/>
              <a:chExt cx="2680018" cy="1658126"/>
            </a:xfrm>
          </p:grpSpPr>
          <p:sp>
            <p:nvSpPr>
              <p:cNvPr id="30" name="Rectangle 29"/>
              <p:cNvSpPr/>
              <p:nvPr/>
            </p:nvSpPr>
            <p:spPr>
              <a:xfrm>
                <a:off x="6187397" y="3246048"/>
                <a:ext cx="376282" cy="255616"/>
              </a:xfrm>
              <a:prstGeom prst="rect">
                <a:avLst/>
              </a:prstGeom>
              <a:solidFill>
                <a:srgbClr val="AD413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sp>
            <p:nvSpPr>
              <p:cNvPr id="31" name="Rectangle 30"/>
              <p:cNvSpPr/>
              <p:nvPr/>
            </p:nvSpPr>
            <p:spPr>
              <a:xfrm>
                <a:off x="6187397" y="3561996"/>
                <a:ext cx="376282" cy="255617"/>
              </a:xfrm>
              <a:prstGeom prst="rect">
                <a:avLst/>
              </a:prstGeom>
              <a:solidFill>
                <a:srgbClr val="C4888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sp>
            <p:nvSpPr>
              <p:cNvPr id="32" name="Rectangle 31"/>
              <p:cNvSpPr/>
              <p:nvPr/>
            </p:nvSpPr>
            <p:spPr>
              <a:xfrm>
                <a:off x="6187397" y="4239935"/>
                <a:ext cx="376282" cy="255616"/>
              </a:xfrm>
              <a:prstGeom prst="rect">
                <a:avLst/>
              </a:prstGeom>
              <a:solidFill>
                <a:srgbClr val="FC790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sp>
            <p:nvSpPr>
              <p:cNvPr id="33" name="Rectangle 32"/>
              <p:cNvSpPr/>
              <p:nvPr/>
            </p:nvSpPr>
            <p:spPr>
              <a:xfrm>
                <a:off x="6187397" y="4576522"/>
                <a:ext cx="376282" cy="255616"/>
              </a:xfrm>
              <a:prstGeom prst="rect">
                <a:avLst/>
              </a:prstGeom>
              <a:solidFill>
                <a:srgbClr val="24367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sp>
            <p:nvSpPr>
              <p:cNvPr id="34" name="Rectangle 33"/>
              <p:cNvSpPr/>
              <p:nvPr/>
            </p:nvSpPr>
            <p:spPr>
              <a:xfrm>
                <a:off x="6187397" y="3903347"/>
                <a:ext cx="376282" cy="255616"/>
              </a:xfrm>
              <a:prstGeom prst="rect">
                <a:avLst/>
              </a:prstGeom>
              <a:solidFill>
                <a:srgbClr val="9BBB5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sp>
            <p:nvSpPr>
              <p:cNvPr id="35" name="TextBox 31"/>
              <p:cNvSpPr txBox="1">
                <a:spLocks noChangeArrowheads="1"/>
              </p:cNvSpPr>
              <p:nvPr/>
            </p:nvSpPr>
            <p:spPr bwMode="auto">
              <a:xfrm>
                <a:off x="6583678" y="3226133"/>
                <a:ext cx="188547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a:t>&lt;200, &lt;250 or &lt;300</a:t>
                </a:r>
              </a:p>
            </p:txBody>
          </p:sp>
          <p:sp>
            <p:nvSpPr>
              <p:cNvPr id="36" name="TextBox 32"/>
              <p:cNvSpPr txBox="1">
                <a:spLocks noChangeArrowheads="1"/>
              </p:cNvSpPr>
              <p:nvPr/>
            </p:nvSpPr>
            <p:spPr bwMode="auto">
              <a:xfrm>
                <a:off x="6563359" y="3560641"/>
                <a:ext cx="15984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a:t>&lt;350</a:t>
                </a:r>
              </a:p>
            </p:txBody>
          </p:sp>
          <p:sp>
            <p:nvSpPr>
              <p:cNvPr id="37" name="TextBox 33"/>
              <p:cNvSpPr txBox="1">
                <a:spLocks noChangeArrowheads="1"/>
              </p:cNvSpPr>
              <p:nvPr/>
            </p:nvSpPr>
            <p:spPr bwMode="auto">
              <a:xfrm>
                <a:off x="6583679" y="3899254"/>
                <a:ext cx="15984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a:t>&lt;500</a:t>
                </a:r>
              </a:p>
            </p:txBody>
          </p:sp>
          <p:sp>
            <p:nvSpPr>
              <p:cNvPr id="38" name="TextBox 34"/>
              <p:cNvSpPr txBox="1">
                <a:spLocks noChangeArrowheads="1"/>
              </p:cNvSpPr>
              <p:nvPr/>
            </p:nvSpPr>
            <p:spPr bwMode="auto">
              <a:xfrm>
                <a:off x="6583679" y="4231977"/>
                <a:ext cx="15984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a:t>&gt;500</a:t>
                </a:r>
              </a:p>
            </p:txBody>
          </p:sp>
          <p:sp>
            <p:nvSpPr>
              <p:cNvPr id="39" name="TextBox 35"/>
              <p:cNvSpPr txBox="1">
                <a:spLocks noChangeArrowheads="1"/>
              </p:cNvSpPr>
              <p:nvPr/>
            </p:nvSpPr>
            <p:spPr bwMode="auto">
              <a:xfrm>
                <a:off x="6573519" y="4576482"/>
                <a:ext cx="229393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r>
                  <a:rPr lang="en-US" sz="1400"/>
                  <a:t>Irrespective of CD4 count</a:t>
                </a:r>
              </a:p>
            </p:txBody>
          </p:sp>
        </p:grpSp>
      </p:grpSp>
      <p:sp>
        <p:nvSpPr>
          <p:cNvPr id="25" name="Freeform 24"/>
          <p:cNvSpPr/>
          <p:nvPr/>
        </p:nvSpPr>
        <p:spPr>
          <a:xfrm>
            <a:off x="1158685" y="2079430"/>
            <a:ext cx="409575" cy="352425"/>
          </a:xfrm>
          <a:custGeom>
            <a:avLst/>
            <a:gdLst>
              <a:gd name="connsiteX0" fmla="*/ 15875 w 746125"/>
              <a:gd name="connsiteY0" fmla="*/ 5349 h 687974"/>
              <a:gd name="connsiteX1" fmla="*/ 15875 w 746125"/>
              <a:gd name="connsiteY1" fmla="*/ 5349 h 687974"/>
              <a:gd name="connsiteX2" fmla="*/ 476250 w 746125"/>
              <a:gd name="connsiteY2" fmla="*/ 8524 h 687974"/>
              <a:gd name="connsiteX3" fmla="*/ 558800 w 746125"/>
              <a:gd name="connsiteY3" fmla="*/ 14874 h 687974"/>
              <a:gd name="connsiteX4" fmla="*/ 666750 w 746125"/>
              <a:gd name="connsiteY4" fmla="*/ 11699 h 687974"/>
              <a:gd name="connsiteX5" fmla="*/ 676275 w 746125"/>
              <a:gd name="connsiteY5" fmla="*/ 5349 h 687974"/>
              <a:gd name="connsiteX6" fmla="*/ 746125 w 746125"/>
              <a:gd name="connsiteY6" fmla="*/ 8524 h 687974"/>
              <a:gd name="connsiteX7" fmla="*/ 736600 w 746125"/>
              <a:gd name="connsiteY7" fmla="*/ 33924 h 687974"/>
              <a:gd name="connsiteX8" fmla="*/ 730250 w 746125"/>
              <a:gd name="connsiteY8" fmla="*/ 52974 h 687974"/>
              <a:gd name="connsiteX9" fmla="*/ 711200 w 746125"/>
              <a:gd name="connsiteY9" fmla="*/ 97424 h 687974"/>
              <a:gd name="connsiteX10" fmla="*/ 704850 w 746125"/>
              <a:gd name="connsiteY10" fmla="*/ 110124 h 687974"/>
              <a:gd name="connsiteX11" fmla="*/ 701675 w 746125"/>
              <a:gd name="connsiteY11" fmla="*/ 122824 h 687974"/>
              <a:gd name="connsiteX12" fmla="*/ 695325 w 746125"/>
              <a:gd name="connsiteY12" fmla="*/ 141874 h 687974"/>
              <a:gd name="connsiteX13" fmla="*/ 692150 w 746125"/>
              <a:gd name="connsiteY13" fmla="*/ 151399 h 687974"/>
              <a:gd name="connsiteX14" fmla="*/ 688975 w 746125"/>
              <a:gd name="connsiteY14" fmla="*/ 164099 h 687974"/>
              <a:gd name="connsiteX15" fmla="*/ 682625 w 746125"/>
              <a:gd name="connsiteY15" fmla="*/ 183149 h 687974"/>
              <a:gd name="connsiteX16" fmla="*/ 679450 w 746125"/>
              <a:gd name="connsiteY16" fmla="*/ 192674 h 687974"/>
              <a:gd name="connsiteX17" fmla="*/ 676275 w 746125"/>
              <a:gd name="connsiteY17" fmla="*/ 224424 h 687974"/>
              <a:gd name="connsiteX18" fmla="*/ 666750 w 746125"/>
              <a:gd name="connsiteY18" fmla="*/ 246649 h 687974"/>
              <a:gd name="connsiteX19" fmla="*/ 663575 w 746125"/>
              <a:gd name="connsiteY19" fmla="*/ 259349 h 687974"/>
              <a:gd name="connsiteX20" fmla="*/ 657225 w 746125"/>
              <a:gd name="connsiteY20" fmla="*/ 278399 h 687974"/>
              <a:gd name="connsiteX21" fmla="*/ 650875 w 746125"/>
              <a:gd name="connsiteY21" fmla="*/ 303799 h 687974"/>
              <a:gd name="connsiteX22" fmla="*/ 644525 w 746125"/>
              <a:gd name="connsiteY22" fmla="*/ 316499 h 687974"/>
              <a:gd name="connsiteX23" fmla="*/ 641350 w 746125"/>
              <a:gd name="connsiteY23" fmla="*/ 329199 h 687974"/>
              <a:gd name="connsiteX24" fmla="*/ 635000 w 746125"/>
              <a:gd name="connsiteY24" fmla="*/ 341899 h 687974"/>
              <a:gd name="connsiteX25" fmla="*/ 631825 w 746125"/>
              <a:gd name="connsiteY25" fmla="*/ 354599 h 687974"/>
              <a:gd name="connsiteX26" fmla="*/ 622300 w 746125"/>
              <a:gd name="connsiteY26" fmla="*/ 364124 h 687974"/>
              <a:gd name="connsiteX27" fmla="*/ 612775 w 746125"/>
              <a:gd name="connsiteY27" fmla="*/ 386349 h 687974"/>
              <a:gd name="connsiteX28" fmla="*/ 619125 w 746125"/>
              <a:gd name="connsiteY28" fmla="*/ 481599 h 687974"/>
              <a:gd name="connsiteX29" fmla="*/ 622300 w 746125"/>
              <a:gd name="connsiteY29" fmla="*/ 491124 h 687974"/>
              <a:gd name="connsiteX30" fmla="*/ 625475 w 746125"/>
              <a:gd name="connsiteY30" fmla="*/ 516524 h 687974"/>
              <a:gd name="connsiteX31" fmla="*/ 628650 w 746125"/>
              <a:gd name="connsiteY31" fmla="*/ 538749 h 687974"/>
              <a:gd name="connsiteX32" fmla="*/ 631825 w 746125"/>
              <a:gd name="connsiteY32" fmla="*/ 580024 h 687974"/>
              <a:gd name="connsiteX33" fmla="*/ 635000 w 746125"/>
              <a:gd name="connsiteY33" fmla="*/ 589549 h 687974"/>
              <a:gd name="connsiteX34" fmla="*/ 638175 w 746125"/>
              <a:gd name="connsiteY34" fmla="*/ 605424 h 687974"/>
              <a:gd name="connsiteX35" fmla="*/ 644525 w 746125"/>
              <a:gd name="connsiteY35" fmla="*/ 633999 h 687974"/>
              <a:gd name="connsiteX36" fmla="*/ 654050 w 746125"/>
              <a:gd name="connsiteY36" fmla="*/ 646699 h 687974"/>
              <a:gd name="connsiteX37" fmla="*/ 657225 w 746125"/>
              <a:gd name="connsiteY37" fmla="*/ 656224 h 687974"/>
              <a:gd name="connsiteX38" fmla="*/ 663575 w 746125"/>
              <a:gd name="connsiteY38" fmla="*/ 665749 h 687974"/>
              <a:gd name="connsiteX39" fmla="*/ 654050 w 746125"/>
              <a:gd name="connsiteY39" fmla="*/ 668924 h 687974"/>
              <a:gd name="connsiteX40" fmla="*/ 603250 w 746125"/>
              <a:gd name="connsiteY40" fmla="*/ 672099 h 687974"/>
              <a:gd name="connsiteX41" fmla="*/ 561975 w 746125"/>
              <a:gd name="connsiteY41" fmla="*/ 678449 h 687974"/>
              <a:gd name="connsiteX42" fmla="*/ 514350 w 746125"/>
              <a:gd name="connsiteY42" fmla="*/ 687974 h 687974"/>
              <a:gd name="connsiteX43" fmla="*/ 393700 w 746125"/>
              <a:gd name="connsiteY43" fmla="*/ 684799 h 687974"/>
              <a:gd name="connsiteX44" fmla="*/ 355600 w 746125"/>
              <a:gd name="connsiteY44" fmla="*/ 678449 h 687974"/>
              <a:gd name="connsiteX45" fmla="*/ 311150 w 746125"/>
              <a:gd name="connsiteY45" fmla="*/ 675274 h 687974"/>
              <a:gd name="connsiteX46" fmla="*/ 234950 w 746125"/>
              <a:gd name="connsiteY46" fmla="*/ 678449 h 687974"/>
              <a:gd name="connsiteX47" fmla="*/ 174625 w 746125"/>
              <a:gd name="connsiteY47" fmla="*/ 684799 h 687974"/>
              <a:gd name="connsiteX48" fmla="*/ 133350 w 746125"/>
              <a:gd name="connsiteY48" fmla="*/ 678449 h 687974"/>
              <a:gd name="connsiteX49" fmla="*/ 123825 w 746125"/>
              <a:gd name="connsiteY49" fmla="*/ 668924 h 687974"/>
              <a:gd name="connsiteX50" fmla="*/ 98425 w 746125"/>
              <a:gd name="connsiteY50" fmla="*/ 646699 h 687974"/>
              <a:gd name="connsiteX51" fmla="*/ 95250 w 746125"/>
              <a:gd name="connsiteY51" fmla="*/ 633999 h 687974"/>
              <a:gd name="connsiteX52" fmla="*/ 82550 w 746125"/>
              <a:gd name="connsiteY52" fmla="*/ 627649 h 687974"/>
              <a:gd name="connsiteX53" fmla="*/ 73025 w 746125"/>
              <a:gd name="connsiteY53" fmla="*/ 621299 h 687974"/>
              <a:gd name="connsiteX54" fmla="*/ 66675 w 746125"/>
              <a:gd name="connsiteY54" fmla="*/ 608599 h 687974"/>
              <a:gd name="connsiteX55" fmla="*/ 44450 w 746125"/>
              <a:gd name="connsiteY55" fmla="*/ 595899 h 687974"/>
              <a:gd name="connsiteX56" fmla="*/ 38100 w 746125"/>
              <a:gd name="connsiteY56" fmla="*/ 586374 h 687974"/>
              <a:gd name="connsiteX57" fmla="*/ 15875 w 746125"/>
              <a:gd name="connsiteY57" fmla="*/ 576849 h 687974"/>
              <a:gd name="connsiteX58" fmla="*/ 9525 w 746125"/>
              <a:gd name="connsiteY58" fmla="*/ 567324 h 687974"/>
              <a:gd name="connsiteX59" fmla="*/ 19050 w 746125"/>
              <a:gd name="connsiteY59" fmla="*/ 557799 h 687974"/>
              <a:gd name="connsiteX60" fmla="*/ 31750 w 746125"/>
              <a:gd name="connsiteY60" fmla="*/ 538749 h 687974"/>
              <a:gd name="connsiteX61" fmla="*/ 38100 w 746125"/>
              <a:gd name="connsiteY61" fmla="*/ 529224 h 687974"/>
              <a:gd name="connsiteX62" fmla="*/ 47625 w 746125"/>
              <a:gd name="connsiteY62" fmla="*/ 494299 h 687974"/>
              <a:gd name="connsiteX63" fmla="*/ 38100 w 746125"/>
              <a:gd name="connsiteY63" fmla="*/ 487949 h 687974"/>
              <a:gd name="connsiteX64" fmla="*/ 25400 w 746125"/>
              <a:gd name="connsiteY64" fmla="*/ 481599 h 687974"/>
              <a:gd name="connsiteX65" fmla="*/ 22225 w 746125"/>
              <a:gd name="connsiteY65" fmla="*/ 472074 h 687974"/>
              <a:gd name="connsiteX66" fmla="*/ 25400 w 746125"/>
              <a:gd name="connsiteY66" fmla="*/ 437149 h 687974"/>
              <a:gd name="connsiteX67" fmla="*/ 34925 w 746125"/>
              <a:gd name="connsiteY67" fmla="*/ 433974 h 687974"/>
              <a:gd name="connsiteX68" fmla="*/ 66675 w 746125"/>
              <a:gd name="connsiteY68" fmla="*/ 411749 h 687974"/>
              <a:gd name="connsiteX69" fmla="*/ 79375 w 746125"/>
              <a:gd name="connsiteY69" fmla="*/ 408574 h 687974"/>
              <a:gd name="connsiteX70" fmla="*/ 85725 w 746125"/>
              <a:gd name="connsiteY70" fmla="*/ 399049 h 687974"/>
              <a:gd name="connsiteX71" fmla="*/ 98425 w 746125"/>
              <a:gd name="connsiteY71" fmla="*/ 370474 h 687974"/>
              <a:gd name="connsiteX72" fmla="*/ 111125 w 746125"/>
              <a:gd name="connsiteY72" fmla="*/ 367299 h 687974"/>
              <a:gd name="connsiteX73" fmla="*/ 123825 w 746125"/>
              <a:gd name="connsiteY73" fmla="*/ 351424 h 687974"/>
              <a:gd name="connsiteX74" fmla="*/ 130175 w 746125"/>
              <a:gd name="connsiteY74" fmla="*/ 341899 h 687974"/>
              <a:gd name="connsiteX75" fmla="*/ 139700 w 746125"/>
              <a:gd name="connsiteY75" fmla="*/ 332374 h 687974"/>
              <a:gd name="connsiteX76" fmla="*/ 142875 w 746125"/>
              <a:gd name="connsiteY76" fmla="*/ 322849 h 687974"/>
              <a:gd name="connsiteX77" fmla="*/ 152400 w 746125"/>
              <a:gd name="connsiteY77" fmla="*/ 319674 h 687974"/>
              <a:gd name="connsiteX78" fmla="*/ 139700 w 746125"/>
              <a:gd name="connsiteY78" fmla="*/ 281574 h 687974"/>
              <a:gd name="connsiteX79" fmla="*/ 127000 w 746125"/>
              <a:gd name="connsiteY79" fmla="*/ 278399 h 687974"/>
              <a:gd name="connsiteX80" fmla="*/ 127000 w 746125"/>
              <a:gd name="connsiteY80" fmla="*/ 211724 h 687974"/>
              <a:gd name="connsiteX81" fmla="*/ 133350 w 746125"/>
              <a:gd name="connsiteY81" fmla="*/ 202199 h 687974"/>
              <a:gd name="connsiteX82" fmla="*/ 139700 w 746125"/>
              <a:gd name="connsiteY82" fmla="*/ 183149 h 687974"/>
              <a:gd name="connsiteX83" fmla="*/ 152400 w 746125"/>
              <a:gd name="connsiteY83" fmla="*/ 138699 h 687974"/>
              <a:gd name="connsiteX84" fmla="*/ 155575 w 746125"/>
              <a:gd name="connsiteY84" fmla="*/ 129174 h 687974"/>
              <a:gd name="connsiteX85" fmla="*/ 161925 w 746125"/>
              <a:gd name="connsiteY85" fmla="*/ 119649 h 687974"/>
              <a:gd name="connsiteX86" fmla="*/ 152400 w 746125"/>
              <a:gd name="connsiteY86" fmla="*/ 78374 h 687974"/>
              <a:gd name="connsiteX87" fmla="*/ 149225 w 746125"/>
              <a:gd name="connsiteY87" fmla="*/ 65674 h 687974"/>
              <a:gd name="connsiteX88" fmla="*/ 139700 w 746125"/>
              <a:gd name="connsiteY88" fmla="*/ 59324 h 687974"/>
              <a:gd name="connsiteX89" fmla="*/ 114300 w 746125"/>
              <a:gd name="connsiteY89" fmla="*/ 62499 h 687974"/>
              <a:gd name="connsiteX90" fmla="*/ 104775 w 746125"/>
              <a:gd name="connsiteY90" fmla="*/ 65674 h 687974"/>
              <a:gd name="connsiteX91" fmla="*/ 98425 w 746125"/>
              <a:gd name="connsiteY91" fmla="*/ 75199 h 687974"/>
              <a:gd name="connsiteX92" fmla="*/ 79375 w 746125"/>
              <a:gd name="connsiteY92" fmla="*/ 81549 h 687974"/>
              <a:gd name="connsiteX93" fmla="*/ 9525 w 746125"/>
              <a:gd name="connsiteY93" fmla="*/ 78374 h 687974"/>
              <a:gd name="connsiteX94" fmla="*/ 3175 w 746125"/>
              <a:gd name="connsiteY94" fmla="*/ 59324 h 687974"/>
              <a:gd name="connsiteX95" fmla="*/ 0 w 746125"/>
              <a:gd name="connsiteY95" fmla="*/ 49799 h 687974"/>
              <a:gd name="connsiteX96" fmla="*/ 3175 w 746125"/>
              <a:gd name="connsiteY96" fmla="*/ 18049 h 687974"/>
              <a:gd name="connsiteX97" fmla="*/ 12700 w 746125"/>
              <a:gd name="connsiteY97" fmla="*/ 11699 h 687974"/>
              <a:gd name="connsiteX98" fmla="*/ 15875 w 746125"/>
              <a:gd name="connsiteY98" fmla="*/ 2174 h 687974"/>
              <a:gd name="connsiteX99" fmla="*/ 15875 w 746125"/>
              <a:gd name="connsiteY99" fmla="*/ 5349 h 687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746125" h="687974">
                <a:moveTo>
                  <a:pt x="15875" y="5349"/>
                </a:moveTo>
                <a:lnTo>
                  <a:pt x="15875" y="5349"/>
                </a:lnTo>
                <a:lnTo>
                  <a:pt x="476250" y="8524"/>
                </a:lnTo>
                <a:cubicBezTo>
                  <a:pt x="485868" y="8645"/>
                  <a:pt x="546686" y="13865"/>
                  <a:pt x="558800" y="14874"/>
                </a:cubicBezTo>
                <a:cubicBezTo>
                  <a:pt x="594783" y="13816"/>
                  <a:pt x="630869" y="14608"/>
                  <a:pt x="666750" y="11699"/>
                </a:cubicBezTo>
                <a:cubicBezTo>
                  <a:pt x="670553" y="11391"/>
                  <a:pt x="672462" y="5502"/>
                  <a:pt x="676275" y="5349"/>
                </a:cubicBezTo>
                <a:lnTo>
                  <a:pt x="746125" y="8524"/>
                </a:lnTo>
                <a:cubicBezTo>
                  <a:pt x="742950" y="16991"/>
                  <a:pt x="739641" y="25408"/>
                  <a:pt x="736600" y="33924"/>
                </a:cubicBezTo>
                <a:cubicBezTo>
                  <a:pt x="734349" y="40228"/>
                  <a:pt x="732736" y="46759"/>
                  <a:pt x="730250" y="52974"/>
                </a:cubicBezTo>
                <a:cubicBezTo>
                  <a:pt x="724263" y="67941"/>
                  <a:pt x="718409" y="83006"/>
                  <a:pt x="711200" y="97424"/>
                </a:cubicBezTo>
                <a:cubicBezTo>
                  <a:pt x="709083" y="101657"/>
                  <a:pt x="706512" y="105692"/>
                  <a:pt x="704850" y="110124"/>
                </a:cubicBezTo>
                <a:cubicBezTo>
                  <a:pt x="703318" y="114210"/>
                  <a:pt x="702929" y="118644"/>
                  <a:pt x="701675" y="122824"/>
                </a:cubicBezTo>
                <a:cubicBezTo>
                  <a:pt x="699752" y="129235"/>
                  <a:pt x="697442" y="135524"/>
                  <a:pt x="695325" y="141874"/>
                </a:cubicBezTo>
                <a:cubicBezTo>
                  <a:pt x="694267" y="145049"/>
                  <a:pt x="692962" y="148152"/>
                  <a:pt x="692150" y="151399"/>
                </a:cubicBezTo>
                <a:cubicBezTo>
                  <a:pt x="691092" y="155632"/>
                  <a:pt x="690229" y="159919"/>
                  <a:pt x="688975" y="164099"/>
                </a:cubicBezTo>
                <a:cubicBezTo>
                  <a:pt x="687052" y="170510"/>
                  <a:pt x="684742" y="176799"/>
                  <a:pt x="682625" y="183149"/>
                </a:cubicBezTo>
                <a:lnTo>
                  <a:pt x="679450" y="192674"/>
                </a:lnTo>
                <a:cubicBezTo>
                  <a:pt x="678392" y="203257"/>
                  <a:pt x="677892" y="213912"/>
                  <a:pt x="676275" y="224424"/>
                </a:cubicBezTo>
                <a:cubicBezTo>
                  <a:pt x="674904" y="233337"/>
                  <a:pt x="669929" y="238171"/>
                  <a:pt x="666750" y="246649"/>
                </a:cubicBezTo>
                <a:cubicBezTo>
                  <a:pt x="665218" y="250735"/>
                  <a:pt x="664829" y="255169"/>
                  <a:pt x="663575" y="259349"/>
                </a:cubicBezTo>
                <a:cubicBezTo>
                  <a:pt x="661652" y="265760"/>
                  <a:pt x="659064" y="271963"/>
                  <a:pt x="657225" y="278399"/>
                </a:cubicBezTo>
                <a:cubicBezTo>
                  <a:pt x="654827" y="286790"/>
                  <a:pt x="653635" y="295520"/>
                  <a:pt x="650875" y="303799"/>
                </a:cubicBezTo>
                <a:cubicBezTo>
                  <a:pt x="649378" y="308289"/>
                  <a:pt x="646187" y="312067"/>
                  <a:pt x="644525" y="316499"/>
                </a:cubicBezTo>
                <a:cubicBezTo>
                  <a:pt x="642993" y="320585"/>
                  <a:pt x="642882" y="325113"/>
                  <a:pt x="641350" y="329199"/>
                </a:cubicBezTo>
                <a:cubicBezTo>
                  <a:pt x="639688" y="333631"/>
                  <a:pt x="636662" y="337467"/>
                  <a:pt x="635000" y="341899"/>
                </a:cubicBezTo>
                <a:cubicBezTo>
                  <a:pt x="633468" y="345985"/>
                  <a:pt x="633990" y="350810"/>
                  <a:pt x="631825" y="354599"/>
                </a:cubicBezTo>
                <a:cubicBezTo>
                  <a:pt x="629597" y="358498"/>
                  <a:pt x="624910" y="360470"/>
                  <a:pt x="622300" y="364124"/>
                </a:cubicBezTo>
                <a:cubicBezTo>
                  <a:pt x="617396" y="370990"/>
                  <a:pt x="615366" y="378576"/>
                  <a:pt x="612775" y="386349"/>
                </a:cubicBezTo>
                <a:cubicBezTo>
                  <a:pt x="614892" y="418099"/>
                  <a:pt x="616244" y="449909"/>
                  <a:pt x="619125" y="481599"/>
                </a:cubicBezTo>
                <a:cubicBezTo>
                  <a:pt x="619428" y="484932"/>
                  <a:pt x="621701" y="487831"/>
                  <a:pt x="622300" y="491124"/>
                </a:cubicBezTo>
                <a:cubicBezTo>
                  <a:pt x="623826" y="499519"/>
                  <a:pt x="624347" y="508066"/>
                  <a:pt x="625475" y="516524"/>
                </a:cubicBezTo>
                <a:cubicBezTo>
                  <a:pt x="626464" y="523942"/>
                  <a:pt x="627905" y="531303"/>
                  <a:pt x="628650" y="538749"/>
                </a:cubicBezTo>
                <a:cubicBezTo>
                  <a:pt x="630023" y="552479"/>
                  <a:pt x="630113" y="566332"/>
                  <a:pt x="631825" y="580024"/>
                </a:cubicBezTo>
                <a:cubicBezTo>
                  <a:pt x="632240" y="583345"/>
                  <a:pt x="634188" y="586302"/>
                  <a:pt x="635000" y="589549"/>
                </a:cubicBezTo>
                <a:cubicBezTo>
                  <a:pt x="636309" y="594784"/>
                  <a:pt x="637210" y="600115"/>
                  <a:pt x="638175" y="605424"/>
                </a:cubicBezTo>
                <a:cubicBezTo>
                  <a:pt x="639056" y="610269"/>
                  <a:pt x="640793" y="627468"/>
                  <a:pt x="644525" y="633999"/>
                </a:cubicBezTo>
                <a:cubicBezTo>
                  <a:pt x="647150" y="638593"/>
                  <a:pt x="650875" y="642466"/>
                  <a:pt x="654050" y="646699"/>
                </a:cubicBezTo>
                <a:cubicBezTo>
                  <a:pt x="655108" y="649874"/>
                  <a:pt x="655728" y="653231"/>
                  <a:pt x="657225" y="656224"/>
                </a:cubicBezTo>
                <a:cubicBezTo>
                  <a:pt x="658932" y="659637"/>
                  <a:pt x="664500" y="662047"/>
                  <a:pt x="663575" y="665749"/>
                </a:cubicBezTo>
                <a:cubicBezTo>
                  <a:pt x="662763" y="668996"/>
                  <a:pt x="657378" y="668574"/>
                  <a:pt x="654050" y="668924"/>
                </a:cubicBezTo>
                <a:cubicBezTo>
                  <a:pt x="637177" y="670700"/>
                  <a:pt x="620183" y="671041"/>
                  <a:pt x="603250" y="672099"/>
                </a:cubicBezTo>
                <a:cubicBezTo>
                  <a:pt x="597057" y="672984"/>
                  <a:pt x="569134" y="676797"/>
                  <a:pt x="561975" y="678449"/>
                </a:cubicBezTo>
                <a:cubicBezTo>
                  <a:pt x="515738" y="689119"/>
                  <a:pt x="564901" y="681655"/>
                  <a:pt x="514350" y="687974"/>
                </a:cubicBezTo>
                <a:lnTo>
                  <a:pt x="393700" y="684799"/>
                </a:lnTo>
                <a:cubicBezTo>
                  <a:pt x="315568" y="681402"/>
                  <a:pt x="401331" y="683530"/>
                  <a:pt x="355600" y="678449"/>
                </a:cubicBezTo>
                <a:cubicBezTo>
                  <a:pt x="340836" y="676809"/>
                  <a:pt x="325967" y="676332"/>
                  <a:pt x="311150" y="675274"/>
                </a:cubicBezTo>
                <a:lnTo>
                  <a:pt x="234950" y="678449"/>
                </a:lnTo>
                <a:cubicBezTo>
                  <a:pt x="186995" y="680908"/>
                  <a:pt x="201657" y="678041"/>
                  <a:pt x="174625" y="684799"/>
                </a:cubicBezTo>
                <a:cubicBezTo>
                  <a:pt x="160867" y="682682"/>
                  <a:pt x="146637" y="682601"/>
                  <a:pt x="133350" y="678449"/>
                </a:cubicBezTo>
                <a:cubicBezTo>
                  <a:pt x="129064" y="677110"/>
                  <a:pt x="127234" y="671846"/>
                  <a:pt x="123825" y="668924"/>
                </a:cubicBezTo>
                <a:cubicBezTo>
                  <a:pt x="93218" y="642690"/>
                  <a:pt x="129707" y="677981"/>
                  <a:pt x="98425" y="646699"/>
                </a:cubicBezTo>
                <a:cubicBezTo>
                  <a:pt x="97367" y="642466"/>
                  <a:pt x="98044" y="637351"/>
                  <a:pt x="95250" y="633999"/>
                </a:cubicBezTo>
                <a:cubicBezTo>
                  <a:pt x="92220" y="630363"/>
                  <a:pt x="86659" y="629997"/>
                  <a:pt x="82550" y="627649"/>
                </a:cubicBezTo>
                <a:cubicBezTo>
                  <a:pt x="79237" y="625756"/>
                  <a:pt x="76200" y="623416"/>
                  <a:pt x="73025" y="621299"/>
                </a:cubicBezTo>
                <a:cubicBezTo>
                  <a:pt x="70908" y="617066"/>
                  <a:pt x="69755" y="612193"/>
                  <a:pt x="66675" y="608599"/>
                </a:cubicBezTo>
                <a:cubicBezTo>
                  <a:pt x="58986" y="599629"/>
                  <a:pt x="54132" y="599126"/>
                  <a:pt x="44450" y="595899"/>
                </a:cubicBezTo>
                <a:cubicBezTo>
                  <a:pt x="42333" y="592724"/>
                  <a:pt x="40798" y="589072"/>
                  <a:pt x="38100" y="586374"/>
                </a:cubicBezTo>
                <a:cubicBezTo>
                  <a:pt x="30791" y="579065"/>
                  <a:pt x="25591" y="579278"/>
                  <a:pt x="15875" y="576849"/>
                </a:cubicBezTo>
                <a:cubicBezTo>
                  <a:pt x="13758" y="573674"/>
                  <a:pt x="8898" y="571088"/>
                  <a:pt x="9525" y="567324"/>
                </a:cubicBezTo>
                <a:cubicBezTo>
                  <a:pt x="10263" y="562895"/>
                  <a:pt x="16293" y="561343"/>
                  <a:pt x="19050" y="557799"/>
                </a:cubicBezTo>
                <a:cubicBezTo>
                  <a:pt x="23735" y="551775"/>
                  <a:pt x="27517" y="545099"/>
                  <a:pt x="31750" y="538749"/>
                </a:cubicBezTo>
                <a:cubicBezTo>
                  <a:pt x="33867" y="535574"/>
                  <a:pt x="36893" y="532844"/>
                  <a:pt x="38100" y="529224"/>
                </a:cubicBezTo>
                <a:cubicBezTo>
                  <a:pt x="46157" y="505054"/>
                  <a:pt x="43137" y="516738"/>
                  <a:pt x="47625" y="494299"/>
                </a:cubicBezTo>
                <a:cubicBezTo>
                  <a:pt x="44450" y="492182"/>
                  <a:pt x="41413" y="489842"/>
                  <a:pt x="38100" y="487949"/>
                </a:cubicBezTo>
                <a:cubicBezTo>
                  <a:pt x="33991" y="485601"/>
                  <a:pt x="28747" y="484946"/>
                  <a:pt x="25400" y="481599"/>
                </a:cubicBezTo>
                <a:cubicBezTo>
                  <a:pt x="23033" y="479232"/>
                  <a:pt x="23283" y="475249"/>
                  <a:pt x="22225" y="472074"/>
                </a:cubicBezTo>
                <a:cubicBezTo>
                  <a:pt x="23283" y="460432"/>
                  <a:pt x="21703" y="448239"/>
                  <a:pt x="25400" y="437149"/>
                </a:cubicBezTo>
                <a:cubicBezTo>
                  <a:pt x="26458" y="433974"/>
                  <a:pt x="32019" y="435634"/>
                  <a:pt x="34925" y="433974"/>
                </a:cubicBezTo>
                <a:cubicBezTo>
                  <a:pt x="43098" y="429304"/>
                  <a:pt x="58556" y="413779"/>
                  <a:pt x="66675" y="411749"/>
                </a:cubicBezTo>
                <a:lnTo>
                  <a:pt x="79375" y="408574"/>
                </a:lnTo>
                <a:cubicBezTo>
                  <a:pt x="81492" y="405399"/>
                  <a:pt x="84175" y="402536"/>
                  <a:pt x="85725" y="399049"/>
                </a:cubicBezTo>
                <a:cubicBezTo>
                  <a:pt x="87571" y="394896"/>
                  <a:pt x="91618" y="375012"/>
                  <a:pt x="98425" y="370474"/>
                </a:cubicBezTo>
                <a:cubicBezTo>
                  <a:pt x="102056" y="368053"/>
                  <a:pt x="106892" y="368357"/>
                  <a:pt x="111125" y="367299"/>
                </a:cubicBezTo>
                <a:cubicBezTo>
                  <a:pt x="117306" y="348756"/>
                  <a:pt x="109464" y="365785"/>
                  <a:pt x="123825" y="351424"/>
                </a:cubicBezTo>
                <a:cubicBezTo>
                  <a:pt x="126523" y="348726"/>
                  <a:pt x="127732" y="344830"/>
                  <a:pt x="130175" y="341899"/>
                </a:cubicBezTo>
                <a:cubicBezTo>
                  <a:pt x="133050" y="338450"/>
                  <a:pt x="136525" y="335549"/>
                  <a:pt x="139700" y="332374"/>
                </a:cubicBezTo>
                <a:cubicBezTo>
                  <a:pt x="140758" y="329199"/>
                  <a:pt x="140508" y="325216"/>
                  <a:pt x="142875" y="322849"/>
                </a:cubicBezTo>
                <a:cubicBezTo>
                  <a:pt x="145242" y="320482"/>
                  <a:pt x="151801" y="322967"/>
                  <a:pt x="152400" y="319674"/>
                </a:cubicBezTo>
                <a:cubicBezTo>
                  <a:pt x="156082" y="299423"/>
                  <a:pt x="155479" y="288336"/>
                  <a:pt x="139700" y="281574"/>
                </a:cubicBezTo>
                <a:cubicBezTo>
                  <a:pt x="135689" y="279855"/>
                  <a:pt x="131233" y="279457"/>
                  <a:pt x="127000" y="278399"/>
                </a:cubicBezTo>
                <a:cubicBezTo>
                  <a:pt x="120259" y="251434"/>
                  <a:pt x="120245" y="256759"/>
                  <a:pt x="127000" y="211724"/>
                </a:cubicBezTo>
                <a:cubicBezTo>
                  <a:pt x="127566" y="207950"/>
                  <a:pt x="131800" y="205686"/>
                  <a:pt x="133350" y="202199"/>
                </a:cubicBezTo>
                <a:cubicBezTo>
                  <a:pt x="136068" y="196082"/>
                  <a:pt x="138077" y="189643"/>
                  <a:pt x="139700" y="183149"/>
                </a:cubicBezTo>
                <a:cubicBezTo>
                  <a:pt x="147673" y="151255"/>
                  <a:pt x="143290" y="166028"/>
                  <a:pt x="152400" y="138699"/>
                </a:cubicBezTo>
                <a:cubicBezTo>
                  <a:pt x="153458" y="135524"/>
                  <a:pt x="153719" y="131959"/>
                  <a:pt x="155575" y="129174"/>
                </a:cubicBezTo>
                <a:lnTo>
                  <a:pt x="161925" y="119649"/>
                </a:lnTo>
                <a:cubicBezTo>
                  <a:pt x="154555" y="68059"/>
                  <a:pt x="164022" y="124862"/>
                  <a:pt x="152400" y="78374"/>
                </a:cubicBezTo>
                <a:cubicBezTo>
                  <a:pt x="151342" y="74141"/>
                  <a:pt x="151646" y="69305"/>
                  <a:pt x="149225" y="65674"/>
                </a:cubicBezTo>
                <a:cubicBezTo>
                  <a:pt x="147108" y="62499"/>
                  <a:pt x="142875" y="61441"/>
                  <a:pt x="139700" y="59324"/>
                </a:cubicBezTo>
                <a:cubicBezTo>
                  <a:pt x="131233" y="60382"/>
                  <a:pt x="122695" y="60973"/>
                  <a:pt x="114300" y="62499"/>
                </a:cubicBezTo>
                <a:cubicBezTo>
                  <a:pt x="111007" y="63098"/>
                  <a:pt x="107388" y="63583"/>
                  <a:pt x="104775" y="65674"/>
                </a:cubicBezTo>
                <a:cubicBezTo>
                  <a:pt x="101795" y="68058"/>
                  <a:pt x="101661" y="73177"/>
                  <a:pt x="98425" y="75199"/>
                </a:cubicBezTo>
                <a:cubicBezTo>
                  <a:pt x="92749" y="78747"/>
                  <a:pt x="79375" y="81549"/>
                  <a:pt x="79375" y="81549"/>
                </a:cubicBezTo>
                <a:cubicBezTo>
                  <a:pt x="56092" y="80491"/>
                  <a:pt x="31900" y="84900"/>
                  <a:pt x="9525" y="78374"/>
                </a:cubicBezTo>
                <a:cubicBezTo>
                  <a:pt x="3099" y="76500"/>
                  <a:pt x="5292" y="65674"/>
                  <a:pt x="3175" y="59324"/>
                </a:cubicBezTo>
                <a:lnTo>
                  <a:pt x="0" y="49799"/>
                </a:lnTo>
                <a:cubicBezTo>
                  <a:pt x="1058" y="39216"/>
                  <a:pt x="-188" y="28139"/>
                  <a:pt x="3175" y="18049"/>
                </a:cubicBezTo>
                <a:cubicBezTo>
                  <a:pt x="4382" y="14429"/>
                  <a:pt x="10316" y="14679"/>
                  <a:pt x="12700" y="11699"/>
                </a:cubicBezTo>
                <a:cubicBezTo>
                  <a:pt x="14791" y="9086"/>
                  <a:pt x="14153" y="5044"/>
                  <a:pt x="15875" y="2174"/>
                </a:cubicBezTo>
                <a:cubicBezTo>
                  <a:pt x="17415" y="-393"/>
                  <a:pt x="20108" y="-2059"/>
                  <a:pt x="15875" y="5349"/>
                </a:cubicBezTo>
                <a:close/>
              </a:path>
            </a:pathLst>
          </a:custGeom>
          <a:solidFill>
            <a:schemeClr val="tx2"/>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46" name="Group 21"/>
          <p:cNvGrpSpPr>
            <a:grpSpLocks/>
          </p:cNvGrpSpPr>
          <p:nvPr/>
        </p:nvGrpSpPr>
        <p:grpSpPr bwMode="auto">
          <a:xfrm>
            <a:off x="157163" y="3665538"/>
            <a:ext cx="5340350" cy="2414587"/>
            <a:chOff x="156647" y="3629395"/>
            <a:chExt cx="5340991" cy="2414858"/>
          </a:xfrm>
        </p:grpSpPr>
        <p:grpSp>
          <p:nvGrpSpPr>
            <p:cNvPr id="47" name="Group 22"/>
            <p:cNvGrpSpPr>
              <a:grpSpLocks/>
            </p:cNvGrpSpPr>
            <p:nvPr/>
          </p:nvGrpSpPr>
          <p:grpSpPr bwMode="auto">
            <a:xfrm>
              <a:off x="5092776" y="3629395"/>
              <a:ext cx="404862" cy="1325711"/>
              <a:chOff x="5067376" y="3629395"/>
              <a:chExt cx="404862" cy="1325711"/>
            </a:xfrm>
          </p:grpSpPr>
          <p:sp>
            <p:nvSpPr>
              <p:cNvPr id="60" name="Freeform 125"/>
              <p:cNvSpPr>
                <a:spLocks/>
              </p:cNvSpPr>
              <p:nvPr/>
            </p:nvSpPr>
            <p:spPr bwMode="auto">
              <a:xfrm>
                <a:off x="5067376" y="4909064"/>
                <a:ext cx="47631" cy="46042"/>
              </a:xfrm>
              <a:custGeom>
                <a:avLst/>
                <a:gdLst>
                  <a:gd name="T0" fmla="*/ 126 w 89"/>
                  <a:gd name="T1" fmla="*/ 32 h 79"/>
                  <a:gd name="T2" fmla="*/ 130 w 89"/>
                  <a:gd name="T3" fmla="*/ 42 h 79"/>
                  <a:gd name="T4" fmla="*/ 131 w 89"/>
                  <a:gd name="T5" fmla="*/ 40 h 79"/>
                  <a:gd name="T6" fmla="*/ 131 w 89"/>
                  <a:gd name="T7" fmla="*/ 47 h 79"/>
                  <a:gd name="T8" fmla="*/ 105 w 89"/>
                  <a:gd name="T9" fmla="*/ 80 h 79"/>
                  <a:gd name="T10" fmla="*/ 75 w 89"/>
                  <a:gd name="T11" fmla="*/ 90 h 79"/>
                  <a:gd name="T12" fmla="*/ 65 w 89"/>
                  <a:gd name="T13" fmla="*/ 101 h 79"/>
                  <a:gd name="T14" fmla="*/ 57 w 89"/>
                  <a:gd name="T15" fmla="*/ 105 h 79"/>
                  <a:gd name="T16" fmla="*/ 44 w 89"/>
                  <a:gd name="T17" fmla="*/ 106 h 79"/>
                  <a:gd name="T18" fmla="*/ 22 w 89"/>
                  <a:gd name="T19" fmla="*/ 92 h 79"/>
                  <a:gd name="T20" fmla="*/ 14 w 89"/>
                  <a:gd name="T21" fmla="*/ 82 h 79"/>
                  <a:gd name="T22" fmla="*/ 3 w 89"/>
                  <a:gd name="T23" fmla="*/ 71 h 79"/>
                  <a:gd name="T24" fmla="*/ 0 w 89"/>
                  <a:gd name="T25" fmla="*/ 60 h 79"/>
                  <a:gd name="T26" fmla="*/ 3 w 89"/>
                  <a:gd name="T27" fmla="*/ 49 h 79"/>
                  <a:gd name="T28" fmla="*/ 29 w 89"/>
                  <a:gd name="T29" fmla="*/ 22 h 79"/>
                  <a:gd name="T30" fmla="*/ 41 w 89"/>
                  <a:gd name="T31" fmla="*/ 16 h 79"/>
                  <a:gd name="T32" fmla="*/ 70 w 89"/>
                  <a:gd name="T33" fmla="*/ 1 h 79"/>
                  <a:gd name="T34" fmla="*/ 85 w 89"/>
                  <a:gd name="T35" fmla="*/ 0 h 79"/>
                  <a:gd name="T36" fmla="*/ 100 w 89"/>
                  <a:gd name="T37" fmla="*/ 3 h 79"/>
                  <a:gd name="T38" fmla="*/ 111 w 89"/>
                  <a:gd name="T39" fmla="*/ 17 h 79"/>
                  <a:gd name="T40" fmla="*/ 115 w 89"/>
                  <a:gd name="T41" fmla="*/ 23 h 79"/>
                  <a:gd name="T42" fmla="*/ 126 w 89"/>
                  <a:gd name="T43" fmla="*/ 32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5" y="25"/>
                    </a:moveTo>
                    <a:lnTo>
                      <a:pt x="88" y="30"/>
                    </a:lnTo>
                    <a:lnTo>
                      <a:pt x="89" y="29"/>
                    </a:lnTo>
                    <a:lnTo>
                      <a:pt x="89" y="35"/>
                    </a:lnTo>
                    <a:lnTo>
                      <a:pt x="71" y="60"/>
                    </a:lnTo>
                    <a:lnTo>
                      <a:pt x="51" y="67"/>
                    </a:lnTo>
                    <a:lnTo>
                      <a:pt x="44" y="75"/>
                    </a:lnTo>
                    <a:lnTo>
                      <a:pt x="38" y="78"/>
                    </a:lnTo>
                    <a:lnTo>
                      <a:pt x="30" y="79"/>
                    </a:lnTo>
                    <a:lnTo>
                      <a:pt x="16" y="69"/>
                    </a:lnTo>
                    <a:lnTo>
                      <a:pt x="8" y="61"/>
                    </a:lnTo>
                    <a:lnTo>
                      <a:pt x="3" y="53"/>
                    </a:lnTo>
                    <a:lnTo>
                      <a:pt x="0" y="45"/>
                    </a:lnTo>
                    <a:lnTo>
                      <a:pt x="3" y="37"/>
                    </a:lnTo>
                    <a:lnTo>
                      <a:pt x="20" y="16"/>
                    </a:lnTo>
                    <a:lnTo>
                      <a:pt x="28" y="10"/>
                    </a:lnTo>
                    <a:lnTo>
                      <a:pt x="48" y="1"/>
                    </a:lnTo>
                    <a:lnTo>
                      <a:pt x="58" y="0"/>
                    </a:lnTo>
                    <a:lnTo>
                      <a:pt x="67" y="3"/>
                    </a:lnTo>
                    <a:lnTo>
                      <a:pt x="75" y="11"/>
                    </a:lnTo>
                    <a:lnTo>
                      <a:pt x="78" y="17"/>
                    </a:lnTo>
                    <a:lnTo>
                      <a:pt x="85" y="25"/>
                    </a:lnTo>
                    <a:close/>
                  </a:path>
                </a:pathLst>
              </a:custGeom>
              <a:solidFill>
                <a:schemeClr val="accent3"/>
              </a:solidFill>
              <a:ln w="7938">
                <a:solidFill>
                  <a:srgbClr val="1C1329"/>
                </a:solidFill>
                <a:miter lim="800000"/>
                <a:headEnd/>
                <a:tailEnd/>
              </a:ln>
            </p:spPr>
            <p:txBody>
              <a:bodyPr/>
              <a:lstStyle/>
              <a:p>
                <a:pPr>
                  <a:defRPr/>
                </a:pPr>
                <a:endParaRPr lang="en-US">
                  <a:ea typeface="ＭＳ Ｐゴシック" charset="0"/>
                  <a:cs typeface="ＭＳ Ｐゴシック" charset="0"/>
                </a:endParaRPr>
              </a:p>
            </p:txBody>
          </p:sp>
          <p:sp>
            <p:nvSpPr>
              <p:cNvPr id="61" name="Freeform 125"/>
              <p:cNvSpPr>
                <a:spLocks/>
              </p:cNvSpPr>
              <p:nvPr/>
            </p:nvSpPr>
            <p:spPr bwMode="auto">
              <a:xfrm>
                <a:off x="5424607" y="3629395"/>
                <a:ext cx="47631" cy="46042"/>
              </a:xfrm>
              <a:custGeom>
                <a:avLst/>
                <a:gdLst>
                  <a:gd name="T0" fmla="*/ 126 w 89"/>
                  <a:gd name="T1" fmla="*/ 32 h 79"/>
                  <a:gd name="T2" fmla="*/ 130 w 89"/>
                  <a:gd name="T3" fmla="*/ 42 h 79"/>
                  <a:gd name="T4" fmla="*/ 131 w 89"/>
                  <a:gd name="T5" fmla="*/ 40 h 79"/>
                  <a:gd name="T6" fmla="*/ 131 w 89"/>
                  <a:gd name="T7" fmla="*/ 47 h 79"/>
                  <a:gd name="T8" fmla="*/ 105 w 89"/>
                  <a:gd name="T9" fmla="*/ 80 h 79"/>
                  <a:gd name="T10" fmla="*/ 75 w 89"/>
                  <a:gd name="T11" fmla="*/ 90 h 79"/>
                  <a:gd name="T12" fmla="*/ 65 w 89"/>
                  <a:gd name="T13" fmla="*/ 101 h 79"/>
                  <a:gd name="T14" fmla="*/ 57 w 89"/>
                  <a:gd name="T15" fmla="*/ 105 h 79"/>
                  <a:gd name="T16" fmla="*/ 44 w 89"/>
                  <a:gd name="T17" fmla="*/ 106 h 79"/>
                  <a:gd name="T18" fmla="*/ 22 w 89"/>
                  <a:gd name="T19" fmla="*/ 92 h 79"/>
                  <a:gd name="T20" fmla="*/ 14 w 89"/>
                  <a:gd name="T21" fmla="*/ 82 h 79"/>
                  <a:gd name="T22" fmla="*/ 3 w 89"/>
                  <a:gd name="T23" fmla="*/ 71 h 79"/>
                  <a:gd name="T24" fmla="*/ 0 w 89"/>
                  <a:gd name="T25" fmla="*/ 60 h 79"/>
                  <a:gd name="T26" fmla="*/ 3 w 89"/>
                  <a:gd name="T27" fmla="*/ 49 h 79"/>
                  <a:gd name="T28" fmla="*/ 29 w 89"/>
                  <a:gd name="T29" fmla="*/ 22 h 79"/>
                  <a:gd name="T30" fmla="*/ 41 w 89"/>
                  <a:gd name="T31" fmla="*/ 16 h 79"/>
                  <a:gd name="T32" fmla="*/ 70 w 89"/>
                  <a:gd name="T33" fmla="*/ 1 h 79"/>
                  <a:gd name="T34" fmla="*/ 85 w 89"/>
                  <a:gd name="T35" fmla="*/ 0 h 79"/>
                  <a:gd name="T36" fmla="*/ 100 w 89"/>
                  <a:gd name="T37" fmla="*/ 3 h 79"/>
                  <a:gd name="T38" fmla="*/ 111 w 89"/>
                  <a:gd name="T39" fmla="*/ 17 h 79"/>
                  <a:gd name="T40" fmla="*/ 115 w 89"/>
                  <a:gd name="T41" fmla="*/ 23 h 79"/>
                  <a:gd name="T42" fmla="*/ 126 w 89"/>
                  <a:gd name="T43" fmla="*/ 32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9"/>
                  <a:gd name="T67" fmla="*/ 0 h 79"/>
                  <a:gd name="T68" fmla="*/ 89 w 89"/>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9" h="79">
                    <a:moveTo>
                      <a:pt x="85" y="25"/>
                    </a:moveTo>
                    <a:lnTo>
                      <a:pt x="88" y="30"/>
                    </a:lnTo>
                    <a:lnTo>
                      <a:pt x="89" y="29"/>
                    </a:lnTo>
                    <a:lnTo>
                      <a:pt x="89" y="35"/>
                    </a:lnTo>
                    <a:lnTo>
                      <a:pt x="71" y="60"/>
                    </a:lnTo>
                    <a:lnTo>
                      <a:pt x="51" y="67"/>
                    </a:lnTo>
                    <a:lnTo>
                      <a:pt x="44" y="75"/>
                    </a:lnTo>
                    <a:lnTo>
                      <a:pt x="38" y="78"/>
                    </a:lnTo>
                    <a:lnTo>
                      <a:pt x="30" y="79"/>
                    </a:lnTo>
                    <a:lnTo>
                      <a:pt x="16" y="69"/>
                    </a:lnTo>
                    <a:lnTo>
                      <a:pt x="8" y="61"/>
                    </a:lnTo>
                    <a:lnTo>
                      <a:pt x="3" y="53"/>
                    </a:lnTo>
                    <a:lnTo>
                      <a:pt x="0" y="45"/>
                    </a:lnTo>
                    <a:lnTo>
                      <a:pt x="3" y="37"/>
                    </a:lnTo>
                    <a:lnTo>
                      <a:pt x="20" y="16"/>
                    </a:lnTo>
                    <a:lnTo>
                      <a:pt x="28" y="10"/>
                    </a:lnTo>
                    <a:lnTo>
                      <a:pt x="48" y="1"/>
                    </a:lnTo>
                    <a:lnTo>
                      <a:pt x="58" y="0"/>
                    </a:lnTo>
                    <a:lnTo>
                      <a:pt x="67" y="3"/>
                    </a:lnTo>
                    <a:lnTo>
                      <a:pt x="75" y="11"/>
                    </a:lnTo>
                    <a:lnTo>
                      <a:pt x="78" y="17"/>
                    </a:lnTo>
                    <a:lnTo>
                      <a:pt x="85" y="25"/>
                    </a:lnTo>
                    <a:close/>
                  </a:path>
                </a:pathLst>
              </a:custGeom>
              <a:solidFill>
                <a:schemeClr val="accent2">
                  <a:lumMod val="60000"/>
                  <a:lumOff val="40000"/>
                </a:schemeClr>
              </a:solidFill>
              <a:ln w="7938">
                <a:solidFill>
                  <a:srgbClr val="1C1329"/>
                </a:solidFill>
                <a:miter lim="800000"/>
                <a:headEnd/>
                <a:tailEnd/>
              </a:ln>
            </p:spPr>
            <p:txBody>
              <a:bodyPr/>
              <a:lstStyle/>
              <a:p>
                <a:pPr>
                  <a:defRPr/>
                </a:pPr>
                <a:endParaRPr lang="en-US">
                  <a:ea typeface="ＭＳ Ｐゴシック" charset="0"/>
                  <a:cs typeface="ＭＳ Ｐゴシック" charset="0"/>
                </a:endParaRPr>
              </a:p>
            </p:txBody>
          </p:sp>
        </p:grpSp>
        <p:grpSp>
          <p:nvGrpSpPr>
            <p:cNvPr id="48" name="Group 23"/>
            <p:cNvGrpSpPr>
              <a:grpSpLocks/>
            </p:cNvGrpSpPr>
            <p:nvPr/>
          </p:nvGrpSpPr>
          <p:grpSpPr bwMode="auto">
            <a:xfrm>
              <a:off x="156647" y="4458163"/>
              <a:ext cx="376282" cy="1586090"/>
              <a:chOff x="6187397" y="3246048"/>
              <a:chExt cx="376282" cy="1586090"/>
            </a:xfrm>
          </p:grpSpPr>
          <p:sp>
            <p:nvSpPr>
              <p:cNvPr id="49" name="Rectangle 48"/>
              <p:cNvSpPr/>
              <p:nvPr/>
            </p:nvSpPr>
            <p:spPr>
              <a:xfrm>
                <a:off x="6187397" y="3246048"/>
                <a:ext cx="376282" cy="255616"/>
              </a:xfrm>
              <a:prstGeom prst="rect">
                <a:avLst/>
              </a:prstGeom>
              <a:solidFill>
                <a:srgbClr val="AD413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sp>
            <p:nvSpPr>
              <p:cNvPr id="50" name="Rectangle 49"/>
              <p:cNvSpPr/>
              <p:nvPr/>
            </p:nvSpPr>
            <p:spPr>
              <a:xfrm>
                <a:off x="6187397" y="3561996"/>
                <a:ext cx="376282" cy="255617"/>
              </a:xfrm>
              <a:prstGeom prst="rect">
                <a:avLst/>
              </a:prstGeom>
              <a:solidFill>
                <a:srgbClr val="C4888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sp>
            <p:nvSpPr>
              <p:cNvPr id="51" name="Rectangle 50"/>
              <p:cNvSpPr/>
              <p:nvPr/>
            </p:nvSpPr>
            <p:spPr>
              <a:xfrm>
                <a:off x="6187397" y="4239935"/>
                <a:ext cx="376282" cy="255616"/>
              </a:xfrm>
              <a:prstGeom prst="rect">
                <a:avLst/>
              </a:prstGeom>
              <a:solidFill>
                <a:srgbClr val="FC790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sp>
            <p:nvSpPr>
              <p:cNvPr id="52" name="Rectangle 51"/>
              <p:cNvSpPr/>
              <p:nvPr/>
            </p:nvSpPr>
            <p:spPr>
              <a:xfrm>
                <a:off x="6187397" y="4576522"/>
                <a:ext cx="376282" cy="255616"/>
              </a:xfrm>
              <a:prstGeom prst="rect">
                <a:avLst/>
              </a:prstGeom>
              <a:solidFill>
                <a:srgbClr val="24367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sp>
            <p:nvSpPr>
              <p:cNvPr id="53" name="Rectangle 52"/>
              <p:cNvSpPr/>
              <p:nvPr/>
            </p:nvSpPr>
            <p:spPr>
              <a:xfrm>
                <a:off x="6187397" y="3903347"/>
                <a:ext cx="376282" cy="255616"/>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grpSp>
      </p:grpSp>
      <p:sp>
        <p:nvSpPr>
          <p:cNvPr id="62" name="Freeform 688"/>
          <p:cNvSpPr>
            <a:spLocks/>
          </p:cNvSpPr>
          <p:nvPr/>
        </p:nvSpPr>
        <p:spPr bwMode="auto">
          <a:xfrm>
            <a:off x="5072318" y="4121150"/>
            <a:ext cx="36000" cy="36000"/>
          </a:xfrm>
          <a:custGeom>
            <a:avLst/>
            <a:gdLst>
              <a:gd name="T0" fmla="*/ 0 w 38"/>
              <a:gd name="T1" fmla="*/ 9 h 29"/>
              <a:gd name="T2" fmla="*/ 21 w 38"/>
              <a:gd name="T3" fmla="*/ 0 h 29"/>
              <a:gd name="T4" fmla="*/ 38 w 38"/>
              <a:gd name="T5" fmla="*/ 0 h 29"/>
              <a:gd name="T6" fmla="*/ 38 w 38"/>
              <a:gd name="T7" fmla="*/ 20 h 29"/>
              <a:gd name="T8" fmla="*/ 21 w 38"/>
              <a:gd name="T9" fmla="*/ 29 h 29"/>
              <a:gd name="T10" fmla="*/ 8 w 38"/>
              <a:gd name="T11" fmla="*/ 29 h 29"/>
              <a:gd name="T12" fmla="*/ 0 w 38"/>
              <a:gd name="T13" fmla="*/ 9 h 29"/>
            </a:gdLst>
            <a:ahLst/>
            <a:cxnLst>
              <a:cxn ang="0">
                <a:pos x="T0" y="T1"/>
              </a:cxn>
              <a:cxn ang="0">
                <a:pos x="T2" y="T3"/>
              </a:cxn>
              <a:cxn ang="0">
                <a:pos x="T4" y="T5"/>
              </a:cxn>
              <a:cxn ang="0">
                <a:pos x="T6" y="T7"/>
              </a:cxn>
              <a:cxn ang="0">
                <a:pos x="T8" y="T9"/>
              </a:cxn>
              <a:cxn ang="0">
                <a:pos x="T10" y="T11"/>
              </a:cxn>
              <a:cxn ang="0">
                <a:pos x="T12" y="T13"/>
              </a:cxn>
            </a:cxnLst>
            <a:rect l="0" t="0" r="r" b="b"/>
            <a:pathLst>
              <a:path w="38" h="29">
                <a:moveTo>
                  <a:pt x="0" y="9"/>
                </a:moveTo>
                <a:lnTo>
                  <a:pt x="21" y="0"/>
                </a:lnTo>
                <a:lnTo>
                  <a:pt x="38" y="0"/>
                </a:lnTo>
                <a:lnTo>
                  <a:pt x="38" y="20"/>
                </a:lnTo>
                <a:lnTo>
                  <a:pt x="21" y="29"/>
                </a:lnTo>
                <a:lnTo>
                  <a:pt x="8" y="29"/>
                </a:lnTo>
                <a:lnTo>
                  <a:pt x="0" y="9"/>
                </a:lnTo>
                <a:close/>
              </a:path>
            </a:pathLst>
          </a:custGeom>
          <a:solidFill>
            <a:srgbClr val="1F497D"/>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52647929"/>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41312</TotalTime>
  <Words>5101</Words>
  <Application>Microsoft Macintosh PowerPoint</Application>
  <PresentationFormat>On-screen Show (4:3)</PresentationFormat>
  <Paragraphs>863</Paragraphs>
  <Slides>35</Slides>
  <Notes>7</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5</vt:i4>
      </vt:variant>
    </vt:vector>
  </HeadingPairs>
  <TitlesOfParts>
    <vt:vector size="38" baseType="lpstr">
      <vt:lpstr>Office Theme</vt:lpstr>
      <vt:lpstr>Document</vt:lpstr>
      <vt:lpstr>Microsoft Word Docu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ushal Gupta</dc:creator>
  <cp:lastModifiedBy>Kaushal Gupta</cp:lastModifiedBy>
  <cp:revision>1889</cp:revision>
  <dcterms:created xsi:type="dcterms:W3CDTF">2012-04-10T15:35:37Z</dcterms:created>
  <dcterms:modified xsi:type="dcterms:W3CDTF">2017-06-19T10:22: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